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1" r:id="rId2"/>
    <p:sldMasterId id="2147483680" r:id="rId3"/>
    <p:sldMasterId id="2147483692" r:id="rId4"/>
    <p:sldMasterId id="2147483705" r:id="rId5"/>
    <p:sldMasterId id="2147483712" r:id="rId6"/>
    <p:sldMasterId id="2147483724" r:id="rId7"/>
  </p:sldMasterIdLst>
  <p:notesMasterIdLst>
    <p:notesMasterId r:id="rId35"/>
  </p:notesMasterIdLst>
  <p:handoutMasterIdLst>
    <p:handoutMasterId r:id="rId36"/>
  </p:handoutMasterIdLst>
  <p:sldIdLst>
    <p:sldId id="260" r:id="rId8"/>
    <p:sldId id="261" r:id="rId9"/>
    <p:sldId id="257" r:id="rId10"/>
    <p:sldId id="283" r:id="rId11"/>
    <p:sldId id="340" r:id="rId12"/>
    <p:sldId id="392" r:id="rId13"/>
    <p:sldId id="388" r:id="rId14"/>
    <p:sldId id="393" r:id="rId15"/>
    <p:sldId id="401" r:id="rId16"/>
    <p:sldId id="405" r:id="rId17"/>
    <p:sldId id="395" r:id="rId18"/>
    <p:sldId id="396" r:id="rId19"/>
    <p:sldId id="394" r:id="rId20"/>
    <p:sldId id="406" r:id="rId21"/>
    <p:sldId id="407" r:id="rId22"/>
    <p:sldId id="404" r:id="rId23"/>
    <p:sldId id="408" r:id="rId24"/>
    <p:sldId id="455" r:id="rId25"/>
    <p:sldId id="456" r:id="rId26"/>
    <p:sldId id="457" r:id="rId27"/>
    <p:sldId id="424" r:id="rId28"/>
    <p:sldId id="342" r:id="rId29"/>
    <p:sldId id="319" r:id="rId30"/>
    <p:sldId id="389" r:id="rId31"/>
    <p:sldId id="390" r:id="rId32"/>
    <p:sldId id="391" r:id="rId33"/>
    <p:sldId id="458" r:id="rId3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2D"/>
    <a:srgbClr val="3399FF"/>
    <a:srgbClr val="0099FF"/>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34" autoAdjust="0"/>
    <p:restoredTop sz="94533" autoAdjust="0"/>
  </p:normalViewPr>
  <p:slideViewPr>
    <p:cSldViewPr>
      <p:cViewPr varScale="1">
        <p:scale>
          <a:sx n="70" d="100"/>
          <a:sy n="70" d="100"/>
        </p:scale>
        <p:origin x="1180" y="60"/>
      </p:cViewPr>
      <p:guideLst>
        <p:guide orient="horz" pos="2160"/>
        <p:guide pos="2880"/>
      </p:guideLst>
    </p:cSldViewPr>
  </p:slideViewPr>
  <p:outlineViewPr>
    <p:cViewPr>
      <p:scale>
        <a:sx n="33" d="100"/>
        <a:sy n="33" d="100"/>
      </p:scale>
      <p:origin x="0" y="10698"/>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51" d="100"/>
          <a:sy n="51" d="100"/>
        </p:scale>
        <p:origin x="2692" y="6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24A9EB-79C3-455E-A8CC-17AB2123DADE}" type="doc">
      <dgm:prSet loTypeId="urn:microsoft.com/office/officeart/2005/8/layout/chevron2" loCatId="list" qsTypeId="urn:microsoft.com/office/officeart/2005/8/quickstyle/simple2" qsCatId="simple" csTypeId="urn:microsoft.com/office/officeart/2005/8/colors/accent1_2" csCatId="accent1" phldr="1"/>
      <dgm:spPr/>
      <dgm:t>
        <a:bodyPr/>
        <a:lstStyle/>
        <a:p>
          <a:endParaRPr lang="fr-FR"/>
        </a:p>
      </dgm:t>
    </dgm:pt>
    <dgm:pt modelId="{9333E059-09DE-4821-AEB5-9A436EF800E5}">
      <dgm:prSet phldrT="[Texte]"/>
      <dgm:spPr/>
      <dgm:t>
        <a:bodyPr/>
        <a:lstStyle/>
        <a:p>
          <a:r>
            <a:rPr lang="fr-FR" dirty="0">
              <a:solidFill>
                <a:schemeClr val="tx1"/>
              </a:solidFill>
            </a:rPr>
            <a:t>Records management</a:t>
          </a:r>
        </a:p>
      </dgm:t>
    </dgm:pt>
    <dgm:pt modelId="{640F0706-9462-45FE-990A-8700B42ED7C3}" type="parTrans" cxnId="{54B25E7B-347C-4A80-917C-827CBAEBDB96}">
      <dgm:prSet/>
      <dgm:spPr/>
      <dgm:t>
        <a:bodyPr/>
        <a:lstStyle/>
        <a:p>
          <a:endParaRPr lang="fr-FR"/>
        </a:p>
      </dgm:t>
    </dgm:pt>
    <dgm:pt modelId="{D549C575-E414-4623-8C46-C48A9051F5CA}" type="sibTrans" cxnId="{54B25E7B-347C-4A80-917C-827CBAEBDB96}">
      <dgm:prSet/>
      <dgm:spPr/>
      <dgm:t>
        <a:bodyPr/>
        <a:lstStyle/>
        <a:p>
          <a:endParaRPr lang="fr-FR"/>
        </a:p>
      </dgm:t>
    </dgm:pt>
    <dgm:pt modelId="{7F42CC47-1D24-4945-BC79-705727AEF2DD}">
      <dgm:prSet phldrT="[Texte]" custT="1"/>
      <dgm:spPr/>
      <dgm:t>
        <a:bodyPr/>
        <a:lstStyle/>
        <a:p>
          <a:r>
            <a:rPr lang="fr-FR" sz="1300" dirty="0"/>
            <a:t>Approche « moderne » de l’archivage, adoptée par la plupart des grandes entreprises</a:t>
          </a:r>
        </a:p>
      </dgm:t>
    </dgm:pt>
    <dgm:pt modelId="{E739C4C0-691A-4033-94B5-4028ED55908E}" type="parTrans" cxnId="{01C6BCF3-AFD7-4C0A-8E7A-EAAC4C24CBDC}">
      <dgm:prSet/>
      <dgm:spPr/>
      <dgm:t>
        <a:bodyPr/>
        <a:lstStyle/>
        <a:p>
          <a:endParaRPr lang="fr-FR"/>
        </a:p>
      </dgm:t>
    </dgm:pt>
    <dgm:pt modelId="{E9EDD2DE-5E20-43AC-8A1C-6C42CC828B35}" type="sibTrans" cxnId="{01C6BCF3-AFD7-4C0A-8E7A-EAAC4C24CBDC}">
      <dgm:prSet/>
      <dgm:spPr/>
      <dgm:t>
        <a:bodyPr/>
        <a:lstStyle/>
        <a:p>
          <a:endParaRPr lang="fr-FR"/>
        </a:p>
      </dgm:t>
    </dgm:pt>
    <dgm:pt modelId="{C8920AB6-B1CE-4098-871D-B3C924BE4281}">
      <dgm:prSet phldrT="[Texte]"/>
      <dgm:spPr/>
      <dgm:t>
        <a:bodyPr/>
        <a:lstStyle/>
        <a:p>
          <a:r>
            <a:rPr lang="fr-FR" dirty="0">
              <a:solidFill>
                <a:schemeClr val="tx1"/>
              </a:solidFill>
            </a:rPr>
            <a:t>Référentiel de conservation</a:t>
          </a:r>
        </a:p>
      </dgm:t>
    </dgm:pt>
    <dgm:pt modelId="{58F08AB9-F5B5-4E17-8AE5-B65199DFCDAF}" type="parTrans" cxnId="{FB276906-B325-4D1F-9161-DFFFF3EA067D}">
      <dgm:prSet/>
      <dgm:spPr/>
      <dgm:t>
        <a:bodyPr/>
        <a:lstStyle/>
        <a:p>
          <a:endParaRPr lang="fr-FR"/>
        </a:p>
      </dgm:t>
    </dgm:pt>
    <dgm:pt modelId="{7BA67128-D620-4794-ADBB-984EE8E79363}" type="sibTrans" cxnId="{FB276906-B325-4D1F-9161-DFFFF3EA067D}">
      <dgm:prSet/>
      <dgm:spPr/>
      <dgm:t>
        <a:bodyPr/>
        <a:lstStyle/>
        <a:p>
          <a:endParaRPr lang="fr-FR"/>
        </a:p>
      </dgm:t>
    </dgm:pt>
    <dgm:pt modelId="{4817164C-6A6C-4600-99D5-F4017E1964AE}">
      <dgm:prSet phldrT="[Texte]" custT="1"/>
      <dgm:spPr/>
      <dgm:t>
        <a:bodyPr/>
        <a:lstStyle/>
        <a:p>
          <a:r>
            <a:rPr lang="fr-FR" sz="1300" dirty="0"/>
            <a:t>Les règles de conservation de l’information sont formalisées dans un « Référentiel de conservation » dans lequel elles sont organisées selon un « plan de classement »</a:t>
          </a:r>
        </a:p>
      </dgm:t>
    </dgm:pt>
    <dgm:pt modelId="{DDE69505-E54A-481B-B446-2919D8D66C82}" type="parTrans" cxnId="{EF444164-56BF-44D8-AF03-8126169D692F}">
      <dgm:prSet/>
      <dgm:spPr/>
      <dgm:t>
        <a:bodyPr/>
        <a:lstStyle/>
        <a:p>
          <a:endParaRPr lang="fr-FR"/>
        </a:p>
      </dgm:t>
    </dgm:pt>
    <dgm:pt modelId="{BD407963-72FF-4E0A-9757-720BC8D6FC4C}" type="sibTrans" cxnId="{EF444164-56BF-44D8-AF03-8126169D692F}">
      <dgm:prSet/>
      <dgm:spPr/>
      <dgm:t>
        <a:bodyPr/>
        <a:lstStyle/>
        <a:p>
          <a:endParaRPr lang="fr-FR"/>
        </a:p>
      </dgm:t>
    </dgm:pt>
    <dgm:pt modelId="{16049E93-2D00-4F0B-9314-3A8F6462FAA7}">
      <dgm:prSet phldrT="[Texte]" custT="1"/>
      <dgm:spPr/>
      <dgm:t>
        <a:bodyPr/>
        <a:lstStyle/>
        <a:p>
          <a:r>
            <a:rPr lang="fr-FR" sz="1300" dirty="0"/>
            <a:t>Ce plan de classement restera simple (3 niveaux, moins de 1000 entrées)</a:t>
          </a:r>
        </a:p>
      </dgm:t>
    </dgm:pt>
    <dgm:pt modelId="{F5FC671A-3FA9-4A10-A41D-51A93A5F2ACB}" type="parTrans" cxnId="{1FD76963-220A-4DEA-8283-FF4C189A6474}">
      <dgm:prSet/>
      <dgm:spPr/>
      <dgm:t>
        <a:bodyPr/>
        <a:lstStyle/>
        <a:p>
          <a:endParaRPr lang="fr-FR"/>
        </a:p>
      </dgm:t>
    </dgm:pt>
    <dgm:pt modelId="{45BDD04A-790C-424B-8536-3D0FA52CBA94}" type="sibTrans" cxnId="{1FD76963-220A-4DEA-8283-FF4C189A6474}">
      <dgm:prSet/>
      <dgm:spPr/>
      <dgm:t>
        <a:bodyPr/>
        <a:lstStyle/>
        <a:p>
          <a:endParaRPr lang="fr-FR"/>
        </a:p>
      </dgm:t>
    </dgm:pt>
    <dgm:pt modelId="{069D4E0C-DD01-4726-8841-F065AE0E7625}">
      <dgm:prSet phldrT="[Texte]"/>
      <dgm:spPr/>
      <dgm:t>
        <a:bodyPr/>
        <a:lstStyle/>
        <a:p>
          <a:r>
            <a:rPr lang="fr-FR" dirty="0">
              <a:solidFill>
                <a:schemeClr val="tx1"/>
              </a:solidFill>
            </a:rPr>
            <a:t>Organisation</a:t>
          </a:r>
        </a:p>
      </dgm:t>
    </dgm:pt>
    <dgm:pt modelId="{BDE81A9F-3DA4-480D-B9F4-A0724909144C}" type="parTrans" cxnId="{B08E1009-DA12-4636-A2DA-A2990D016354}">
      <dgm:prSet/>
      <dgm:spPr/>
      <dgm:t>
        <a:bodyPr/>
        <a:lstStyle/>
        <a:p>
          <a:endParaRPr lang="fr-FR"/>
        </a:p>
      </dgm:t>
    </dgm:pt>
    <dgm:pt modelId="{E34C9FE6-1827-4E72-A9F3-47BFD331E33B}" type="sibTrans" cxnId="{B08E1009-DA12-4636-A2DA-A2990D016354}">
      <dgm:prSet/>
      <dgm:spPr/>
      <dgm:t>
        <a:bodyPr/>
        <a:lstStyle/>
        <a:p>
          <a:endParaRPr lang="fr-FR"/>
        </a:p>
      </dgm:t>
    </dgm:pt>
    <dgm:pt modelId="{DB2D6B01-CEBB-439B-9381-C76099065823}">
      <dgm:prSet phldrT="[Texte]" custT="1"/>
      <dgm:spPr/>
      <dgm:t>
        <a:bodyPr/>
        <a:lstStyle/>
        <a:p>
          <a:r>
            <a:rPr lang="fr-FR" sz="1300" b="0" dirty="0"/>
            <a:t>L’implication des métiers passe par un réseau : records managers, correspondants RM</a:t>
          </a:r>
        </a:p>
      </dgm:t>
    </dgm:pt>
    <dgm:pt modelId="{913984B8-F072-491A-A59A-908FAB215B1E}" type="parTrans" cxnId="{C8B8506A-3C1D-406E-8614-EB37EF63677B}">
      <dgm:prSet/>
      <dgm:spPr/>
      <dgm:t>
        <a:bodyPr/>
        <a:lstStyle/>
        <a:p>
          <a:endParaRPr lang="fr-FR"/>
        </a:p>
      </dgm:t>
    </dgm:pt>
    <dgm:pt modelId="{99BF1E31-FAFC-43A7-A6D2-B70E147D672E}" type="sibTrans" cxnId="{C8B8506A-3C1D-406E-8614-EB37EF63677B}">
      <dgm:prSet/>
      <dgm:spPr/>
      <dgm:t>
        <a:bodyPr/>
        <a:lstStyle/>
        <a:p>
          <a:endParaRPr lang="fr-FR"/>
        </a:p>
      </dgm:t>
    </dgm:pt>
    <dgm:pt modelId="{7E0B13E8-D30F-4929-9FB2-B1067A68B0E8}">
      <dgm:prSet phldrT="[Texte]" custT="1"/>
      <dgm:spPr/>
      <dgm:t>
        <a:bodyPr/>
        <a:lstStyle/>
        <a:p>
          <a:r>
            <a:rPr lang="fr-FR" sz="1300" b="0" dirty="0"/>
            <a:t>Le réseau RM peut s’appuyer sur une organisation existante, par exemple dans le domaine de la sécurité ou du </a:t>
          </a:r>
          <a:r>
            <a:rPr lang="fr-FR" sz="1300" b="0" dirty="0" err="1"/>
            <a:t>knowledge</a:t>
          </a:r>
          <a:r>
            <a:rPr lang="fr-FR" sz="1300" b="0" dirty="0"/>
            <a:t> management</a:t>
          </a:r>
        </a:p>
      </dgm:t>
    </dgm:pt>
    <dgm:pt modelId="{4A643C83-674A-4510-B6B3-8A48844C50FE}" type="parTrans" cxnId="{9768C202-CADA-4800-9CF9-1300842D2086}">
      <dgm:prSet/>
      <dgm:spPr/>
      <dgm:t>
        <a:bodyPr/>
        <a:lstStyle/>
        <a:p>
          <a:endParaRPr lang="fr-FR"/>
        </a:p>
      </dgm:t>
    </dgm:pt>
    <dgm:pt modelId="{01121779-A396-49CF-ACB3-C3F94E290AF6}" type="sibTrans" cxnId="{9768C202-CADA-4800-9CF9-1300842D2086}">
      <dgm:prSet/>
      <dgm:spPr/>
      <dgm:t>
        <a:bodyPr/>
        <a:lstStyle/>
        <a:p>
          <a:endParaRPr lang="fr-FR"/>
        </a:p>
      </dgm:t>
    </dgm:pt>
    <dgm:pt modelId="{8711BDDE-A763-47E2-9B3B-8DA5F24E155B}">
      <dgm:prSet phldrT="[Texte]" custT="1"/>
      <dgm:spPr/>
      <dgm:t>
        <a:bodyPr/>
        <a:lstStyle/>
        <a:p>
          <a:r>
            <a:rPr lang="fr-FR" sz="1300" dirty="0"/>
            <a:t>Avantages : implication des acteurs métier et intégration dans leurs activités</a:t>
          </a:r>
        </a:p>
      </dgm:t>
    </dgm:pt>
    <dgm:pt modelId="{B305B7D2-41D0-4ACE-B49E-640CD0CDD7FE}" type="parTrans" cxnId="{8D51FBC0-4A04-4E21-8320-D215A28CEE70}">
      <dgm:prSet/>
      <dgm:spPr/>
      <dgm:t>
        <a:bodyPr/>
        <a:lstStyle/>
        <a:p>
          <a:endParaRPr lang="fr-FR"/>
        </a:p>
      </dgm:t>
    </dgm:pt>
    <dgm:pt modelId="{D488417C-FCC3-4F5A-8303-24211CA80EF2}" type="sibTrans" cxnId="{8D51FBC0-4A04-4E21-8320-D215A28CEE70}">
      <dgm:prSet/>
      <dgm:spPr/>
      <dgm:t>
        <a:bodyPr/>
        <a:lstStyle/>
        <a:p>
          <a:endParaRPr lang="fr-FR"/>
        </a:p>
      </dgm:t>
    </dgm:pt>
    <dgm:pt modelId="{C511DC06-1BB8-428B-A7A9-9D2BCDE97B21}" type="pres">
      <dgm:prSet presAssocID="{9124A9EB-79C3-455E-A8CC-17AB2123DADE}" presName="linearFlow" presStyleCnt="0">
        <dgm:presLayoutVars>
          <dgm:dir/>
          <dgm:animLvl val="lvl"/>
          <dgm:resizeHandles val="exact"/>
        </dgm:presLayoutVars>
      </dgm:prSet>
      <dgm:spPr/>
      <dgm:t>
        <a:bodyPr/>
        <a:lstStyle/>
        <a:p>
          <a:endParaRPr lang="fr-FR"/>
        </a:p>
      </dgm:t>
    </dgm:pt>
    <dgm:pt modelId="{325348C1-97C7-469A-B8E2-EB085CDE9BF3}" type="pres">
      <dgm:prSet presAssocID="{9333E059-09DE-4821-AEB5-9A436EF800E5}" presName="composite" presStyleCnt="0"/>
      <dgm:spPr/>
    </dgm:pt>
    <dgm:pt modelId="{CD3DDEE0-DE1B-4B70-A753-79647BD481CF}" type="pres">
      <dgm:prSet presAssocID="{9333E059-09DE-4821-AEB5-9A436EF800E5}" presName="parentText" presStyleLbl="alignNode1" presStyleIdx="0" presStyleCnt="3">
        <dgm:presLayoutVars>
          <dgm:chMax val="1"/>
          <dgm:bulletEnabled val="1"/>
        </dgm:presLayoutVars>
      </dgm:prSet>
      <dgm:spPr/>
      <dgm:t>
        <a:bodyPr/>
        <a:lstStyle/>
        <a:p>
          <a:endParaRPr lang="fr-FR"/>
        </a:p>
      </dgm:t>
    </dgm:pt>
    <dgm:pt modelId="{36883869-2F31-406F-AD24-94806B801C9F}" type="pres">
      <dgm:prSet presAssocID="{9333E059-09DE-4821-AEB5-9A436EF800E5}" presName="descendantText" presStyleLbl="alignAcc1" presStyleIdx="0" presStyleCnt="3" custLinFactNeighborX="0" custLinFactNeighborY="-5909">
        <dgm:presLayoutVars>
          <dgm:bulletEnabled val="1"/>
        </dgm:presLayoutVars>
      </dgm:prSet>
      <dgm:spPr/>
      <dgm:t>
        <a:bodyPr/>
        <a:lstStyle/>
        <a:p>
          <a:endParaRPr lang="fr-FR"/>
        </a:p>
      </dgm:t>
    </dgm:pt>
    <dgm:pt modelId="{7D9428DA-B336-4E77-AAC9-FF2C16C258E8}" type="pres">
      <dgm:prSet presAssocID="{D549C575-E414-4623-8C46-C48A9051F5CA}" presName="sp" presStyleCnt="0"/>
      <dgm:spPr/>
    </dgm:pt>
    <dgm:pt modelId="{B6770622-238B-4EEE-9E41-F2116E11E8B2}" type="pres">
      <dgm:prSet presAssocID="{C8920AB6-B1CE-4098-871D-B3C924BE4281}" presName="composite" presStyleCnt="0"/>
      <dgm:spPr/>
    </dgm:pt>
    <dgm:pt modelId="{5CD0B677-F74B-410A-AFB5-42C8AB1A5FC5}" type="pres">
      <dgm:prSet presAssocID="{C8920AB6-B1CE-4098-871D-B3C924BE4281}" presName="parentText" presStyleLbl="alignNode1" presStyleIdx="1" presStyleCnt="3">
        <dgm:presLayoutVars>
          <dgm:chMax val="1"/>
          <dgm:bulletEnabled val="1"/>
        </dgm:presLayoutVars>
      </dgm:prSet>
      <dgm:spPr/>
      <dgm:t>
        <a:bodyPr/>
        <a:lstStyle/>
        <a:p>
          <a:endParaRPr lang="fr-FR"/>
        </a:p>
      </dgm:t>
    </dgm:pt>
    <dgm:pt modelId="{D66EA29B-6DFA-4B78-8FFF-8AC35CB9A504}" type="pres">
      <dgm:prSet presAssocID="{C8920AB6-B1CE-4098-871D-B3C924BE4281}" presName="descendantText" presStyleLbl="alignAcc1" presStyleIdx="1" presStyleCnt="3">
        <dgm:presLayoutVars>
          <dgm:bulletEnabled val="1"/>
        </dgm:presLayoutVars>
      </dgm:prSet>
      <dgm:spPr/>
      <dgm:t>
        <a:bodyPr/>
        <a:lstStyle/>
        <a:p>
          <a:endParaRPr lang="fr-FR"/>
        </a:p>
      </dgm:t>
    </dgm:pt>
    <dgm:pt modelId="{FE454C58-48C8-43E4-996A-F62846442DAC}" type="pres">
      <dgm:prSet presAssocID="{7BA67128-D620-4794-ADBB-984EE8E79363}" presName="sp" presStyleCnt="0"/>
      <dgm:spPr/>
    </dgm:pt>
    <dgm:pt modelId="{A13F9A80-09A4-461F-98B1-9C075CCF3485}" type="pres">
      <dgm:prSet presAssocID="{069D4E0C-DD01-4726-8841-F065AE0E7625}" presName="composite" presStyleCnt="0"/>
      <dgm:spPr/>
    </dgm:pt>
    <dgm:pt modelId="{920493D9-3BAD-49A2-BC14-2EA9A2B6D1CC}" type="pres">
      <dgm:prSet presAssocID="{069D4E0C-DD01-4726-8841-F065AE0E7625}" presName="parentText" presStyleLbl="alignNode1" presStyleIdx="2" presStyleCnt="3">
        <dgm:presLayoutVars>
          <dgm:chMax val="1"/>
          <dgm:bulletEnabled val="1"/>
        </dgm:presLayoutVars>
      </dgm:prSet>
      <dgm:spPr/>
      <dgm:t>
        <a:bodyPr/>
        <a:lstStyle/>
        <a:p>
          <a:endParaRPr lang="fr-FR"/>
        </a:p>
      </dgm:t>
    </dgm:pt>
    <dgm:pt modelId="{9CC2CDB4-A881-4A5E-A9F8-5C7A74DE6AAE}" type="pres">
      <dgm:prSet presAssocID="{069D4E0C-DD01-4726-8841-F065AE0E7625}" presName="descendantText" presStyleLbl="alignAcc1" presStyleIdx="2" presStyleCnt="3">
        <dgm:presLayoutVars>
          <dgm:bulletEnabled val="1"/>
        </dgm:presLayoutVars>
      </dgm:prSet>
      <dgm:spPr/>
      <dgm:t>
        <a:bodyPr/>
        <a:lstStyle/>
        <a:p>
          <a:endParaRPr lang="fr-FR"/>
        </a:p>
      </dgm:t>
    </dgm:pt>
  </dgm:ptLst>
  <dgm:cxnLst>
    <dgm:cxn modelId="{A7E1B418-A479-4E9E-9D54-790214B0FA63}" type="presOf" srcId="{7F42CC47-1D24-4945-BC79-705727AEF2DD}" destId="{36883869-2F31-406F-AD24-94806B801C9F}" srcOrd="0" destOrd="0" presId="urn:microsoft.com/office/officeart/2005/8/layout/chevron2"/>
    <dgm:cxn modelId="{8D51FBC0-4A04-4E21-8320-D215A28CEE70}" srcId="{9333E059-09DE-4821-AEB5-9A436EF800E5}" destId="{8711BDDE-A763-47E2-9B3B-8DA5F24E155B}" srcOrd="1" destOrd="0" parTransId="{B305B7D2-41D0-4ACE-B49E-640CD0CDD7FE}" sibTransId="{D488417C-FCC3-4F5A-8303-24211CA80EF2}"/>
    <dgm:cxn modelId="{01C6BCF3-AFD7-4C0A-8E7A-EAAC4C24CBDC}" srcId="{9333E059-09DE-4821-AEB5-9A436EF800E5}" destId="{7F42CC47-1D24-4945-BC79-705727AEF2DD}" srcOrd="0" destOrd="0" parTransId="{E739C4C0-691A-4033-94B5-4028ED55908E}" sibTransId="{E9EDD2DE-5E20-43AC-8A1C-6C42CC828B35}"/>
    <dgm:cxn modelId="{EF444164-56BF-44D8-AF03-8126169D692F}" srcId="{C8920AB6-B1CE-4098-871D-B3C924BE4281}" destId="{4817164C-6A6C-4600-99D5-F4017E1964AE}" srcOrd="0" destOrd="0" parTransId="{DDE69505-E54A-481B-B446-2919D8D66C82}" sibTransId="{BD407963-72FF-4E0A-9757-720BC8D6FC4C}"/>
    <dgm:cxn modelId="{7243532C-6EE4-4A5B-957A-69A5BA6FBB63}" type="presOf" srcId="{9124A9EB-79C3-455E-A8CC-17AB2123DADE}" destId="{C511DC06-1BB8-428B-A7A9-9D2BCDE97B21}" srcOrd="0" destOrd="0" presId="urn:microsoft.com/office/officeart/2005/8/layout/chevron2"/>
    <dgm:cxn modelId="{FB276906-B325-4D1F-9161-DFFFF3EA067D}" srcId="{9124A9EB-79C3-455E-A8CC-17AB2123DADE}" destId="{C8920AB6-B1CE-4098-871D-B3C924BE4281}" srcOrd="1" destOrd="0" parTransId="{58F08AB9-F5B5-4E17-8AE5-B65199DFCDAF}" sibTransId="{7BA67128-D620-4794-ADBB-984EE8E79363}"/>
    <dgm:cxn modelId="{84B3C63D-62B9-4631-98A7-E4C3889EDF9D}" type="presOf" srcId="{C8920AB6-B1CE-4098-871D-B3C924BE4281}" destId="{5CD0B677-F74B-410A-AFB5-42C8AB1A5FC5}" srcOrd="0" destOrd="0" presId="urn:microsoft.com/office/officeart/2005/8/layout/chevron2"/>
    <dgm:cxn modelId="{54B25E7B-347C-4A80-917C-827CBAEBDB96}" srcId="{9124A9EB-79C3-455E-A8CC-17AB2123DADE}" destId="{9333E059-09DE-4821-AEB5-9A436EF800E5}" srcOrd="0" destOrd="0" parTransId="{640F0706-9462-45FE-990A-8700B42ED7C3}" sibTransId="{D549C575-E414-4623-8C46-C48A9051F5CA}"/>
    <dgm:cxn modelId="{C1D5B5D4-9C08-47BB-8A4D-7D7BB21C6FAB}" type="presOf" srcId="{4817164C-6A6C-4600-99D5-F4017E1964AE}" destId="{D66EA29B-6DFA-4B78-8FFF-8AC35CB9A504}" srcOrd="0" destOrd="0" presId="urn:microsoft.com/office/officeart/2005/8/layout/chevron2"/>
    <dgm:cxn modelId="{9768C202-CADA-4800-9CF9-1300842D2086}" srcId="{069D4E0C-DD01-4726-8841-F065AE0E7625}" destId="{7E0B13E8-D30F-4929-9FB2-B1067A68B0E8}" srcOrd="1" destOrd="0" parTransId="{4A643C83-674A-4510-B6B3-8A48844C50FE}" sibTransId="{01121779-A396-49CF-ACB3-C3F94E290AF6}"/>
    <dgm:cxn modelId="{E9A95EF2-BBEC-4236-83E8-4A096059E624}" type="presOf" srcId="{DB2D6B01-CEBB-439B-9381-C76099065823}" destId="{9CC2CDB4-A881-4A5E-A9F8-5C7A74DE6AAE}" srcOrd="0" destOrd="0" presId="urn:microsoft.com/office/officeart/2005/8/layout/chevron2"/>
    <dgm:cxn modelId="{931A8A00-09F3-46E4-818B-48157D9737B6}" type="presOf" srcId="{069D4E0C-DD01-4726-8841-F065AE0E7625}" destId="{920493D9-3BAD-49A2-BC14-2EA9A2B6D1CC}" srcOrd="0" destOrd="0" presId="urn:microsoft.com/office/officeart/2005/8/layout/chevron2"/>
    <dgm:cxn modelId="{C8B8506A-3C1D-406E-8614-EB37EF63677B}" srcId="{069D4E0C-DD01-4726-8841-F065AE0E7625}" destId="{DB2D6B01-CEBB-439B-9381-C76099065823}" srcOrd="0" destOrd="0" parTransId="{913984B8-F072-491A-A59A-908FAB215B1E}" sibTransId="{99BF1E31-FAFC-43A7-A6D2-B70E147D672E}"/>
    <dgm:cxn modelId="{1FD76963-220A-4DEA-8283-FF4C189A6474}" srcId="{C8920AB6-B1CE-4098-871D-B3C924BE4281}" destId="{16049E93-2D00-4F0B-9314-3A8F6462FAA7}" srcOrd="1" destOrd="0" parTransId="{F5FC671A-3FA9-4A10-A41D-51A93A5F2ACB}" sibTransId="{45BDD04A-790C-424B-8536-3D0FA52CBA94}"/>
    <dgm:cxn modelId="{CA7C1C33-1CB3-4A3F-B2E5-AEDAC7DBF102}" type="presOf" srcId="{7E0B13E8-D30F-4929-9FB2-B1067A68B0E8}" destId="{9CC2CDB4-A881-4A5E-A9F8-5C7A74DE6AAE}" srcOrd="0" destOrd="1" presId="urn:microsoft.com/office/officeart/2005/8/layout/chevron2"/>
    <dgm:cxn modelId="{485B8226-6DBD-4D3E-8477-8FC837C434C1}" type="presOf" srcId="{16049E93-2D00-4F0B-9314-3A8F6462FAA7}" destId="{D66EA29B-6DFA-4B78-8FFF-8AC35CB9A504}" srcOrd="0" destOrd="1" presId="urn:microsoft.com/office/officeart/2005/8/layout/chevron2"/>
    <dgm:cxn modelId="{CC79304F-CA48-4F4E-8AAA-DC5C25078F70}" type="presOf" srcId="{9333E059-09DE-4821-AEB5-9A436EF800E5}" destId="{CD3DDEE0-DE1B-4B70-A753-79647BD481CF}" srcOrd="0" destOrd="0" presId="urn:microsoft.com/office/officeart/2005/8/layout/chevron2"/>
    <dgm:cxn modelId="{B08E1009-DA12-4636-A2DA-A2990D016354}" srcId="{9124A9EB-79C3-455E-A8CC-17AB2123DADE}" destId="{069D4E0C-DD01-4726-8841-F065AE0E7625}" srcOrd="2" destOrd="0" parTransId="{BDE81A9F-3DA4-480D-B9F4-A0724909144C}" sibTransId="{E34C9FE6-1827-4E72-A9F3-47BFD331E33B}"/>
    <dgm:cxn modelId="{F9D836F6-5F1D-4CEC-879A-AF132D57E46C}" type="presOf" srcId="{8711BDDE-A763-47E2-9B3B-8DA5F24E155B}" destId="{36883869-2F31-406F-AD24-94806B801C9F}" srcOrd="0" destOrd="1" presId="urn:microsoft.com/office/officeart/2005/8/layout/chevron2"/>
    <dgm:cxn modelId="{D72FA065-E2AF-41E0-921D-474598C3A7FF}" type="presParOf" srcId="{C511DC06-1BB8-428B-A7A9-9D2BCDE97B21}" destId="{325348C1-97C7-469A-B8E2-EB085CDE9BF3}" srcOrd="0" destOrd="0" presId="urn:microsoft.com/office/officeart/2005/8/layout/chevron2"/>
    <dgm:cxn modelId="{DBD1ED92-708A-4D55-8583-85F532987695}" type="presParOf" srcId="{325348C1-97C7-469A-B8E2-EB085CDE9BF3}" destId="{CD3DDEE0-DE1B-4B70-A753-79647BD481CF}" srcOrd="0" destOrd="0" presId="urn:microsoft.com/office/officeart/2005/8/layout/chevron2"/>
    <dgm:cxn modelId="{3B163E25-B049-4EC9-BFC0-3284F8138911}" type="presParOf" srcId="{325348C1-97C7-469A-B8E2-EB085CDE9BF3}" destId="{36883869-2F31-406F-AD24-94806B801C9F}" srcOrd="1" destOrd="0" presId="urn:microsoft.com/office/officeart/2005/8/layout/chevron2"/>
    <dgm:cxn modelId="{43ABA41F-3D08-4797-B0AA-34FFCE62F85C}" type="presParOf" srcId="{C511DC06-1BB8-428B-A7A9-9D2BCDE97B21}" destId="{7D9428DA-B336-4E77-AAC9-FF2C16C258E8}" srcOrd="1" destOrd="0" presId="urn:microsoft.com/office/officeart/2005/8/layout/chevron2"/>
    <dgm:cxn modelId="{6A3EE175-B5B3-4D23-BCD2-6E086757B139}" type="presParOf" srcId="{C511DC06-1BB8-428B-A7A9-9D2BCDE97B21}" destId="{B6770622-238B-4EEE-9E41-F2116E11E8B2}" srcOrd="2" destOrd="0" presId="urn:microsoft.com/office/officeart/2005/8/layout/chevron2"/>
    <dgm:cxn modelId="{2BED6DD1-414C-4D92-88C7-B2101B6BFF07}" type="presParOf" srcId="{B6770622-238B-4EEE-9E41-F2116E11E8B2}" destId="{5CD0B677-F74B-410A-AFB5-42C8AB1A5FC5}" srcOrd="0" destOrd="0" presId="urn:microsoft.com/office/officeart/2005/8/layout/chevron2"/>
    <dgm:cxn modelId="{368DAFB2-9857-42DB-A968-649644A1A60E}" type="presParOf" srcId="{B6770622-238B-4EEE-9E41-F2116E11E8B2}" destId="{D66EA29B-6DFA-4B78-8FFF-8AC35CB9A504}" srcOrd="1" destOrd="0" presId="urn:microsoft.com/office/officeart/2005/8/layout/chevron2"/>
    <dgm:cxn modelId="{537FAB3C-2B4B-4C56-96C5-F573499A4FAA}" type="presParOf" srcId="{C511DC06-1BB8-428B-A7A9-9D2BCDE97B21}" destId="{FE454C58-48C8-43E4-996A-F62846442DAC}" srcOrd="3" destOrd="0" presId="urn:microsoft.com/office/officeart/2005/8/layout/chevron2"/>
    <dgm:cxn modelId="{73985CAB-DD8F-4EB3-911E-A354D0E946A6}" type="presParOf" srcId="{C511DC06-1BB8-428B-A7A9-9D2BCDE97B21}" destId="{A13F9A80-09A4-461F-98B1-9C075CCF3485}" srcOrd="4" destOrd="0" presId="urn:microsoft.com/office/officeart/2005/8/layout/chevron2"/>
    <dgm:cxn modelId="{C084A6AD-93F9-45DD-8815-80F1A987714B}" type="presParOf" srcId="{A13F9A80-09A4-461F-98B1-9C075CCF3485}" destId="{920493D9-3BAD-49A2-BC14-2EA9A2B6D1CC}" srcOrd="0" destOrd="0" presId="urn:microsoft.com/office/officeart/2005/8/layout/chevron2"/>
    <dgm:cxn modelId="{2416CF2F-6CD8-4637-B211-3B5D80C25FA5}" type="presParOf" srcId="{A13F9A80-09A4-461F-98B1-9C075CCF3485}" destId="{9CC2CDB4-A881-4A5E-A9F8-5C7A74DE6AAE}"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C4DE4A-594D-4EA2-9933-E3FB99DC22B1}" type="doc">
      <dgm:prSet loTypeId="urn:microsoft.com/office/officeart/2005/8/layout/hierarchy3" loCatId="hierarchy" qsTypeId="urn:microsoft.com/office/officeart/2005/8/quickstyle/simple5" qsCatId="simple" csTypeId="urn:microsoft.com/office/officeart/2005/8/colors/accent1_2" csCatId="accent1" phldr="1"/>
      <dgm:spPr/>
      <dgm:t>
        <a:bodyPr/>
        <a:lstStyle/>
        <a:p>
          <a:endParaRPr lang="fr-FR"/>
        </a:p>
      </dgm:t>
    </dgm:pt>
    <dgm:pt modelId="{F47DF1AF-9F3E-4723-B19B-639C3F1B4337}">
      <dgm:prSet phldrT="[Texte]" custT="1"/>
      <dgm:spPr>
        <a:xfrm>
          <a:off x="2155548" y="182980"/>
          <a:ext cx="2054817" cy="687814"/>
        </a:xfrm>
        <a:gradFill rotWithShape="0">
          <a:gsLst>
            <a:gs pos="0">
              <a:srgbClr val="FFCC33">
                <a:hueOff val="0"/>
                <a:satOff val="0"/>
                <a:lumOff val="0"/>
                <a:alphaOff val="0"/>
                <a:shade val="51000"/>
                <a:satMod val="130000"/>
              </a:srgbClr>
            </a:gs>
            <a:gs pos="80000">
              <a:srgbClr val="FFCC33">
                <a:hueOff val="0"/>
                <a:satOff val="0"/>
                <a:lumOff val="0"/>
                <a:alphaOff val="0"/>
                <a:shade val="93000"/>
                <a:satMod val="130000"/>
              </a:srgbClr>
            </a:gs>
            <a:gs pos="100000">
              <a:srgbClr val="FFCC33">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fr-FR" sz="1800" b="1" dirty="0">
              <a:solidFill>
                <a:srgbClr val="000000"/>
              </a:solidFill>
              <a:latin typeface="Arial"/>
              <a:ea typeface="MS PGothic"/>
              <a:cs typeface="+mn-cs"/>
            </a:rPr>
            <a:t>Acteurs Métier</a:t>
          </a:r>
        </a:p>
      </dgm:t>
    </dgm:pt>
    <dgm:pt modelId="{26B9ED37-A7C0-4679-878B-2ADF63215427}" type="parTrans" cxnId="{C82F261C-C27D-4B12-8952-E060683E8662}">
      <dgm:prSet/>
      <dgm:spPr/>
      <dgm:t>
        <a:bodyPr/>
        <a:lstStyle/>
        <a:p>
          <a:endParaRPr lang="fr-FR" sz="1400"/>
        </a:p>
      </dgm:t>
    </dgm:pt>
    <dgm:pt modelId="{B16C2076-2AF1-4E4F-9FF9-E891855C97FC}" type="sibTrans" cxnId="{C82F261C-C27D-4B12-8952-E060683E8662}">
      <dgm:prSet/>
      <dgm:spPr/>
      <dgm:t>
        <a:bodyPr/>
        <a:lstStyle/>
        <a:p>
          <a:endParaRPr lang="fr-FR" sz="1400"/>
        </a:p>
      </dgm:t>
    </dgm:pt>
    <dgm:pt modelId="{E6378C3A-46E4-452D-AE1E-A28576112773}">
      <dgm:prSet phldrT="[Texte]" custT="1"/>
      <dgm:spPr>
        <a:xfrm>
          <a:off x="2566512" y="1042748"/>
          <a:ext cx="1643853" cy="687814"/>
        </a:xfr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gm:spPr>
      <dgm:t>
        <a:bodyPr/>
        <a:lstStyle/>
        <a:p>
          <a:pPr>
            <a:buNone/>
          </a:pPr>
          <a:r>
            <a:rPr lang="fr-FR" sz="1600" dirty="0">
              <a:solidFill>
                <a:srgbClr val="000000">
                  <a:hueOff val="0"/>
                  <a:satOff val="0"/>
                  <a:lumOff val="0"/>
                  <a:alphaOff val="0"/>
                </a:srgbClr>
              </a:solidFill>
              <a:latin typeface="Arial"/>
              <a:ea typeface="MS PGothic"/>
              <a:cs typeface="+mn-cs"/>
            </a:rPr>
            <a:t>Collaborateur</a:t>
          </a:r>
        </a:p>
      </dgm:t>
    </dgm:pt>
    <dgm:pt modelId="{635EDC74-917F-4217-AD3E-2F4F73DF39BD}" type="parTrans" cxnId="{DCC097BC-3A74-448F-9A67-129586F804B5}">
      <dgm:prSet/>
      <dgm:spPr>
        <a:xfrm>
          <a:off x="2361030" y="870794"/>
          <a:ext cx="205481" cy="515860"/>
        </a:xfrm>
        <a:noFill/>
        <a:ln w="25400" cap="flat" cmpd="sng" algn="ctr">
          <a:solidFill>
            <a:srgbClr val="FFCC33">
              <a:shade val="60000"/>
              <a:hueOff val="0"/>
              <a:satOff val="0"/>
              <a:lumOff val="0"/>
              <a:alphaOff val="0"/>
            </a:srgbClr>
          </a:solidFill>
          <a:prstDash val="solid"/>
        </a:ln>
        <a:effectLst/>
      </dgm:spPr>
      <dgm:t>
        <a:bodyPr/>
        <a:lstStyle/>
        <a:p>
          <a:endParaRPr lang="fr-FR" sz="1400"/>
        </a:p>
      </dgm:t>
    </dgm:pt>
    <dgm:pt modelId="{020159B3-9DB6-41FF-8934-B15334743A52}" type="sibTrans" cxnId="{DCC097BC-3A74-448F-9A67-129586F804B5}">
      <dgm:prSet/>
      <dgm:spPr/>
      <dgm:t>
        <a:bodyPr/>
        <a:lstStyle/>
        <a:p>
          <a:endParaRPr lang="fr-FR" sz="1400"/>
        </a:p>
      </dgm:t>
    </dgm:pt>
    <dgm:pt modelId="{1FE7409C-A2E9-476D-9497-B77BEAFEE09F}">
      <dgm:prSet phldrT="[Texte]" custT="1"/>
      <dgm:spPr>
        <a:xfrm>
          <a:off x="2566512" y="1902516"/>
          <a:ext cx="1643853" cy="687814"/>
        </a:xfr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gm:spPr>
      <dgm:t>
        <a:bodyPr/>
        <a:lstStyle/>
        <a:p>
          <a:pPr>
            <a:buNone/>
          </a:pPr>
          <a:r>
            <a:rPr lang="fr-FR" sz="1600" dirty="0">
              <a:solidFill>
                <a:srgbClr val="000000">
                  <a:hueOff val="0"/>
                  <a:satOff val="0"/>
                  <a:lumOff val="0"/>
                  <a:alphaOff val="0"/>
                </a:srgbClr>
              </a:solidFill>
              <a:latin typeface="Arial"/>
              <a:ea typeface="MS PGothic"/>
              <a:cs typeface="+mn-cs"/>
            </a:rPr>
            <a:t>Manager de service</a:t>
          </a:r>
        </a:p>
      </dgm:t>
    </dgm:pt>
    <dgm:pt modelId="{A39EE604-712D-48BB-9EF0-5EFDA9A2AED6}" type="parTrans" cxnId="{77C52784-CBDD-4988-9FE4-A6A311265A3D}">
      <dgm:prSet/>
      <dgm:spPr>
        <a:xfrm>
          <a:off x="2361030" y="870794"/>
          <a:ext cx="205481" cy="1375628"/>
        </a:xfrm>
        <a:noFill/>
        <a:ln w="25400" cap="flat" cmpd="sng" algn="ctr">
          <a:solidFill>
            <a:srgbClr val="FFCC33">
              <a:shade val="60000"/>
              <a:hueOff val="0"/>
              <a:satOff val="0"/>
              <a:lumOff val="0"/>
              <a:alphaOff val="0"/>
            </a:srgbClr>
          </a:solidFill>
          <a:prstDash val="solid"/>
        </a:ln>
        <a:effectLst/>
      </dgm:spPr>
      <dgm:t>
        <a:bodyPr/>
        <a:lstStyle/>
        <a:p>
          <a:endParaRPr lang="fr-FR" sz="1400"/>
        </a:p>
      </dgm:t>
    </dgm:pt>
    <dgm:pt modelId="{06CC33F6-A8FC-4485-B0E2-C838ADDFC84C}" type="sibTrans" cxnId="{77C52784-CBDD-4988-9FE4-A6A311265A3D}">
      <dgm:prSet/>
      <dgm:spPr/>
      <dgm:t>
        <a:bodyPr/>
        <a:lstStyle/>
        <a:p>
          <a:endParaRPr lang="fr-FR" sz="1400"/>
        </a:p>
      </dgm:t>
    </dgm:pt>
    <dgm:pt modelId="{7666A826-5BA3-463F-A0FD-B4A86740409F}">
      <dgm:prSet phldrT="[Texte]" custT="1"/>
      <dgm:spPr>
        <a:xfrm>
          <a:off x="4554273" y="182980"/>
          <a:ext cx="2200881" cy="687814"/>
        </a:xfrm>
        <a:gradFill rotWithShape="0">
          <a:gsLst>
            <a:gs pos="0">
              <a:srgbClr val="FFCC33">
                <a:hueOff val="0"/>
                <a:satOff val="0"/>
                <a:lumOff val="0"/>
                <a:alphaOff val="0"/>
                <a:shade val="51000"/>
                <a:satMod val="130000"/>
              </a:srgbClr>
            </a:gs>
            <a:gs pos="80000">
              <a:srgbClr val="FFCC33">
                <a:hueOff val="0"/>
                <a:satOff val="0"/>
                <a:lumOff val="0"/>
                <a:alphaOff val="0"/>
                <a:shade val="93000"/>
                <a:satMod val="130000"/>
              </a:srgbClr>
            </a:gs>
            <a:gs pos="100000">
              <a:srgbClr val="FFCC33">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fr-FR" sz="1800" b="1" dirty="0">
              <a:solidFill>
                <a:srgbClr val="000000"/>
              </a:solidFill>
              <a:latin typeface="Arial"/>
              <a:ea typeface="MS PGothic"/>
              <a:cs typeface="+mn-cs"/>
            </a:rPr>
            <a:t>Réseau RM</a:t>
          </a:r>
        </a:p>
      </dgm:t>
    </dgm:pt>
    <dgm:pt modelId="{83BF2779-869B-44C1-9DE4-B1C986A8B3ED}" type="parTrans" cxnId="{5B2D0351-F02B-4AA8-878A-57E7D74E7FED}">
      <dgm:prSet/>
      <dgm:spPr/>
      <dgm:t>
        <a:bodyPr/>
        <a:lstStyle/>
        <a:p>
          <a:endParaRPr lang="fr-FR" sz="1400"/>
        </a:p>
      </dgm:t>
    </dgm:pt>
    <dgm:pt modelId="{4117DF2B-017D-440E-9763-79D57689E94B}" type="sibTrans" cxnId="{5B2D0351-F02B-4AA8-878A-57E7D74E7FED}">
      <dgm:prSet/>
      <dgm:spPr/>
      <dgm:t>
        <a:bodyPr/>
        <a:lstStyle/>
        <a:p>
          <a:endParaRPr lang="fr-FR" sz="1400"/>
        </a:p>
      </dgm:t>
    </dgm:pt>
    <dgm:pt modelId="{B25598A4-2E3A-4516-B609-63FE7E870E60}">
      <dgm:prSet phldrT="[Texte]" custT="1"/>
      <dgm:spPr>
        <a:xfrm>
          <a:off x="4994449" y="1042748"/>
          <a:ext cx="1760705" cy="687814"/>
        </a:xfr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gm:spPr>
      <dgm:t>
        <a:bodyPr/>
        <a:lstStyle/>
        <a:p>
          <a:pPr>
            <a:buNone/>
          </a:pPr>
          <a:r>
            <a:rPr lang="fr-FR" sz="1600" dirty="0">
              <a:solidFill>
                <a:srgbClr val="000000">
                  <a:hueOff val="0"/>
                  <a:satOff val="0"/>
                  <a:lumOff val="0"/>
                  <a:alphaOff val="0"/>
                </a:srgbClr>
              </a:solidFill>
              <a:latin typeface="Arial"/>
              <a:ea typeface="MS PGothic"/>
              <a:cs typeface="+mn-cs"/>
            </a:rPr>
            <a:t>Correspondant RM</a:t>
          </a:r>
        </a:p>
      </dgm:t>
    </dgm:pt>
    <dgm:pt modelId="{58B71603-F20D-4799-B5BB-4DD0D44FC2DC}" type="parTrans" cxnId="{3E26E37D-4493-4471-B455-86C28714C055}">
      <dgm:prSet/>
      <dgm:spPr>
        <a:xfrm>
          <a:off x="4774361" y="870794"/>
          <a:ext cx="220088" cy="515860"/>
        </a:xfrm>
        <a:noFill/>
        <a:ln w="25400" cap="flat" cmpd="sng" algn="ctr">
          <a:solidFill>
            <a:srgbClr val="FFCC33">
              <a:shade val="60000"/>
              <a:hueOff val="0"/>
              <a:satOff val="0"/>
              <a:lumOff val="0"/>
              <a:alphaOff val="0"/>
            </a:srgbClr>
          </a:solidFill>
          <a:prstDash val="solid"/>
        </a:ln>
        <a:effectLst/>
      </dgm:spPr>
      <dgm:t>
        <a:bodyPr/>
        <a:lstStyle/>
        <a:p>
          <a:endParaRPr lang="fr-FR" sz="1400"/>
        </a:p>
      </dgm:t>
    </dgm:pt>
    <dgm:pt modelId="{980D11B7-1BC9-4ED0-B16A-5F2D154C38F9}" type="sibTrans" cxnId="{3E26E37D-4493-4471-B455-86C28714C055}">
      <dgm:prSet/>
      <dgm:spPr/>
      <dgm:t>
        <a:bodyPr/>
        <a:lstStyle/>
        <a:p>
          <a:endParaRPr lang="fr-FR" sz="1400"/>
        </a:p>
      </dgm:t>
    </dgm:pt>
    <dgm:pt modelId="{99B92BCB-B620-4788-A5C2-FA65F4997602}">
      <dgm:prSet phldrT="[Texte]" custT="1"/>
      <dgm:spPr>
        <a:xfrm>
          <a:off x="4994449" y="2762284"/>
          <a:ext cx="1760705" cy="687814"/>
        </a:xfr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gm:spPr>
      <dgm:t>
        <a:bodyPr/>
        <a:lstStyle/>
        <a:p>
          <a:pPr>
            <a:buNone/>
          </a:pPr>
          <a:r>
            <a:rPr lang="fr-FR" sz="1600" dirty="0">
              <a:solidFill>
                <a:srgbClr val="000000">
                  <a:hueOff val="0"/>
                  <a:satOff val="0"/>
                  <a:lumOff val="0"/>
                  <a:alphaOff val="0"/>
                </a:srgbClr>
              </a:solidFill>
              <a:latin typeface="Arial"/>
              <a:ea typeface="MS PGothic"/>
              <a:cs typeface="+mn-cs"/>
            </a:rPr>
            <a:t>Equipe RM Groupe</a:t>
          </a:r>
        </a:p>
      </dgm:t>
    </dgm:pt>
    <dgm:pt modelId="{3236B94B-5AA4-4529-A775-D0C52AB896FE}" type="parTrans" cxnId="{1973F3D1-8B1D-47AB-9A5A-76B06D1CCC01}">
      <dgm:prSet/>
      <dgm:spPr>
        <a:xfrm>
          <a:off x="4774361" y="870794"/>
          <a:ext cx="220088" cy="2235396"/>
        </a:xfrm>
        <a:noFill/>
        <a:ln w="25400" cap="flat" cmpd="sng" algn="ctr">
          <a:solidFill>
            <a:srgbClr val="FFCC33">
              <a:shade val="60000"/>
              <a:hueOff val="0"/>
              <a:satOff val="0"/>
              <a:lumOff val="0"/>
              <a:alphaOff val="0"/>
            </a:srgbClr>
          </a:solidFill>
          <a:prstDash val="solid"/>
        </a:ln>
        <a:effectLst/>
      </dgm:spPr>
      <dgm:t>
        <a:bodyPr/>
        <a:lstStyle/>
        <a:p>
          <a:endParaRPr lang="fr-FR" sz="1400"/>
        </a:p>
      </dgm:t>
    </dgm:pt>
    <dgm:pt modelId="{5C66A911-13CD-4EBE-AABE-C89EDC40AD0C}" type="sibTrans" cxnId="{1973F3D1-8B1D-47AB-9A5A-76B06D1CCC01}">
      <dgm:prSet/>
      <dgm:spPr/>
      <dgm:t>
        <a:bodyPr/>
        <a:lstStyle/>
        <a:p>
          <a:endParaRPr lang="fr-FR" sz="1400"/>
        </a:p>
      </dgm:t>
    </dgm:pt>
    <dgm:pt modelId="{808758A8-7FCC-4187-BC67-163D12024BF5}">
      <dgm:prSet phldrT="[Texte]" custT="1"/>
      <dgm:spPr>
        <a:xfrm>
          <a:off x="2566512" y="2762284"/>
          <a:ext cx="1643853" cy="687814"/>
        </a:xfr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gm:spPr>
      <dgm:t>
        <a:bodyPr/>
        <a:lstStyle/>
        <a:p>
          <a:pPr>
            <a:buNone/>
          </a:pPr>
          <a:r>
            <a:rPr lang="fr-FR" sz="1600" dirty="0">
              <a:solidFill>
                <a:srgbClr val="000000">
                  <a:hueOff val="0"/>
                  <a:satOff val="0"/>
                  <a:lumOff val="0"/>
                  <a:alphaOff val="0"/>
                </a:srgbClr>
              </a:solidFill>
              <a:latin typeface="Arial"/>
              <a:ea typeface="MS PGothic"/>
              <a:cs typeface="+mn-cs"/>
            </a:rPr>
            <a:t>Directeur d’entité</a:t>
          </a:r>
        </a:p>
      </dgm:t>
    </dgm:pt>
    <dgm:pt modelId="{11971084-C625-43A3-8648-BC9890BBB116}" type="parTrans" cxnId="{A60DBA4A-7DBC-403E-9176-448DBF1DAF54}">
      <dgm:prSet/>
      <dgm:spPr>
        <a:xfrm>
          <a:off x="2361030" y="870794"/>
          <a:ext cx="205481" cy="2235396"/>
        </a:xfrm>
        <a:noFill/>
        <a:ln w="25400" cap="flat" cmpd="sng" algn="ctr">
          <a:solidFill>
            <a:srgbClr val="FFCC33">
              <a:shade val="60000"/>
              <a:hueOff val="0"/>
              <a:satOff val="0"/>
              <a:lumOff val="0"/>
              <a:alphaOff val="0"/>
            </a:srgbClr>
          </a:solidFill>
          <a:prstDash val="solid"/>
        </a:ln>
        <a:effectLst/>
      </dgm:spPr>
      <dgm:t>
        <a:bodyPr/>
        <a:lstStyle/>
        <a:p>
          <a:endParaRPr lang="fr-FR" sz="1400"/>
        </a:p>
      </dgm:t>
    </dgm:pt>
    <dgm:pt modelId="{C4EAF0BE-2F33-4F40-BE3F-263B8C5B9452}" type="sibTrans" cxnId="{A60DBA4A-7DBC-403E-9176-448DBF1DAF54}">
      <dgm:prSet/>
      <dgm:spPr/>
      <dgm:t>
        <a:bodyPr/>
        <a:lstStyle/>
        <a:p>
          <a:endParaRPr lang="fr-FR" sz="1400"/>
        </a:p>
      </dgm:t>
    </dgm:pt>
    <dgm:pt modelId="{69F395E1-DDDC-4E42-A768-7AE6459B2FC7}">
      <dgm:prSet phldrT="[Texte]" custT="1"/>
      <dgm:spPr>
        <a:xfrm>
          <a:off x="4994449" y="1902516"/>
          <a:ext cx="1755565" cy="687814"/>
        </a:xfr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gm:spPr>
      <dgm:t>
        <a:bodyPr/>
        <a:lstStyle/>
        <a:p>
          <a:pPr>
            <a:buNone/>
          </a:pPr>
          <a:r>
            <a:rPr lang="fr-FR" sz="1600" dirty="0">
              <a:solidFill>
                <a:srgbClr val="000000">
                  <a:hueOff val="0"/>
                  <a:satOff val="0"/>
                  <a:lumOff val="0"/>
                  <a:alphaOff val="0"/>
                </a:srgbClr>
              </a:solidFill>
              <a:latin typeface="Arial"/>
              <a:ea typeface="MS PGothic"/>
              <a:cs typeface="+mn-cs"/>
            </a:rPr>
            <a:t>Records Manager</a:t>
          </a:r>
        </a:p>
      </dgm:t>
    </dgm:pt>
    <dgm:pt modelId="{8173196F-3458-43F1-82C7-F6AB9A05B49D}" type="parTrans" cxnId="{0575099B-2768-4D1B-B7E0-2F5465F613F8}">
      <dgm:prSet/>
      <dgm:spPr>
        <a:xfrm>
          <a:off x="4774361" y="870794"/>
          <a:ext cx="220088" cy="1375628"/>
        </a:xfrm>
        <a:noFill/>
        <a:ln w="25400" cap="flat" cmpd="sng" algn="ctr">
          <a:solidFill>
            <a:srgbClr val="FFCC33">
              <a:shade val="60000"/>
              <a:hueOff val="0"/>
              <a:satOff val="0"/>
              <a:lumOff val="0"/>
              <a:alphaOff val="0"/>
            </a:srgbClr>
          </a:solidFill>
          <a:prstDash val="solid"/>
        </a:ln>
        <a:effectLst/>
      </dgm:spPr>
      <dgm:t>
        <a:bodyPr/>
        <a:lstStyle/>
        <a:p>
          <a:endParaRPr lang="fr-FR"/>
        </a:p>
      </dgm:t>
    </dgm:pt>
    <dgm:pt modelId="{1E64B620-E80F-489C-9DBB-8D7F7B33E0C4}" type="sibTrans" cxnId="{0575099B-2768-4D1B-B7E0-2F5465F613F8}">
      <dgm:prSet/>
      <dgm:spPr/>
      <dgm:t>
        <a:bodyPr/>
        <a:lstStyle/>
        <a:p>
          <a:endParaRPr lang="fr-FR"/>
        </a:p>
      </dgm:t>
    </dgm:pt>
    <dgm:pt modelId="{A268B8CC-0FD9-420E-ADCD-E0CC6C2E0C09}">
      <dgm:prSet phldrT="[Texte]" custT="1"/>
      <dgm:spPr>
        <a:xfrm>
          <a:off x="929" y="182980"/>
          <a:ext cx="1810712" cy="687814"/>
        </a:xfrm>
        <a:gradFill rotWithShape="0">
          <a:gsLst>
            <a:gs pos="0">
              <a:srgbClr val="FFCC33">
                <a:hueOff val="0"/>
                <a:satOff val="0"/>
                <a:lumOff val="0"/>
                <a:alphaOff val="0"/>
                <a:shade val="51000"/>
                <a:satMod val="130000"/>
              </a:srgbClr>
            </a:gs>
            <a:gs pos="80000">
              <a:srgbClr val="FFCC33">
                <a:hueOff val="0"/>
                <a:satOff val="0"/>
                <a:lumOff val="0"/>
                <a:alphaOff val="0"/>
                <a:shade val="93000"/>
                <a:satMod val="130000"/>
              </a:srgbClr>
            </a:gs>
            <a:gs pos="100000">
              <a:srgbClr val="FFCC33">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fr-FR" sz="1800" b="1" dirty="0">
              <a:solidFill>
                <a:srgbClr val="000000"/>
              </a:solidFill>
              <a:latin typeface="Arial"/>
              <a:ea typeface="MS PGothic"/>
              <a:cs typeface="+mn-cs"/>
            </a:rPr>
            <a:t>Acteurs transverses</a:t>
          </a:r>
        </a:p>
      </dgm:t>
    </dgm:pt>
    <dgm:pt modelId="{8EB42B9B-09A5-482E-90D6-2D8A6DB70038}" type="parTrans" cxnId="{299C0FAB-7AD9-445D-9616-1766D313B0F7}">
      <dgm:prSet/>
      <dgm:spPr/>
      <dgm:t>
        <a:bodyPr/>
        <a:lstStyle/>
        <a:p>
          <a:endParaRPr lang="fr-FR"/>
        </a:p>
      </dgm:t>
    </dgm:pt>
    <dgm:pt modelId="{C21BF747-64F2-455B-ABA2-D504A869FED8}" type="sibTrans" cxnId="{299C0FAB-7AD9-445D-9616-1766D313B0F7}">
      <dgm:prSet/>
      <dgm:spPr/>
      <dgm:t>
        <a:bodyPr/>
        <a:lstStyle/>
        <a:p>
          <a:endParaRPr lang="fr-FR"/>
        </a:p>
      </dgm:t>
    </dgm:pt>
    <dgm:pt modelId="{22C110C3-114A-4F07-BBC7-2FC6B71F89AB}">
      <dgm:prSet phldrT="[Texte]" custT="1"/>
      <dgm:spPr>
        <a:xfrm>
          <a:off x="363071" y="1042748"/>
          <a:ext cx="1600406" cy="687814"/>
        </a:xfr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gm:spPr>
      <dgm:t>
        <a:bodyPr/>
        <a:lstStyle/>
        <a:p>
          <a:pPr>
            <a:buNone/>
          </a:pPr>
          <a:r>
            <a:rPr lang="fr-FR" sz="1600" b="0" dirty="0">
              <a:solidFill>
                <a:srgbClr val="000000"/>
              </a:solidFill>
              <a:latin typeface="Arial"/>
              <a:ea typeface="MS PGothic"/>
              <a:cs typeface="+mn-cs"/>
            </a:rPr>
            <a:t>Direction juridique</a:t>
          </a:r>
        </a:p>
      </dgm:t>
    </dgm:pt>
    <dgm:pt modelId="{C3384721-57EF-4B40-A483-F732A015A201}" type="parTrans" cxnId="{A6216EBA-A34D-4A8C-AADA-C0CB1FAE8A69}">
      <dgm:prSet/>
      <dgm:spPr>
        <a:xfrm>
          <a:off x="182000" y="870794"/>
          <a:ext cx="181071" cy="515860"/>
        </a:xfrm>
        <a:noFill/>
        <a:ln w="25400" cap="flat" cmpd="sng" algn="ctr">
          <a:solidFill>
            <a:srgbClr val="FFCC33">
              <a:shade val="60000"/>
              <a:hueOff val="0"/>
              <a:satOff val="0"/>
              <a:lumOff val="0"/>
              <a:alphaOff val="0"/>
            </a:srgbClr>
          </a:solidFill>
          <a:prstDash val="solid"/>
        </a:ln>
        <a:effectLst/>
      </dgm:spPr>
      <dgm:t>
        <a:bodyPr/>
        <a:lstStyle/>
        <a:p>
          <a:endParaRPr lang="fr-FR"/>
        </a:p>
      </dgm:t>
    </dgm:pt>
    <dgm:pt modelId="{7862311D-63EA-493D-9B4B-9C1B11DC8F0A}" type="sibTrans" cxnId="{A6216EBA-A34D-4A8C-AADA-C0CB1FAE8A69}">
      <dgm:prSet/>
      <dgm:spPr/>
      <dgm:t>
        <a:bodyPr/>
        <a:lstStyle/>
        <a:p>
          <a:endParaRPr lang="fr-FR"/>
        </a:p>
      </dgm:t>
    </dgm:pt>
    <dgm:pt modelId="{E8ACD7E5-A950-4E6B-A3D5-BF434BE5CFC3}">
      <dgm:prSet phldrT="[Texte]" custT="1"/>
      <dgm:spPr>
        <a:xfrm>
          <a:off x="363071" y="1902516"/>
          <a:ext cx="1600406" cy="687814"/>
        </a:xfr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gm:spPr>
      <dgm:t>
        <a:bodyPr/>
        <a:lstStyle/>
        <a:p>
          <a:pPr>
            <a:buNone/>
          </a:pPr>
          <a:r>
            <a:rPr lang="fr-FR" sz="1600" b="0" dirty="0">
              <a:solidFill>
                <a:srgbClr val="000000"/>
              </a:solidFill>
              <a:latin typeface="Arial"/>
              <a:ea typeface="MS PGothic"/>
              <a:cs typeface="+mn-cs"/>
            </a:rPr>
            <a:t>Direction informatique</a:t>
          </a:r>
        </a:p>
      </dgm:t>
    </dgm:pt>
    <dgm:pt modelId="{2AB26017-D7FD-46F9-A345-45681F286DC3}" type="parTrans" cxnId="{E3F08A7B-A9E3-46C1-B765-2344F036AA96}">
      <dgm:prSet/>
      <dgm:spPr>
        <a:xfrm>
          <a:off x="182000" y="870794"/>
          <a:ext cx="181071" cy="1375628"/>
        </a:xfrm>
        <a:noFill/>
        <a:ln w="25400" cap="flat" cmpd="sng" algn="ctr">
          <a:solidFill>
            <a:srgbClr val="FFCC33">
              <a:shade val="60000"/>
              <a:hueOff val="0"/>
              <a:satOff val="0"/>
              <a:lumOff val="0"/>
              <a:alphaOff val="0"/>
            </a:srgbClr>
          </a:solidFill>
          <a:prstDash val="solid"/>
        </a:ln>
        <a:effectLst/>
      </dgm:spPr>
      <dgm:t>
        <a:bodyPr/>
        <a:lstStyle/>
        <a:p>
          <a:endParaRPr lang="fr-FR"/>
        </a:p>
      </dgm:t>
    </dgm:pt>
    <dgm:pt modelId="{B76B11AC-25F5-4E73-9019-9652233D93A4}" type="sibTrans" cxnId="{E3F08A7B-A9E3-46C1-B765-2344F036AA96}">
      <dgm:prSet/>
      <dgm:spPr/>
      <dgm:t>
        <a:bodyPr/>
        <a:lstStyle/>
        <a:p>
          <a:endParaRPr lang="fr-FR"/>
        </a:p>
      </dgm:t>
    </dgm:pt>
    <dgm:pt modelId="{3BD4602A-236A-48DB-9483-8464EFA8E501}">
      <dgm:prSet phldrT="[Texte]" custT="1"/>
      <dgm:spPr>
        <a:xfrm>
          <a:off x="363071" y="2762284"/>
          <a:ext cx="1600406" cy="687814"/>
        </a:xfr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gm:spPr>
      <dgm:t>
        <a:bodyPr/>
        <a:lstStyle/>
        <a:p>
          <a:pPr>
            <a:buNone/>
          </a:pPr>
          <a:r>
            <a:rPr lang="fr-FR" sz="1200" b="0" dirty="0">
              <a:solidFill>
                <a:srgbClr val="000000"/>
              </a:solidFill>
              <a:latin typeface="Arial"/>
              <a:ea typeface="MS PGothic"/>
              <a:cs typeface="+mn-cs"/>
            </a:rPr>
            <a:t>Direction Prévention et Protection du Groupe </a:t>
          </a:r>
        </a:p>
      </dgm:t>
    </dgm:pt>
    <dgm:pt modelId="{4EDA1BFA-263C-4C8C-9FB2-AB83B8335BA7}" type="parTrans" cxnId="{300FF6F7-9802-484C-A3F5-4E81CE2D1346}">
      <dgm:prSet/>
      <dgm:spPr>
        <a:xfrm>
          <a:off x="182000" y="870794"/>
          <a:ext cx="181071" cy="2235396"/>
        </a:xfrm>
        <a:noFill/>
        <a:ln w="25400" cap="flat" cmpd="sng" algn="ctr">
          <a:solidFill>
            <a:srgbClr val="FFCC33">
              <a:shade val="60000"/>
              <a:hueOff val="0"/>
              <a:satOff val="0"/>
              <a:lumOff val="0"/>
              <a:alphaOff val="0"/>
            </a:srgbClr>
          </a:solidFill>
          <a:prstDash val="solid"/>
        </a:ln>
        <a:effectLst/>
      </dgm:spPr>
      <dgm:t>
        <a:bodyPr/>
        <a:lstStyle/>
        <a:p>
          <a:endParaRPr lang="fr-FR"/>
        </a:p>
      </dgm:t>
    </dgm:pt>
    <dgm:pt modelId="{2C6F0F9B-54AA-478D-8ABF-DE36BD130580}" type="sibTrans" cxnId="{300FF6F7-9802-484C-A3F5-4E81CE2D1346}">
      <dgm:prSet/>
      <dgm:spPr/>
      <dgm:t>
        <a:bodyPr/>
        <a:lstStyle/>
        <a:p>
          <a:endParaRPr lang="fr-FR"/>
        </a:p>
      </dgm:t>
    </dgm:pt>
    <dgm:pt modelId="{603BCDAF-7EC0-4E46-9AEE-A40C76CF64DC}" type="pres">
      <dgm:prSet presAssocID="{B0C4DE4A-594D-4EA2-9933-E3FB99DC22B1}" presName="diagram" presStyleCnt="0">
        <dgm:presLayoutVars>
          <dgm:chPref val="1"/>
          <dgm:dir/>
          <dgm:animOne val="branch"/>
          <dgm:animLvl val="lvl"/>
          <dgm:resizeHandles/>
        </dgm:presLayoutVars>
      </dgm:prSet>
      <dgm:spPr/>
      <dgm:t>
        <a:bodyPr/>
        <a:lstStyle/>
        <a:p>
          <a:endParaRPr lang="fr-FR"/>
        </a:p>
      </dgm:t>
    </dgm:pt>
    <dgm:pt modelId="{D27F418C-C6D8-442D-BBE0-15400B99F66E}" type="pres">
      <dgm:prSet presAssocID="{A268B8CC-0FD9-420E-ADCD-E0CC6C2E0C09}" presName="root" presStyleCnt="0"/>
      <dgm:spPr/>
    </dgm:pt>
    <dgm:pt modelId="{3C337B7D-D3DA-4827-9580-90E7AFB38248}" type="pres">
      <dgm:prSet presAssocID="{A268B8CC-0FD9-420E-ADCD-E0CC6C2E0C09}" presName="rootComposite" presStyleCnt="0"/>
      <dgm:spPr/>
    </dgm:pt>
    <dgm:pt modelId="{6F3C250C-2696-4AD7-9C22-360DB0EFCCA0}" type="pres">
      <dgm:prSet presAssocID="{A268B8CC-0FD9-420E-ADCD-E0CC6C2E0C09}" presName="rootText" presStyleLbl="node1" presStyleIdx="0" presStyleCnt="3" custScaleX="131628"/>
      <dgm:spPr>
        <a:prstGeom prst="roundRect">
          <a:avLst>
            <a:gd name="adj" fmla="val 10000"/>
          </a:avLst>
        </a:prstGeom>
      </dgm:spPr>
      <dgm:t>
        <a:bodyPr/>
        <a:lstStyle/>
        <a:p>
          <a:endParaRPr lang="fr-FR"/>
        </a:p>
      </dgm:t>
    </dgm:pt>
    <dgm:pt modelId="{A034F15A-F416-43E2-96CB-4ED72EDC522E}" type="pres">
      <dgm:prSet presAssocID="{A268B8CC-0FD9-420E-ADCD-E0CC6C2E0C09}" presName="rootConnector" presStyleLbl="node1" presStyleIdx="0" presStyleCnt="3"/>
      <dgm:spPr/>
      <dgm:t>
        <a:bodyPr/>
        <a:lstStyle/>
        <a:p>
          <a:endParaRPr lang="fr-FR"/>
        </a:p>
      </dgm:t>
    </dgm:pt>
    <dgm:pt modelId="{C0DBFA41-E747-4891-9044-8CDD6D7EE896}" type="pres">
      <dgm:prSet presAssocID="{A268B8CC-0FD9-420E-ADCD-E0CC6C2E0C09}" presName="childShape" presStyleCnt="0"/>
      <dgm:spPr/>
    </dgm:pt>
    <dgm:pt modelId="{38D5D131-81E2-4AA2-9471-F4F7F50ED1AF}" type="pres">
      <dgm:prSet presAssocID="{C3384721-57EF-4B40-A483-F732A015A201}" presName="Name13" presStyleLbl="parChTrans1D2" presStyleIdx="0" presStyleCnt="9"/>
      <dgm:spPr>
        <a:custGeom>
          <a:avLst/>
          <a:gdLst/>
          <a:ahLst/>
          <a:cxnLst/>
          <a:rect l="0" t="0" r="0" b="0"/>
          <a:pathLst>
            <a:path>
              <a:moveTo>
                <a:pt x="0" y="0"/>
              </a:moveTo>
              <a:lnTo>
                <a:pt x="0" y="515860"/>
              </a:lnTo>
              <a:lnTo>
                <a:pt x="181071" y="515860"/>
              </a:lnTo>
            </a:path>
          </a:pathLst>
        </a:custGeom>
      </dgm:spPr>
      <dgm:t>
        <a:bodyPr/>
        <a:lstStyle/>
        <a:p>
          <a:endParaRPr lang="fr-FR"/>
        </a:p>
      </dgm:t>
    </dgm:pt>
    <dgm:pt modelId="{AFA986BF-6958-4464-9A79-EE1D4B3D32FF}" type="pres">
      <dgm:prSet presAssocID="{22C110C3-114A-4F07-BBC7-2FC6B71F89AB}" presName="childText" presStyleLbl="bgAcc1" presStyleIdx="0" presStyleCnt="9" custScaleX="145425">
        <dgm:presLayoutVars>
          <dgm:bulletEnabled val="1"/>
        </dgm:presLayoutVars>
      </dgm:prSet>
      <dgm:spPr>
        <a:prstGeom prst="roundRect">
          <a:avLst>
            <a:gd name="adj" fmla="val 10000"/>
          </a:avLst>
        </a:prstGeom>
      </dgm:spPr>
      <dgm:t>
        <a:bodyPr/>
        <a:lstStyle/>
        <a:p>
          <a:endParaRPr lang="fr-FR"/>
        </a:p>
      </dgm:t>
    </dgm:pt>
    <dgm:pt modelId="{58C47FBD-3474-4F13-BBDB-2144719551AC}" type="pres">
      <dgm:prSet presAssocID="{2AB26017-D7FD-46F9-A345-45681F286DC3}" presName="Name13" presStyleLbl="parChTrans1D2" presStyleIdx="1" presStyleCnt="9"/>
      <dgm:spPr>
        <a:custGeom>
          <a:avLst/>
          <a:gdLst/>
          <a:ahLst/>
          <a:cxnLst/>
          <a:rect l="0" t="0" r="0" b="0"/>
          <a:pathLst>
            <a:path>
              <a:moveTo>
                <a:pt x="0" y="0"/>
              </a:moveTo>
              <a:lnTo>
                <a:pt x="0" y="1375628"/>
              </a:lnTo>
              <a:lnTo>
                <a:pt x="181071" y="1375628"/>
              </a:lnTo>
            </a:path>
          </a:pathLst>
        </a:custGeom>
      </dgm:spPr>
      <dgm:t>
        <a:bodyPr/>
        <a:lstStyle/>
        <a:p>
          <a:endParaRPr lang="fr-FR"/>
        </a:p>
      </dgm:t>
    </dgm:pt>
    <dgm:pt modelId="{34C842F7-11D9-43B3-9172-9AF8F89CCF16}" type="pres">
      <dgm:prSet presAssocID="{E8ACD7E5-A950-4E6B-A3D5-BF434BE5CFC3}" presName="childText" presStyleLbl="bgAcc1" presStyleIdx="1" presStyleCnt="9" custScaleX="145425">
        <dgm:presLayoutVars>
          <dgm:bulletEnabled val="1"/>
        </dgm:presLayoutVars>
      </dgm:prSet>
      <dgm:spPr>
        <a:prstGeom prst="roundRect">
          <a:avLst>
            <a:gd name="adj" fmla="val 10000"/>
          </a:avLst>
        </a:prstGeom>
      </dgm:spPr>
      <dgm:t>
        <a:bodyPr/>
        <a:lstStyle/>
        <a:p>
          <a:endParaRPr lang="fr-FR"/>
        </a:p>
      </dgm:t>
    </dgm:pt>
    <dgm:pt modelId="{6ACFE7E6-6D4B-4D84-8575-B6A839F11E81}" type="pres">
      <dgm:prSet presAssocID="{4EDA1BFA-263C-4C8C-9FB2-AB83B8335BA7}" presName="Name13" presStyleLbl="parChTrans1D2" presStyleIdx="2" presStyleCnt="9"/>
      <dgm:spPr>
        <a:custGeom>
          <a:avLst/>
          <a:gdLst/>
          <a:ahLst/>
          <a:cxnLst/>
          <a:rect l="0" t="0" r="0" b="0"/>
          <a:pathLst>
            <a:path>
              <a:moveTo>
                <a:pt x="0" y="0"/>
              </a:moveTo>
              <a:lnTo>
                <a:pt x="0" y="2235396"/>
              </a:lnTo>
              <a:lnTo>
                <a:pt x="181071" y="2235396"/>
              </a:lnTo>
            </a:path>
          </a:pathLst>
        </a:custGeom>
      </dgm:spPr>
      <dgm:t>
        <a:bodyPr/>
        <a:lstStyle/>
        <a:p>
          <a:endParaRPr lang="fr-FR"/>
        </a:p>
      </dgm:t>
    </dgm:pt>
    <dgm:pt modelId="{9F607809-6A66-46DB-B43B-B2B7F0FB28BC}" type="pres">
      <dgm:prSet presAssocID="{3BD4602A-236A-48DB-9483-8464EFA8E501}" presName="childText" presStyleLbl="bgAcc1" presStyleIdx="2" presStyleCnt="9" custScaleX="145425">
        <dgm:presLayoutVars>
          <dgm:bulletEnabled val="1"/>
        </dgm:presLayoutVars>
      </dgm:prSet>
      <dgm:spPr>
        <a:prstGeom prst="roundRect">
          <a:avLst>
            <a:gd name="adj" fmla="val 10000"/>
          </a:avLst>
        </a:prstGeom>
      </dgm:spPr>
      <dgm:t>
        <a:bodyPr/>
        <a:lstStyle/>
        <a:p>
          <a:endParaRPr lang="fr-FR"/>
        </a:p>
      </dgm:t>
    </dgm:pt>
    <dgm:pt modelId="{E3E376F4-5093-4A90-B9E3-400E71F262D9}" type="pres">
      <dgm:prSet presAssocID="{F47DF1AF-9F3E-4723-B19B-639C3F1B4337}" presName="root" presStyleCnt="0"/>
      <dgm:spPr/>
    </dgm:pt>
    <dgm:pt modelId="{D2D88F6E-8940-4E25-8FCD-879A96B88173}" type="pres">
      <dgm:prSet presAssocID="{F47DF1AF-9F3E-4723-B19B-639C3F1B4337}" presName="rootComposite" presStyleCnt="0"/>
      <dgm:spPr/>
    </dgm:pt>
    <dgm:pt modelId="{D9CF0495-8490-4A90-9183-58A6F94ABD3B}" type="pres">
      <dgm:prSet presAssocID="{F47DF1AF-9F3E-4723-B19B-639C3F1B4337}" presName="rootText" presStyleLbl="node1" presStyleIdx="1" presStyleCnt="3" custScaleX="149373"/>
      <dgm:spPr>
        <a:prstGeom prst="roundRect">
          <a:avLst>
            <a:gd name="adj" fmla="val 10000"/>
          </a:avLst>
        </a:prstGeom>
      </dgm:spPr>
      <dgm:t>
        <a:bodyPr/>
        <a:lstStyle/>
        <a:p>
          <a:endParaRPr lang="fr-FR"/>
        </a:p>
      </dgm:t>
    </dgm:pt>
    <dgm:pt modelId="{1DB523A5-E715-4C73-86E2-367E021C0715}" type="pres">
      <dgm:prSet presAssocID="{F47DF1AF-9F3E-4723-B19B-639C3F1B4337}" presName="rootConnector" presStyleLbl="node1" presStyleIdx="1" presStyleCnt="3"/>
      <dgm:spPr/>
      <dgm:t>
        <a:bodyPr/>
        <a:lstStyle/>
        <a:p>
          <a:endParaRPr lang="fr-FR"/>
        </a:p>
      </dgm:t>
    </dgm:pt>
    <dgm:pt modelId="{2A7E9184-F174-4AA5-AED4-2BE59971CB36}" type="pres">
      <dgm:prSet presAssocID="{F47DF1AF-9F3E-4723-B19B-639C3F1B4337}" presName="childShape" presStyleCnt="0"/>
      <dgm:spPr/>
    </dgm:pt>
    <dgm:pt modelId="{2D007F0E-2864-46AB-BE5C-941E903C1380}" type="pres">
      <dgm:prSet presAssocID="{635EDC74-917F-4217-AD3E-2F4F73DF39BD}" presName="Name13" presStyleLbl="parChTrans1D2" presStyleIdx="3" presStyleCnt="9"/>
      <dgm:spPr>
        <a:custGeom>
          <a:avLst/>
          <a:gdLst/>
          <a:ahLst/>
          <a:cxnLst/>
          <a:rect l="0" t="0" r="0" b="0"/>
          <a:pathLst>
            <a:path>
              <a:moveTo>
                <a:pt x="0" y="0"/>
              </a:moveTo>
              <a:lnTo>
                <a:pt x="0" y="515860"/>
              </a:lnTo>
              <a:lnTo>
                <a:pt x="205481" y="515860"/>
              </a:lnTo>
            </a:path>
          </a:pathLst>
        </a:custGeom>
      </dgm:spPr>
      <dgm:t>
        <a:bodyPr/>
        <a:lstStyle/>
        <a:p>
          <a:endParaRPr lang="fr-FR"/>
        </a:p>
      </dgm:t>
    </dgm:pt>
    <dgm:pt modelId="{94CF8952-FA88-4B34-B9B5-2E58D8844721}" type="pres">
      <dgm:prSet presAssocID="{E6378C3A-46E4-452D-AE1E-A28576112773}" presName="childText" presStyleLbl="bgAcc1" presStyleIdx="3" presStyleCnt="9" custScaleX="149373">
        <dgm:presLayoutVars>
          <dgm:bulletEnabled val="1"/>
        </dgm:presLayoutVars>
      </dgm:prSet>
      <dgm:spPr>
        <a:prstGeom prst="roundRect">
          <a:avLst>
            <a:gd name="adj" fmla="val 10000"/>
          </a:avLst>
        </a:prstGeom>
      </dgm:spPr>
      <dgm:t>
        <a:bodyPr/>
        <a:lstStyle/>
        <a:p>
          <a:endParaRPr lang="fr-FR"/>
        </a:p>
      </dgm:t>
    </dgm:pt>
    <dgm:pt modelId="{55335299-6D93-413B-8591-925F39B25038}" type="pres">
      <dgm:prSet presAssocID="{A39EE604-712D-48BB-9EF0-5EFDA9A2AED6}" presName="Name13" presStyleLbl="parChTrans1D2" presStyleIdx="4" presStyleCnt="9"/>
      <dgm:spPr>
        <a:custGeom>
          <a:avLst/>
          <a:gdLst/>
          <a:ahLst/>
          <a:cxnLst/>
          <a:rect l="0" t="0" r="0" b="0"/>
          <a:pathLst>
            <a:path>
              <a:moveTo>
                <a:pt x="0" y="0"/>
              </a:moveTo>
              <a:lnTo>
                <a:pt x="0" y="1375628"/>
              </a:lnTo>
              <a:lnTo>
                <a:pt x="205481" y="1375628"/>
              </a:lnTo>
            </a:path>
          </a:pathLst>
        </a:custGeom>
      </dgm:spPr>
      <dgm:t>
        <a:bodyPr/>
        <a:lstStyle/>
        <a:p>
          <a:endParaRPr lang="fr-FR"/>
        </a:p>
      </dgm:t>
    </dgm:pt>
    <dgm:pt modelId="{FD87F03A-154F-4F37-957A-E5A4AB4F6FB5}" type="pres">
      <dgm:prSet presAssocID="{1FE7409C-A2E9-476D-9497-B77BEAFEE09F}" presName="childText" presStyleLbl="bgAcc1" presStyleIdx="4" presStyleCnt="9" custScaleX="149373">
        <dgm:presLayoutVars>
          <dgm:bulletEnabled val="1"/>
        </dgm:presLayoutVars>
      </dgm:prSet>
      <dgm:spPr>
        <a:prstGeom prst="roundRect">
          <a:avLst>
            <a:gd name="adj" fmla="val 10000"/>
          </a:avLst>
        </a:prstGeom>
      </dgm:spPr>
      <dgm:t>
        <a:bodyPr/>
        <a:lstStyle/>
        <a:p>
          <a:endParaRPr lang="fr-FR"/>
        </a:p>
      </dgm:t>
    </dgm:pt>
    <dgm:pt modelId="{2C515A07-515B-4C89-9792-4E429083284C}" type="pres">
      <dgm:prSet presAssocID="{11971084-C625-43A3-8648-BC9890BBB116}" presName="Name13" presStyleLbl="parChTrans1D2" presStyleIdx="5" presStyleCnt="9"/>
      <dgm:spPr>
        <a:custGeom>
          <a:avLst/>
          <a:gdLst/>
          <a:ahLst/>
          <a:cxnLst/>
          <a:rect l="0" t="0" r="0" b="0"/>
          <a:pathLst>
            <a:path>
              <a:moveTo>
                <a:pt x="0" y="0"/>
              </a:moveTo>
              <a:lnTo>
                <a:pt x="0" y="2235396"/>
              </a:lnTo>
              <a:lnTo>
                <a:pt x="205481" y="2235396"/>
              </a:lnTo>
            </a:path>
          </a:pathLst>
        </a:custGeom>
      </dgm:spPr>
      <dgm:t>
        <a:bodyPr/>
        <a:lstStyle/>
        <a:p>
          <a:endParaRPr lang="fr-FR"/>
        </a:p>
      </dgm:t>
    </dgm:pt>
    <dgm:pt modelId="{12E6952E-13F2-4D55-9BAE-E290B7C05DE7}" type="pres">
      <dgm:prSet presAssocID="{808758A8-7FCC-4187-BC67-163D12024BF5}" presName="childText" presStyleLbl="bgAcc1" presStyleIdx="5" presStyleCnt="9" custScaleX="149373">
        <dgm:presLayoutVars>
          <dgm:bulletEnabled val="1"/>
        </dgm:presLayoutVars>
      </dgm:prSet>
      <dgm:spPr>
        <a:prstGeom prst="roundRect">
          <a:avLst>
            <a:gd name="adj" fmla="val 10000"/>
          </a:avLst>
        </a:prstGeom>
      </dgm:spPr>
      <dgm:t>
        <a:bodyPr/>
        <a:lstStyle/>
        <a:p>
          <a:endParaRPr lang="fr-FR"/>
        </a:p>
      </dgm:t>
    </dgm:pt>
    <dgm:pt modelId="{D370A825-888C-430C-B75D-A8ED14628DB0}" type="pres">
      <dgm:prSet presAssocID="{7666A826-5BA3-463F-A0FD-B4A86740409F}" presName="root" presStyleCnt="0"/>
      <dgm:spPr/>
    </dgm:pt>
    <dgm:pt modelId="{EDB1B178-595B-4270-9222-57BA11F095C8}" type="pres">
      <dgm:prSet presAssocID="{7666A826-5BA3-463F-A0FD-B4A86740409F}" presName="rootComposite" presStyleCnt="0"/>
      <dgm:spPr/>
    </dgm:pt>
    <dgm:pt modelId="{207CCB09-F399-42D6-BFAB-9093EA879628}" type="pres">
      <dgm:prSet presAssocID="{7666A826-5BA3-463F-A0FD-B4A86740409F}" presName="rootText" presStyleLbl="node1" presStyleIdx="2" presStyleCnt="3" custScaleX="159991"/>
      <dgm:spPr>
        <a:prstGeom prst="roundRect">
          <a:avLst>
            <a:gd name="adj" fmla="val 10000"/>
          </a:avLst>
        </a:prstGeom>
      </dgm:spPr>
      <dgm:t>
        <a:bodyPr/>
        <a:lstStyle/>
        <a:p>
          <a:endParaRPr lang="fr-FR"/>
        </a:p>
      </dgm:t>
    </dgm:pt>
    <dgm:pt modelId="{5341A3E0-1E3D-4B9B-82BE-17D8AD75819B}" type="pres">
      <dgm:prSet presAssocID="{7666A826-5BA3-463F-A0FD-B4A86740409F}" presName="rootConnector" presStyleLbl="node1" presStyleIdx="2" presStyleCnt="3"/>
      <dgm:spPr/>
      <dgm:t>
        <a:bodyPr/>
        <a:lstStyle/>
        <a:p>
          <a:endParaRPr lang="fr-FR"/>
        </a:p>
      </dgm:t>
    </dgm:pt>
    <dgm:pt modelId="{5974D266-977A-451C-9A56-1EC3469FA22B}" type="pres">
      <dgm:prSet presAssocID="{7666A826-5BA3-463F-A0FD-B4A86740409F}" presName="childShape" presStyleCnt="0"/>
      <dgm:spPr/>
    </dgm:pt>
    <dgm:pt modelId="{8C6B4368-3856-4082-A7A4-99E5D5481EB6}" type="pres">
      <dgm:prSet presAssocID="{58B71603-F20D-4799-B5BB-4DD0D44FC2DC}" presName="Name13" presStyleLbl="parChTrans1D2" presStyleIdx="6" presStyleCnt="9"/>
      <dgm:spPr>
        <a:custGeom>
          <a:avLst/>
          <a:gdLst/>
          <a:ahLst/>
          <a:cxnLst/>
          <a:rect l="0" t="0" r="0" b="0"/>
          <a:pathLst>
            <a:path>
              <a:moveTo>
                <a:pt x="0" y="0"/>
              </a:moveTo>
              <a:lnTo>
                <a:pt x="0" y="515860"/>
              </a:lnTo>
              <a:lnTo>
                <a:pt x="220088" y="515860"/>
              </a:lnTo>
            </a:path>
          </a:pathLst>
        </a:custGeom>
      </dgm:spPr>
      <dgm:t>
        <a:bodyPr/>
        <a:lstStyle/>
        <a:p>
          <a:endParaRPr lang="fr-FR"/>
        </a:p>
      </dgm:t>
    </dgm:pt>
    <dgm:pt modelId="{5DD7744E-FF91-43A0-A8FE-0BBA5B6ACE21}" type="pres">
      <dgm:prSet presAssocID="{B25598A4-2E3A-4516-B609-63FE7E870E60}" presName="childText" presStyleLbl="bgAcc1" presStyleIdx="6" presStyleCnt="9" custScaleX="159991">
        <dgm:presLayoutVars>
          <dgm:bulletEnabled val="1"/>
        </dgm:presLayoutVars>
      </dgm:prSet>
      <dgm:spPr>
        <a:prstGeom prst="roundRect">
          <a:avLst>
            <a:gd name="adj" fmla="val 10000"/>
          </a:avLst>
        </a:prstGeom>
      </dgm:spPr>
      <dgm:t>
        <a:bodyPr/>
        <a:lstStyle/>
        <a:p>
          <a:endParaRPr lang="fr-FR"/>
        </a:p>
      </dgm:t>
    </dgm:pt>
    <dgm:pt modelId="{3567815E-55FF-4347-9C5E-C93DAA5FA942}" type="pres">
      <dgm:prSet presAssocID="{8173196F-3458-43F1-82C7-F6AB9A05B49D}" presName="Name13" presStyleLbl="parChTrans1D2" presStyleIdx="7" presStyleCnt="9"/>
      <dgm:spPr>
        <a:custGeom>
          <a:avLst/>
          <a:gdLst/>
          <a:ahLst/>
          <a:cxnLst/>
          <a:rect l="0" t="0" r="0" b="0"/>
          <a:pathLst>
            <a:path>
              <a:moveTo>
                <a:pt x="0" y="0"/>
              </a:moveTo>
              <a:lnTo>
                <a:pt x="0" y="1375628"/>
              </a:lnTo>
              <a:lnTo>
                <a:pt x="220088" y="1375628"/>
              </a:lnTo>
            </a:path>
          </a:pathLst>
        </a:custGeom>
      </dgm:spPr>
      <dgm:t>
        <a:bodyPr/>
        <a:lstStyle/>
        <a:p>
          <a:endParaRPr lang="fr-FR"/>
        </a:p>
      </dgm:t>
    </dgm:pt>
    <dgm:pt modelId="{CD4781B2-4C5D-4B83-9F6B-72C87BE89F82}" type="pres">
      <dgm:prSet presAssocID="{69F395E1-DDDC-4E42-A768-7AE6459B2FC7}" presName="childText" presStyleLbl="bgAcc1" presStyleIdx="7" presStyleCnt="9" custScaleX="159524">
        <dgm:presLayoutVars>
          <dgm:bulletEnabled val="1"/>
        </dgm:presLayoutVars>
      </dgm:prSet>
      <dgm:spPr>
        <a:prstGeom prst="roundRect">
          <a:avLst>
            <a:gd name="adj" fmla="val 10000"/>
          </a:avLst>
        </a:prstGeom>
      </dgm:spPr>
      <dgm:t>
        <a:bodyPr/>
        <a:lstStyle/>
        <a:p>
          <a:endParaRPr lang="fr-FR"/>
        </a:p>
      </dgm:t>
    </dgm:pt>
    <dgm:pt modelId="{2FAE0300-6F26-4EFD-8104-6CE1687285F8}" type="pres">
      <dgm:prSet presAssocID="{3236B94B-5AA4-4529-A775-D0C52AB896FE}" presName="Name13" presStyleLbl="parChTrans1D2" presStyleIdx="8" presStyleCnt="9"/>
      <dgm:spPr>
        <a:custGeom>
          <a:avLst/>
          <a:gdLst/>
          <a:ahLst/>
          <a:cxnLst/>
          <a:rect l="0" t="0" r="0" b="0"/>
          <a:pathLst>
            <a:path>
              <a:moveTo>
                <a:pt x="0" y="0"/>
              </a:moveTo>
              <a:lnTo>
                <a:pt x="0" y="2235396"/>
              </a:lnTo>
              <a:lnTo>
                <a:pt x="220088" y="2235396"/>
              </a:lnTo>
            </a:path>
          </a:pathLst>
        </a:custGeom>
      </dgm:spPr>
      <dgm:t>
        <a:bodyPr/>
        <a:lstStyle/>
        <a:p>
          <a:endParaRPr lang="fr-FR"/>
        </a:p>
      </dgm:t>
    </dgm:pt>
    <dgm:pt modelId="{C26BC19C-B360-47DF-BCCE-F0BDE271C257}" type="pres">
      <dgm:prSet presAssocID="{99B92BCB-B620-4788-A5C2-FA65F4997602}" presName="childText" presStyleLbl="bgAcc1" presStyleIdx="8" presStyleCnt="9" custScaleX="159991">
        <dgm:presLayoutVars>
          <dgm:bulletEnabled val="1"/>
        </dgm:presLayoutVars>
      </dgm:prSet>
      <dgm:spPr>
        <a:prstGeom prst="roundRect">
          <a:avLst>
            <a:gd name="adj" fmla="val 10000"/>
          </a:avLst>
        </a:prstGeom>
      </dgm:spPr>
      <dgm:t>
        <a:bodyPr/>
        <a:lstStyle/>
        <a:p>
          <a:endParaRPr lang="fr-FR"/>
        </a:p>
      </dgm:t>
    </dgm:pt>
  </dgm:ptLst>
  <dgm:cxnLst>
    <dgm:cxn modelId="{7464A2E5-CCF2-41F4-9F15-A00AA4538106}" type="presOf" srcId="{1FE7409C-A2E9-476D-9497-B77BEAFEE09F}" destId="{FD87F03A-154F-4F37-957A-E5A4AB4F6FB5}" srcOrd="0" destOrd="0" presId="urn:microsoft.com/office/officeart/2005/8/layout/hierarchy3"/>
    <dgm:cxn modelId="{01D16093-945C-4E29-8FCD-7B31C3F736A6}" type="presOf" srcId="{F47DF1AF-9F3E-4723-B19B-639C3F1B4337}" destId="{D9CF0495-8490-4A90-9183-58A6F94ABD3B}" srcOrd="0" destOrd="0" presId="urn:microsoft.com/office/officeart/2005/8/layout/hierarchy3"/>
    <dgm:cxn modelId="{54DDA9C0-BD01-43DB-95E0-577555EB1E1F}" type="presOf" srcId="{B0C4DE4A-594D-4EA2-9933-E3FB99DC22B1}" destId="{603BCDAF-7EC0-4E46-9AEE-A40C76CF64DC}" srcOrd="0" destOrd="0" presId="urn:microsoft.com/office/officeart/2005/8/layout/hierarchy3"/>
    <dgm:cxn modelId="{16676EC0-1BA8-445D-B9BB-4B9F86CB2C67}" type="presOf" srcId="{69F395E1-DDDC-4E42-A768-7AE6459B2FC7}" destId="{CD4781B2-4C5D-4B83-9F6B-72C87BE89F82}" srcOrd="0" destOrd="0" presId="urn:microsoft.com/office/officeart/2005/8/layout/hierarchy3"/>
    <dgm:cxn modelId="{7722BCC7-207B-428D-8DE1-FBEDFC8D1466}" type="presOf" srcId="{3236B94B-5AA4-4529-A775-D0C52AB896FE}" destId="{2FAE0300-6F26-4EFD-8104-6CE1687285F8}" srcOrd="0" destOrd="0" presId="urn:microsoft.com/office/officeart/2005/8/layout/hierarchy3"/>
    <dgm:cxn modelId="{52A58ADA-242C-42D7-A470-5EED95B5F9D3}" type="presOf" srcId="{8173196F-3458-43F1-82C7-F6AB9A05B49D}" destId="{3567815E-55FF-4347-9C5E-C93DAA5FA942}" srcOrd="0" destOrd="0" presId="urn:microsoft.com/office/officeart/2005/8/layout/hierarchy3"/>
    <dgm:cxn modelId="{316C9782-D3F3-4FF9-B119-98C22C282B17}" type="presOf" srcId="{22C110C3-114A-4F07-BBC7-2FC6B71F89AB}" destId="{AFA986BF-6958-4464-9A79-EE1D4B3D32FF}" srcOrd="0" destOrd="0" presId="urn:microsoft.com/office/officeart/2005/8/layout/hierarchy3"/>
    <dgm:cxn modelId="{FA338BD6-EBAA-4154-9A7F-260CC1D19F84}" type="presOf" srcId="{635EDC74-917F-4217-AD3E-2F4F73DF39BD}" destId="{2D007F0E-2864-46AB-BE5C-941E903C1380}" srcOrd="0" destOrd="0" presId="urn:microsoft.com/office/officeart/2005/8/layout/hierarchy3"/>
    <dgm:cxn modelId="{46778DEA-DEB2-4348-AEE3-544160812535}" type="presOf" srcId="{7666A826-5BA3-463F-A0FD-B4A86740409F}" destId="{5341A3E0-1E3D-4B9B-82BE-17D8AD75819B}" srcOrd="1" destOrd="0" presId="urn:microsoft.com/office/officeart/2005/8/layout/hierarchy3"/>
    <dgm:cxn modelId="{299C0FAB-7AD9-445D-9616-1766D313B0F7}" srcId="{B0C4DE4A-594D-4EA2-9933-E3FB99DC22B1}" destId="{A268B8CC-0FD9-420E-ADCD-E0CC6C2E0C09}" srcOrd="0" destOrd="0" parTransId="{8EB42B9B-09A5-482E-90D6-2D8A6DB70038}" sibTransId="{C21BF747-64F2-455B-ABA2-D504A869FED8}"/>
    <dgm:cxn modelId="{E7B1337C-3473-4771-97A6-EA271306370A}" type="presOf" srcId="{A268B8CC-0FD9-420E-ADCD-E0CC6C2E0C09}" destId="{A034F15A-F416-43E2-96CB-4ED72EDC522E}" srcOrd="1" destOrd="0" presId="urn:microsoft.com/office/officeart/2005/8/layout/hierarchy3"/>
    <dgm:cxn modelId="{77C52784-CBDD-4988-9FE4-A6A311265A3D}" srcId="{F47DF1AF-9F3E-4723-B19B-639C3F1B4337}" destId="{1FE7409C-A2E9-476D-9497-B77BEAFEE09F}" srcOrd="1" destOrd="0" parTransId="{A39EE604-712D-48BB-9EF0-5EFDA9A2AED6}" sibTransId="{06CC33F6-A8FC-4485-B0E2-C838ADDFC84C}"/>
    <dgm:cxn modelId="{A6216EBA-A34D-4A8C-AADA-C0CB1FAE8A69}" srcId="{A268B8CC-0FD9-420E-ADCD-E0CC6C2E0C09}" destId="{22C110C3-114A-4F07-BBC7-2FC6B71F89AB}" srcOrd="0" destOrd="0" parTransId="{C3384721-57EF-4B40-A483-F732A015A201}" sibTransId="{7862311D-63EA-493D-9B4B-9C1B11DC8F0A}"/>
    <dgm:cxn modelId="{91B02464-1226-4C0D-B97C-DAE293700D2F}" type="presOf" srcId="{808758A8-7FCC-4187-BC67-163D12024BF5}" destId="{12E6952E-13F2-4D55-9BAE-E290B7C05DE7}" srcOrd="0" destOrd="0" presId="urn:microsoft.com/office/officeart/2005/8/layout/hierarchy3"/>
    <dgm:cxn modelId="{5B2D0351-F02B-4AA8-878A-57E7D74E7FED}" srcId="{B0C4DE4A-594D-4EA2-9933-E3FB99DC22B1}" destId="{7666A826-5BA3-463F-A0FD-B4A86740409F}" srcOrd="2" destOrd="0" parTransId="{83BF2779-869B-44C1-9DE4-B1C986A8B3ED}" sibTransId="{4117DF2B-017D-440E-9763-79D57689E94B}"/>
    <dgm:cxn modelId="{3E26E37D-4493-4471-B455-86C28714C055}" srcId="{7666A826-5BA3-463F-A0FD-B4A86740409F}" destId="{B25598A4-2E3A-4516-B609-63FE7E870E60}" srcOrd="0" destOrd="0" parTransId="{58B71603-F20D-4799-B5BB-4DD0D44FC2DC}" sibTransId="{980D11B7-1BC9-4ED0-B16A-5F2D154C38F9}"/>
    <dgm:cxn modelId="{C82F261C-C27D-4B12-8952-E060683E8662}" srcId="{B0C4DE4A-594D-4EA2-9933-E3FB99DC22B1}" destId="{F47DF1AF-9F3E-4723-B19B-639C3F1B4337}" srcOrd="1" destOrd="0" parTransId="{26B9ED37-A7C0-4679-878B-2ADF63215427}" sibTransId="{B16C2076-2AF1-4E4F-9FF9-E891855C97FC}"/>
    <dgm:cxn modelId="{3C988E00-A6BA-43FF-BEA2-E9666EAD2FC7}" type="presOf" srcId="{3BD4602A-236A-48DB-9483-8464EFA8E501}" destId="{9F607809-6A66-46DB-B43B-B2B7F0FB28BC}" srcOrd="0" destOrd="0" presId="urn:microsoft.com/office/officeart/2005/8/layout/hierarchy3"/>
    <dgm:cxn modelId="{A60DBA4A-7DBC-403E-9176-448DBF1DAF54}" srcId="{F47DF1AF-9F3E-4723-B19B-639C3F1B4337}" destId="{808758A8-7FCC-4187-BC67-163D12024BF5}" srcOrd="2" destOrd="0" parTransId="{11971084-C625-43A3-8648-BC9890BBB116}" sibTransId="{C4EAF0BE-2F33-4F40-BE3F-263B8C5B9452}"/>
    <dgm:cxn modelId="{E3F08A7B-A9E3-46C1-B765-2344F036AA96}" srcId="{A268B8CC-0FD9-420E-ADCD-E0CC6C2E0C09}" destId="{E8ACD7E5-A950-4E6B-A3D5-BF434BE5CFC3}" srcOrd="1" destOrd="0" parTransId="{2AB26017-D7FD-46F9-A345-45681F286DC3}" sibTransId="{B76B11AC-25F5-4E73-9019-9652233D93A4}"/>
    <dgm:cxn modelId="{B38145D0-B2B3-4FD0-88EC-BFAB34CC4DD0}" type="presOf" srcId="{E6378C3A-46E4-452D-AE1E-A28576112773}" destId="{94CF8952-FA88-4B34-B9B5-2E58D8844721}" srcOrd="0" destOrd="0" presId="urn:microsoft.com/office/officeart/2005/8/layout/hierarchy3"/>
    <dgm:cxn modelId="{23C95E2F-A6FB-4251-84AB-F35027D33520}" type="presOf" srcId="{F47DF1AF-9F3E-4723-B19B-639C3F1B4337}" destId="{1DB523A5-E715-4C73-86E2-367E021C0715}" srcOrd="1" destOrd="0" presId="urn:microsoft.com/office/officeart/2005/8/layout/hierarchy3"/>
    <dgm:cxn modelId="{E8E274B2-6E3A-47D4-ADD1-76843FFA594B}" type="presOf" srcId="{11971084-C625-43A3-8648-BC9890BBB116}" destId="{2C515A07-515B-4C89-9792-4E429083284C}" srcOrd="0" destOrd="0" presId="urn:microsoft.com/office/officeart/2005/8/layout/hierarchy3"/>
    <dgm:cxn modelId="{5AAE4C75-5AF1-4053-9C2A-3D3D31CB3EB6}" type="presOf" srcId="{C3384721-57EF-4B40-A483-F732A015A201}" destId="{38D5D131-81E2-4AA2-9471-F4F7F50ED1AF}" srcOrd="0" destOrd="0" presId="urn:microsoft.com/office/officeart/2005/8/layout/hierarchy3"/>
    <dgm:cxn modelId="{1973F3D1-8B1D-47AB-9A5A-76B06D1CCC01}" srcId="{7666A826-5BA3-463F-A0FD-B4A86740409F}" destId="{99B92BCB-B620-4788-A5C2-FA65F4997602}" srcOrd="2" destOrd="0" parTransId="{3236B94B-5AA4-4529-A775-D0C52AB896FE}" sibTransId="{5C66A911-13CD-4EBE-AABE-C89EDC40AD0C}"/>
    <dgm:cxn modelId="{D85BA39F-64FA-4E87-ACE8-1B9C43BB78C3}" type="presOf" srcId="{B25598A4-2E3A-4516-B609-63FE7E870E60}" destId="{5DD7744E-FF91-43A0-A8FE-0BBA5B6ACE21}" srcOrd="0" destOrd="0" presId="urn:microsoft.com/office/officeart/2005/8/layout/hierarchy3"/>
    <dgm:cxn modelId="{A679F29E-5BD5-4B50-A376-544D24E907A4}" type="presOf" srcId="{7666A826-5BA3-463F-A0FD-B4A86740409F}" destId="{207CCB09-F399-42D6-BFAB-9093EA879628}" srcOrd="0" destOrd="0" presId="urn:microsoft.com/office/officeart/2005/8/layout/hierarchy3"/>
    <dgm:cxn modelId="{78EF1485-EAAB-4D4F-9C16-8AEF47A6394C}" type="presOf" srcId="{4EDA1BFA-263C-4C8C-9FB2-AB83B8335BA7}" destId="{6ACFE7E6-6D4B-4D84-8575-B6A839F11E81}" srcOrd="0" destOrd="0" presId="urn:microsoft.com/office/officeart/2005/8/layout/hierarchy3"/>
    <dgm:cxn modelId="{92BF0480-0752-4307-86F5-175FF4F33427}" type="presOf" srcId="{A39EE604-712D-48BB-9EF0-5EFDA9A2AED6}" destId="{55335299-6D93-413B-8591-925F39B25038}" srcOrd="0" destOrd="0" presId="urn:microsoft.com/office/officeart/2005/8/layout/hierarchy3"/>
    <dgm:cxn modelId="{314BD8F3-8657-4CC1-BA68-0B19DD7D15B7}" type="presOf" srcId="{99B92BCB-B620-4788-A5C2-FA65F4997602}" destId="{C26BC19C-B360-47DF-BCCE-F0BDE271C257}" srcOrd="0" destOrd="0" presId="urn:microsoft.com/office/officeart/2005/8/layout/hierarchy3"/>
    <dgm:cxn modelId="{0357CEFE-F816-4B62-B2F6-A19BF680DBD4}" type="presOf" srcId="{E8ACD7E5-A950-4E6B-A3D5-BF434BE5CFC3}" destId="{34C842F7-11D9-43B3-9172-9AF8F89CCF16}" srcOrd="0" destOrd="0" presId="urn:microsoft.com/office/officeart/2005/8/layout/hierarchy3"/>
    <dgm:cxn modelId="{DCC097BC-3A74-448F-9A67-129586F804B5}" srcId="{F47DF1AF-9F3E-4723-B19B-639C3F1B4337}" destId="{E6378C3A-46E4-452D-AE1E-A28576112773}" srcOrd="0" destOrd="0" parTransId="{635EDC74-917F-4217-AD3E-2F4F73DF39BD}" sibTransId="{020159B3-9DB6-41FF-8934-B15334743A52}"/>
    <dgm:cxn modelId="{300FF6F7-9802-484C-A3F5-4E81CE2D1346}" srcId="{A268B8CC-0FD9-420E-ADCD-E0CC6C2E0C09}" destId="{3BD4602A-236A-48DB-9483-8464EFA8E501}" srcOrd="2" destOrd="0" parTransId="{4EDA1BFA-263C-4C8C-9FB2-AB83B8335BA7}" sibTransId="{2C6F0F9B-54AA-478D-8ABF-DE36BD130580}"/>
    <dgm:cxn modelId="{0575099B-2768-4D1B-B7E0-2F5465F613F8}" srcId="{7666A826-5BA3-463F-A0FD-B4A86740409F}" destId="{69F395E1-DDDC-4E42-A768-7AE6459B2FC7}" srcOrd="1" destOrd="0" parTransId="{8173196F-3458-43F1-82C7-F6AB9A05B49D}" sibTransId="{1E64B620-E80F-489C-9DBB-8D7F7B33E0C4}"/>
    <dgm:cxn modelId="{3F4D6993-1CE6-4004-9D46-200B39ACBB43}" type="presOf" srcId="{2AB26017-D7FD-46F9-A345-45681F286DC3}" destId="{58C47FBD-3474-4F13-BBDB-2144719551AC}" srcOrd="0" destOrd="0" presId="urn:microsoft.com/office/officeart/2005/8/layout/hierarchy3"/>
    <dgm:cxn modelId="{D7C21AD8-AAF9-4117-BCA3-10EEF776FA09}" type="presOf" srcId="{A268B8CC-0FD9-420E-ADCD-E0CC6C2E0C09}" destId="{6F3C250C-2696-4AD7-9C22-360DB0EFCCA0}" srcOrd="0" destOrd="0" presId="urn:microsoft.com/office/officeart/2005/8/layout/hierarchy3"/>
    <dgm:cxn modelId="{1D3F97E9-586B-41A3-9D28-37F32D65B742}" type="presOf" srcId="{58B71603-F20D-4799-B5BB-4DD0D44FC2DC}" destId="{8C6B4368-3856-4082-A7A4-99E5D5481EB6}" srcOrd="0" destOrd="0" presId="urn:microsoft.com/office/officeart/2005/8/layout/hierarchy3"/>
    <dgm:cxn modelId="{09F86809-DAFA-4840-BF47-D56F1D05CCB6}" type="presParOf" srcId="{603BCDAF-7EC0-4E46-9AEE-A40C76CF64DC}" destId="{D27F418C-C6D8-442D-BBE0-15400B99F66E}" srcOrd="0" destOrd="0" presId="urn:microsoft.com/office/officeart/2005/8/layout/hierarchy3"/>
    <dgm:cxn modelId="{5A3829E8-9321-4F16-A4F2-E8CE0E8D799D}" type="presParOf" srcId="{D27F418C-C6D8-442D-BBE0-15400B99F66E}" destId="{3C337B7D-D3DA-4827-9580-90E7AFB38248}" srcOrd="0" destOrd="0" presId="urn:microsoft.com/office/officeart/2005/8/layout/hierarchy3"/>
    <dgm:cxn modelId="{6012A677-66C0-40A5-BB2D-4A96E59A4C74}" type="presParOf" srcId="{3C337B7D-D3DA-4827-9580-90E7AFB38248}" destId="{6F3C250C-2696-4AD7-9C22-360DB0EFCCA0}" srcOrd="0" destOrd="0" presId="urn:microsoft.com/office/officeart/2005/8/layout/hierarchy3"/>
    <dgm:cxn modelId="{70813966-3A5A-4469-AAAF-1060EECD5BD5}" type="presParOf" srcId="{3C337B7D-D3DA-4827-9580-90E7AFB38248}" destId="{A034F15A-F416-43E2-96CB-4ED72EDC522E}" srcOrd="1" destOrd="0" presId="urn:microsoft.com/office/officeart/2005/8/layout/hierarchy3"/>
    <dgm:cxn modelId="{F29EDFC3-3B1B-4D7C-A623-87036F3770A1}" type="presParOf" srcId="{D27F418C-C6D8-442D-BBE0-15400B99F66E}" destId="{C0DBFA41-E747-4891-9044-8CDD6D7EE896}" srcOrd="1" destOrd="0" presId="urn:microsoft.com/office/officeart/2005/8/layout/hierarchy3"/>
    <dgm:cxn modelId="{AB68D308-9374-4C37-9E64-A93569835BCA}" type="presParOf" srcId="{C0DBFA41-E747-4891-9044-8CDD6D7EE896}" destId="{38D5D131-81E2-4AA2-9471-F4F7F50ED1AF}" srcOrd="0" destOrd="0" presId="urn:microsoft.com/office/officeart/2005/8/layout/hierarchy3"/>
    <dgm:cxn modelId="{E6E8D08A-F1BE-4ADD-983D-B999DC9F6CAF}" type="presParOf" srcId="{C0DBFA41-E747-4891-9044-8CDD6D7EE896}" destId="{AFA986BF-6958-4464-9A79-EE1D4B3D32FF}" srcOrd="1" destOrd="0" presId="urn:microsoft.com/office/officeart/2005/8/layout/hierarchy3"/>
    <dgm:cxn modelId="{8C51D600-A5CC-46C4-8199-20EE856A10FB}" type="presParOf" srcId="{C0DBFA41-E747-4891-9044-8CDD6D7EE896}" destId="{58C47FBD-3474-4F13-BBDB-2144719551AC}" srcOrd="2" destOrd="0" presId="urn:microsoft.com/office/officeart/2005/8/layout/hierarchy3"/>
    <dgm:cxn modelId="{5A1DD044-CE66-426E-82C4-6E945D67DBE0}" type="presParOf" srcId="{C0DBFA41-E747-4891-9044-8CDD6D7EE896}" destId="{34C842F7-11D9-43B3-9172-9AF8F89CCF16}" srcOrd="3" destOrd="0" presId="urn:microsoft.com/office/officeart/2005/8/layout/hierarchy3"/>
    <dgm:cxn modelId="{11368873-26FA-4952-A8DE-CBDC84E2CD0C}" type="presParOf" srcId="{C0DBFA41-E747-4891-9044-8CDD6D7EE896}" destId="{6ACFE7E6-6D4B-4D84-8575-B6A839F11E81}" srcOrd="4" destOrd="0" presId="urn:microsoft.com/office/officeart/2005/8/layout/hierarchy3"/>
    <dgm:cxn modelId="{DA378097-7FB9-4A72-B8D9-7521315176E6}" type="presParOf" srcId="{C0DBFA41-E747-4891-9044-8CDD6D7EE896}" destId="{9F607809-6A66-46DB-B43B-B2B7F0FB28BC}" srcOrd="5" destOrd="0" presId="urn:microsoft.com/office/officeart/2005/8/layout/hierarchy3"/>
    <dgm:cxn modelId="{BD9EE1AD-91DE-4D11-8338-C545B8818340}" type="presParOf" srcId="{603BCDAF-7EC0-4E46-9AEE-A40C76CF64DC}" destId="{E3E376F4-5093-4A90-B9E3-400E71F262D9}" srcOrd="1" destOrd="0" presId="urn:microsoft.com/office/officeart/2005/8/layout/hierarchy3"/>
    <dgm:cxn modelId="{6B22E9FF-E215-42C5-A7C9-F2B84DE5DD07}" type="presParOf" srcId="{E3E376F4-5093-4A90-B9E3-400E71F262D9}" destId="{D2D88F6E-8940-4E25-8FCD-879A96B88173}" srcOrd="0" destOrd="0" presId="urn:microsoft.com/office/officeart/2005/8/layout/hierarchy3"/>
    <dgm:cxn modelId="{DD1DF946-57BF-4A6A-8EE5-35CFC064F6CC}" type="presParOf" srcId="{D2D88F6E-8940-4E25-8FCD-879A96B88173}" destId="{D9CF0495-8490-4A90-9183-58A6F94ABD3B}" srcOrd="0" destOrd="0" presId="urn:microsoft.com/office/officeart/2005/8/layout/hierarchy3"/>
    <dgm:cxn modelId="{A53CAFBA-87FF-4552-9B86-FF8A40416E5F}" type="presParOf" srcId="{D2D88F6E-8940-4E25-8FCD-879A96B88173}" destId="{1DB523A5-E715-4C73-86E2-367E021C0715}" srcOrd="1" destOrd="0" presId="urn:microsoft.com/office/officeart/2005/8/layout/hierarchy3"/>
    <dgm:cxn modelId="{5EF795E4-4A77-4276-9448-885F41A7146F}" type="presParOf" srcId="{E3E376F4-5093-4A90-B9E3-400E71F262D9}" destId="{2A7E9184-F174-4AA5-AED4-2BE59971CB36}" srcOrd="1" destOrd="0" presId="urn:microsoft.com/office/officeart/2005/8/layout/hierarchy3"/>
    <dgm:cxn modelId="{B2984B88-BD25-4E32-80D2-43B5FB65E4FE}" type="presParOf" srcId="{2A7E9184-F174-4AA5-AED4-2BE59971CB36}" destId="{2D007F0E-2864-46AB-BE5C-941E903C1380}" srcOrd="0" destOrd="0" presId="urn:microsoft.com/office/officeart/2005/8/layout/hierarchy3"/>
    <dgm:cxn modelId="{1992EC3B-BD98-4BC9-BD37-8F7A78834FE7}" type="presParOf" srcId="{2A7E9184-F174-4AA5-AED4-2BE59971CB36}" destId="{94CF8952-FA88-4B34-B9B5-2E58D8844721}" srcOrd="1" destOrd="0" presId="urn:microsoft.com/office/officeart/2005/8/layout/hierarchy3"/>
    <dgm:cxn modelId="{8A7AE739-CDF1-467A-A36C-C9BE2A122E6B}" type="presParOf" srcId="{2A7E9184-F174-4AA5-AED4-2BE59971CB36}" destId="{55335299-6D93-413B-8591-925F39B25038}" srcOrd="2" destOrd="0" presId="urn:microsoft.com/office/officeart/2005/8/layout/hierarchy3"/>
    <dgm:cxn modelId="{AAAC7254-D83B-4D6E-BCCD-C24E231FC28D}" type="presParOf" srcId="{2A7E9184-F174-4AA5-AED4-2BE59971CB36}" destId="{FD87F03A-154F-4F37-957A-E5A4AB4F6FB5}" srcOrd="3" destOrd="0" presId="urn:microsoft.com/office/officeart/2005/8/layout/hierarchy3"/>
    <dgm:cxn modelId="{4DBEE921-33A4-4CBD-AC70-1A3E01E6A2E7}" type="presParOf" srcId="{2A7E9184-F174-4AA5-AED4-2BE59971CB36}" destId="{2C515A07-515B-4C89-9792-4E429083284C}" srcOrd="4" destOrd="0" presId="urn:microsoft.com/office/officeart/2005/8/layout/hierarchy3"/>
    <dgm:cxn modelId="{DB4BF08E-9C99-445F-B64C-FB1C530E13FD}" type="presParOf" srcId="{2A7E9184-F174-4AA5-AED4-2BE59971CB36}" destId="{12E6952E-13F2-4D55-9BAE-E290B7C05DE7}" srcOrd="5" destOrd="0" presId="urn:microsoft.com/office/officeart/2005/8/layout/hierarchy3"/>
    <dgm:cxn modelId="{38B887F1-8A73-4ED3-81C9-747F7150A105}" type="presParOf" srcId="{603BCDAF-7EC0-4E46-9AEE-A40C76CF64DC}" destId="{D370A825-888C-430C-B75D-A8ED14628DB0}" srcOrd="2" destOrd="0" presId="urn:microsoft.com/office/officeart/2005/8/layout/hierarchy3"/>
    <dgm:cxn modelId="{CFC5F1F6-1F03-49B5-97DA-D3C353298F32}" type="presParOf" srcId="{D370A825-888C-430C-B75D-A8ED14628DB0}" destId="{EDB1B178-595B-4270-9222-57BA11F095C8}" srcOrd="0" destOrd="0" presId="urn:microsoft.com/office/officeart/2005/8/layout/hierarchy3"/>
    <dgm:cxn modelId="{4006B206-3C7F-44CC-987E-0B0A31696DF0}" type="presParOf" srcId="{EDB1B178-595B-4270-9222-57BA11F095C8}" destId="{207CCB09-F399-42D6-BFAB-9093EA879628}" srcOrd="0" destOrd="0" presId="urn:microsoft.com/office/officeart/2005/8/layout/hierarchy3"/>
    <dgm:cxn modelId="{656C838A-31FF-4687-AD72-018F8F179457}" type="presParOf" srcId="{EDB1B178-595B-4270-9222-57BA11F095C8}" destId="{5341A3E0-1E3D-4B9B-82BE-17D8AD75819B}" srcOrd="1" destOrd="0" presId="urn:microsoft.com/office/officeart/2005/8/layout/hierarchy3"/>
    <dgm:cxn modelId="{A028B19D-402B-4746-8297-A7A8D0C7FAD6}" type="presParOf" srcId="{D370A825-888C-430C-B75D-A8ED14628DB0}" destId="{5974D266-977A-451C-9A56-1EC3469FA22B}" srcOrd="1" destOrd="0" presId="urn:microsoft.com/office/officeart/2005/8/layout/hierarchy3"/>
    <dgm:cxn modelId="{65988EDB-F288-42B6-BD4A-ABE64C9DAB2A}" type="presParOf" srcId="{5974D266-977A-451C-9A56-1EC3469FA22B}" destId="{8C6B4368-3856-4082-A7A4-99E5D5481EB6}" srcOrd="0" destOrd="0" presId="urn:microsoft.com/office/officeart/2005/8/layout/hierarchy3"/>
    <dgm:cxn modelId="{0BBE504B-A8D3-4620-A785-28F9AC2DA503}" type="presParOf" srcId="{5974D266-977A-451C-9A56-1EC3469FA22B}" destId="{5DD7744E-FF91-43A0-A8FE-0BBA5B6ACE21}" srcOrd="1" destOrd="0" presId="urn:microsoft.com/office/officeart/2005/8/layout/hierarchy3"/>
    <dgm:cxn modelId="{D5788B60-8E7F-47B6-AB6E-63B607E8DB5A}" type="presParOf" srcId="{5974D266-977A-451C-9A56-1EC3469FA22B}" destId="{3567815E-55FF-4347-9C5E-C93DAA5FA942}" srcOrd="2" destOrd="0" presId="urn:microsoft.com/office/officeart/2005/8/layout/hierarchy3"/>
    <dgm:cxn modelId="{087D0E3D-8888-44CA-B12D-026AB2E128E2}" type="presParOf" srcId="{5974D266-977A-451C-9A56-1EC3469FA22B}" destId="{CD4781B2-4C5D-4B83-9F6B-72C87BE89F82}" srcOrd="3" destOrd="0" presId="urn:microsoft.com/office/officeart/2005/8/layout/hierarchy3"/>
    <dgm:cxn modelId="{44E3E8F3-B9F0-4736-BAFE-9FCC1E6D210C}" type="presParOf" srcId="{5974D266-977A-451C-9A56-1EC3469FA22B}" destId="{2FAE0300-6F26-4EFD-8104-6CE1687285F8}" srcOrd="4" destOrd="0" presId="urn:microsoft.com/office/officeart/2005/8/layout/hierarchy3"/>
    <dgm:cxn modelId="{2D477617-9F53-4E7A-85DA-749124B72322}" type="presParOf" srcId="{5974D266-977A-451C-9A56-1EC3469FA22B}" destId="{C26BC19C-B360-47DF-BCCE-F0BDE271C257}" srcOrd="5"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775FFA1-1879-4587-938F-05D6C30D6868}" type="doc">
      <dgm:prSet loTypeId="urn:microsoft.com/office/officeart/2005/8/layout/chevron2" loCatId="process" qsTypeId="urn:microsoft.com/office/officeart/2005/8/quickstyle/simple2" qsCatId="simple" csTypeId="urn:microsoft.com/office/officeart/2005/8/colors/accent1_2" csCatId="accent1" phldr="1"/>
      <dgm:spPr/>
      <dgm:t>
        <a:bodyPr/>
        <a:lstStyle/>
        <a:p>
          <a:endParaRPr lang="fr-FR"/>
        </a:p>
      </dgm:t>
    </dgm:pt>
    <dgm:pt modelId="{0507E691-0125-4864-A3CD-8F460A80B50E}">
      <dgm:prSet phldrT="[Texte]" custT="1"/>
      <dgm:spPr/>
      <dgm:t>
        <a:bodyPr/>
        <a:lstStyle/>
        <a:p>
          <a:r>
            <a:rPr lang="fr-FR" sz="1050" dirty="0">
              <a:solidFill>
                <a:schemeClr val="tx1"/>
              </a:solidFill>
            </a:rPr>
            <a:t>Phase 1 Lancement</a:t>
          </a:r>
        </a:p>
      </dgm:t>
    </dgm:pt>
    <dgm:pt modelId="{2807E5B2-E84F-4C8D-923D-2C652778816B}" type="parTrans" cxnId="{3F04577F-F536-4CD3-A865-AFFC8A7277AC}">
      <dgm:prSet/>
      <dgm:spPr/>
      <dgm:t>
        <a:bodyPr/>
        <a:lstStyle/>
        <a:p>
          <a:endParaRPr lang="fr-FR"/>
        </a:p>
      </dgm:t>
    </dgm:pt>
    <dgm:pt modelId="{C73C13B5-4A2A-4D61-9E00-E0B6C1EBC28F}" type="sibTrans" cxnId="{3F04577F-F536-4CD3-A865-AFFC8A7277AC}">
      <dgm:prSet/>
      <dgm:spPr/>
      <dgm:t>
        <a:bodyPr/>
        <a:lstStyle/>
        <a:p>
          <a:endParaRPr lang="fr-FR"/>
        </a:p>
      </dgm:t>
    </dgm:pt>
    <dgm:pt modelId="{CDA72C4E-211F-41C0-A24B-DF4F5E14713B}">
      <dgm:prSet phldrT="[Texte]" custT="1"/>
      <dgm:spPr/>
      <dgm:t>
        <a:bodyPr/>
        <a:lstStyle/>
        <a:p>
          <a:r>
            <a:rPr lang="fr-FR" sz="1050" dirty="0">
              <a:solidFill>
                <a:schemeClr val="tx1"/>
              </a:solidFill>
            </a:rPr>
            <a:t>Phase 2</a:t>
          </a:r>
        </a:p>
        <a:p>
          <a:r>
            <a:rPr lang="fr-FR" sz="1050" dirty="0">
              <a:solidFill>
                <a:schemeClr val="tx1"/>
              </a:solidFill>
            </a:rPr>
            <a:t>Préparation</a:t>
          </a:r>
        </a:p>
      </dgm:t>
    </dgm:pt>
    <dgm:pt modelId="{0905ECD0-254B-4711-AE46-1B1287530A50}" type="parTrans" cxnId="{B9AA780E-1A04-4283-89D5-3FFFA4E7BC9B}">
      <dgm:prSet/>
      <dgm:spPr/>
      <dgm:t>
        <a:bodyPr/>
        <a:lstStyle/>
        <a:p>
          <a:endParaRPr lang="fr-FR"/>
        </a:p>
      </dgm:t>
    </dgm:pt>
    <dgm:pt modelId="{590C6BB6-8241-4722-B97E-3B321AD5938B}" type="sibTrans" cxnId="{B9AA780E-1A04-4283-89D5-3FFFA4E7BC9B}">
      <dgm:prSet/>
      <dgm:spPr/>
      <dgm:t>
        <a:bodyPr/>
        <a:lstStyle/>
        <a:p>
          <a:endParaRPr lang="fr-FR"/>
        </a:p>
      </dgm:t>
    </dgm:pt>
    <dgm:pt modelId="{3C69BB28-8FF7-4A7F-8C7D-608EDB046A99}">
      <dgm:prSet phldrT="[Texte]" custT="1"/>
      <dgm:spPr/>
      <dgm:t>
        <a:bodyPr/>
        <a:lstStyle/>
        <a:p>
          <a:r>
            <a:rPr lang="fr-FR" sz="1200" dirty="0"/>
            <a:t>Les chantiers prioritaires sont identifiés avec le RM et des correspondants RM sont désignés</a:t>
          </a:r>
        </a:p>
      </dgm:t>
    </dgm:pt>
    <dgm:pt modelId="{597E4B46-63CF-4FF0-915A-EC0DC080B7E2}" type="parTrans" cxnId="{D3DCA2B0-599C-4F20-A07C-B292CFF5B00F}">
      <dgm:prSet/>
      <dgm:spPr/>
      <dgm:t>
        <a:bodyPr/>
        <a:lstStyle/>
        <a:p>
          <a:endParaRPr lang="fr-FR"/>
        </a:p>
      </dgm:t>
    </dgm:pt>
    <dgm:pt modelId="{9FD2F144-567A-48A9-BB42-3B161489F2FF}" type="sibTrans" cxnId="{D3DCA2B0-599C-4F20-A07C-B292CFF5B00F}">
      <dgm:prSet/>
      <dgm:spPr/>
      <dgm:t>
        <a:bodyPr/>
        <a:lstStyle/>
        <a:p>
          <a:endParaRPr lang="fr-FR"/>
        </a:p>
      </dgm:t>
    </dgm:pt>
    <dgm:pt modelId="{FB31295B-3628-4C5D-BC16-544A0DEA88A1}">
      <dgm:prSet phldrT="[Texte]" custT="1"/>
      <dgm:spPr/>
      <dgm:t>
        <a:bodyPr/>
        <a:lstStyle/>
        <a:p>
          <a:r>
            <a:rPr lang="fr-FR" sz="1050" dirty="0">
              <a:solidFill>
                <a:schemeClr val="tx1"/>
              </a:solidFill>
            </a:rPr>
            <a:t>Phase 3</a:t>
          </a:r>
        </a:p>
        <a:p>
          <a:r>
            <a:rPr lang="fr-FR" sz="1050" dirty="0">
              <a:solidFill>
                <a:schemeClr val="tx1"/>
              </a:solidFill>
            </a:rPr>
            <a:t>Chantiers</a:t>
          </a:r>
        </a:p>
      </dgm:t>
    </dgm:pt>
    <dgm:pt modelId="{31647B0A-4649-4165-A922-0AB6E3BCE601}" type="parTrans" cxnId="{7AD1466A-0F33-4FDA-9EE3-502324C8060B}">
      <dgm:prSet/>
      <dgm:spPr/>
      <dgm:t>
        <a:bodyPr/>
        <a:lstStyle/>
        <a:p>
          <a:endParaRPr lang="fr-FR"/>
        </a:p>
      </dgm:t>
    </dgm:pt>
    <dgm:pt modelId="{9F03F84F-CA97-49E5-A561-7DA14C3E5295}" type="sibTrans" cxnId="{7AD1466A-0F33-4FDA-9EE3-502324C8060B}">
      <dgm:prSet/>
      <dgm:spPr/>
      <dgm:t>
        <a:bodyPr/>
        <a:lstStyle/>
        <a:p>
          <a:endParaRPr lang="fr-FR"/>
        </a:p>
      </dgm:t>
    </dgm:pt>
    <dgm:pt modelId="{76D05397-7992-4ABE-912E-DF9F38F43C02}">
      <dgm:prSet phldrT="[Texte]" custT="1"/>
      <dgm:spPr/>
      <dgm:t>
        <a:bodyPr/>
        <a:lstStyle/>
        <a:p>
          <a:r>
            <a:rPr lang="fr-FR" sz="1200" dirty="0"/>
            <a:t>Le Records Manager et l’équipe </a:t>
          </a:r>
          <a:r>
            <a:rPr lang="fr-FR" sz="1200" dirty="0" err="1"/>
            <a:t>Fill’Good</a:t>
          </a:r>
          <a:r>
            <a:rPr lang="fr-FR" sz="1200" dirty="0"/>
            <a:t> construisent le Référentiel de conservation</a:t>
          </a:r>
        </a:p>
      </dgm:t>
    </dgm:pt>
    <dgm:pt modelId="{7B0537F3-3530-4A56-9D6A-5920293C53B4}" type="parTrans" cxnId="{15A3DDCE-7D11-422F-9EFE-9054121EC95B}">
      <dgm:prSet/>
      <dgm:spPr/>
      <dgm:t>
        <a:bodyPr/>
        <a:lstStyle/>
        <a:p>
          <a:endParaRPr lang="fr-FR"/>
        </a:p>
      </dgm:t>
    </dgm:pt>
    <dgm:pt modelId="{30686B82-7CB2-4F45-ADB2-13E4FE354290}" type="sibTrans" cxnId="{15A3DDCE-7D11-422F-9EFE-9054121EC95B}">
      <dgm:prSet/>
      <dgm:spPr/>
      <dgm:t>
        <a:bodyPr/>
        <a:lstStyle/>
        <a:p>
          <a:endParaRPr lang="fr-FR"/>
        </a:p>
      </dgm:t>
    </dgm:pt>
    <dgm:pt modelId="{DEE1C804-72A2-4978-8052-1B33E7148D82}">
      <dgm:prSet phldrT="[Texte]" custT="1"/>
      <dgm:spPr/>
      <dgm:t>
        <a:bodyPr/>
        <a:lstStyle/>
        <a:p>
          <a:r>
            <a:rPr lang="fr-FR" sz="1200" dirty="0"/>
            <a:t>La Direction désigne le Records Manager, qui est formé par l’équipe </a:t>
          </a:r>
          <a:r>
            <a:rPr lang="fr-FR" sz="1200" dirty="0" err="1"/>
            <a:t>Fill’Good</a:t>
          </a:r>
          <a:endParaRPr lang="fr-FR" sz="1200" dirty="0"/>
        </a:p>
      </dgm:t>
    </dgm:pt>
    <dgm:pt modelId="{3ABC70E7-98ED-4A9F-81EC-119CD1C4CF6B}" type="parTrans" cxnId="{84045D0E-FA90-4FC2-8D0A-00129ED6F6CE}">
      <dgm:prSet/>
      <dgm:spPr/>
      <dgm:t>
        <a:bodyPr/>
        <a:lstStyle/>
        <a:p>
          <a:endParaRPr lang="fr-FR"/>
        </a:p>
      </dgm:t>
    </dgm:pt>
    <dgm:pt modelId="{E3F98509-ACF4-49A5-BD38-2138CD323445}" type="sibTrans" cxnId="{84045D0E-FA90-4FC2-8D0A-00129ED6F6CE}">
      <dgm:prSet/>
      <dgm:spPr/>
      <dgm:t>
        <a:bodyPr/>
        <a:lstStyle/>
        <a:p>
          <a:endParaRPr lang="fr-FR"/>
        </a:p>
      </dgm:t>
    </dgm:pt>
    <dgm:pt modelId="{37600A24-EBC9-442B-93CC-3E920C7A9A36}">
      <dgm:prSet phldrT="[Texte]" custT="1"/>
      <dgm:spPr/>
      <dgm:t>
        <a:bodyPr/>
        <a:lstStyle/>
        <a:p>
          <a:pPr marL="114300" lvl="1" indent="-114300" algn="l" defTabSz="533400">
            <a:lnSpc>
              <a:spcPct val="90000"/>
            </a:lnSpc>
            <a:spcBef>
              <a:spcPct val="0"/>
            </a:spcBef>
            <a:spcAft>
              <a:spcPct val="15000"/>
            </a:spcAft>
            <a:buChar char="•"/>
          </a:pPr>
          <a:r>
            <a:rPr lang="fr-FR" sz="1200" kern="1200" dirty="0">
              <a:solidFill>
                <a:srgbClr val="000000">
                  <a:hueOff val="0"/>
                  <a:satOff val="0"/>
                  <a:lumOff val="0"/>
                  <a:alphaOff val="0"/>
                </a:srgbClr>
              </a:solidFill>
              <a:latin typeface="Arial"/>
              <a:ea typeface="MS PGothic"/>
              <a:cs typeface="+mn-cs"/>
            </a:rPr>
            <a:t>Étudier et préparer la cible (paramètres, processus métier…)</a:t>
          </a:r>
          <a:endParaRPr lang="fr-FR" sz="1050" kern="1200" dirty="0">
            <a:solidFill>
              <a:srgbClr val="000000">
                <a:hueOff val="0"/>
                <a:satOff val="0"/>
                <a:lumOff val="0"/>
                <a:alphaOff val="0"/>
              </a:srgbClr>
            </a:solidFill>
            <a:latin typeface="Arial"/>
            <a:ea typeface="MS PGothic"/>
            <a:cs typeface="+mn-cs"/>
          </a:endParaRPr>
        </a:p>
      </dgm:t>
    </dgm:pt>
    <dgm:pt modelId="{B1CA89EB-3FB8-4BAE-B5CF-1F30149D3EE1}" type="parTrans" cxnId="{9BC41B04-9F73-4812-98CF-D625BAC8738E}">
      <dgm:prSet/>
      <dgm:spPr/>
      <dgm:t>
        <a:bodyPr/>
        <a:lstStyle/>
        <a:p>
          <a:endParaRPr lang="fr-FR"/>
        </a:p>
      </dgm:t>
    </dgm:pt>
    <dgm:pt modelId="{CC19BAB0-B2AC-4B1A-8ADD-CF8C0603CB56}" type="sibTrans" cxnId="{9BC41B04-9F73-4812-98CF-D625BAC8738E}">
      <dgm:prSet/>
      <dgm:spPr/>
      <dgm:t>
        <a:bodyPr/>
        <a:lstStyle/>
        <a:p>
          <a:endParaRPr lang="fr-FR"/>
        </a:p>
      </dgm:t>
    </dgm:pt>
    <dgm:pt modelId="{799E090A-8F3B-42AC-B99C-34995B00BC47}">
      <dgm:prSet phldrT="[Texte]" custT="1"/>
      <dgm:spPr/>
      <dgm:t>
        <a:bodyPr/>
        <a:lstStyle/>
        <a:p>
          <a:pPr marL="114300" lvl="1" indent="-114300" algn="l" defTabSz="533400">
            <a:lnSpc>
              <a:spcPct val="90000"/>
            </a:lnSpc>
            <a:spcBef>
              <a:spcPct val="0"/>
            </a:spcBef>
            <a:spcAft>
              <a:spcPct val="15000"/>
            </a:spcAft>
            <a:buChar char="•"/>
          </a:pPr>
          <a:r>
            <a:rPr lang="fr-FR" sz="1200" kern="1200" dirty="0">
              <a:solidFill>
                <a:srgbClr val="000000">
                  <a:hueOff val="0"/>
                  <a:satOff val="0"/>
                  <a:lumOff val="0"/>
                  <a:alphaOff val="0"/>
                </a:srgbClr>
              </a:solidFill>
              <a:latin typeface="Arial"/>
              <a:ea typeface="MS PGothic"/>
              <a:cs typeface="+mn-cs"/>
            </a:rPr>
            <a:t>Mener les travaux sur les fonds papier ou numériques (tri, numérisation…)</a:t>
          </a:r>
        </a:p>
      </dgm:t>
    </dgm:pt>
    <dgm:pt modelId="{82A5CAAF-5618-42A3-B478-A2F6D5C75613}" type="parTrans" cxnId="{78A4FE7F-C2EF-4BD0-AA7E-A8C69A2D96D1}">
      <dgm:prSet/>
      <dgm:spPr/>
      <dgm:t>
        <a:bodyPr/>
        <a:lstStyle/>
        <a:p>
          <a:endParaRPr lang="fr-FR"/>
        </a:p>
      </dgm:t>
    </dgm:pt>
    <dgm:pt modelId="{EC9958FA-04BF-4F54-B185-071D0FABAEE1}" type="sibTrans" cxnId="{78A4FE7F-C2EF-4BD0-AA7E-A8C69A2D96D1}">
      <dgm:prSet/>
      <dgm:spPr/>
      <dgm:t>
        <a:bodyPr/>
        <a:lstStyle/>
        <a:p>
          <a:endParaRPr lang="fr-FR"/>
        </a:p>
      </dgm:t>
    </dgm:pt>
    <dgm:pt modelId="{29FFB11F-0966-454C-965C-2BFE45F4A958}">
      <dgm:prSet phldrT="[Texte]" custT="1"/>
      <dgm:spPr/>
      <dgm:t>
        <a:bodyPr/>
        <a:lstStyle/>
        <a:p>
          <a:r>
            <a:rPr lang="fr-FR" sz="1200" dirty="0"/>
            <a:t>Des actions rapides (quick-</a:t>
          </a:r>
          <a:r>
            <a:rPr lang="fr-FR" sz="1200" dirty="0" err="1"/>
            <a:t>wins</a:t>
          </a:r>
          <a:r>
            <a:rPr lang="fr-FR" sz="1200" dirty="0"/>
            <a:t>) sont mises en évidence, elles sont réalisables dès maintenant</a:t>
          </a:r>
        </a:p>
      </dgm:t>
    </dgm:pt>
    <dgm:pt modelId="{B7C0BDA0-1831-4873-B947-81CD510CF6EB}" type="parTrans" cxnId="{D68B8EE1-5914-4A30-813A-BE6FA3FD9CA5}">
      <dgm:prSet/>
      <dgm:spPr/>
      <dgm:t>
        <a:bodyPr/>
        <a:lstStyle/>
        <a:p>
          <a:endParaRPr lang="fr-FR"/>
        </a:p>
      </dgm:t>
    </dgm:pt>
    <dgm:pt modelId="{A22141DD-DD20-414B-99ED-6EAB29D8C9D9}" type="sibTrans" cxnId="{D68B8EE1-5914-4A30-813A-BE6FA3FD9CA5}">
      <dgm:prSet/>
      <dgm:spPr/>
      <dgm:t>
        <a:bodyPr/>
        <a:lstStyle/>
        <a:p>
          <a:endParaRPr lang="fr-FR"/>
        </a:p>
      </dgm:t>
    </dgm:pt>
    <dgm:pt modelId="{E8836B01-D7D0-462B-8C73-B13F435AD0FC}">
      <dgm:prSet phldrT="[Texte]" custT="1"/>
      <dgm:spPr/>
      <dgm:t>
        <a:bodyPr/>
        <a:lstStyle/>
        <a:p>
          <a:pPr marL="114300" lvl="1" indent="-114300" algn="l" defTabSz="533400">
            <a:lnSpc>
              <a:spcPct val="90000"/>
            </a:lnSpc>
            <a:spcBef>
              <a:spcPct val="0"/>
            </a:spcBef>
            <a:spcAft>
              <a:spcPct val="15000"/>
            </a:spcAft>
            <a:buChar char="•"/>
          </a:pPr>
          <a:r>
            <a:rPr lang="fr-FR" sz="1200" kern="1200" dirty="0">
              <a:solidFill>
                <a:srgbClr val="000000">
                  <a:hueOff val="0"/>
                  <a:satOff val="0"/>
                  <a:lumOff val="0"/>
                  <a:alphaOff val="0"/>
                </a:srgbClr>
              </a:solidFill>
              <a:latin typeface="Arial"/>
              <a:ea typeface="MS PGothic"/>
              <a:cs typeface="+mn-cs"/>
            </a:rPr>
            <a:t>Mener les actions liées aux quick-</a:t>
          </a:r>
          <a:r>
            <a:rPr lang="fr-FR" sz="1200" kern="1200" dirty="0" err="1">
              <a:solidFill>
                <a:srgbClr val="000000">
                  <a:hueOff val="0"/>
                  <a:satOff val="0"/>
                  <a:lumOff val="0"/>
                  <a:alphaOff val="0"/>
                </a:srgbClr>
              </a:solidFill>
              <a:latin typeface="Arial"/>
              <a:ea typeface="MS PGothic"/>
              <a:cs typeface="+mn-cs"/>
            </a:rPr>
            <a:t>wins</a:t>
          </a:r>
          <a:endParaRPr lang="fr-FR" sz="1200" kern="1200" dirty="0">
            <a:solidFill>
              <a:srgbClr val="000000">
                <a:hueOff val="0"/>
                <a:satOff val="0"/>
                <a:lumOff val="0"/>
                <a:alphaOff val="0"/>
              </a:srgbClr>
            </a:solidFill>
            <a:latin typeface="Arial"/>
            <a:ea typeface="MS PGothic"/>
            <a:cs typeface="+mn-cs"/>
          </a:endParaRPr>
        </a:p>
      </dgm:t>
    </dgm:pt>
    <dgm:pt modelId="{65EBDE9C-263E-4243-89DC-D1387512C6C9}" type="parTrans" cxnId="{86663516-DA83-4192-BD84-22A66018D538}">
      <dgm:prSet/>
      <dgm:spPr/>
      <dgm:t>
        <a:bodyPr/>
        <a:lstStyle/>
        <a:p>
          <a:endParaRPr lang="fr-FR"/>
        </a:p>
      </dgm:t>
    </dgm:pt>
    <dgm:pt modelId="{4BEDE86C-35CB-40FB-B1ED-6170E17C4069}" type="sibTrans" cxnId="{86663516-DA83-4192-BD84-22A66018D538}">
      <dgm:prSet/>
      <dgm:spPr/>
      <dgm:t>
        <a:bodyPr/>
        <a:lstStyle/>
        <a:p>
          <a:endParaRPr lang="fr-FR"/>
        </a:p>
      </dgm:t>
    </dgm:pt>
    <dgm:pt modelId="{5CB9BB39-9AB6-4AE0-BACA-8C4B7511464D}">
      <dgm:prSet phldrT="[Texte]" custT="1"/>
      <dgm:spPr/>
      <dgm:t>
        <a:bodyPr/>
        <a:lstStyle/>
        <a:p>
          <a:r>
            <a:rPr lang="fr-FR" sz="1100" dirty="0"/>
            <a:t> </a:t>
          </a:r>
          <a:r>
            <a:rPr lang="fr-FR" sz="1100" i="1" dirty="0"/>
            <a:t>niveau d’implication : environ 1 jour par semaine, à ajuster en fonction des enjeux et objectifs</a:t>
          </a:r>
        </a:p>
      </dgm:t>
    </dgm:pt>
    <dgm:pt modelId="{A0DE9384-2C1B-4227-A6DB-B29343BFC21F}" type="parTrans" cxnId="{4CD323D4-E4EC-42E5-8EFA-38F6552E98FA}">
      <dgm:prSet/>
      <dgm:spPr/>
      <dgm:t>
        <a:bodyPr/>
        <a:lstStyle/>
        <a:p>
          <a:endParaRPr lang="fr-FR"/>
        </a:p>
      </dgm:t>
    </dgm:pt>
    <dgm:pt modelId="{5114B54E-8545-4431-A8B7-122D889FF0D2}" type="sibTrans" cxnId="{4CD323D4-E4EC-42E5-8EFA-38F6552E98FA}">
      <dgm:prSet/>
      <dgm:spPr/>
      <dgm:t>
        <a:bodyPr/>
        <a:lstStyle/>
        <a:p>
          <a:endParaRPr lang="fr-FR"/>
        </a:p>
      </dgm:t>
    </dgm:pt>
    <dgm:pt modelId="{A1DEADB3-74DE-4544-BE76-B36F216044FE}">
      <dgm:prSet phldrT="[Texte]" custT="1"/>
      <dgm:spPr/>
      <dgm:t>
        <a:bodyPr/>
        <a:lstStyle/>
        <a:p>
          <a:r>
            <a:rPr lang="fr-FR" sz="1200" dirty="0"/>
            <a:t>La Direction décline les enjeux de la PGRM dans son contexte</a:t>
          </a:r>
        </a:p>
      </dgm:t>
    </dgm:pt>
    <dgm:pt modelId="{206753BD-E0D5-4239-ADF6-E7DAAA274C0A}" type="parTrans" cxnId="{8F3670D5-D59E-444E-BDAE-13789B4D4010}">
      <dgm:prSet/>
      <dgm:spPr/>
      <dgm:t>
        <a:bodyPr/>
        <a:lstStyle/>
        <a:p>
          <a:endParaRPr lang="fr-FR"/>
        </a:p>
      </dgm:t>
    </dgm:pt>
    <dgm:pt modelId="{EE2442A1-0E90-4107-9684-7A95DFF493C2}" type="sibTrans" cxnId="{8F3670D5-D59E-444E-BDAE-13789B4D4010}">
      <dgm:prSet/>
      <dgm:spPr/>
      <dgm:t>
        <a:bodyPr/>
        <a:lstStyle/>
        <a:p>
          <a:endParaRPr lang="fr-FR"/>
        </a:p>
      </dgm:t>
    </dgm:pt>
    <dgm:pt modelId="{BEFF78C4-630B-4113-9DE6-2699AF581F2A}">
      <dgm:prSet phldrT="[Texte]" custT="1"/>
      <dgm:spPr/>
      <dgm:t>
        <a:bodyPr/>
        <a:lstStyle/>
        <a:p>
          <a:pPr marL="114300" lvl="1" indent="-114300" algn="l" defTabSz="533400">
            <a:lnSpc>
              <a:spcPct val="90000"/>
            </a:lnSpc>
            <a:spcBef>
              <a:spcPct val="0"/>
            </a:spcBef>
            <a:spcAft>
              <a:spcPct val="15000"/>
            </a:spcAft>
            <a:buChar char="•"/>
          </a:pPr>
          <a:r>
            <a:rPr lang="fr-FR" sz="1200" kern="1200" dirty="0">
              <a:solidFill>
                <a:srgbClr val="000000">
                  <a:hueOff val="0"/>
                  <a:satOff val="0"/>
                  <a:lumOff val="0"/>
                  <a:alphaOff val="0"/>
                </a:srgbClr>
              </a:solidFill>
              <a:latin typeface="Arial"/>
              <a:ea typeface="MS PGothic"/>
              <a:cs typeface="+mn-cs"/>
            </a:rPr>
            <a:t>Accompagner le changement (communication, formation…)</a:t>
          </a:r>
        </a:p>
      </dgm:t>
    </dgm:pt>
    <dgm:pt modelId="{F2199101-354E-4F65-B361-F96CCD1D0413}" type="sibTrans" cxnId="{8734255A-4CA2-4543-92A4-55EDCB8E4244}">
      <dgm:prSet/>
      <dgm:spPr/>
      <dgm:t>
        <a:bodyPr/>
        <a:lstStyle/>
        <a:p>
          <a:endParaRPr lang="fr-FR"/>
        </a:p>
      </dgm:t>
    </dgm:pt>
    <dgm:pt modelId="{0456436D-62FE-470E-AA7D-1840A75F4FD3}" type="parTrans" cxnId="{8734255A-4CA2-4543-92A4-55EDCB8E4244}">
      <dgm:prSet/>
      <dgm:spPr/>
      <dgm:t>
        <a:bodyPr/>
        <a:lstStyle/>
        <a:p>
          <a:endParaRPr lang="fr-FR"/>
        </a:p>
      </dgm:t>
    </dgm:pt>
    <dgm:pt modelId="{717AE0DF-D345-4AEF-8141-03A2134BD816}" type="pres">
      <dgm:prSet presAssocID="{6775FFA1-1879-4587-938F-05D6C30D6868}" presName="linearFlow" presStyleCnt="0">
        <dgm:presLayoutVars>
          <dgm:dir/>
          <dgm:animLvl val="lvl"/>
          <dgm:resizeHandles val="exact"/>
        </dgm:presLayoutVars>
      </dgm:prSet>
      <dgm:spPr/>
      <dgm:t>
        <a:bodyPr/>
        <a:lstStyle/>
        <a:p>
          <a:endParaRPr lang="fr-FR"/>
        </a:p>
      </dgm:t>
    </dgm:pt>
    <dgm:pt modelId="{D296A5B6-3F68-46AE-B240-91239364CC78}" type="pres">
      <dgm:prSet presAssocID="{0507E691-0125-4864-A3CD-8F460A80B50E}" presName="composite" presStyleCnt="0"/>
      <dgm:spPr/>
    </dgm:pt>
    <dgm:pt modelId="{A56BFDE8-393B-4B3C-A22E-90CCB04F3AFB}" type="pres">
      <dgm:prSet presAssocID="{0507E691-0125-4864-A3CD-8F460A80B50E}" presName="parentText" presStyleLbl="alignNode1" presStyleIdx="0" presStyleCnt="3">
        <dgm:presLayoutVars>
          <dgm:chMax val="1"/>
          <dgm:bulletEnabled val="1"/>
        </dgm:presLayoutVars>
      </dgm:prSet>
      <dgm:spPr/>
      <dgm:t>
        <a:bodyPr/>
        <a:lstStyle/>
        <a:p>
          <a:endParaRPr lang="fr-FR"/>
        </a:p>
      </dgm:t>
    </dgm:pt>
    <dgm:pt modelId="{56EFD2B5-8704-44D4-8B8D-FE2D20194E33}" type="pres">
      <dgm:prSet presAssocID="{0507E691-0125-4864-A3CD-8F460A80B50E}" presName="descendantText" presStyleLbl="alignAcc1" presStyleIdx="0" presStyleCnt="3">
        <dgm:presLayoutVars>
          <dgm:bulletEnabled val="1"/>
        </dgm:presLayoutVars>
      </dgm:prSet>
      <dgm:spPr/>
      <dgm:t>
        <a:bodyPr/>
        <a:lstStyle/>
        <a:p>
          <a:endParaRPr lang="fr-FR"/>
        </a:p>
      </dgm:t>
    </dgm:pt>
    <dgm:pt modelId="{39AEE5D7-5ED0-4C66-B16E-A80AAE54E653}" type="pres">
      <dgm:prSet presAssocID="{C73C13B5-4A2A-4D61-9E00-E0B6C1EBC28F}" presName="sp" presStyleCnt="0"/>
      <dgm:spPr/>
    </dgm:pt>
    <dgm:pt modelId="{8356F23A-1450-46DB-B8B4-C77A63749D06}" type="pres">
      <dgm:prSet presAssocID="{CDA72C4E-211F-41C0-A24B-DF4F5E14713B}" presName="composite" presStyleCnt="0"/>
      <dgm:spPr/>
    </dgm:pt>
    <dgm:pt modelId="{ED9D4BAB-4AE3-4CE4-BC05-A77582AC8E6A}" type="pres">
      <dgm:prSet presAssocID="{CDA72C4E-211F-41C0-A24B-DF4F5E14713B}" presName="parentText" presStyleLbl="alignNode1" presStyleIdx="1" presStyleCnt="3">
        <dgm:presLayoutVars>
          <dgm:chMax val="1"/>
          <dgm:bulletEnabled val="1"/>
        </dgm:presLayoutVars>
      </dgm:prSet>
      <dgm:spPr/>
      <dgm:t>
        <a:bodyPr/>
        <a:lstStyle/>
        <a:p>
          <a:endParaRPr lang="fr-FR"/>
        </a:p>
      </dgm:t>
    </dgm:pt>
    <dgm:pt modelId="{24D6F636-E224-41BA-A7A4-BE590E48163E}" type="pres">
      <dgm:prSet presAssocID="{CDA72C4E-211F-41C0-A24B-DF4F5E14713B}" presName="descendantText" presStyleLbl="alignAcc1" presStyleIdx="1" presStyleCnt="3" custScaleY="98404">
        <dgm:presLayoutVars>
          <dgm:bulletEnabled val="1"/>
        </dgm:presLayoutVars>
      </dgm:prSet>
      <dgm:spPr/>
      <dgm:t>
        <a:bodyPr/>
        <a:lstStyle/>
        <a:p>
          <a:endParaRPr lang="fr-FR"/>
        </a:p>
      </dgm:t>
    </dgm:pt>
    <dgm:pt modelId="{A35444E3-F351-4229-9C4F-7D4495567153}" type="pres">
      <dgm:prSet presAssocID="{590C6BB6-8241-4722-B97E-3B321AD5938B}" presName="sp" presStyleCnt="0"/>
      <dgm:spPr/>
    </dgm:pt>
    <dgm:pt modelId="{1E619519-F5AD-4F2F-AAC5-2DE08B91B7B3}" type="pres">
      <dgm:prSet presAssocID="{FB31295B-3628-4C5D-BC16-544A0DEA88A1}" presName="composite" presStyleCnt="0"/>
      <dgm:spPr/>
    </dgm:pt>
    <dgm:pt modelId="{BC8BED56-6F18-4199-866E-41DF441DAAC7}" type="pres">
      <dgm:prSet presAssocID="{FB31295B-3628-4C5D-BC16-544A0DEA88A1}" presName="parentText" presStyleLbl="alignNode1" presStyleIdx="2" presStyleCnt="3">
        <dgm:presLayoutVars>
          <dgm:chMax val="1"/>
          <dgm:bulletEnabled val="1"/>
        </dgm:presLayoutVars>
      </dgm:prSet>
      <dgm:spPr/>
      <dgm:t>
        <a:bodyPr/>
        <a:lstStyle/>
        <a:p>
          <a:endParaRPr lang="fr-FR"/>
        </a:p>
      </dgm:t>
    </dgm:pt>
    <dgm:pt modelId="{0605E4C8-28B3-42D9-A422-33E97D10246D}" type="pres">
      <dgm:prSet presAssocID="{FB31295B-3628-4C5D-BC16-544A0DEA88A1}" presName="descendantText" presStyleLbl="alignAcc1" presStyleIdx="2" presStyleCnt="3" custScaleY="103628">
        <dgm:presLayoutVars>
          <dgm:bulletEnabled val="1"/>
        </dgm:presLayoutVars>
      </dgm:prSet>
      <dgm:spPr>
        <a:xfrm rot="5400000">
          <a:off x="4029993" y="-1943978"/>
          <a:ext cx="559500" cy="7414410"/>
        </a:xfrm>
        <a:prstGeom prst="round2SameRect">
          <a:avLst/>
        </a:prstGeom>
      </dgm:spPr>
      <dgm:t>
        <a:bodyPr/>
        <a:lstStyle/>
        <a:p>
          <a:endParaRPr lang="fr-FR"/>
        </a:p>
      </dgm:t>
    </dgm:pt>
  </dgm:ptLst>
  <dgm:cxnLst>
    <dgm:cxn modelId="{03277CC9-7E62-4B8A-92A8-5E73C6BA7FE4}" type="presOf" srcId="{E8836B01-D7D0-462B-8C73-B13F435AD0FC}" destId="{0605E4C8-28B3-42D9-A422-33E97D10246D}" srcOrd="0" destOrd="3" presId="urn:microsoft.com/office/officeart/2005/8/layout/chevron2"/>
    <dgm:cxn modelId="{87D2B4CC-951A-4518-A469-1410669B216C}" type="presOf" srcId="{BEFF78C4-630B-4113-9DE6-2699AF581F2A}" destId="{0605E4C8-28B3-42D9-A422-33E97D10246D}" srcOrd="0" destOrd="2" presId="urn:microsoft.com/office/officeart/2005/8/layout/chevron2"/>
    <dgm:cxn modelId="{F1B905A7-3536-46D8-90A9-71B2256E0A16}" type="presOf" srcId="{5CB9BB39-9AB6-4AE0-BACA-8C4B7511464D}" destId="{56EFD2B5-8704-44D4-8B8D-FE2D20194E33}" srcOrd="0" destOrd="2" presId="urn:microsoft.com/office/officeart/2005/8/layout/chevron2"/>
    <dgm:cxn modelId="{04BAAF47-24DA-4093-BBFB-03DAA575EA95}" type="presOf" srcId="{0507E691-0125-4864-A3CD-8F460A80B50E}" destId="{A56BFDE8-393B-4B3C-A22E-90CCB04F3AFB}" srcOrd="0" destOrd="0" presId="urn:microsoft.com/office/officeart/2005/8/layout/chevron2"/>
    <dgm:cxn modelId="{3F04577F-F536-4CD3-A865-AFFC8A7277AC}" srcId="{6775FFA1-1879-4587-938F-05D6C30D6868}" destId="{0507E691-0125-4864-A3CD-8F460A80B50E}" srcOrd="0" destOrd="0" parTransId="{2807E5B2-E84F-4C8D-923D-2C652778816B}" sibTransId="{C73C13B5-4A2A-4D61-9E00-E0B6C1EBC28F}"/>
    <dgm:cxn modelId="{8734255A-4CA2-4543-92A4-55EDCB8E4244}" srcId="{FB31295B-3628-4C5D-BC16-544A0DEA88A1}" destId="{BEFF78C4-630B-4113-9DE6-2699AF581F2A}" srcOrd="2" destOrd="0" parTransId="{0456436D-62FE-470E-AA7D-1840A75F4FD3}" sibTransId="{F2199101-354E-4F65-B361-F96CCD1D0413}"/>
    <dgm:cxn modelId="{B9AA780E-1A04-4283-89D5-3FFFA4E7BC9B}" srcId="{6775FFA1-1879-4587-938F-05D6C30D6868}" destId="{CDA72C4E-211F-41C0-A24B-DF4F5E14713B}" srcOrd="1" destOrd="0" parTransId="{0905ECD0-254B-4711-AE46-1B1287530A50}" sibTransId="{590C6BB6-8241-4722-B97E-3B321AD5938B}"/>
    <dgm:cxn modelId="{4CD323D4-E4EC-42E5-8EFA-38F6552E98FA}" srcId="{DEE1C804-72A2-4978-8052-1B33E7148D82}" destId="{5CB9BB39-9AB6-4AE0-BACA-8C4B7511464D}" srcOrd="0" destOrd="0" parTransId="{A0DE9384-2C1B-4227-A6DB-B29343BFC21F}" sibTransId="{5114B54E-8545-4431-A8B7-122D889FF0D2}"/>
    <dgm:cxn modelId="{86663516-DA83-4192-BD84-22A66018D538}" srcId="{FB31295B-3628-4C5D-BC16-544A0DEA88A1}" destId="{E8836B01-D7D0-462B-8C73-B13F435AD0FC}" srcOrd="3" destOrd="0" parTransId="{65EBDE9C-263E-4243-89DC-D1387512C6C9}" sibTransId="{4BEDE86C-35CB-40FB-B1ED-6170E17C4069}"/>
    <dgm:cxn modelId="{D3DCA2B0-599C-4F20-A07C-B292CFF5B00F}" srcId="{CDA72C4E-211F-41C0-A24B-DF4F5E14713B}" destId="{3C69BB28-8FF7-4A7F-8C7D-608EDB046A99}" srcOrd="1" destOrd="0" parTransId="{597E4B46-63CF-4FF0-915A-EC0DC080B7E2}" sibTransId="{9FD2F144-567A-48A9-BB42-3B161489F2FF}"/>
    <dgm:cxn modelId="{7054BD7D-FD9B-44F0-A4AE-330092330A32}" type="presOf" srcId="{29FFB11F-0966-454C-965C-2BFE45F4A958}" destId="{24D6F636-E224-41BA-A7A4-BE590E48163E}" srcOrd="0" destOrd="2" presId="urn:microsoft.com/office/officeart/2005/8/layout/chevron2"/>
    <dgm:cxn modelId="{9BC41B04-9F73-4812-98CF-D625BAC8738E}" srcId="{FB31295B-3628-4C5D-BC16-544A0DEA88A1}" destId="{37600A24-EBC9-442B-93CC-3E920C7A9A36}" srcOrd="0" destOrd="0" parTransId="{B1CA89EB-3FB8-4BAE-B5CF-1F30149D3EE1}" sibTransId="{CC19BAB0-B2AC-4B1A-8ADD-CF8C0603CB56}"/>
    <dgm:cxn modelId="{7AD1466A-0F33-4FDA-9EE3-502324C8060B}" srcId="{6775FFA1-1879-4587-938F-05D6C30D6868}" destId="{FB31295B-3628-4C5D-BC16-544A0DEA88A1}" srcOrd="2" destOrd="0" parTransId="{31647B0A-4649-4165-A922-0AB6E3BCE601}" sibTransId="{9F03F84F-CA97-49E5-A561-7DA14C3E5295}"/>
    <dgm:cxn modelId="{915BF10B-04F3-4A13-B395-9678565BEF93}" type="presOf" srcId="{DEE1C804-72A2-4978-8052-1B33E7148D82}" destId="{56EFD2B5-8704-44D4-8B8D-FE2D20194E33}" srcOrd="0" destOrd="1" presId="urn:microsoft.com/office/officeart/2005/8/layout/chevron2"/>
    <dgm:cxn modelId="{84045D0E-FA90-4FC2-8D0A-00129ED6F6CE}" srcId="{0507E691-0125-4864-A3CD-8F460A80B50E}" destId="{DEE1C804-72A2-4978-8052-1B33E7148D82}" srcOrd="1" destOrd="0" parTransId="{3ABC70E7-98ED-4A9F-81EC-119CD1C4CF6B}" sibTransId="{E3F98509-ACF4-49A5-BD38-2138CD323445}"/>
    <dgm:cxn modelId="{E4EE19DD-FE04-4C55-91BD-C664F5EAC414}" type="presOf" srcId="{76D05397-7992-4ABE-912E-DF9F38F43C02}" destId="{24D6F636-E224-41BA-A7A4-BE590E48163E}" srcOrd="0" destOrd="0" presId="urn:microsoft.com/office/officeart/2005/8/layout/chevron2"/>
    <dgm:cxn modelId="{78A4FE7F-C2EF-4BD0-AA7E-A8C69A2D96D1}" srcId="{FB31295B-3628-4C5D-BC16-544A0DEA88A1}" destId="{799E090A-8F3B-42AC-B99C-34995B00BC47}" srcOrd="1" destOrd="0" parTransId="{82A5CAAF-5618-42A3-B478-A2F6D5C75613}" sibTransId="{EC9958FA-04BF-4F54-B185-071D0FABAEE1}"/>
    <dgm:cxn modelId="{247F9FFB-0E9D-4AE3-BC78-750736DE2895}" type="presOf" srcId="{3C69BB28-8FF7-4A7F-8C7D-608EDB046A99}" destId="{24D6F636-E224-41BA-A7A4-BE590E48163E}" srcOrd="0" destOrd="1" presId="urn:microsoft.com/office/officeart/2005/8/layout/chevron2"/>
    <dgm:cxn modelId="{BB09A06F-E1A3-49D8-9A5E-89C4966AE6C6}" type="presOf" srcId="{37600A24-EBC9-442B-93CC-3E920C7A9A36}" destId="{0605E4C8-28B3-42D9-A422-33E97D10246D}" srcOrd="0" destOrd="0" presId="urn:microsoft.com/office/officeart/2005/8/layout/chevron2"/>
    <dgm:cxn modelId="{F03475F9-CE0C-45F4-8E11-F927D45D56B2}" type="presOf" srcId="{6775FFA1-1879-4587-938F-05D6C30D6868}" destId="{717AE0DF-D345-4AEF-8141-03A2134BD816}" srcOrd="0" destOrd="0" presId="urn:microsoft.com/office/officeart/2005/8/layout/chevron2"/>
    <dgm:cxn modelId="{7095F56D-2374-4FA8-B98C-5E9CBFC304C8}" type="presOf" srcId="{799E090A-8F3B-42AC-B99C-34995B00BC47}" destId="{0605E4C8-28B3-42D9-A422-33E97D10246D}" srcOrd="0" destOrd="1" presId="urn:microsoft.com/office/officeart/2005/8/layout/chevron2"/>
    <dgm:cxn modelId="{5B4B0556-40FC-4E6F-8821-6EEDF1803477}" type="presOf" srcId="{A1DEADB3-74DE-4544-BE76-B36F216044FE}" destId="{56EFD2B5-8704-44D4-8B8D-FE2D20194E33}" srcOrd="0" destOrd="0" presId="urn:microsoft.com/office/officeart/2005/8/layout/chevron2"/>
    <dgm:cxn modelId="{15A3DDCE-7D11-422F-9EFE-9054121EC95B}" srcId="{CDA72C4E-211F-41C0-A24B-DF4F5E14713B}" destId="{76D05397-7992-4ABE-912E-DF9F38F43C02}" srcOrd="0" destOrd="0" parTransId="{7B0537F3-3530-4A56-9D6A-5920293C53B4}" sibTransId="{30686B82-7CB2-4F45-ADB2-13E4FE354290}"/>
    <dgm:cxn modelId="{D68B8EE1-5914-4A30-813A-BE6FA3FD9CA5}" srcId="{CDA72C4E-211F-41C0-A24B-DF4F5E14713B}" destId="{29FFB11F-0966-454C-965C-2BFE45F4A958}" srcOrd="2" destOrd="0" parTransId="{B7C0BDA0-1831-4873-B947-81CD510CF6EB}" sibTransId="{A22141DD-DD20-414B-99ED-6EAB29D8C9D9}"/>
    <dgm:cxn modelId="{723FD4BF-AC92-42E2-B67B-5EA5CA987034}" type="presOf" srcId="{FB31295B-3628-4C5D-BC16-544A0DEA88A1}" destId="{BC8BED56-6F18-4199-866E-41DF441DAAC7}" srcOrd="0" destOrd="0" presId="urn:microsoft.com/office/officeart/2005/8/layout/chevron2"/>
    <dgm:cxn modelId="{8F3670D5-D59E-444E-BDAE-13789B4D4010}" srcId="{0507E691-0125-4864-A3CD-8F460A80B50E}" destId="{A1DEADB3-74DE-4544-BE76-B36F216044FE}" srcOrd="0" destOrd="0" parTransId="{206753BD-E0D5-4239-ADF6-E7DAAA274C0A}" sibTransId="{EE2442A1-0E90-4107-9684-7A95DFF493C2}"/>
    <dgm:cxn modelId="{7EBF0F84-7D63-4E87-A865-4A5525034756}" type="presOf" srcId="{CDA72C4E-211F-41C0-A24B-DF4F5E14713B}" destId="{ED9D4BAB-4AE3-4CE4-BC05-A77582AC8E6A}" srcOrd="0" destOrd="0" presId="urn:microsoft.com/office/officeart/2005/8/layout/chevron2"/>
    <dgm:cxn modelId="{82EE0EA9-8DE9-4135-B14A-E50BD6AFA5DE}" type="presParOf" srcId="{717AE0DF-D345-4AEF-8141-03A2134BD816}" destId="{D296A5B6-3F68-46AE-B240-91239364CC78}" srcOrd="0" destOrd="0" presId="urn:microsoft.com/office/officeart/2005/8/layout/chevron2"/>
    <dgm:cxn modelId="{3D0E1405-8409-4432-B4FE-062FA7576F6C}" type="presParOf" srcId="{D296A5B6-3F68-46AE-B240-91239364CC78}" destId="{A56BFDE8-393B-4B3C-A22E-90CCB04F3AFB}" srcOrd="0" destOrd="0" presId="urn:microsoft.com/office/officeart/2005/8/layout/chevron2"/>
    <dgm:cxn modelId="{B385625B-992D-4048-B94A-13997495FE3E}" type="presParOf" srcId="{D296A5B6-3F68-46AE-B240-91239364CC78}" destId="{56EFD2B5-8704-44D4-8B8D-FE2D20194E33}" srcOrd="1" destOrd="0" presId="urn:microsoft.com/office/officeart/2005/8/layout/chevron2"/>
    <dgm:cxn modelId="{65A426A7-4AD2-4E57-BB60-EFF5AAC750E6}" type="presParOf" srcId="{717AE0DF-D345-4AEF-8141-03A2134BD816}" destId="{39AEE5D7-5ED0-4C66-B16E-A80AAE54E653}" srcOrd="1" destOrd="0" presId="urn:microsoft.com/office/officeart/2005/8/layout/chevron2"/>
    <dgm:cxn modelId="{13A336D9-23CF-48C1-82D2-EA34EF52D145}" type="presParOf" srcId="{717AE0DF-D345-4AEF-8141-03A2134BD816}" destId="{8356F23A-1450-46DB-B8B4-C77A63749D06}" srcOrd="2" destOrd="0" presId="urn:microsoft.com/office/officeart/2005/8/layout/chevron2"/>
    <dgm:cxn modelId="{7634BDF6-3174-4D60-857B-3EC59375E5C4}" type="presParOf" srcId="{8356F23A-1450-46DB-B8B4-C77A63749D06}" destId="{ED9D4BAB-4AE3-4CE4-BC05-A77582AC8E6A}" srcOrd="0" destOrd="0" presId="urn:microsoft.com/office/officeart/2005/8/layout/chevron2"/>
    <dgm:cxn modelId="{E7B2FAAE-61DC-4AE6-8D40-5DEFBD6A9DED}" type="presParOf" srcId="{8356F23A-1450-46DB-B8B4-C77A63749D06}" destId="{24D6F636-E224-41BA-A7A4-BE590E48163E}" srcOrd="1" destOrd="0" presId="urn:microsoft.com/office/officeart/2005/8/layout/chevron2"/>
    <dgm:cxn modelId="{6BC64ACE-BE9B-4464-BF45-58FC65E0F389}" type="presParOf" srcId="{717AE0DF-D345-4AEF-8141-03A2134BD816}" destId="{A35444E3-F351-4229-9C4F-7D4495567153}" srcOrd="3" destOrd="0" presId="urn:microsoft.com/office/officeart/2005/8/layout/chevron2"/>
    <dgm:cxn modelId="{0F443845-675D-4A56-8E5A-7365C3D868E6}" type="presParOf" srcId="{717AE0DF-D345-4AEF-8141-03A2134BD816}" destId="{1E619519-F5AD-4F2F-AAC5-2DE08B91B7B3}" srcOrd="4" destOrd="0" presId="urn:microsoft.com/office/officeart/2005/8/layout/chevron2"/>
    <dgm:cxn modelId="{61E13817-D1D1-4512-A4F1-25168247E4E2}" type="presParOf" srcId="{1E619519-F5AD-4F2F-AAC5-2DE08B91B7B3}" destId="{BC8BED56-6F18-4199-866E-41DF441DAAC7}" srcOrd="0" destOrd="0" presId="urn:microsoft.com/office/officeart/2005/8/layout/chevron2"/>
    <dgm:cxn modelId="{448ED8E2-93BA-4A8E-88D0-0C45F2EF84BC}" type="presParOf" srcId="{1E619519-F5AD-4F2F-AAC5-2DE08B91B7B3}" destId="{0605E4C8-28B3-42D9-A422-33E97D10246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3DDEE0-DE1B-4B70-A753-79647BD481CF}">
      <dsp:nvSpPr>
        <dsp:cNvPr id="0" name=""/>
        <dsp:cNvSpPr/>
      </dsp:nvSpPr>
      <dsp:spPr>
        <a:xfrm rot="5400000">
          <a:off x="-204693" y="206065"/>
          <a:ext cx="1364620" cy="95523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FR" sz="1100" kern="1200" dirty="0">
              <a:solidFill>
                <a:schemeClr val="tx1"/>
              </a:solidFill>
            </a:rPr>
            <a:t>Records management</a:t>
          </a:r>
        </a:p>
      </dsp:txBody>
      <dsp:txXfrm rot="-5400000">
        <a:off x="0" y="478989"/>
        <a:ext cx="955234" cy="409386"/>
      </dsp:txXfrm>
    </dsp:sp>
    <dsp:sp modelId="{36883869-2F31-406F-AD24-94806B801C9F}">
      <dsp:nvSpPr>
        <dsp:cNvPr id="0" name=""/>
        <dsp:cNvSpPr/>
      </dsp:nvSpPr>
      <dsp:spPr>
        <a:xfrm rot="5400000">
          <a:off x="4041091" y="-3085856"/>
          <a:ext cx="887003" cy="7058716"/>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fr-FR" sz="1300" kern="1200" dirty="0"/>
            <a:t>Approche « moderne » de l’archivage, adoptée par la plupart des grandes entreprises</a:t>
          </a:r>
        </a:p>
        <a:p>
          <a:pPr marL="114300" lvl="1" indent="-114300" algn="l" defTabSz="577850">
            <a:lnSpc>
              <a:spcPct val="90000"/>
            </a:lnSpc>
            <a:spcBef>
              <a:spcPct val="0"/>
            </a:spcBef>
            <a:spcAft>
              <a:spcPct val="15000"/>
            </a:spcAft>
            <a:buChar char="••"/>
          </a:pPr>
          <a:r>
            <a:rPr lang="fr-FR" sz="1300" kern="1200" dirty="0"/>
            <a:t>Avantages : implication des acteurs métier et intégration dans leurs activités</a:t>
          </a:r>
        </a:p>
      </dsp:txBody>
      <dsp:txXfrm rot="-5400000">
        <a:off x="955235" y="43300"/>
        <a:ext cx="7015416" cy="800403"/>
      </dsp:txXfrm>
    </dsp:sp>
    <dsp:sp modelId="{5CD0B677-F74B-410A-AFB5-42C8AB1A5FC5}">
      <dsp:nvSpPr>
        <dsp:cNvPr id="0" name=""/>
        <dsp:cNvSpPr/>
      </dsp:nvSpPr>
      <dsp:spPr>
        <a:xfrm rot="5400000">
          <a:off x="-204693" y="1373205"/>
          <a:ext cx="1364620" cy="95523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FR" sz="1100" kern="1200" dirty="0">
              <a:solidFill>
                <a:schemeClr val="tx1"/>
              </a:solidFill>
            </a:rPr>
            <a:t>Référentiel de conservation</a:t>
          </a:r>
        </a:p>
      </dsp:txBody>
      <dsp:txXfrm rot="-5400000">
        <a:off x="0" y="1646129"/>
        <a:ext cx="955234" cy="409386"/>
      </dsp:txXfrm>
    </dsp:sp>
    <dsp:sp modelId="{D66EA29B-6DFA-4B78-8FFF-8AC35CB9A504}">
      <dsp:nvSpPr>
        <dsp:cNvPr id="0" name=""/>
        <dsp:cNvSpPr/>
      </dsp:nvSpPr>
      <dsp:spPr>
        <a:xfrm rot="5400000">
          <a:off x="4041091" y="-1917343"/>
          <a:ext cx="887003" cy="7058716"/>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fr-FR" sz="1300" kern="1200" dirty="0"/>
            <a:t>Les règles de conservation de l’information sont formalisées dans un « Référentiel de conservation » dans lequel elles sont organisées selon un « plan de classement »</a:t>
          </a:r>
        </a:p>
        <a:p>
          <a:pPr marL="114300" lvl="1" indent="-114300" algn="l" defTabSz="577850">
            <a:lnSpc>
              <a:spcPct val="90000"/>
            </a:lnSpc>
            <a:spcBef>
              <a:spcPct val="0"/>
            </a:spcBef>
            <a:spcAft>
              <a:spcPct val="15000"/>
            </a:spcAft>
            <a:buChar char="••"/>
          </a:pPr>
          <a:r>
            <a:rPr lang="fr-FR" sz="1300" kern="1200" dirty="0"/>
            <a:t>Ce plan de classement restera simple (3 niveaux, moins de 1000 entrées)</a:t>
          </a:r>
        </a:p>
      </dsp:txBody>
      <dsp:txXfrm rot="-5400000">
        <a:off x="955235" y="1211813"/>
        <a:ext cx="7015416" cy="800403"/>
      </dsp:txXfrm>
    </dsp:sp>
    <dsp:sp modelId="{920493D9-3BAD-49A2-BC14-2EA9A2B6D1CC}">
      <dsp:nvSpPr>
        <dsp:cNvPr id="0" name=""/>
        <dsp:cNvSpPr/>
      </dsp:nvSpPr>
      <dsp:spPr>
        <a:xfrm rot="5400000">
          <a:off x="-204693" y="2540346"/>
          <a:ext cx="1364620" cy="95523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FR" sz="1100" kern="1200" dirty="0">
              <a:solidFill>
                <a:schemeClr val="tx1"/>
              </a:solidFill>
            </a:rPr>
            <a:t>Organisation</a:t>
          </a:r>
        </a:p>
      </dsp:txBody>
      <dsp:txXfrm rot="-5400000">
        <a:off x="0" y="2813270"/>
        <a:ext cx="955234" cy="409386"/>
      </dsp:txXfrm>
    </dsp:sp>
    <dsp:sp modelId="{9CC2CDB4-A881-4A5E-A9F8-5C7A74DE6AAE}">
      <dsp:nvSpPr>
        <dsp:cNvPr id="0" name=""/>
        <dsp:cNvSpPr/>
      </dsp:nvSpPr>
      <dsp:spPr>
        <a:xfrm rot="5400000">
          <a:off x="4041091" y="-750203"/>
          <a:ext cx="887003" cy="7058716"/>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fr-FR" sz="1300" b="0" kern="1200" dirty="0"/>
            <a:t>L’implication des métiers passe par un réseau : records managers, correspondants RM</a:t>
          </a:r>
        </a:p>
        <a:p>
          <a:pPr marL="114300" lvl="1" indent="-114300" algn="l" defTabSz="577850">
            <a:lnSpc>
              <a:spcPct val="90000"/>
            </a:lnSpc>
            <a:spcBef>
              <a:spcPct val="0"/>
            </a:spcBef>
            <a:spcAft>
              <a:spcPct val="15000"/>
            </a:spcAft>
            <a:buChar char="••"/>
          </a:pPr>
          <a:r>
            <a:rPr lang="fr-FR" sz="1300" b="0" kern="1200" dirty="0"/>
            <a:t>Le réseau RM peut s’appuyer sur une organisation existante, par exemple dans le domaine de la sécurité ou du </a:t>
          </a:r>
          <a:r>
            <a:rPr lang="fr-FR" sz="1300" b="0" kern="1200" dirty="0" err="1"/>
            <a:t>knowledge</a:t>
          </a:r>
          <a:r>
            <a:rPr lang="fr-FR" sz="1300" b="0" kern="1200" dirty="0"/>
            <a:t> management</a:t>
          </a:r>
        </a:p>
      </dsp:txBody>
      <dsp:txXfrm rot="-5400000">
        <a:off x="955235" y="2378953"/>
        <a:ext cx="7015416" cy="8004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C250C-2696-4AD7-9C22-360DB0EFCCA0}">
      <dsp:nvSpPr>
        <dsp:cNvPr id="0" name=""/>
        <dsp:cNvSpPr/>
      </dsp:nvSpPr>
      <dsp:spPr>
        <a:xfrm>
          <a:off x="929" y="182980"/>
          <a:ext cx="1810712" cy="687814"/>
        </a:xfrm>
        <a:prstGeom prst="roundRect">
          <a:avLst>
            <a:gd name="adj" fmla="val 10000"/>
          </a:avLst>
        </a:prstGeom>
        <a:gradFill rotWithShape="0">
          <a:gsLst>
            <a:gs pos="0">
              <a:srgbClr val="FFCC33">
                <a:hueOff val="0"/>
                <a:satOff val="0"/>
                <a:lumOff val="0"/>
                <a:alphaOff val="0"/>
                <a:shade val="51000"/>
                <a:satMod val="130000"/>
              </a:srgbClr>
            </a:gs>
            <a:gs pos="80000">
              <a:srgbClr val="FFCC33">
                <a:hueOff val="0"/>
                <a:satOff val="0"/>
                <a:lumOff val="0"/>
                <a:alphaOff val="0"/>
                <a:shade val="93000"/>
                <a:satMod val="130000"/>
              </a:srgbClr>
            </a:gs>
            <a:gs pos="100000">
              <a:srgbClr val="FFCC33">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buNone/>
          </a:pPr>
          <a:r>
            <a:rPr lang="fr-FR" sz="1800" b="1" kern="1200" dirty="0">
              <a:solidFill>
                <a:srgbClr val="000000"/>
              </a:solidFill>
              <a:latin typeface="Arial"/>
              <a:ea typeface="MS PGothic"/>
              <a:cs typeface="+mn-cs"/>
            </a:rPr>
            <a:t>Acteurs transverses</a:t>
          </a:r>
        </a:p>
      </dsp:txBody>
      <dsp:txXfrm>
        <a:off x="21074" y="203125"/>
        <a:ext cx="1770422" cy="647524"/>
      </dsp:txXfrm>
    </dsp:sp>
    <dsp:sp modelId="{38D5D131-81E2-4AA2-9471-F4F7F50ED1AF}">
      <dsp:nvSpPr>
        <dsp:cNvPr id="0" name=""/>
        <dsp:cNvSpPr/>
      </dsp:nvSpPr>
      <dsp:spPr>
        <a:xfrm>
          <a:off x="182000" y="870794"/>
          <a:ext cx="181071" cy="515860"/>
        </a:xfrm>
        <a:custGeom>
          <a:avLst/>
          <a:gdLst/>
          <a:ahLst/>
          <a:cxnLst/>
          <a:rect l="0" t="0" r="0" b="0"/>
          <a:pathLst>
            <a:path>
              <a:moveTo>
                <a:pt x="0" y="0"/>
              </a:moveTo>
              <a:lnTo>
                <a:pt x="0" y="515860"/>
              </a:lnTo>
              <a:lnTo>
                <a:pt x="181071" y="515860"/>
              </a:lnTo>
            </a:path>
          </a:pathLst>
        </a:custGeom>
        <a:noFill/>
        <a:ln w="25400" cap="flat" cmpd="sng" algn="ctr">
          <a:solidFill>
            <a:srgbClr val="FFCC3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AFA986BF-6958-4464-9A79-EE1D4B3D32FF}">
      <dsp:nvSpPr>
        <dsp:cNvPr id="0" name=""/>
        <dsp:cNvSpPr/>
      </dsp:nvSpPr>
      <dsp:spPr>
        <a:xfrm>
          <a:off x="363071" y="1042748"/>
          <a:ext cx="1600406" cy="687814"/>
        </a:xfrm>
        <a:prstGeom prst="roundRect">
          <a:avLst>
            <a:gd name="adj" fmla="val 10000"/>
          </a:avLst>
        </a:prstGeo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fr-FR" sz="1600" b="0" kern="1200" dirty="0">
              <a:solidFill>
                <a:srgbClr val="000000"/>
              </a:solidFill>
              <a:latin typeface="Arial"/>
              <a:ea typeface="MS PGothic"/>
              <a:cs typeface="+mn-cs"/>
            </a:rPr>
            <a:t>Direction juridique</a:t>
          </a:r>
        </a:p>
      </dsp:txBody>
      <dsp:txXfrm>
        <a:off x="383216" y="1062893"/>
        <a:ext cx="1560116" cy="647524"/>
      </dsp:txXfrm>
    </dsp:sp>
    <dsp:sp modelId="{58C47FBD-3474-4F13-BBDB-2144719551AC}">
      <dsp:nvSpPr>
        <dsp:cNvPr id="0" name=""/>
        <dsp:cNvSpPr/>
      </dsp:nvSpPr>
      <dsp:spPr>
        <a:xfrm>
          <a:off x="182000" y="870794"/>
          <a:ext cx="181071" cy="1375628"/>
        </a:xfrm>
        <a:custGeom>
          <a:avLst/>
          <a:gdLst/>
          <a:ahLst/>
          <a:cxnLst/>
          <a:rect l="0" t="0" r="0" b="0"/>
          <a:pathLst>
            <a:path>
              <a:moveTo>
                <a:pt x="0" y="0"/>
              </a:moveTo>
              <a:lnTo>
                <a:pt x="0" y="1375628"/>
              </a:lnTo>
              <a:lnTo>
                <a:pt x="181071" y="1375628"/>
              </a:lnTo>
            </a:path>
          </a:pathLst>
        </a:custGeom>
        <a:noFill/>
        <a:ln w="25400" cap="flat" cmpd="sng" algn="ctr">
          <a:solidFill>
            <a:srgbClr val="FFCC3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34C842F7-11D9-43B3-9172-9AF8F89CCF16}">
      <dsp:nvSpPr>
        <dsp:cNvPr id="0" name=""/>
        <dsp:cNvSpPr/>
      </dsp:nvSpPr>
      <dsp:spPr>
        <a:xfrm>
          <a:off x="363071" y="1902516"/>
          <a:ext cx="1600406" cy="687814"/>
        </a:xfrm>
        <a:prstGeom prst="roundRect">
          <a:avLst>
            <a:gd name="adj" fmla="val 10000"/>
          </a:avLst>
        </a:prstGeo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fr-FR" sz="1600" b="0" kern="1200" dirty="0">
              <a:solidFill>
                <a:srgbClr val="000000"/>
              </a:solidFill>
              <a:latin typeface="Arial"/>
              <a:ea typeface="MS PGothic"/>
              <a:cs typeface="+mn-cs"/>
            </a:rPr>
            <a:t>Direction informatique</a:t>
          </a:r>
        </a:p>
      </dsp:txBody>
      <dsp:txXfrm>
        <a:off x="383216" y="1922661"/>
        <a:ext cx="1560116" cy="647524"/>
      </dsp:txXfrm>
    </dsp:sp>
    <dsp:sp modelId="{6ACFE7E6-6D4B-4D84-8575-B6A839F11E81}">
      <dsp:nvSpPr>
        <dsp:cNvPr id="0" name=""/>
        <dsp:cNvSpPr/>
      </dsp:nvSpPr>
      <dsp:spPr>
        <a:xfrm>
          <a:off x="182000" y="870794"/>
          <a:ext cx="181071" cy="2235396"/>
        </a:xfrm>
        <a:custGeom>
          <a:avLst/>
          <a:gdLst/>
          <a:ahLst/>
          <a:cxnLst/>
          <a:rect l="0" t="0" r="0" b="0"/>
          <a:pathLst>
            <a:path>
              <a:moveTo>
                <a:pt x="0" y="0"/>
              </a:moveTo>
              <a:lnTo>
                <a:pt x="0" y="2235396"/>
              </a:lnTo>
              <a:lnTo>
                <a:pt x="181071" y="2235396"/>
              </a:lnTo>
            </a:path>
          </a:pathLst>
        </a:custGeom>
        <a:noFill/>
        <a:ln w="25400" cap="flat" cmpd="sng" algn="ctr">
          <a:solidFill>
            <a:srgbClr val="FFCC3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9F607809-6A66-46DB-B43B-B2B7F0FB28BC}">
      <dsp:nvSpPr>
        <dsp:cNvPr id="0" name=""/>
        <dsp:cNvSpPr/>
      </dsp:nvSpPr>
      <dsp:spPr>
        <a:xfrm>
          <a:off x="363071" y="2762284"/>
          <a:ext cx="1600406" cy="687814"/>
        </a:xfrm>
        <a:prstGeom prst="roundRect">
          <a:avLst>
            <a:gd name="adj" fmla="val 10000"/>
          </a:avLst>
        </a:prstGeo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buNone/>
          </a:pPr>
          <a:r>
            <a:rPr lang="fr-FR" sz="1200" b="0" kern="1200" dirty="0">
              <a:solidFill>
                <a:srgbClr val="000000"/>
              </a:solidFill>
              <a:latin typeface="Arial"/>
              <a:ea typeface="MS PGothic"/>
              <a:cs typeface="+mn-cs"/>
            </a:rPr>
            <a:t>Direction Prévention et Protection du Groupe </a:t>
          </a:r>
        </a:p>
      </dsp:txBody>
      <dsp:txXfrm>
        <a:off x="383216" y="2782429"/>
        <a:ext cx="1560116" cy="647524"/>
      </dsp:txXfrm>
    </dsp:sp>
    <dsp:sp modelId="{D9CF0495-8490-4A90-9183-58A6F94ABD3B}">
      <dsp:nvSpPr>
        <dsp:cNvPr id="0" name=""/>
        <dsp:cNvSpPr/>
      </dsp:nvSpPr>
      <dsp:spPr>
        <a:xfrm>
          <a:off x="2155548" y="182980"/>
          <a:ext cx="2054817" cy="687814"/>
        </a:xfrm>
        <a:prstGeom prst="roundRect">
          <a:avLst>
            <a:gd name="adj" fmla="val 10000"/>
          </a:avLst>
        </a:prstGeom>
        <a:gradFill rotWithShape="0">
          <a:gsLst>
            <a:gs pos="0">
              <a:srgbClr val="FFCC33">
                <a:hueOff val="0"/>
                <a:satOff val="0"/>
                <a:lumOff val="0"/>
                <a:alphaOff val="0"/>
                <a:shade val="51000"/>
                <a:satMod val="130000"/>
              </a:srgbClr>
            </a:gs>
            <a:gs pos="80000">
              <a:srgbClr val="FFCC33">
                <a:hueOff val="0"/>
                <a:satOff val="0"/>
                <a:lumOff val="0"/>
                <a:alphaOff val="0"/>
                <a:shade val="93000"/>
                <a:satMod val="130000"/>
              </a:srgbClr>
            </a:gs>
            <a:gs pos="100000">
              <a:srgbClr val="FFCC33">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buNone/>
          </a:pPr>
          <a:r>
            <a:rPr lang="fr-FR" sz="1800" b="1" kern="1200" dirty="0">
              <a:solidFill>
                <a:srgbClr val="000000"/>
              </a:solidFill>
              <a:latin typeface="Arial"/>
              <a:ea typeface="MS PGothic"/>
              <a:cs typeface="+mn-cs"/>
            </a:rPr>
            <a:t>Acteurs Métier</a:t>
          </a:r>
        </a:p>
      </dsp:txBody>
      <dsp:txXfrm>
        <a:off x="2175693" y="203125"/>
        <a:ext cx="2014527" cy="647524"/>
      </dsp:txXfrm>
    </dsp:sp>
    <dsp:sp modelId="{2D007F0E-2864-46AB-BE5C-941E903C1380}">
      <dsp:nvSpPr>
        <dsp:cNvPr id="0" name=""/>
        <dsp:cNvSpPr/>
      </dsp:nvSpPr>
      <dsp:spPr>
        <a:xfrm>
          <a:off x="2361030" y="870794"/>
          <a:ext cx="205481" cy="515860"/>
        </a:xfrm>
        <a:custGeom>
          <a:avLst/>
          <a:gdLst/>
          <a:ahLst/>
          <a:cxnLst/>
          <a:rect l="0" t="0" r="0" b="0"/>
          <a:pathLst>
            <a:path>
              <a:moveTo>
                <a:pt x="0" y="0"/>
              </a:moveTo>
              <a:lnTo>
                <a:pt x="0" y="515860"/>
              </a:lnTo>
              <a:lnTo>
                <a:pt x="205481" y="515860"/>
              </a:lnTo>
            </a:path>
          </a:pathLst>
        </a:custGeom>
        <a:noFill/>
        <a:ln w="25400" cap="flat" cmpd="sng" algn="ctr">
          <a:solidFill>
            <a:srgbClr val="FFCC3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94CF8952-FA88-4B34-B9B5-2E58D8844721}">
      <dsp:nvSpPr>
        <dsp:cNvPr id="0" name=""/>
        <dsp:cNvSpPr/>
      </dsp:nvSpPr>
      <dsp:spPr>
        <a:xfrm>
          <a:off x="2566512" y="1042748"/>
          <a:ext cx="1643853" cy="687814"/>
        </a:xfrm>
        <a:prstGeom prst="roundRect">
          <a:avLst>
            <a:gd name="adj" fmla="val 10000"/>
          </a:avLst>
        </a:prstGeo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fr-FR" sz="1600" kern="1200" dirty="0">
              <a:solidFill>
                <a:srgbClr val="000000">
                  <a:hueOff val="0"/>
                  <a:satOff val="0"/>
                  <a:lumOff val="0"/>
                  <a:alphaOff val="0"/>
                </a:srgbClr>
              </a:solidFill>
              <a:latin typeface="Arial"/>
              <a:ea typeface="MS PGothic"/>
              <a:cs typeface="+mn-cs"/>
            </a:rPr>
            <a:t>Collaborateur</a:t>
          </a:r>
        </a:p>
      </dsp:txBody>
      <dsp:txXfrm>
        <a:off x="2586657" y="1062893"/>
        <a:ext cx="1603563" cy="647524"/>
      </dsp:txXfrm>
    </dsp:sp>
    <dsp:sp modelId="{55335299-6D93-413B-8591-925F39B25038}">
      <dsp:nvSpPr>
        <dsp:cNvPr id="0" name=""/>
        <dsp:cNvSpPr/>
      </dsp:nvSpPr>
      <dsp:spPr>
        <a:xfrm>
          <a:off x="2361030" y="870794"/>
          <a:ext cx="205481" cy="1375628"/>
        </a:xfrm>
        <a:custGeom>
          <a:avLst/>
          <a:gdLst/>
          <a:ahLst/>
          <a:cxnLst/>
          <a:rect l="0" t="0" r="0" b="0"/>
          <a:pathLst>
            <a:path>
              <a:moveTo>
                <a:pt x="0" y="0"/>
              </a:moveTo>
              <a:lnTo>
                <a:pt x="0" y="1375628"/>
              </a:lnTo>
              <a:lnTo>
                <a:pt x="205481" y="1375628"/>
              </a:lnTo>
            </a:path>
          </a:pathLst>
        </a:custGeom>
        <a:noFill/>
        <a:ln w="25400" cap="flat" cmpd="sng" algn="ctr">
          <a:solidFill>
            <a:srgbClr val="FFCC3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FD87F03A-154F-4F37-957A-E5A4AB4F6FB5}">
      <dsp:nvSpPr>
        <dsp:cNvPr id="0" name=""/>
        <dsp:cNvSpPr/>
      </dsp:nvSpPr>
      <dsp:spPr>
        <a:xfrm>
          <a:off x="2566512" y="1902516"/>
          <a:ext cx="1643853" cy="687814"/>
        </a:xfrm>
        <a:prstGeom prst="roundRect">
          <a:avLst>
            <a:gd name="adj" fmla="val 10000"/>
          </a:avLst>
        </a:prstGeo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fr-FR" sz="1600" kern="1200" dirty="0">
              <a:solidFill>
                <a:srgbClr val="000000">
                  <a:hueOff val="0"/>
                  <a:satOff val="0"/>
                  <a:lumOff val="0"/>
                  <a:alphaOff val="0"/>
                </a:srgbClr>
              </a:solidFill>
              <a:latin typeface="Arial"/>
              <a:ea typeface="MS PGothic"/>
              <a:cs typeface="+mn-cs"/>
            </a:rPr>
            <a:t>Manager de service</a:t>
          </a:r>
        </a:p>
      </dsp:txBody>
      <dsp:txXfrm>
        <a:off x="2586657" y="1922661"/>
        <a:ext cx="1603563" cy="647524"/>
      </dsp:txXfrm>
    </dsp:sp>
    <dsp:sp modelId="{2C515A07-515B-4C89-9792-4E429083284C}">
      <dsp:nvSpPr>
        <dsp:cNvPr id="0" name=""/>
        <dsp:cNvSpPr/>
      </dsp:nvSpPr>
      <dsp:spPr>
        <a:xfrm>
          <a:off x="2361030" y="870794"/>
          <a:ext cx="205481" cy="2235396"/>
        </a:xfrm>
        <a:custGeom>
          <a:avLst/>
          <a:gdLst/>
          <a:ahLst/>
          <a:cxnLst/>
          <a:rect l="0" t="0" r="0" b="0"/>
          <a:pathLst>
            <a:path>
              <a:moveTo>
                <a:pt x="0" y="0"/>
              </a:moveTo>
              <a:lnTo>
                <a:pt x="0" y="2235396"/>
              </a:lnTo>
              <a:lnTo>
                <a:pt x="205481" y="2235396"/>
              </a:lnTo>
            </a:path>
          </a:pathLst>
        </a:custGeom>
        <a:noFill/>
        <a:ln w="25400" cap="flat" cmpd="sng" algn="ctr">
          <a:solidFill>
            <a:srgbClr val="FFCC3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12E6952E-13F2-4D55-9BAE-E290B7C05DE7}">
      <dsp:nvSpPr>
        <dsp:cNvPr id="0" name=""/>
        <dsp:cNvSpPr/>
      </dsp:nvSpPr>
      <dsp:spPr>
        <a:xfrm>
          <a:off x="2566512" y="2762284"/>
          <a:ext cx="1643853" cy="687814"/>
        </a:xfrm>
        <a:prstGeom prst="roundRect">
          <a:avLst>
            <a:gd name="adj" fmla="val 10000"/>
          </a:avLst>
        </a:prstGeo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fr-FR" sz="1600" kern="1200" dirty="0">
              <a:solidFill>
                <a:srgbClr val="000000">
                  <a:hueOff val="0"/>
                  <a:satOff val="0"/>
                  <a:lumOff val="0"/>
                  <a:alphaOff val="0"/>
                </a:srgbClr>
              </a:solidFill>
              <a:latin typeface="Arial"/>
              <a:ea typeface="MS PGothic"/>
              <a:cs typeface="+mn-cs"/>
            </a:rPr>
            <a:t>Directeur d’entité</a:t>
          </a:r>
        </a:p>
      </dsp:txBody>
      <dsp:txXfrm>
        <a:off x="2586657" y="2782429"/>
        <a:ext cx="1603563" cy="647524"/>
      </dsp:txXfrm>
    </dsp:sp>
    <dsp:sp modelId="{207CCB09-F399-42D6-BFAB-9093EA879628}">
      <dsp:nvSpPr>
        <dsp:cNvPr id="0" name=""/>
        <dsp:cNvSpPr/>
      </dsp:nvSpPr>
      <dsp:spPr>
        <a:xfrm>
          <a:off x="4554273" y="182980"/>
          <a:ext cx="2200881" cy="687814"/>
        </a:xfrm>
        <a:prstGeom prst="roundRect">
          <a:avLst>
            <a:gd name="adj" fmla="val 10000"/>
          </a:avLst>
        </a:prstGeom>
        <a:gradFill rotWithShape="0">
          <a:gsLst>
            <a:gs pos="0">
              <a:srgbClr val="FFCC33">
                <a:hueOff val="0"/>
                <a:satOff val="0"/>
                <a:lumOff val="0"/>
                <a:alphaOff val="0"/>
                <a:shade val="51000"/>
                <a:satMod val="130000"/>
              </a:srgbClr>
            </a:gs>
            <a:gs pos="80000">
              <a:srgbClr val="FFCC33">
                <a:hueOff val="0"/>
                <a:satOff val="0"/>
                <a:lumOff val="0"/>
                <a:alphaOff val="0"/>
                <a:shade val="93000"/>
                <a:satMod val="130000"/>
              </a:srgbClr>
            </a:gs>
            <a:gs pos="100000">
              <a:srgbClr val="FFCC33">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buNone/>
          </a:pPr>
          <a:r>
            <a:rPr lang="fr-FR" sz="1800" b="1" kern="1200" dirty="0">
              <a:solidFill>
                <a:srgbClr val="000000"/>
              </a:solidFill>
              <a:latin typeface="Arial"/>
              <a:ea typeface="MS PGothic"/>
              <a:cs typeface="+mn-cs"/>
            </a:rPr>
            <a:t>Réseau RM</a:t>
          </a:r>
        </a:p>
      </dsp:txBody>
      <dsp:txXfrm>
        <a:off x="4574418" y="203125"/>
        <a:ext cx="2160591" cy="647524"/>
      </dsp:txXfrm>
    </dsp:sp>
    <dsp:sp modelId="{8C6B4368-3856-4082-A7A4-99E5D5481EB6}">
      <dsp:nvSpPr>
        <dsp:cNvPr id="0" name=""/>
        <dsp:cNvSpPr/>
      </dsp:nvSpPr>
      <dsp:spPr>
        <a:xfrm>
          <a:off x="4774361" y="870794"/>
          <a:ext cx="220088" cy="515860"/>
        </a:xfrm>
        <a:custGeom>
          <a:avLst/>
          <a:gdLst/>
          <a:ahLst/>
          <a:cxnLst/>
          <a:rect l="0" t="0" r="0" b="0"/>
          <a:pathLst>
            <a:path>
              <a:moveTo>
                <a:pt x="0" y="0"/>
              </a:moveTo>
              <a:lnTo>
                <a:pt x="0" y="515860"/>
              </a:lnTo>
              <a:lnTo>
                <a:pt x="220088" y="515860"/>
              </a:lnTo>
            </a:path>
          </a:pathLst>
        </a:custGeom>
        <a:noFill/>
        <a:ln w="25400" cap="flat" cmpd="sng" algn="ctr">
          <a:solidFill>
            <a:srgbClr val="FFCC3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5DD7744E-FF91-43A0-A8FE-0BBA5B6ACE21}">
      <dsp:nvSpPr>
        <dsp:cNvPr id="0" name=""/>
        <dsp:cNvSpPr/>
      </dsp:nvSpPr>
      <dsp:spPr>
        <a:xfrm>
          <a:off x="4994449" y="1042748"/>
          <a:ext cx="1760705" cy="687814"/>
        </a:xfrm>
        <a:prstGeom prst="roundRect">
          <a:avLst>
            <a:gd name="adj" fmla="val 10000"/>
          </a:avLst>
        </a:prstGeo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fr-FR" sz="1600" kern="1200" dirty="0">
              <a:solidFill>
                <a:srgbClr val="000000">
                  <a:hueOff val="0"/>
                  <a:satOff val="0"/>
                  <a:lumOff val="0"/>
                  <a:alphaOff val="0"/>
                </a:srgbClr>
              </a:solidFill>
              <a:latin typeface="Arial"/>
              <a:ea typeface="MS PGothic"/>
              <a:cs typeface="+mn-cs"/>
            </a:rPr>
            <a:t>Correspondant RM</a:t>
          </a:r>
        </a:p>
      </dsp:txBody>
      <dsp:txXfrm>
        <a:off x="5014594" y="1062893"/>
        <a:ext cx="1720415" cy="647524"/>
      </dsp:txXfrm>
    </dsp:sp>
    <dsp:sp modelId="{3567815E-55FF-4347-9C5E-C93DAA5FA942}">
      <dsp:nvSpPr>
        <dsp:cNvPr id="0" name=""/>
        <dsp:cNvSpPr/>
      </dsp:nvSpPr>
      <dsp:spPr>
        <a:xfrm>
          <a:off x="4774361" y="870794"/>
          <a:ext cx="220088" cy="1375628"/>
        </a:xfrm>
        <a:custGeom>
          <a:avLst/>
          <a:gdLst/>
          <a:ahLst/>
          <a:cxnLst/>
          <a:rect l="0" t="0" r="0" b="0"/>
          <a:pathLst>
            <a:path>
              <a:moveTo>
                <a:pt x="0" y="0"/>
              </a:moveTo>
              <a:lnTo>
                <a:pt x="0" y="1375628"/>
              </a:lnTo>
              <a:lnTo>
                <a:pt x="220088" y="1375628"/>
              </a:lnTo>
            </a:path>
          </a:pathLst>
        </a:custGeom>
        <a:noFill/>
        <a:ln w="25400" cap="flat" cmpd="sng" algn="ctr">
          <a:solidFill>
            <a:srgbClr val="FFCC3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CD4781B2-4C5D-4B83-9F6B-72C87BE89F82}">
      <dsp:nvSpPr>
        <dsp:cNvPr id="0" name=""/>
        <dsp:cNvSpPr/>
      </dsp:nvSpPr>
      <dsp:spPr>
        <a:xfrm>
          <a:off x="4994449" y="1902516"/>
          <a:ext cx="1755565" cy="687814"/>
        </a:xfrm>
        <a:prstGeom prst="roundRect">
          <a:avLst>
            <a:gd name="adj" fmla="val 10000"/>
          </a:avLst>
        </a:prstGeo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fr-FR" sz="1600" kern="1200" dirty="0">
              <a:solidFill>
                <a:srgbClr val="000000">
                  <a:hueOff val="0"/>
                  <a:satOff val="0"/>
                  <a:lumOff val="0"/>
                  <a:alphaOff val="0"/>
                </a:srgbClr>
              </a:solidFill>
              <a:latin typeface="Arial"/>
              <a:ea typeface="MS PGothic"/>
              <a:cs typeface="+mn-cs"/>
            </a:rPr>
            <a:t>Records Manager</a:t>
          </a:r>
        </a:p>
      </dsp:txBody>
      <dsp:txXfrm>
        <a:off x="5014594" y="1922661"/>
        <a:ext cx="1715275" cy="647524"/>
      </dsp:txXfrm>
    </dsp:sp>
    <dsp:sp modelId="{2FAE0300-6F26-4EFD-8104-6CE1687285F8}">
      <dsp:nvSpPr>
        <dsp:cNvPr id="0" name=""/>
        <dsp:cNvSpPr/>
      </dsp:nvSpPr>
      <dsp:spPr>
        <a:xfrm>
          <a:off x="4774361" y="870794"/>
          <a:ext cx="220088" cy="2235396"/>
        </a:xfrm>
        <a:custGeom>
          <a:avLst/>
          <a:gdLst/>
          <a:ahLst/>
          <a:cxnLst/>
          <a:rect l="0" t="0" r="0" b="0"/>
          <a:pathLst>
            <a:path>
              <a:moveTo>
                <a:pt x="0" y="0"/>
              </a:moveTo>
              <a:lnTo>
                <a:pt x="0" y="2235396"/>
              </a:lnTo>
              <a:lnTo>
                <a:pt x="220088" y="2235396"/>
              </a:lnTo>
            </a:path>
          </a:pathLst>
        </a:custGeom>
        <a:noFill/>
        <a:ln w="25400" cap="flat" cmpd="sng" algn="ctr">
          <a:solidFill>
            <a:srgbClr val="FFCC3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C26BC19C-B360-47DF-BCCE-F0BDE271C257}">
      <dsp:nvSpPr>
        <dsp:cNvPr id="0" name=""/>
        <dsp:cNvSpPr/>
      </dsp:nvSpPr>
      <dsp:spPr>
        <a:xfrm>
          <a:off x="4994449" y="2762284"/>
          <a:ext cx="1760705" cy="687814"/>
        </a:xfrm>
        <a:prstGeom prst="roundRect">
          <a:avLst>
            <a:gd name="adj" fmla="val 10000"/>
          </a:avLst>
        </a:prstGeom>
        <a:solidFill>
          <a:srgbClr val="FFFFFF">
            <a:alpha val="90000"/>
            <a:hueOff val="0"/>
            <a:satOff val="0"/>
            <a:lumOff val="0"/>
            <a:alphaOff val="0"/>
          </a:srgbClr>
        </a:solidFill>
        <a:ln w="9525" cap="flat" cmpd="sng" algn="ctr">
          <a:solidFill>
            <a:srgbClr val="FFCC33">
              <a:hueOff val="0"/>
              <a:satOff val="0"/>
              <a:lumOff val="0"/>
              <a:alphaOff val="0"/>
            </a:srgb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fr-FR" sz="1600" kern="1200" dirty="0">
              <a:solidFill>
                <a:srgbClr val="000000">
                  <a:hueOff val="0"/>
                  <a:satOff val="0"/>
                  <a:lumOff val="0"/>
                  <a:alphaOff val="0"/>
                </a:srgbClr>
              </a:solidFill>
              <a:latin typeface="Arial"/>
              <a:ea typeface="MS PGothic"/>
              <a:cs typeface="+mn-cs"/>
            </a:rPr>
            <a:t>Equipe RM Groupe</a:t>
          </a:r>
        </a:p>
      </dsp:txBody>
      <dsp:txXfrm>
        <a:off x="5014594" y="2782429"/>
        <a:ext cx="1720415" cy="6475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6BFDE8-393B-4B3C-A22E-90CCB04F3AFB}">
      <dsp:nvSpPr>
        <dsp:cNvPr id="0" name=""/>
        <dsp:cNvSpPr/>
      </dsp:nvSpPr>
      <dsp:spPr>
        <a:xfrm rot="5400000">
          <a:off x="-216688" y="216942"/>
          <a:ext cx="1444587" cy="101121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fr-FR" sz="1050" kern="1200" dirty="0">
              <a:solidFill>
                <a:schemeClr val="tx1"/>
              </a:solidFill>
            </a:rPr>
            <a:t>Phase 1 Lancement</a:t>
          </a:r>
        </a:p>
      </dsp:txBody>
      <dsp:txXfrm rot="-5400000">
        <a:off x="1" y="505858"/>
        <a:ext cx="1011210" cy="433377"/>
      </dsp:txXfrm>
    </dsp:sp>
    <dsp:sp modelId="{56EFD2B5-8704-44D4-8B8D-FE2D20194E33}">
      <dsp:nvSpPr>
        <dsp:cNvPr id="0" name=""/>
        <dsp:cNvSpPr/>
      </dsp:nvSpPr>
      <dsp:spPr>
        <a:xfrm rot="5400000">
          <a:off x="4032327" y="-3020862"/>
          <a:ext cx="938981" cy="698121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fr-FR" sz="1200" kern="1200" dirty="0"/>
            <a:t>La Direction décline les enjeux de la PGRM dans son contexte</a:t>
          </a:r>
        </a:p>
        <a:p>
          <a:pPr marL="114300" lvl="1" indent="-114300" algn="l" defTabSz="533400">
            <a:lnSpc>
              <a:spcPct val="90000"/>
            </a:lnSpc>
            <a:spcBef>
              <a:spcPct val="0"/>
            </a:spcBef>
            <a:spcAft>
              <a:spcPct val="15000"/>
            </a:spcAft>
            <a:buChar char="••"/>
          </a:pPr>
          <a:r>
            <a:rPr lang="fr-FR" sz="1200" kern="1200" dirty="0"/>
            <a:t>La Direction désigne le Records Manager, qui est formé par l’équipe </a:t>
          </a:r>
          <a:r>
            <a:rPr lang="fr-FR" sz="1200" kern="1200" dirty="0" err="1"/>
            <a:t>Fill’Good</a:t>
          </a:r>
          <a:endParaRPr lang="fr-FR" sz="1200" kern="1200" dirty="0"/>
        </a:p>
        <a:p>
          <a:pPr marL="114300" lvl="2" indent="-57150" algn="l" defTabSz="488950">
            <a:lnSpc>
              <a:spcPct val="90000"/>
            </a:lnSpc>
            <a:spcBef>
              <a:spcPct val="0"/>
            </a:spcBef>
            <a:spcAft>
              <a:spcPct val="15000"/>
            </a:spcAft>
            <a:buChar char="••"/>
          </a:pPr>
          <a:r>
            <a:rPr lang="fr-FR" sz="1100" kern="1200" dirty="0"/>
            <a:t> </a:t>
          </a:r>
          <a:r>
            <a:rPr lang="fr-FR" sz="1100" i="1" kern="1200" dirty="0"/>
            <a:t>niveau d’implication : environ 1 jour par semaine, à ajuster en fonction des enjeux et objectifs</a:t>
          </a:r>
        </a:p>
      </dsp:txBody>
      <dsp:txXfrm rot="-5400000">
        <a:off x="1011211" y="46091"/>
        <a:ext cx="6935378" cy="847307"/>
      </dsp:txXfrm>
    </dsp:sp>
    <dsp:sp modelId="{ED9D4BAB-4AE3-4CE4-BC05-A77582AC8E6A}">
      <dsp:nvSpPr>
        <dsp:cNvPr id="0" name=""/>
        <dsp:cNvSpPr/>
      </dsp:nvSpPr>
      <dsp:spPr>
        <a:xfrm rot="5400000">
          <a:off x="-216688" y="1466141"/>
          <a:ext cx="1444587" cy="101121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fr-FR" sz="1050" kern="1200" dirty="0">
              <a:solidFill>
                <a:schemeClr val="tx1"/>
              </a:solidFill>
            </a:rPr>
            <a:t>Phase 2</a:t>
          </a:r>
        </a:p>
        <a:p>
          <a:pPr lvl="0" algn="ctr" defTabSz="466725">
            <a:lnSpc>
              <a:spcPct val="90000"/>
            </a:lnSpc>
            <a:spcBef>
              <a:spcPct val="0"/>
            </a:spcBef>
            <a:spcAft>
              <a:spcPct val="35000"/>
            </a:spcAft>
          </a:pPr>
          <a:r>
            <a:rPr lang="fr-FR" sz="1050" kern="1200" dirty="0">
              <a:solidFill>
                <a:schemeClr val="tx1"/>
              </a:solidFill>
            </a:rPr>
            <a:t>Préparation</a:t>
          </a:r>
        </a:p>
      </dsp:txBody>
      <dsp:txXfrm rot="-5400000">
        <a:off x="1" y="1755057"/>
        <a:ext cx="1011210" cy="433377"/>
      </dsp:txXfrm>
    </dsp:sp>
    <dsp:sp modelId="{24D6F636-E224-41BA-A7A4-BE590E48163E}">
      <dsp:nvSpPr>
        <dsp:cNvPr id="0" name=""/>
        <dsp:cNvSpPr/>
      </dsp:nvSpPr>
      <dsp:spPr>
        <a:xfrm rot="5400000">
          <a:off x="4039820" y="-1771662"/>
          <a:ext cx="923995" cy="698121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fr-FR" sz="1200" kern="1200" dirty="0"/>
            <a:t>Le Records Manager et l’équipe </a:t>
          </a:r>
          <a:r>
            <a:rPr lang="fr-FR" sz="1200" kern="1200" dirty="0" err="1"/>
            <a:t>Fill’Good</a:t>
          </a:r>
          <a:r>
            <a:rPr lang="fr-FR" sz="1200" kern="1200" dirty="0"/>
            <a:t> construisent le Référentiel de conservation</a:t>
          </a:r>
        </a:p>
        <a:p>
          <a:pPr marL="114300" lvl="1" indent="-114300" algn="l" defTabSz="533400">
            <a:lnSpc>
              <a:spcPct val="90000"/>
            </a:lnSpc>
            <a:spcBef>
              <a:spcPct val="0"/>
            </a:spcBef>
            <a:spcAft>
              <a:spcPct val="15000"/>
            </a:spcAft>
            <a:buChar char="••"/>
          </a:pPr>
          <a:r>
            <a:rPr lang="fr-FR" sz="1200" kern="1200" dirty="0"/>
            <a:t>Les chantiers prioritaires sont identifiés avec le RM et des correspondants RM sont désignés</a:t>
          </a:r>
        </a:p>
        <a:p>
          <a:pPr marL="114300" lvl="1" indent="-114300" algn="l" defTabSz="533400">
            <a:lnSpc>
              <a:spcPct val="90000"/>
            </a:lnSpc>
            <a:spcBef>
              <a:spcPct val="0"/>
            </a:spcBef>
            <a:spcAft>
              <a:spcPct val="15000"/>
            </a:spcAft>
            <a:buChar char="••"/>
          </a:pPr>
          <a:r>
            <a:rPr lang="fr-FR" sz="1200" kern="1200" dirty="0"/>
            <a:t>Des actions rapides (quick-</a:t>
          </a:r>
          <a:r>
            <a:rPr lang="fr-FR" sz="1200" kern="1200" dirty="0" err="1"/>
            <a:t>wins</a:t>
          </a:r>
          <a:r>
            <a:rPr lang="fr-FR" sz="1200" kern="1200" dirty="0"/>
            <a:t>) sont mises en évidence, elles sont réalisables dès maintenant</a:t>
          </a:r>
        </a:p>
      </dsp:txBody>
      <dsp:txXfrm rot="-5400000">
        <a:off x="1011210" y="1302054"/>
        <a:ext cx="6936109" cy="833783"/>
      </dsp:txXfrm>
    </dsp:sp>
    <dsp:sp modelId="{BC8BED56-6F18-4199-866E-41DF441DAAC7}">
      <dsp:nvSpPr>
        <dsp:cNvPr id="0" name=""/>
        <dsp:cNvSpPr/>
      </dsp:nvSpPr>
      <dsp:spPr>
        <a:xfrm rot="5400000">
          <a:off x="-216688" y="2732375"/>
          <a:ext cx="1444587" cy="101121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fr-FR" sz="1050" kern="1200" dirty="0">
              <a:solidFill>
                <a:schemeClr val="tx1"/>
              </a:solidFill>
            </a:rPr>
            <a:t>Phase 3</a:t>
          </a:r>
        </a:p>
        <a:p>
          <a:pPr lvl="0" algn="ctr" defTabSz="466725">
            <a:lnSpc>
              <a:spcPct val="90000"/>
            </a:lnSpc>
            <a:spcBef>
              <a:spcPct val="0"/>
            </a:spcBef>
            <a:spcAft>
              <a:spcPct val="35000"/>
            </a:spcAft>
          </a:pPr>
          <a:r>
            <a:rPr lang="fr-FR" sz="1050" kern="1200" dirty="0">
              <a:solidFill>
                <a:schemeClr val="tx1"/>
              </a:solidFill>
            </a:rPr>
            <a:t>Chantiers</a:t>
          </a:r>
        </a:p>
      </dsp:txBody>
      <dsp:txXfrm rot="-5400000">
        <a:off x="1" y="3021291"/>
        <a:ext cx="1011210" cy="433377"/>
      </dsp:txXfrm>
    </dsp:sp>
    <dsp:sp modelId="{0605E4C8-28B3-42D9-A422-33E97D10246D}">
      <dsp:nvSpPr>
        <dsp:cNvPr id="0" name=""/>
        <dsp:cNvSpPr/>
      </dsp:nvSpPr>
      <dsp:spPr>
        <a:xfrm rot="5400000">
          <a:off x="4015294" y="-505429"/>
          <a:ext cx="973047" cy="698121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fr-FR" sz="1200" kern="1200" dirty="0">
              <a:solidFill>
                <a:srgbClr val="000000">
                  <a:hueOff val="0"/>
                  <a:satOff val="0"/>
                  <a:lumOff val="0"/>
                  <a:alphaOff val="0"/>
                </a:srgbClr>
              </a:solidFill>
              <a:latin typeface="Arial"/>
              <a:ea typeface="MS PGothic"/>
              <a:cs typeface="+mn-cs"/>
            </a:rPr>
            <a:t>Étudier et préparer la cible (paramètres, processus métier…)</a:t>
          </a:r>
          <a:endParaRPr lang="fr-FR" sz="1050" kern="1200" dirty="0">
            <a:solidFill>
              <a:srgbClr val="000000">
                <a:hueOff val="0"/>
                <a:satOff val="0"/>
                <a:lumOff val="0"/>
                <a:alphaOff val="0"/>
              </a:srgbClr>
            </a:solidFill>
            <a:latin typeface="Arial"/>
            <a:ea typeface="MS PGothic"/>
            <a:cs typeface="+mn-cs"/>
          </a:endParaRPr>
        </a:p>
        <a:p>
          <a:pPr marL="114300" lvl="1" indent="-114300" algn="l" defTabSz="533400">
            <a:lnSpc>
              <a:spcPct val="90000"/>
            </a:lnSpc>
            <a:spcBef>
              <a:spcPct val="0"/>
            </a:spcBef>
            <a:spcAft>
              <a:spcPct val="15000"/>
            </a:spcAft>
            <a:buChar char="••"/>
          </a:pPr>
          <a:r>
            <a:rPr lang="fr-FR" sz="1200" kern="1200" dirty="0">
              <a:solidFill>
                <a:srgbClr val="000000">
                  <a:hueOff val="0"/>
                  <a:satOff val="0"/>
                  <a:lumOff val="0"/>
                  <a:alphaOff val="0"/>
                </a:srgbClr>
              </a:solidFill>
              <a:latin typeface="Arial"/>
              <a:ea typeface="MS PGothic"/>
              <a:cs typeface="+mn-cs"/>
            </a:rPr>
            <a:t>Mener les travaux sur les fonds papier ou numériques (tri, numérisation…)</a:t>
          </a:r>
        </a:p>
        <a:p>
          <a:pPr marL="114300" lvl="1" indent="-114300" algn="l" defTabSz="533400">
            <a:lnSpc>
              <a:spcPct val="90000"/>
            </a:lnSpc>
            <a:spcBef>
              <a:spcPct val="0"/>
            </a:spcBef>
            <a:spcAft>
              <a:spcPct val="15000"/>
            </a:spcAft>
            <a:buChar char="••"/>
          </a:pPr>
          <a:r>
            <a:rPr lang="fr-FR" sz="1200" kern="1200" dirty="0">
              <a:solidFill>
                <a:srgbClr val="000000">
                  <a:hueOff val="0"/>
                  <a:satOff val="0"/>
                  <a:lumOff val="0"/>
                  <a:alphaOff val="0"/>
                </a:srgbClr>
              </a:solidFill>
              <a:latin typeface="Arial"/>
              <a:ea typeface="MS PGothic"/>
              <a:cs typeface="+mn-cs"/>
            </a:rPr>
            <a:t>Accompagner le changement (communication, formation…)</a:t>
          </a:r>
        </a:p>
        <a:p>
          <a:pPr marL="114300" lvl="1" indent="-114300" algn="l" defTabSz="533400">
            <a:lnSpc>
              <a:spcPct val="90000"/>
            </a:lnSpc>
            <a:spcBef>
              <a:spcPct val="0"/>
            </a:spcBef>
            <a:spcAft>
              <a:spcPct val="15000"/>
            </a:spcAft>
            <a:buChar char="••"/>
          </a:pPr>
          <a:r>
            <a:rPr lang="fr-FR" sz="1200" kern="1200" dirty="0">
              <a:solidFill>
                <a:srgbClr val="000000">
                  <a:hueOff val="0"/>
                  <a:satOff val="0"/>
                  <a:lumOff val="0"/>
                  <a:alphaOff val="0"/>
                </a:srgbClr>
              </a:solidFill>
              <a:latin typeface="Arial"/>
              <a:ea typeface="MS PGothic"/>
              <a:cs typeface="+mn-cs"/>
            </a:rPr>
            <a:t>Mener les actions liées aux quick-</a:t>
          </a:r>
          <a:r>
            <a:rPr lang="fr-FR" sz="1200" kern="1200" dirty="0" err="1">
              <a:solidFill>
                <a:srgbClr val="000000">
                  <a:hueOff val="0"/>
                  <a:satOff val="0"/>
                  <a:lumOff val="0"/>
                  <a:alphaOff val="0"/>
                </a:srgbClr>
              </a:solidFill>
              <a:latin typeface="Arial"/>
              <a:ea typeface="MS PGothic"/>
              <a:cs typeface="+mn-cs"/>
            </a:rPr>
            <a:t>wins</a:t>
          </a:r>
          <a:endParaRPr lang="fr-FR" sz="1200" kern="1200" dirty="0">
            <a:solidFill>
              <a:srgbClr val="000000">
                <a:hueOff val="0"/>
                <a:satOff val="0"/>
                <a:lumOff val="0"/>
                <a:alphaOff val="0"/>
              </a:srgbClr>
            </a:solidFill>
            <a:latin typeface="Arial"/>
            <a:ea typeface="MS PGothic"/>
            <a:cs typeface="+mn-cs"/>
          </a:endParaRPr>
        </a:p>
      </dsp:txBody>
      <dsp:txXfrm rot="-5400000">
        <a:off x="1011210" y="2546155"/>
        <a:ext cx="6933715" cy="87804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4C4983F-4EC6-4B8E-8ED4-DAFAE46032ED}" type="datetimeFigureOut">
              <a:rPr lang="fr-FR" smtClean="0"/>
              <a:pPr/>
              <a:t>29/08/2017</a:t>
            </a:fld>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06D30AD-5E41-4690-B519-ED7CE996B425}" type="slidenum">
              <a:rPr lang="fr-FR" smtClean="0"/>
              <a:pPr/>
              <a:t>‹N°›</a:t>
            </a:fld>
            <a:endParaRPr lang="fr-FR"/>
          </a:p>
        </p:txBody>
      </p:sp>
      <p:sp>
        <p:nvSpPr>
          <p:cNvPr id="6" name="Espace réservé du pied de page 5"/>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Tree>
    <p:extLst>
      <p:ext uri="{BB962C8B-B14F-4D97-AF65-F5344CB8AC3E}">
        <p14:creationId xmlns:p14="http://schemas.microsoft.com/office/powerpoint/2010/main" val="2728917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0F812E0-94EC-4F6C-90CD-B7F3BECF1844}" type="datetimeFigureOut">
              <a:rPr lang="fr-FR" smtClean="0"/>
              <a:pPr/>
              <a:t>29/08/2017</a:t>
            </a:fld>
            <a:endParaRPr lang="fr-FR"/>
          </a:p>
        </p:txBody>
      </p:sp>
      <p:sp>
        <p:nvSpPr>
          <p:cNvPr id="4" name="Espace réservé de l'image des diapositives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0EB80D-65FE-4B61-8255-E0BAB71FCFAF}" type="slidenum">
              <a:rPr lang="fr-FR" smtClean="0"/>
              <a:pPr/>
              <a:t>‹N°›</a:t>
            </a:fld>
            <a:endParaRPr lang="fr-FR"/>
          </a:p>
        </p:txBody>
      </p:sp>
    </p:spTree>
    <p:extLst>
      <p:ext uri="{BB962C8B-B14F-4D97-AF65-F5344CB8AC3E}">
        <p14:creationId xmlns:p14="http://schemas.microsoft.com/office/powerpoint/2010/main" val="34118764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C70EB80D-65FE-4B61-8255-E0BAB71FCFAF}" type="slidenum">
              <a:rPr lang="fr-FR" smtClean="0"/>
              <a:pPr/>
              <a:t>2</a:t>
            </a:fld>
            <a:endParaRPr lang="fr-FR"/>
          </a:p>
        </p:txBody>
      </p:sp>
    </p:spTree>
    <p:extLst>
      <p:ext uri="{BB962C8B-B14F-4D97-AF65-F5344CB8AC3E}">
        <p14:creationId xmlns:p14="http://schemas.microsoft.com/office/powerpoint/2010/main" val="1697026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Arial" panose="020B0604020202020204" pitchFamily="34" charset="0"/>
              <a:buChar char="•"/>
            </a:pPr>
            <a:r>
              <a:rPr lang="fr-FR" dirty="0">
                <a:latin typeface="Arial"/>
                <a:cs typeface="Arial"/>
              </a:rPr>
              <a:t>Le déploiement du RM dans une Direction métier suit un phasage présenté dans ce slide</a:t>
            </a:r>
          </a:p>
          <a:p>
            <a:pPr marL="171450" indent="-171450">
              <a:buFont typeface="Arial" panose="020B0604020202020204" pitchFamily="34" charset="0"/>
              <a:buChar char="•"/>
            </a:pPr>
            <a:endParaRPr lang="fr-FR" dirty="0">
              <a:latin typeface="Arial"/>
              <a:cs typeface="Arial"/>
            </a:endParaRPr>
          </a:p>
          <a:p>
            <a:pPr marL="171450" indent="-171450">
              <a:buFont typeface="Arial" panose="020B0604020202020204" pitchFamily="34" charset="0"/>
              <a:buChar char="•"/>
            </a:pPr>
            <a:r>
              <a:rPr lang="fr-FR" dirty="0">
                <a:latin typeface="Arial"/>
                <a:cs typeface="Arial"/>
              </a:rPr>
              <a:t>En phase 1, les enjeux spécifiques à la Direction en matière de conservation sont ajoutés à ceux identifiés au niveau du Groupe, afin que la démarche RM soit la plus profitable possible à la structure; la Direction nomme un Records Manager qui nous accompagne dans les phases suivantes</a:t>
            </a:r>
          </a:p>
          <a:p>
            <a:pPr marL="171450" indent="-171450">
              <a:buFont typeface="Arial" panose="020B0604020202020204" pitchFamily="34" charset="0"/>
              <a:buChar char="•"/>
            </a:pPr>
            <a:endParaRPr lang="fr-FR" dirty="0">
              <a:latin typeface="Arial"/>
              <a:cs typeface="Arial"/>
            </a:endParaRPr>
          </a:p>
          <a:p>
            <a:pPr marL="171450" indent="-171450">
              <a:buFont typeface="Arial" panose="020B0604020202020204" pitchFamily="34" charset="0"/>
              <a:buChar char="•"/>
            </a:pPr>
            <a:r>
              <a:rPr lang="fr-FR" dirty="0">
                <a:latin typeface="Arial"/>
                <a:cs typeface="Arial"/>
              </a:rPr>
              <a:t>En phase 2, nous constituons le Référentiel de conservation avec le RM Métier, car c’est un préalable incontournable pour mener les autres travaux. Ces travaux sont tous menés sous la forme de « chantiers », ce qui permet de bien identifier leur objectif avec le Métier et de leur associer un calendrier et une méthode de travail (voir slide suivant). Avec le RM et conformément aux orientation de la phase 1, nous identifions au moins un chantier prioritaire à mener dans la Direction, mais plusieurs chantiers peuvent être définis, selon un calendrier global convenu avec la Direction.</a:t>
            </a:r>
          </a:p>
          <a:p>
            <a:pPr marL="171450" indent="-171450">
              <a:buFont typeface="Arial" panose="020B0604020202020204" pitchFamily="34" charset="0"/>
              <a:buChar char="•"/>
            </a:pPr>
            <a:endParaRPr lang="fr-FR" dirty="0">
              <a:latin typeface="Arial"/>
              <a:cs typeface="Arial"/>
            </a:endParaRPr>
          </a:p>
          <a:p>
            <a:pPr marL="171450" indent="-171450">
              <a:buFont typeface="Arial" panose="020B0604020202020204" pitchFamily="34" charset="0"/>
              <a:buChar char="•"/>
            </a:pPr>
            <a:r>
              <a:rPr lang="fr-FR" dirty="0">
                <a:latin typeface="Arial"/>
                <a:cs typeface="Arial"/>
              </a:rPr>
              <a:t>En phase 3, nous accompagnons la réalisation du ou des chantiers prioritaires identifiés.</a:t>
            </a:r>
          </a:p>
          <a:p>
            <a:pPr marL="171450" indent="-171450">
              <a:buFont typeface="Arial" panose="020B0604020202020204" pitchFamily="34" charset="0"/>
              <a:buChar char="•"/>
            </a:pPr>
            <a:endParaRPr lang="fr-FR" dirty="0">
              <a:latin typeface="Arial"/>
              <a:cs typeface="Arial"/>
            </a:endParaRPr>
          </a:p>
          <a:p>
            <a:pPr marL="171450" indent="-171450">
              <a:buFont typeface="Arial" panose="020B0604020202020204" pitchFamily="34" charset="0"/>
              <a:buChar char="•"/>
            </a:pPr>
            <a:r>
              <a:rPr lang="fr-FR" dirty="0">
                <a:latin typeface="Arial"/>
                <a:cs typeface="Arial"/>
              </a:rPr>
              <a:t>En phase 4, le déploiement de la démarche RM se fait dans l’ensemble de la Direction, suivant des chantiers de déploiement.</a:t>
            </a:r>
          </a:p>
        </p:txBody>
      </p:sp>
    </p:spTree>
    <p:extLst>
      <p:ext uri="{BB962C8B-B14F-4D97-AF65-F5344CB8AC3E}">
        <p14:creationId xmlns:p14="http://schemas.microsoft.com/office/powerpoint/2010/main" val="1195569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C70EB80D-65FE-4B61-8255-E0BAB71FCFAF}" type="slidenum">
              <a:rPr lang="fr-FR" smtClean="0"/>
              <a:pPr/>
              <a:t>5</a:t>
            </a:fld>
            <a:endParaRPr lang="fr-FR"/>
          </a:p>
        </p:txBody>
      </p:sp>
    </p:spTree>
    <p:extLst>
      <p:ext uri="{BB962C8B-B14F-4D97-AF65-F5344CB8AC3E}">
        <p14:creationId xmlns:p14="http://schemas.microsoft.com/office/powerpoint/2010/main" val="1169963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50875" y="449263"/>
            <a:ext cx="3319463" cy="2489200"/>
          </a:xfrm>
        </p:spPr>
      </p:sp>
      <p:sp>
        <p:nvSpPr>
          <p:cNvPr id="3" name="Espace réservé des commentaires 2"/>
          <p:cNvSpPr>
            <a:spLocks noGrp="1"/>
          </p:cNvSpPr>
          <p:nvPr>
            <p:ph type="body" idx="1"/>
          </p:nvPr>
        </p:nvSpPr>
        <p:spPr/>
        <p:txBody>
          <a:bodyPr/>
          <a:lstStyle/>
          <a:p>
            <a:endParaRPr lang="en-US"/>
          </a:p>
        </p:txBody>
      </p:sp>
    </p:spTree>
    <p:extLst>
      <p:ext uri="{BB962C8B-B14F-4D97-AF65-F5344CB8AC3E}">
        <p14:creationId xmlns:p14="http://schemas.microsoft.com/office/powerpoint/2010/main" val="3060480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10"/>
          </p:nvPr>
        </p:nvSpPr>
        <p:spPr>
          <a:xfrm>
            <a:off x="3649028" y="9912240"/>
            <a:ext cx="2791573" cy="521793"/>
          </a:xfrm>
          <a:prstGeom prst="rect">
            <a:avLst/>
          </a:prstGeom>
        </p:spPr>
        <p:txBody>
          <a:bodyPr/>
          <a:lstStyle/>
          <a:p>
            <a:fld id="{E0DAA9B5-133C-47CC-B6CE-0346D7472F41}"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523912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863715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txBox="1">
            <a:spLocks noGrp="1" noChangeArrowheads="1"/>
          </p:cNvSpPr>
          <p:nvPr/>
        </p:nvSpPr>
        <p:spPr bwMode="auto">
          <a:xfrm>
            <a:off x="3970340"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39" tIns="44070" rIns="88139" bIns="44070"/>
          <a:lstStyle>
            <a:lvl1pPr defTabSz="998538">
              <a:spcBef>
                <a:spcPct val="30000"/>
              </a:spcBef>
              <a:buClr>
                <a:schemeClr val="accent1"/>
              </a:buClr>
              <a:buFont typeface="Wingdings" pitchFamily="2" charset="2"/>
              <a:defRPr sz="800">
                <a:solidFill>
                  <a:schemeClr val="tx1"/>
                </a:solidFill>
                <a:latin typeface="Arial" charset="0"/>
                <a:ea typeface="MS PGothic" pitchFamily="34" charset="-128"/>
              </a:defRPr>
            </a:lvl1pPr>
            <a:lvl2pPr marL="742950" indent="-285750" defTabSz="998538">
              <a:spcBef>
                <a:spcPct val="30000"/>
              </a:spcBef>
              <a:defRPr sz="1200">
                <a:solidFill>
                  <a:schemeClr val="tx1"/>
                </a:solidFill>
                <a:latin typeface="Arial" charset="0"/>
                <a:ea typeface="MS PGothic" pitchFamily="34" charset="-128"/>
              </a:defRPr>
            </a:lvl2pPr>
            <a:lvl3pPr marL="1143000" indent="-228600" defTabSz="998538">
              <a:spcBef>
                <a:spcPct val="30000"/>
              </a:spcBef>
              <a:defRPr sz="1200">
                <a:solidFill>
                  <a:schemeClr val="tx1"/>
                </a:solidFill>
                <a:latin typeface="Arial" charset="0"/>
                <a:ea typeface="MS PGothic" pitchFamily="34" charset="-128"/>
              </a:defRPr>
            </a:lvl3pPr>
            <a:lvl4pPr marL="1600200" indent="-228600" defTabSz="998538">
              <a:spcBef>
                <a:spcPct val="30000"/>
              </a:spcBef>
              <a:defRPr sz="1200">
                <a:solidFill>
                  <a:schemeClr val="tx1"/>
                </a:solidFill>
                <a:latin typeface="Arial" charset="0"/>
                <a:ea typeface="MS PGothic" pitchFamily="34" charset="-128"/>
              </a:defRPr>
            </a:lvl4pPr>
            <a:lvl5pPr marL="2057400" indent="-228600" defTabSz="998538">
              <a:spcBef>
                <a:spcPct val="30000"/>
              </a:spcBef>
              <a:defRPr sz="1200">
                <a:solidFill>
                  <a:schemeClr val="tx1"/>
                </a:solidFill>
                <a:latin typeface="Arial" charset="0"/>
                <a:ea typeface="MS PGothic" pitchFamily="34" charset="-128"/>
              </a:defRPr>
            </a:lvl5pPr>
            <a:lvl6pPr marL="2514600" indent="-228600" defTabSz="998538"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defTabSz="998538"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defTabSz="998538"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defTabSz="998538" eaLnBrk="0" fontAlgn="base" hangingPunct="0">
              <a:spcBef>
                <a:spcPct val="30000"/>
              </a:spcBef>
              <a:spcAft>
                <a:spcPct val="0"/>
              </a:spcAft>
              <a:defRPr sz="1200">
                <a:solidFill>
                  <a:schemeClr val="tx1"/>
                </a:solidFill>
                <a:latin typeface="Arial" charset="0"/>
                <a:ea typeface="MS PGothic" pitchFamily="34" charset="-128"/>
              </a:defRPr>
            </a:lvl9pPr>
          </a:lstStyle>
          <a:p>
            <a:pPr marL="0" marR="0" lvl="0" indent="0" algn="l" defTabSz="998538" rtl="0" eaLnBrk="1" fontAlgn="base" latinLnBrk="0" hangingPunct="1">
              <a:lnSpc>
                <a:spcPct val="90000"/>
              </a:lnSpc>
              <a:spcBef>
                <a:spcPct val="35000"/>
              </a:spcBef>
              <a:spcAft>
                <a:spcPct val="0"/>
              </a:spcAft>
              <a:buClr>
                <a:srgbClr val="F7B100"/>
              </a:buClr>
              <a:buSzTx/>
              <a:buFont typeface="Wingdings" pitchFamily="2" charset="2"/>
              <a:buNone/>
              <a:tabLst/>
              <a:defRPr/>
            </a:pPr>
            <a:fld id="{38D59893-5618-4336-A68A-21EA01AABCB1}" type="slidenum">
              <a:rPr kumimoji="0" lang="en-US" altLang="en-US" sz="1300" b="1" i="0" u="none" strike="noStrike" kern="1200" cap="none" spc="0" normalizeH="0" baseline="0" noProof="0">
                <a:ln>
                  <a:noFill/>
                </a:ln>
                <a:solidFill>
                  <a:srgbClr val="000000"/>
                </a:solidFill>
                <a:effectLst/>
                <a:uLnTx/>
                <a:uFillTx/>
                <a:latin typeface="Arial" charset="0"/>
                <a:ea typeface="MS PGothic" pitchFamily="34" charset="-128"/>
                <a:cs typeface="Arial" charset="0"/>
              </a:rPr>
              <a:pPr marL="0" marR="0" lvl="0" indent="0" algn="l" defTabSz="998538" rtl="0" eaLnBrk="1" fontAlgn="base" latinLnBrk="0" hangingPunct="1">
                <a:lnSpc>
                  <a:spcPct val="90000"/>
                </a:lnSpc>
                <a:spcBef>
                  <a:spcPct val="35000"/>
                </a:spcBef>
                <a:spcAft>
                  <a:spcPct val="0"/>
                </a:spcAft>
                <a:buClr>
                  <a:srgbClr val="F7B100"/>
                </a:buClr>
                <a:buSzTx/>
                <a:buFont typeface="Wingdings" pitchFamily="2" charset="2"/>
                <a:buNone/>
                <a:tabLst/>
                <a:defRPr/>
              </a:pPr>
              <a:t>13</a:t>
            </a:fld>
            <a:endParaRPr kumimoji="0" lang="fr-FR" altLang="en-US" sz="1300" b="1" i="0" u="none" strike="noStrike" kern="1200" cap="none" spc="0" normalizeH="0" baseline="0" noProof="0">
              <a:ln>
                <a:noFill/>
              </a:ln>
              <a:solidFill>
                <a:srgbClr val="000000"/>
              </a:solidFill>
              <a:effectLst/>
              <a:uLnTx/>
              <a:uFillTx/>
              <a:latin typeface="Arial" charset="0"/>
              <a:ea typeface="MS PGothic" pitchFamily="34" charset="-128"/>
              <a:cs typeface="Arial" charset="0"/>
            </a:endParaRPr>
          </a:p>
        </p:txBody>
      </p:sp>
      <p:sp>
        <p:nvSpPr>
          <p:cNvPr id="18435" name="Rectangle 7"/>
          <p:cNvSpPr txBox="1">
            <a:spLocks noGrp="1" noChangeArrowheads="1"/>
          </p:cNvSpPr>
          <p:nvPr/>
        </p:nvSpPr>
        <p:spPr bwMode="auto">
          <a:xfrm>
            <a:off x="3970340"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30" tIns="44066" rIns="88130" bIns="44066"/>
          <a:lstStyle>
            <a:lvl1pPr>
              <a:spcBef>
                <a:spcPct val="30000"/>
              </a:spcBef>
              <a:buClr>
                <a:schemeClr val="accent1"/>
              </a:buClr>
              <a:buFont typeface="Wingdings" pitchFamily="2" charset="2"/>
              <a:defRPr sz="800">
                <a:solidFill>
                  <a:schemeClr val="tx1"/>
                </a:solidFill>
                <a:latin typeface="Arial" charset="0"/>
                <a:ea typeface="MS PGothic" pitchFamily="34" charset="-128"/>
              </a:defRPr>
            </a:lvl1pPr>
            <a:lvl2pPr marL="742950" indent="-285750">
              <a:spcBef>
                <a:spcPct val="30000"/>
              </a:spcBef>
              <a:defRPr sz="1200">
                <a:solidFill>
                  <a:schemeClr val="tx1"/>
                </a:solidFill>
                <a:latin typeface="Arial" charset="0"/>
                <a:ea typeface="MS PGothic" pitchFamily="34" charset="-128"/>
              </a:defRPr>
            </a:lvl2pPr>
            <a:lvl3pPr marL="1143000" indent="-228600">
              <a:spcBef>
                <a:spcPct val="30000"/>
              </a:spcBef>
              <a:defRPr sz="1200">
                <a:solidFill>
                  <a:schemeClr val="tx1"/>
                </a:solidFill>
                <a:latin typeface="Arial" charset="0"/>
                <a:ea typeface="MS PGothic" pitchFamily="34" charset="-128"/>
              </a:defRPr>
            </a:lvl3pPr>
            <a:lvl4pPr marL="1600200" indent="-228600">
              <a:spcBef>
                <a:spcPct val="30000"/>
              </a:spcBef>
              <a:defRPr sz="1200">
                <a:solidFill>
                  <a:schemeClr val="tx1"/>
                </a:solidFill>
                <a:latin typeface="Arial" charset="0"/>
                <a:ea typeface="MS PGothic" pitchFamily="34" charset="-128"/>
              </a:defRPr>
            </a:lvl4pPr>
            <a:lvl5pPr marL="2057400" indent="-228600">
              <a:spcBef>
                <a:spcPct val="30000"/>
              </a:spcBef>
              <a:defRPr sz="1200">
                <a:solidFill>
                  <a:schemeClr val="tx1"/>
                </a:solidFill>
                <a:latin typeface="Arial" charset="0"/>
                <a:ea typeface="MS PGothic" pitchFamily="34" charset="-128"/>
              </a:defRPr>
            </a:lvl5pPr>
            <a:lvl6pPr marL="2514600" indent="-228600"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eaLnBrk="0" fontAlgn="base" hangingPunct="0">
              <a:spcBef>
                <a:spcPct val="30000"/>
              </a:spcBef>
              <a:spcAft>
                <a:spcPct val="0"/>
              </a:spcAft>
              <a:defRPr sz="1200">
                <a:solidFill>
                  <a:schemeClr val="tx1"/>
                </a:solidFill>
                <a:latin typeface="Arial" charset="0"/>
                <a:ea typeface="MS PGothic" pitchFamily="34" charset="-128"/>
              </a:defRPr>
            </a:lvl9pPr>
          </a:lstStyle>
          <a:p>
            <a:pPr marL="0" marR="0" lvl="0" indent="0" algn="l" defTabSz="914400" rtl="0" eaLnBrk="1" fontAlgn="base" latinLnBrk="0" hangingPunct="1">
              <a:lnSpc>
                <a:spcPct val="90000"/>
              </a:lnSpc>
              <a:spcBef>
                <a:spcPct val="35000"/>
              </a:spcBef>
              <a:spcAft>
                <a:spcPct val="0"/>
              </a:spcAft>
              <a:buClr>
                <a:srgbClr val="F7B100"/>
              </a:buClr>
              <a:buSzTx/>
              <a:buFont typeface="Wingdings" pitchFamily="2" charset="2"/>
              <a:buNone/>
              <a:tabLst/>
              <a:defRPr/>
            </a:pPr>
            <a:fld id="{607CCD1F-D758-45AB-950C-B8F96EEDB73E}" type="slidenum">
              <a:rPr kumimoji="0" lang="fr-FR" altLang="en-US" sz="1600" b="1" i="0" u="none" strike="noStrike" kern="1200" cap="none" spc="0" normalizeH="0" baseline="0" noProof="0">
                <a:ln>
                  <a:noFill/>
                </a:ln>
                <a:solidFill>
                  <a:srgbClr val="4F81BD"/>
                </a:solidFill>
                <a:effectLst/>
                <a:uLnTx/>
                <a:uFillTx/>
                <a:latin typeface="Arial" charset="0"/>
                <a:ea typeface="MS PGothic" pitchFamily="34" charset="-128"/>
                <a:cs typeface="Arial" charset="0"/>
              </a:rPr>
              <a:pPr marL="0" marR="0" lvl="0" indent="0" algn="l" defTabSz="914400" rtl="0" eaLnBrk="1" fontAlgn="base" latinLnBrk="0" hangingPunct="1">
                <a:lnSpc>
                  <a:spcPct val="90000"/>
                </a:lnSpc>
                <a:spcBef>
                  <a:spcPct val="35000"/>
                </a:spcBef>
                <a:spcAft>
                  <a:spcPct val="0"/>
                </a:spcAft>
                <a:buClr>
                  <a:srgbClr val="F7B100"/>
                </a:buClr>
                <a:buSzTx/>
                <a:buFont typeface="Wingdings" pitchFamily="2" charset="2"/>
                <a:buNone/>
                <a:tabLst/>
                <a:defRPr/>
              </a:pPr>
              <a:t>13</a:t>
            </a:fld>
            <a:endParaRPr kumimoji="0" lang="fr-FR" altLang="en-US" sz="1600" b="1" i="0" u="none" strike="noStrike" kern="1200" cap="none" spc="0" normalizeH="0" baseline="0" noProof="0">
              <a:ln>
                <a:noFill/>
              </a:ln>
              <a:solidFill>
                <a:srgbClr val="4F81BD"/>
              </a:solidFill>
              <a:effectLst/>
              <a:uLnTx/>
              <a:uFillTx/>
              <a:latin typeface="Arial" charset="0"/>
              <a:ea typeface="MS PGothic" pitchFamily="34" charset="-128"/>
              <a:cs typeface="Arial" charset="0"/>
            </a:endParaRPr>
          </a:p>
        </p:txBody>
      </p:sp>
      <p:sp>
        <p:nvSpPr>
          <p:cNvPr id="18436" name="Rectangle 2"/>
          <p:cNvSpPr>
            <a:spLocks noGrp="1" noRot="1" noChangeAspect="1" noChangeArrowheads="1" noTextEdit="1"/>
          </p:cNvSpPr>
          <p:nvPr>
            <p:ph type="sldImg"/>
          </p:nvPr>
        </p:nvSpPr>
        <p:spPr>
          <a:xfrm>
            <a:off x="946150" y="411163"/>
            <a:ext cx="5005388" cy="3752850"/>
          </a:xfrm>
          <a:ln/>
        </p:spPr>
      </p:sp>
      <p:sp>
        <p:nvSpPr>
          <p:cNvPr id="18437" name="Notes Placeholder 1"/>
          <p:cNvSpPr>
            <a:spLocks noGrp="1"/>
          </p:cNvSpPr>
          <p:nvPr>
            <p:ph type="body" sz="quarter" idx="10"/>
          </p:nvPr>
        </p:nvSpPr>
        <p:spPr>
          <a:xfrm>
            <a:off x="701677" y="4238625"/>
            <a:ext cx="5934075" cy="49990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b="1">
              <a:latin typeface="Arial" charset="0"/>
            </a:endParaRPr>
          </a:p>
        </p:txBody>
      </p:sp>
    </p:spTree>
    <p:extLst>
      <p:ext uri="{BB962C8B-B14F-4D97-AF65-F5344CB8AC3E}">
        <p14:creationId xmlns:p14="http://schemas.microsoft.com/office/powerpoint/2010/main" val="3322352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50850" y="544513"/>
            <a:ext cx="3328988" cy="2495550"/>
          </a:xfrm>
        </p:spPr>
      </p:sp>
      <p:sp>
        <p:nvSpPr>
          <p:cNvPr id="3" name="Espace réservé des commentaires 2"/>
          <p:cNvSpPr>
            <a:spLocks noGrp="1"/>
          </p:cNvSpPr>
          <p:nvPr>
            <p:ph type="body" idx="1"/>
          </p:nvPr>
        </p:nvSpPr>
        <p:spPr/>
        <p:txBody>
          <a:bodyPr/>
          <a:lstStyle/>
          <a:p>
            <a:r>
              <a:rPr lang="fr-FR" sz="1000" dirty="0">
                <a:solidFill>
                  <a:schemeClr val="tx1"/>
                </a:solidFill>
              </a:rPr>
              <a:t>« Records management : champ de l'organisation et de la gestion en charge d'un contrôle efficace et systématique de la création, de la réception, de la conservation, de l'utilisation et du sort final des documents, y compris des méthodes de fixation et de préservation de la preuve et de l'information liées à la forme des documents » </a:t>
            </a:r>
            <a:r>
              <a:rPr lang="fr-FR" sz="800" dirty="0">
                <a:solidFill>
                  <a:schemeClr val="tx1"/>
                </a:solidFill>
              </a:rPr>
              <a:t>Définition donnée par la norme ISO 15489</a:t>
            </a:r>
          </a:p>
          <a:p>
            <a:endParaRPr lang="fr-FR" sz="800" dirty="0">
              <a:solidFill>
                <a:schemeClr val="tx1"/>
              </a:solidFill>
            </a:endParaRPr>
          </a:p>
          <a:p>
            <a:endParaRPr lang="fr-FR" sz="800" dirty="0">
              <a:solidFill>
                <a:schemeClr val="tx1"/>
              </a:solidFill>
            </a:endParaRPr>
          </a:p>
          <a:p>
            <a:pPr marL="0" marR="0" lvl="0" indent="0" algn="l" defTabSz="914400" rtl="0" eaLnBrk="0" fontAlgn="base" latinLnBrk="0" hangingPunct="0">
              <a:lnSpc>
                <a:spcPct val="100000"/>
              </a:lnSpc>
              <a:spcBef>
                <a:spcPct val="30000"/>
              </a:spcBef>
              <a:spcAft>
                <a:spcPct val="0"/>
              </a:spcAft>
              <a:buClr>
                <a:schemeClr val="accent1"/>
              </a:buClr>
              <a:buSzTx/>
              <a:buFont typeface="Wingdings" pitchFamily="2" charset="2"/>
              <a:buNone/>
              <a:tabLst/>
              <a:defRPr/>
            </a:pPr>
            <a:endParaRPr lang="fr-FR" baseline="0" dirty="0"/>
          </a:p>
        </p:txBody>
      </p:sp>
    </p:spTree>
    <p:extLst>
      <p:ext uri="{BB962C8B-B14F-4D97-AF65-F5344CB8AC3E}">
        <p14:creationId xmlns:p14="http://schemas.microsoft.com/office/powerpoint/2010/main" val="34345683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Arial" panose="020B0604020202020204" pitchFamily="34" charset="0"/>
              <a:buChar char="•"/>
            </a:pPr>
            <a:r>
              <a:rPr lang="fr-FR" dirty="0"/>
              <a:t>Exemples de choix structurants réalisés lors de l’élaboration de la politique</a:t>
            </a:r>
          </a:p>
          <a:p>
            <a:pPr marL="171450" indent="-171450">
              <a:buFont typeface="Arial" panose="020B0604020202020204" pitchFamily="34" charset="0"/>
              <a:buChar char="•"/>
            </a:pPr>
            <a:endParaRPr lang="fr-FR" dirty="0"/>
          </a:p>
          <a:p>
            <a:pPr marL="171450" indent="-171450">
              <a:buFont typeface="Arial" panose="020B0604020202020204" pitchFamily="34" charset="0"/>
              <a:buChar char="•"/>
            </a:pPr>
            <a:r>
              <a:rPr lang="fr-FR" dirty="0"/>
              <a:t>RM : choix de TOTAL, ORANGE, PSA, Bouygues, etc. Largement utilisé en Europe et aux Etats Unis. Contrairement à l’archivage classique, qui n’intervient qu’une fois l’activité terminée, le RM, pour optimiser la qualité des archives des documents importants, appelés records, se préoccupe de tout leur cycle de vie, notamment du lien avec la gestion des documents, qui se fait souvent dans SHP chez Renault.</a:t>
            </a:r>
          </a:p>
          <a:p>
            <a:pPr marL="171450" indent="-171450">
              <a:buFont typeface="Arial" panose="020B0604020202020204" pitchFamily="34" charset="0"/>
              <a:buChar char="•"/>
            </a:pPr>
            <a:endParaRPr lang="fr-FR" dirty="0"/>
          </a:p>
          <a:p>
            <a:pPr marL="171450" indent="-171450">
              <a:buFont typeface="Arial" panose="020B0604020202020204" pitchFamily="34" charset="0"/>
              <a:buChar char="•"/>
            </a:pPr>
            <a:r>
              <a:rPr lang="fr-FR" dirty="0"/>
              <a:t>Référentiel de conservation : l’une des premières actions du déploiement est de permettre au Groupe de se doter progressivement d’un référentiel de conservation homogène, validé par les métiers et sur le plan juridique, afin de piloter la gestion de la conservation de l’information. Les règles y sont organisées selon un plan de classement dont l’écueil est de devenir trop complexe (des milliers de lignes) au détriment de son utilisabilité et de sa maintenabilité. L’équipe s’est fixé un objectif de simplicité en la matière, comme a su le réussir Nissan </a:t>
            </a:r>
            <a:r>
              <a:rPr lang="fr-FR" dirty="0" err="1"/>
              <a:t>Americas</a:t>
            </a:r>
            <a:r>
              <a:rPr lang="fr-FR" dirty="0"/>
              <a:t>.</a:t>
            </a:r>
          </a:p>
          <a:p>
            <a:pPr marL="171450" indent="-171450">
              <a:buFont typeface="Arial" panose="020B0604020202020204" pitchFamily="34" charset="0"/>
              <a:buChar char="•"/>
            </a:pPr>
            <a:endParaRPr lang="fr-FR" dirty="0"/>
          </a:p>
          <a:p>
            <a:pPr marL="171450" indent="-171450">
              <a:buFont typeface="Arial" panose="020B0604020202020204" pitchFamily="34" charset="0"/>
              <a:buChar char="•"/>
            </a:pPr>
            <a:r>
              <a:rPr lang="fr-FR" dirty="0"/>
              <a:t>Le RM ne peut pas se déployer dans le Groupe sans le concours des Directions métier. Une organisation simple à 2 niveaux à été conçue : un RM par Direction et des Correspondants RM dans les services qui mettent en place le RM dans leur activité. Ce « réseau » peut s’appuyer sur des réseaux existants dans le Groupe (à définir)</a:t>
            </a:r>
          </a:p>
          <a:p>
            <a:pPr marL="171450" indent="-171450">
              <a:buFont typeface="Arial" panose="020B0604020202020204" pitchFamily="34" charset="0"/>
              <a:buChar char="•"/>
            </a:pPr>
            <a:endParaRPr lang="fr-FR" dirty="0"/>
          </a:p>
          <a:p>
            <a:pPr marL="171450" indent="-171450">
              <a:buFont typeface="Arial" panose="020B0604020202020204" pitchFamily="34" charset="0"/>
              <a:buChar char="•"/>
            </a:pPr>
            <a:endParaRPr lang="fr-FR" dirty="0"/>
          </a:p>
          <a:p>
            <a:endParaRPr lang="fr-FR" dirty="0"/>
          </a:p>
          <a:p>
            <a:endParaRPr lang="fr-FR" dirty="0"/>
          </a:p>
          <a:p>
            <a:endParaRPr lang="fr-FR" dirty="0"/>
          </a:p>
        </p:txBody>
      </p:sp>
    </p:spTree>
    <p:extLst>
      <p:ext uri="{BB962C8B-B14F-4D97-AF65-F5344CB8AC3E}">
        <p14:creationId xmlns:p14="http://schemas.microsoft.com/office/powerpoint/2010/main" val="2006204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Arial" panose="020B0604020202020204" pitchFamily="34" charset="0"/>
              <a:buChar char="•"/>
            </a:pPr>
            <a:r>
              <a:rPr lang="fr-FR" dirty="0"/>
              <a:t>La PRGM indique clairement à chaque acteur sa responsabilité, en particulier pour les acteurs Métier.</a:t>
            </a:r>
          </a:p>
          <a:p>
            <a:pPr marL="171450" indent="-171450">
              <a:buFont typeface="Arial" panose="020B0604020202020204" pitchFamily="34" charset="0"/>
              <a:buChar char="•"/>
            </a:pPr>
            <a:endParaRPr lang="fr-FR" dirty="0"/>
          </a:p>
          <a:p>
            <a:pPr marL="171450" indent="-171450">
              <a:buFont typeface="Arial" panose="020B0604020202020204" pitchFamily="34" charset="0"/>
              <a:buChar char="•"/>
            </a:pPr>
            <a:r>
              <a:rPr lang="fr-FR" dirty="0"/>
              <a:t>Elle montre aussi comment l’organisation du RM dans le Groupe est orientée pour apporter un maximum de support aux acteurs métier, grâce au Réseau du RM, porté par une équipe de niveau Groupe en cours de constitution, mais aussi au concours d’autres acteurs sur des domaines connexes, comme la Direction juridique, qui intervient dans la constitution du Référentiel de conservation, la Direction informatique qui fournit des services de qualité nécessaires au RM et D2P, avec qui une synergie existe pour assurer la sécurité de l’information.</a:t>
            </a:r>
          </a:p>
          <a:p>
            <a:endParaRPr lang="fr-FR" dirty="0"/>
          </a:p>
        </p:txBody>
      </p:sp>
    </p:spTree>
    <p:extLst>
      <p:ext uri="{BB962C8B-B14F-4D97-AF65-F5344CB8AC3E}">
        <p14:creationId xmlns:p14="http://schemas.microsoft.com/office/powerpoint/2010/main" val="22529492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a:t>Cliquez pour modifier le style du titre</a:t>
            </a: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Cliquez pour modifier le style des sous-titres du masque</a:t>
            </a:r>
          </a:p>
        </p:txBody>
      </p:sp>
      <p:sp>
        <p:nvSpPr>
          <p:cNvPr id="5" name="Espace réservé du pied de page 4"/>
          <p:cNvSpPr>
            <a:spLocks noGrp="1"/>
          </p:cNvSpPr>
          <p:nvPr>
            <p:ph type="ftr" sz="quarter" idx="11"/>
          </p:nvPr>
        </p:nvSpPr>
        <p:spPr>
          <a:xfrm>
            <a:off x="2699792" y="6356350"/>
            <a:ext cx="2895600" cy="365125"/>
          </a:xfrm>
          <a:prstGeom prst="rect">
            <a:avLst/>
          </a:prstGeom>
        </p:spPr>
        <p:txBody>
          <a:bodyPr/>
          <a:lstStyle/>
          <a:p>
            <a:r>
              <a:rPr lang="fr-FR"/>
              <a:t>CR2PA - Atelier N°8 -10 déc 2015_RTE       Bernard Ouillon, Yves Sarrazin</a:t>
            </a:r>
            <a:endParaRPr lang="fr-FR" dirty="0"/>
          </a:p>
        </p:txBody>
      </p:sp>
      <p:sp>
        <p:nvSpPr>
          <p:cNvPr id="6" name="Espace réservé du numéro de diapositive 5"/>
          <p:cNvSpPr>
            <a:spLocks noGrp="1"/>
          </p:cNvSpPr>
          <p:nvPr>
            <p:ph type="sldNum" sz="quarter" idx="12"/>
          </p:nvPr>
        </p:nvSpPr>
        <p:spPr/>
        <p:txBody>
          <a:bodyPr/>
          <a:lstStyle/>
          <a:p>
            <a:fld id="{FCE514DE-E9F9-4E23-84E5-45B810FC164B}" type="slidenum">
              <a:rPr lang="fr-FR" smtClean="0"/>
              <a:pPr/>
              <a:t>‹N°›</a:t>
            </a:fld>
            <a:endParaRPr lang="fr-F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49" y="6246304"/>
            <a:ext cx="661851" cy="585216"/>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FCE514DE-E9F9-4E23-84E5-45B810FC164B}" type="slidenum">
              <a:rPr lang="fr-FR" smtClean="0"/>
              <a:pPr/>
              <a:t>‹N°›</a:t>
            </a:fld>
            <a:endParaRPr lang="fr-FR"/>
          </a:p>
        </p:txBody>
      </p:sp>
      <p:sp>
        <p:nvSpPr>
          <p:cNvPr id="8" name="Espace réservé du pied de page 4"/>
          <p:cNvSpPr txBox="1">
            <a:spLocks/>
          </p:cNvSpPr>
          <p:nvPr userDrawn="1"/>
        </p:nvSpPr>
        <p:spPr>
          <a:xfrm>
            <a:off x="3275856" y="6309320"/>
            <a:ext cx="2895600" cy="365125"/>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chemeClr val="tx1">
                    <a:tint val="75000"/>
                  </a:schemeClr>
                </a:solidFill>
                <a:effectLst/>
                <a:uLnTx/>
                <a:uFillTx/>
                <a:latin typeface="+mn-lt"/>
                <a:ea typeface="+mn-ea"/>
                <a:cs typeface="+mn-cs"/>
              </a:rPr>
              <a:t>CR2PA - Atelier N°8, 17 novembre 2015, </a:t>
            </a:r>
            <a:endParaRPr kumimoji="0" lang="fr-FR" sz="12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a:xfrm>
            <a:off x="2771800" y="6356350"/>
            <a:ext cx="4104456" cy="365125"/>
          </a:xfrm>
          <a:prstGeom prst="rect">
            <a:avLst/>
          </a:prstGeom>
        </p:spPr>
        <p:txBody>
          <a:bodyPr/>
          <a:lstStyle/>
          <a:p>
            <a:r>
              <a:rPr lang="fr-FR"/>
              <a:t>CR2PA - Atelier N°8 -10 déc 2015_RTE       Bernard Ouillon, Yves Sarrazin</a:t>
            </a:r>
            <a:endParaRPr lang="fr-FR" dirty="0"/>
          </a:p>
        </p:txBody>
      </p:sp>
      <p:sp>
        <p:nvSpPr>
          <p:cNvPr id="6" name="Espace réservé du numéro de diapositive 5"/>
          <p:cNvSpPr>
            <a:spLocks noGrp="1"/>
          </p:cNvSpPr>
          <p:nvPr>
            <p:ph type="sldNum" sz="quarter" idx="12"/>
          </p:nvPr>
        </p:nvSpPr>
        <p:spPr/>
        <p:txBody>
          <a:bodyPr/>
          <a:lstStyle/>
          <a:p>
            <a:fld id="{FCE514DE-E9F9-4E23-84E5-45B810FC164B}" type="slidenum">
              <a:rPr lang="fr-FR" smtClean="0"/>
              <a:pPr/>
              <a:t>‹N°›</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Pattern + Emblems">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221" y="239184"/>
            <a:ext cx="8779559" cy="5663184"/>
          </a:xfrm>
          <a:prstGeom prst="rect">
            <a:avLst/>
          </a:prstGeom>
        </p:spPr>
      </p:pic>
      <p:sp>
        <p:nvSpPr>
          <p:cNvPr id="8" name="Rectangle 41"/>
          <p:cNvSpPr>
            <a:spLocks noGrp="1" noChangeArrowheads="1"/>
          </p:cNvSpPr>
          <p:nvPr>
            <p:ph type="title" hasCustomPrompt="1"/>
          </p:nvPr>
        </p:nvSpPr>
        <p:spPr bwMode="auto">
          <a:xfrm>
            <a:off x="0" y="4161600"/>
            <a:ext cx="9144000" cy="1738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40000" tIns="0" rIns="540000" bIns="475200" numCol="1" anchor="b" anchorCtr="0" compatLnSpc="1">
            <a:prstTxWarp prst="textNoShape">
              <a:avLst/>
            </a:prstTxWarp>
          </a:bodyPr>
          <a:lstStyle>
            <a:lvl1pPr>
              <a:defRPr sz="2400" cap="all" baseline="0">
                <a:solidFill>
                  <a:schemeClr val="bg1"/>
                </a:solidFill>
                <a:latin typeface="+mn-lt"/>
              </a:defRPr>
            </a:lvl1pPr>
          </a:lstStyle>
          <a:p>
            <a:pPr lvl="0"/>
            <a:r>
              <a:rPr lang="fr-FR" dirty="0"/>
              <a:t>KIT REFLEX</a:t>
            </a:r>
          </a:p>
        </p:txBody>
      </p:sp>
      <p:grpSp>
        <p:nvGrpSpPr>
          <p:cNvPr id="25" name="Groupe 24">
            <a:extLst>
              <a:ext uri="{FF2B5EF4-FFF2-40B4-BE49-F238E27FC236}">
                <a16:creationId xmlns:a16="http://schemas.microsoft.com/office/drawing/2014/main" xmlns="" id="{A107A82D-9B01-4A52-B388-70B7880EFF66}"/>
              </a:ext>
            </a:extLst>
          </p:cNvPr>
          <p:cNvGrpSpPr/>
          <p:nvPr userDrawn="1"/>
        </p:nvGrpSpPr>
        <p:grpSpPr>
          <a:xfrm>
            <a:off x="6264000" y="5900321"/>
            <a:ext cx="2880000" cy="719137"/>
            <a:chOff x="6264000" y="4424363"/>
            <a:chExt cx="2880000" cy="719137"/>
          </a:xfrm>
        </p:grpSpPr>
        <p:sp>
          <p:nvSpPr>
            <p:cNvPr id="26" name="Rectangle 25">
              <a:extLst>
                <a:ext uri="{FF2B5EF4-FFF2-40B4-BE49-F238E27FC236}">
                  <a16:creationId xmlns:a16="http://schemas.microsoft.com/office/drawing/2014/main" xmlns="" id="{00C093BD-9BB4-4CDE-84F3-1EA18D0D9479}"/>
                </a:ext>
              </a:extLst>
            </p:cNvPr>
            <p:cNvSpPr/>
            <p:nvPr userDrawn="1"/>
          </p:nvSpPr>
          <p:spPr>
            <a:xfrm>
              <a:off x="6264000" y="4424363"/>
              <a:ext cx="2880000" cy="719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grpSp>
          <p:nvGrpSpPr>
            <p:cNvPr id="27" name="Groupe 26">
              <a:extLst>
                <a:ext uri="{FF2B5EF4-FFF2-40B4-BE49-F238E27FC236}">
                  <a16:creationId xmlns:a16="http://schemas.microsoft.com/office/drawing/2014/main" xmlns="" id="{7B6C942F-FF4F-419A-9C7E-371FB51931E3}"/>
                </a:ext>
              </a:extLst>
            </p:cNvPr>
            <p:cNvGrpSpPr>
              <a:grpSpLocks noChangeAspect="1"/>
            </p:cNvGrpSpPr>
            <p:nvPr userDrawn="1"/>
          </p:nvGrpSpPr>
          <p:grpSpPr>
            <a:xfrm>
              <a:off x="7343775" y="4699657"/>
              <a:ext cx="1620000" cy="169413"/>
              <a:chOff x="7712075" y="4803775"/>
              <a:chExt cx="1214438" cy="127001"/>
            </a:xfrm>
          </p:grpSpPr>
          <p:sp>
            <p:nvSpPr>
              <p:cNvPr id="28" name="Freeform 5">
                <a:extLst>
                  <a:ext uri="{FF2B5EF4-FFF2-40B4-BE49-F238E27FC236}">
                    <a16:creationId xmlns:a16="http://schemas.microsoft.com/office/drawing/2014/main" xmlns="" id="{602A3843-95CA-45B5-9DAC-38D370963F73}"/>
                  </a:ext>
                </a:extLst>
              </p:cNvPr>
              <p:cNvSpPr>
                <a:spLocks/>
              </p:cNvSpPr>
              <p:nvPr userDrawn="1"/>
            </p:nvSpPr>
            <p:spPr bwMode="auto">
              <a:xfrm>
                <a:off x="7712075" y="4803775"/>
                <a:ext cx="80963" cy="127000"/>
              </a:xfrm>
              <a:custGeom>
                <a:avLst/>
                <a:gdLst>
                  <a:gd name="T0" fmla="*/ 105 w 153"/>
                  <a:gd name="T1" fmla="*/ 73 h 240"/>
                  <a:gd name="T2" fmla="*/ 103 w 153"/>
                  <a:gd name="T3" fmla="*/ 60 h 240"/>
                  <a:gd name="T4" fmla="*/ 99 w 153"/>
                  <a:gd name="T5" fmla="*/ 48 h 240"/>
                  <a:gd name="T6" fmla="*/ 90 w 153"/>
                  <a:gd name="T7" fmla="*/ 37 h 240"/>
                  <a:gd name="T8" fmla="*/ 78 w 153"/>
                  <a:gd name="T9" fmla="*/ 34 h 240"/>
                  <a:gd name="T10" fmla="*/ 71 w 153"/>
                  <a:gd name="T11" fmla="*/ 35 h 240"/>
                  <a:gd name="T12" fmla="*/ 64 w 153"/>
                  <a:gd name="T13" fmla="*/ 38 h 240"/>
                  <a:gd name="T14" fmla="*/ 59 w 153"/>
                  <a:gd name="T15" fmla="*/ 45 h 240"/>
                  <a:gd name="T16" fmla="*/ 51 w 153"/>
                  <a:gd name="T17" fmla="*/ 64 h 240"/>
                  <a:gd name="T18" fmla="*/ 47 w 153"/>
                  <a:gd name="T19" fmla="*/ 95 h 240"/>
                  <a:gd name="T20" fmla="*/ 47 w 153"/>
                  <a:gd name="T21" fmla="*/ 115 h 240"/>
                  <a:gd name="T22" fmla="*/ 48 w 153"/>
                  <a:gd name="T23" fmla="*/ 153 h 240"/>
                  <a:gd name="T24" fmla="*/ 53 w 153"/>
                  <a:gd name="T25" fmla="*/ 181 h 240"/>
                  <a:gd name="T26" fmla="*/ 60 w 153"/>
                  <a:gd name="T27" fmla="*/ 196 h 240"/>
                  <a:gd name="T28" fmla="*/ 66 w 153"/>
                  <a:gd name="T29" fmla="*/ 203 h 240"/>
                  <a:gd name="T30" fmla="*/ 74 w 153"/>
                  <a:gd name="T31" fmla="*/ 206 h 240"/>
                  <a:gd name="T32" fmla="*/ 79 w 153"/>
                  <a:gd name="T33" fmla="*/ 206 h 240"/>
                  <a:gd name="T34" fmla="*/ 88 w 153"/>
                  <a:gd name="T35" fmla="*/ 204 h 240"/>
                  <a:gd name="T36" fmla="*/ 97 w 153"/>
                  <a:gd name="T37" fmla="*/ 196 h 240"/>
                  <a:gd name="T38" fmla="*/ 104 w 153"/>
                  <a:gd name="T39" fmla="*/ 185 h 240"/>
                  <a:gd name="T40" fmla="*/ 107 w 153"/>
                  <a:gd name="T41" fmla="*/ 169 h 240"/>
                  <a:gd name="T42" fmla="*/ 77 w 153"/>
                  <a:gd name="T43" fmla="*/ 146 h 240"/>
                  <a:gd name="T44" fmla="*/ 153 w 153"/>
                  <a:gd name="T45" fmla="*/ 111 h 240"/>
                  <a:gd name="T46" fmla="*/ 118 w 153"/>
                  <a:gd name="T47" fmla="*/ 236 h 240"/>
                  <a:gd name="T48" fmla="*/ 117 w 153"/>
                  <a:gd name="T49" fmla="*/ 215 h 240"/>
                  <a:gd name="T50" fmla="*/ 113 w 153"/>
                  <a:gd name="T51" fmla="*/ 221 h 240"/>
                  <a:gd name="T52" fmla="*/ 103 w 153"/>
                  <a:gd name="T53" fmla="*/ 231 h 240"/>
                  <a:gd name="T54" fmla="*/ 91 w 153"/>
                  <a:gd name="T55" fmla="*/ 237 h 240"/>
                  <a:gd name="T56" fmla="*/ 77 w 153"/>
                  <a:gd name="T57" fmla="*/ 240 h 240"/>
                  <a:gd name="T58" fmla="*/ 69 w 153"/>
                  <a:gd name="T59" fmla="*/ 240 h 240"/>
                  <a:gd name="T60" fmla="*/ 50 w 153"/>
                  <a:gd name="T61" fmla="*/ 238 h 240"/>
                  <a:gd name="T62" fmla="*/ 33 w 153"/>
                  <a:gd name="T63" fmla="*/ 233 h 240"/>
                  <a:gd name="T64" fmla="*/ 21 w 153"/>
                  <a:gd name="T65" fmla="*/ 223 h 240"/>
                  <a:gd name="T66" fmla="*/ 13 w 153"/>
                  <a:gd name="T67" fmla="*/ 209 h 240"/>
                  <a:gd name="T68" fmla="*/ 6 w 153"/>
                  <a:gd name="T69" fmla="*/ 191 h 240"/>
                  <a:gd name="T70" fmla="*/ 3 w 153"/>
                  <a:gd name="T71" fmla="*/ 170 h 240"/>
                  <a:gd name="T72" fmla="*/ 0 w 153"/>
                  <a:gd name="T73" fmla="*/ 117 h 240"/>
                  <a:gd name="T74" fmla="*/ 1 w 153"/>
                  <a:gd name="T75" fmla="*/ 90 h 240"/>
                  <a:gd name="T76" fmla="*/ 4 w 153"/>
                  <a:gd name="T77" fmla="*/ 66 h 240"/>
                  <a:gd name="T78" fmla="*/ 9 w 153"/>
                  <a:gd name="T79" fmla="*/ 46 h 240"/>
                  <a:gd name="T80" fmla="*/ 16 w 153"/>
                  <a:gd name="T81" fmla="*/ 29 h 240"/>
                  <a:gd name="T82" fmla="*/ 27 w 153"/>
                  <a:gd name="T83" fmla="*/ 16 h 240"/>
                  <a:gd name="T84" fmla="*/ 40 w 153"/>
                  <a:gd name="T85" fmla="*/ 7 h 240"/>
                  <a:gd name="T86" fmla="*/ 58 w 153"/>
                  <a:gd name="T87" fmla="*/ 2 h 240"/>
                  <a:gd name="T88" fmla="*/ 78 w 153"/>
                  <a:gd name="T89" fmla="*/ 0 h 240"/>
                  <a:gd name="T90" fmla="*/ 87 w 153"/>
                  <a:gd name="T91" fmla="*/ 0 h 240"/>
                  <a:gd name="T92" fmla="*/ 103 w 153"/>
                  <a:gd name="T93" fmla="*/ 2 h 240"/>
                  <a:gd name="T94" fmla="*/ 117 w 153"/>
                  <a:gd name="T95" fmla="*/ 7 h 240"/>
                  <a:gd name="T96" fmla="*/ 129 w 153"/>
                  <a:gd name="T97" fmla="*/ 14 h 240"/>
                  <a:gd name="T98" fmla="*/ 137 w 153"/>
                  <a:gd name="T99" fmla="*/ 23 h 240"/>
                  <a:gd name="T100" fmla="*/ 144 w 153"/>
                  <a:gd name="T101" fmla="*/ 35 h 240"/>
                  <a:gd name="T102" fmla="*/ 148 w 153"/>
                  <a:gd name="T103" fmla="*/ 49 h 240"/>
                  <a:gd name="T104" fmla="*/ 150 w 153"/>
                  <a:gd name="T105" fmla="*/ 7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3" h="240">
                    <a:moveTo>
                      <a:pt x="105" y="73"/>
                    </a:moveTo>
                    <a:lnTo>
                      <a:pt x="105" y="73"/>
                    </a:lnTo>
                    <a:lnTo>
                      <a:pt x="104" y="67"/>
                    </a:lnTo>
                    <a:lnTo>
                      <a:pt x="103" y="60"/>
                    </a:lnTo>
                    <a:lnTo>
                      <a:pt x="101" y="53"/>
                    </a:lnTo>
                    <a:lnTo>
                      <a:pt x="99" y="48"/>
                    </a:lnTo>
                    <a:lnTo>
                      <a:pt x="95" y="42"/>
                    </a:lnTo>
                    <a:lnTo>
                      <a:pt x="90" y="37"/>
                    </a:lnTo>
                    <a:lnTo>
                      <a:pt x="85" y="35"/>
                    </a:lnTo>
                    <a:lnTo>
                      <a:pt x="78" y="34"/>
                    </a:lnTo>
                    <a:lnTo>
                      <a:pt x="78" y="34"/>
                    </a:lnTo>
                    <a:lnTo>
                      <a:pt x="71" y="35"/>
                    </a:lnTo>
                    <a:lnTo>
                      <a:pt x="67" y="36"/>
                    </a:lnTo>
                    <a:lnTo>
                      <a:pt x="64" y="38"/>
                    </a:lnTo>
                    <a:lnTo>
                      <a:pt x="61" y="42"/>
                    </a:lnTo>
                    <a:lnTo>
                      <a:pt x="59" y="45"/>
                    </a:lnTo>
                    <a:lnTo>
                      <a:pt x="54" y="53"/>
                    </a:lnTo>
                    <a:lnTo>
                      <a:pt x="51" y="64"/>
                    </a:lnTo>
                    <a:lnTo>
                      <a:pt x="49" y="78"/>
                    </a:lnTo>
                    <a:lnTo>
                      <a:pt x="47" y="95"/>
                    </a:lnTo>
                    <a:lnTo>
                      <a:pt x="47" y="115"/>
                    </a:lnTo>
                    <a:lnTo>
                      <a:pt x="47" y="115"/>
                    </a:lnTo>
                    <a:lnTo>
                      <a:pt x="47" y="135"/>
                    </a:lnTo>
                    <a:lnTo>
                      <a:pt x="48" y="153"/>
                    </a:lnTo>
                    <a:lnTo>
                      <a:pt x="50" y="168"/>
                    </a:lnTo>
                    <a:lnTo>
                      <a:pt x="53" y="181"/>
                    </a:lnTo>
                    <a:lnTo>
                      <a:pt x="57" y="192"/>
                    </a:lnTo>
                    <a:lnTo>
                      <a:pt x="60" y="196"/>
                    </a:lnTo>
                    <a:lnTo>
                      <a:pt x="63" y="199"/>
                    </a:lnTo>
                    <a:lnTo>
                      <a:pt x="66" y="203"/>
                    </a:lnTo>
                    <a:lnTo>
                      <a:pt x="70" y="205"/>
                    </a:lnTo>
                    <a:lnTo>
                      <a:pt x="74" y="206"/>
                    </a:lnTo>
                    <a:lnTo>
                      <a:pt x="79" y="206"/>
                    </a:lnTo>
                    <a:lnTo>
                      <a:pt x="79" y="206"/>
                    </a:lnTo>
                    <a:lnTo>
                      <a:pt x="83" y="206"/>
                    </a:lnTo>
                    <a:lnTo>
                      <a:pt x="88" y="204"/>
                    </a:lnTo>
                    <a:lnTo>
                      <a:pt x="93" y="201"/>
                    </a:lnTo>
                    <a:lnTo>
                      <a:pt x="97" y="196"/>
                    </a:lnTo>
                    <a:lnTo>
                      <a:pt x="101" y="191"/>
                    </a:lnTo>
                    <a:lnTo>
                      <a:pt x="104" y="185"/>
                    </a:lnTo>
                    <a:lnTo>
                      <a:pt x="107" y="178"/>
                    </a:lnTo>
                    <a:lnTo>
                      <a:pt x="107" y="169"/>
                    </a:lnTo>
                    <a:lnTo>
                      <a:pt x="107" y="146"/>
                    </a:lnTo>
                    <a:lnTo>
                      <a:pt x="77" y="146"/>
                    </a:lnTo>
                    <a:lnTo>
                      <a:pt x="77" y="111"/>
                    </a:lnTo>
                    <a:lnTo>
                      <a:pt x="153" y="111"/>
                    </a:lnTo>
                    <a:lnTo>
                      <a:pt x="153" y="236"/>
                    </a:lnTo>
                    <a:lnTo>
                      <a:pt x="118" y="236"/>
                    </a:lnTo>
                    <a:lnTo>
                      <a:pt x="118" y="215"/>
                    </a:lnTo>
                    <a:lnTo>
                      <a:pt x="117" y="215"/>
                    </a:lnTo>
                    <a:lnTo>
                      <a:pt x="117" y="215"/>
                    </a:lnTo>
                    <a:lnTo>
                      <a:pt x="113" y="221"/>
                    </a:lnTo>
                    <a:lnTo>
                      <a:pt x="108" y="226"/>
                    </a:lnTo>
                    <a:lnTo>
                      <a:pt x="103" y="231"/>
                    </a:lnTo>
                    <a:lnTo>
                      <a:pt x="97" y="234"/>
                    </a:lnTo>
                    <a:lnTo>
                      <a:pt x="91" y="237"/>
                    </a:lnTo>
                    <a:lnTo>
                      <a:pt x="84" y="239"/>
                    </a:lnTo>
                    <a:lnTo>
                      <a:pt x="77" y="240"/>
                    </a:lnTo>
                    <a:lnTo>
                      <a:pt x="69" y="240"/>
                    </a:lnTo>
                    <a:lnTo>
                      <a:pt x="69" y="240"/>
                    </a:lnTo>
                    <a:lnTo>
                      <a:pt x="59" y="240"/>
                    </a:lnTo>
                    <a:lnTo>
                      <a:pt x="50" y="238"/>
                    </a:lnTo>
                    <a:lnTo>
                      <a:pt x="41" y="236"/>
                    </a:lnTo>
                    <a:lnTo>
                      <a:pt x="33" y="233"/>
                    </a:lnTo>
                    <a:lnTo>
                      <a:pt x="27" y="228"/>
                    </a:lnTo>
                    <a:lnTo>
                      <a:pt x="21" y="223"/>
                    </a:lnTo>
                    <a:lnTo>
                      <a:pt x="17" y="217"/>
                    </a:lnTo>
                    <a:lnTo>
                      <a:pt x="13" y="209"/>
                    </a:lnTo>
                    <a:lnTo>
                      <a:pt x="9" y="201"/>
                    </a:lnTo>
                    <a:lnTo>
                      <a:pt x="6" y="191"/>
                    </a:lnTo>
                    <a:lnTo>
                      <a:pt x="4" y="181"/>
                    </a:lnTo>
                    <a:lnTo>
                      <a:pt x="3" y="170"/>
                    </a:lnTo>
                    <a:lnTo>
                      <a:pt x="1" y="146"/>
                    </a:lnTo>
                    <a:lnTo>
                      <a:pt x="0" y="117"/>
                    </a:lnTo>
                    <a:lnTo>
                      <a:pt x="0" y="117"/>
                    </a:lnTo>
                    <a:lnTo>
                      <a:pt x="1" y="90"/>
                    </a:lnTo>
                    <a:lnTo>
                      <a:pt x="2" y="78"/>
                    </a:lnTo>
                    <a:lnTo>
                      <a:pt x="4" y="66"/>
                    </a:lnTo>
                    <a:lnTo>
                      <a:pt x="6" y="56"/>
                    </a:lnTo>
                    <a:lnTo>
                      <a:pt x="9" y="46"/>
                    </a:lnTo>
                    <a:lnTo>
                      <a:pt x="12" y="37"/>
                    </a:lnTo>
                    <a:lnTo>
                      <a:pt x="16" y="29"/>
                    </a:lnTo>
                    <a:lnTo>
                      <a:pt x="21" y="22"/>
                    </a:lnTo>
                    <a:lnTo>
                      <a:pt x="27" y="16"/>
                    </a:lnTo>
                    <a:lnTo>
                      <a:pt x="33" y="11"/>
                    </a:lnTo>
                    <a:lnTo>
                      <a:pt x="40" y="7"/>
                    </a:lnTo>
                    <a:lnTo>
                      <a:pt x="49" y="4"/>
                    </a:lnTo>
                    <a:lnTo>
                      <a:pt x="58" y="2"/>
                    </a:lnTo>
                    <a:lnTo>
                      <a:pt x="67" y="0"/>
                    </a:lnTo>
                    <a:lnTo>
                      <a:pt x="78" y="0"/>
                    </a:lnTo>
                    <a:lnTo>
                      <a:pt x="78" y="0"/>
                    </a:lnTo>
                    <a:lnTo>
                      <a:pt x="87" y="0"/>
                    </a:lnTo>
                    <a:lnTo>
                      <a:pt x="95" y="1"/>
                    </a:lnTo>
                    <a:lnTo>
                      <a:pt x="103" y="2"/>
                    </a:lnTo>
                    <a:lnTo>
                      <a:pt x="110" y="4"/>
                    </a:lnTo>
                    <a:lnTo>
                      <a:pt x="117" y="7"/>
                    </a:lnTo>
                    <a:lnTo>
                      <a:pt x="123" y="10"/>
                    </a:lnTo>
                    <a:lnTo>
                      <a:pt x="129" y="14"/>
                    </a:lnTo>
                    <a:lnTo>
                      <a:pt x="133" y="18"/>
                    </a:lnTo>
                    <a:lnTo>
                      <a:pt x="137" y="23"/>
                    </a:lnTo>
                    <a:lnTo>
                      <a:pt x="141" y="29"/>
                    </a:lnTo>
                    <a:lnTo>
                      <a:pt x="144" y="35"/>
                    </a:lnTo>
                    <a:lnTo>
                      <a:pt x="146" y="42"/>
                    </a:lnTo>
                    <a:lnTo>
                      <a:pt x="148" y="49"/>
                    </a:lnTo>
                    <a:lnTo>
                      <a:pt x="149" y="57"/>
                    </a:lnTo>
                    <a:lnTo>
                      <a:pt x="150" y="73"/>
                    </a:lnTo>
                    <a:lnTo>
                      <a:pt x="105" y="73"/>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29" name="Freeform 6">
                <a:extLst>
                  <a:ext uri="{FF2B5EF4-FFF2-40B4-BE49-F238E27FC236}">
                    <a16:creationId xmlns:a16="http://schemas.microsoft.com/office/drawing/2014/main" xmlns="" id="{644A0846-4B81-41BE-8E8F-F2CB449012AF}"/>
                  </a:ext>
                </a:extLst>
              </p:cNvPr>
              <p:cNvSpPr>
                <a:spLocks noEditPoints="1"/>
              </p:cNvSpPr>
              <p:nvPr userDrawn="1"/>
            </p:nvSpPr>
            <p:spPr bwMode="auto">
              <a:xfrm>
                <a:off x="7810500" y="4805363"/>
                <a:ext cx="82550" cy="123825"/>
              </a:xfrm>
              <a:custGeom>
                <a:avLst/>
                <a:gdLst>
                  <a:gd name="T0" fmla="*/ 86 w 157"/>
                  <a:gd name="T1" fmla="*/ 0 h 232"/>
                  <a:gd name="T2" fmla="*/ 99 w 157"/>
                  <a:gd name="T3" fmla="*/ 1 h 232"/>
                  <a:gd name="T4" fmla="*/ 123 w 157"/>
                  <a:gd name="T5" fmla="*/ 9 h 232"/>
                  <a:gd name="T6" fmla="*/ 131 w 157"/>
                  <a:gd name="T7" fmla="*/ 15 h 232"/>
                  <a:gd name="T8" fmla="*/ 138 w 157"/>
                  <a:gd name="T9" fmla="*/ 23 h 232"/>
                  <a:gd name="T10" fmla="*/ 143 w 157"/>
                  <a:gd name="T11" fmla="*/ 33 h 232"/>
                  <a:gd name="T12" fmla="*/ 147 w 157"/>
                  <a:gd name="T13" fmla="*/ 46 h 232"/>
                  <a:gd name="T14" fmla="*/ 148 w 157"/>
                  <a:gd name="T15" fmla="*/ 60 h 232"/>
                  <a:gd name="T16" fmla="*/ 145 w 157"/>
                  <a:gd name="T17" fmla="*/ 81 h 232"/>
                  <a:gd name="T18" fmla="*/ 138 w 157"/>
                  <a:gd name="T19" fmla="*/ 98 h 232"/>
                  <a:gd name="T20" fmla="*/ 126 w 157"/>
                  <a:gd name="T21" fmla="*/ 110 h 232"/>
                  <a:gd name="T22" fmla="*/ 108 w 157"/>
                  <a:gd name="T23" fmla="*/ 118 h 232"/>
                  <a:gd name="T24" fmla="*/ 108 w 157"/>
                  <a:gd name="T25" fmla="*/ 118 h 232"/>
                  <a:gd name="T26" fmla="*/ 128 w 157"/>
                  <a:gd name="T27" fmla="*/ 124 h 232"/>
                  <a:gd name="T28" fmla="*/ 135 w 157"/>
                  <a:gd name="T29" fmla="*/ 129 h 232"/>
                  <a:gd name="T30" fmla="*/ 139 w 157"/>
                  <a:gd name="T31" fmla="*/ 137 h 232"/>
                  <a:gd name="T32" fmla="*/ 145 w 157"/>
                  <a:gd name="T33" fmla="*/ 157 h 232"/>
                  <a:gd name="T34" fmla="*/ 146 w 157"/>
                  <a:gd name="T35" fmla="*/ 188 h 232"/>
                  <a:gd name="T36" fmla="*/ 147 w 157"/>
                  <a:gd name="T37" fmla="*/ 205 h 232"/>
                  <a:gd name="T38" fmla="*/ 150 w 157"/>
                  <a:gd name="T39" fmla="*/ 221 h 232"/>
                  <a:gd name="T40" fmla="*/ 154 w 157"/>
                  <a:gd name="T41" fmla="*/ 228 h 232"/>
                  <a:gd name="T42" fmla="*/ 157 w 157"/>
                  <a:gd name="T43" fmla="*/ 232 h 232"/>
                  <a:gd name="T44" fmla="*/ 106 w 157"/>
                  <a:gd name="T45" fmla="*/ 232 h 232"/>
                  <a:gd name="T46" fmla="*/ 101 w 157"/>
                  <a:gd name="T47" fmla="*/ 221 h 232"/>
                  <a:gd name="T48" fmla="*/ 100 w 157"/>
                  <a:gd name="T49" fmla="*/ 208 h 232"/>
                  <a:gd name="T50" fmla="*/ 99 w 157"/>
                  <a:gd name="T51" fmla="*/ 163 h 232"/>
                  <a:gd name="T52" fmla="*/ 97 w 157"/>
                  <a:gd name="T53" fmla="*/ 151 h 232"/>
                  <a:gd name="T54" fmla="*/ 92 w 157"/>
                  <a:gd name="T55" fmla="*/ 142 h 232"/>
                  <a:gd name="T56" fmla="*/ 83 w 157"/>
                  <a:gd name="T57" fmla="*/ 136 h 232"/>
                  <a:gd name="T58" fmla="*/ 71 w 157"/>
                  <a:gd name="T59" fmla="*/ 134 h 232"/>
                  <a:gd name="T60" fmla="*/ 47 w 157"/>
                  <a:gd name="T61" fmla="*/ 232 h 232"/>
                  <a:gd name="T62" fmla="*/ 0 w 157"/>
                  <a:gd name="T63" fmla="*/ 0 h 232"/>
                  <a:gd name="T64" fmla="*/ 66 w 157"/>
                  <a:gd name="T65" fmla="*/ 101 h 232"/>
                  <a:gd name="T66" fmla="*/ 74 w 157"/>
                  <a:gd name="T67" fmla="*/ 101 h 232"/>
                  <a:gd name="T68" fmla="*/ 87 w 157"/>
                  <a:gd name="T69" fmla="*/ 97 h 232"/>
                  <a:gd name="T70" fmla="*/ 95 w 157"/>
                  <a:gd name="T71" fmla="*/ 89 h 232"/>
                  <a:gd name="T72" fmla="*/ 100 w 157"/>
                  <a:gd name="T73" fmla="*/ 75 h 232"/>
                  <a:gd name="T74" fmla="*/ 100 w 157"/>
                  <a:gd name="T75" fmla="*/ 67 h 232"/>
                  <a:gd name="T76" fmla="*/ 98 w 157"/>
                  <a:gd name="T77" fmla="*/ 53 h 232"/>
                  <a:gd name="T78" fmla="*/ 92 w 157"/>
                  <a:gd name="T79" fmla="*/ 43 h 232"/>
                  <a:gd name="T80" fmla="*/ 82 w 157"/>
                  <a:gd name="T81" fmla="*/ 37 h 232"/>
                  <a:gd name="T82" fmla="*/ 68 w 157"/>
                  <a:gd name="T83" fmla="*/ 34 h 232"/>
                  <a:gd name="T84" fmla="*/ 47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6" y="0"/>
                    </a:lnTo>
                    <a:lnTo>
                      <a:pt x="86" y="0"/>
                    </a:lnTo>
                    <a:lnTo>
                      <a:pt x="99" y="1"/>
                    </a:lnTo>
                    <a:lnTo>
                      <a:pt x="112" y="4"/>
                    </a:lnTo>
                    <a:lnTo>
                      <a:pt x="123" y="9"/>
                    </a:lnTo>
                    <a:lnTo>
                      <a:pt x="127" y="12"/>
                    </a:lnTo>
                    <a:lnTo>
                      <a:pt x="131" y="15"/>
                    </a:lnTo>
                    <a:lnTo>
                      <a:pt x="135" y="19"/>
                    </a:lnTo>
                    <a:lnTo>
                      <a:pt x="138" y="23"/>
                    </a:lnTo>
                    <a:lnTo>
                      <a:pt x="141" y="28"/>
                    </a:lnTo>
                    <a:lnTo>
                      <a:pt x="143" y="33"/>
                    </a:lnTo>
                    <a:lnTo>
                      <a:pt x="145" y="40"/>
                    </a:lnTo>
                    <a:lnTo>
                      <a:pt x="147" y="46"/>
                    </a:lnTo>
                    <a:lnTo>
                      <a:pt x="148" y="60"/>
                    </a:lnTo>
                    <a:lnTo>
                      <a:pt x="148" y="60"/>
                    </a:lnTo>
                    <a:lnTo>
                      <a:pt x="147" y="71"/>
                    </a:lnTo>
                    <a:lnTo>
                      <a:pt x="145" y="81"/>
                    </a:lnTo>
                    <a:lnTo>
                      <a:pt x="142" y="90"/>
                    </a:lnTo>
                    <a:lnTo>
                      <a:pt x="138" y="98"/>
                    </a:lnTo>
                    <a:lnTo>
                      <a:pt x="133" y="104"/>
                    </a:lnTo>
                    <a:lnTo>
                      <a:pt x="126" y="110"/>
                    </a:lnTo>
                    <a:lnTo>
                      <a:pt x="119" y="114"/>
                    </a:lnTo>
                    <a:lnTo>
                      <a:pt x="108" y="118"/>
                    </a:lnTo>
                    <a:lnTo>
                      <a:pt x="108" y="118"/>
                    </a:lnTo>
                    <a:lnTo>
                      <a:pt x="108" y="118"/>
                    </a:lnTo>
                    <a:lnTo>
                      <a:pt x="120" y="120"/>
                    </a:lnTo>
                    <a:lnTo>
                      <a:pt x="128" y="124"/>
                    </a:lnTo>
                    <a:lnTo>
                      <a:pt x="132" y="126"/>
                    </a:lnTo>
                    <a:lnTo>
                      <a:pt x="135" y="129"/>
                    </a:lnTo>
                    <a:lnTo>
                      <a:pt x="137" y="133"/>
                    </a:lnTo>
                    <a:lnTo>
                      <a:pt x="139" y="137"/>
                    </a:lnTo>
                    <a:lnTo>
                      <a:pt x="143" y="146"/>
                    </a:lnTo>
                    <a:lnTo>
                      <a:pt x="145" y="157"/>
                    </a:lnTo>
                    <a:lnTo>
                      <a:pt x="146" y="171"/>
                    </a:lnTo>
                    <a:lnTo>
                      <a:pt x="146" y="188"/>
                    </a:lnTo>
                    <a:lnTo>
                      <a:pt x="146" y="188"/>
                    </a:lnTo>
                    <a:lnTo>
                      <a:pt x="147" y="205"/>
                    </a:lnTo>
                    <a:lnTo>
                      <a:pt x="148" y="217"/>
                    </a:lnTo>
                    <a:lnTo>
                      <a:pt x="150" y="221"/>
                    </a:lnTo>
                    <a:lnTo>
                      <a:pt x="151" y="225"/>
                    </a:lnTo>
                    <a:lnTo>
                      <a:pt x="154" y="228"/>
                    </a:lnTo>
                    <a:lnTo>
                      <a:pt x="157" y="230"/>
                    </a:lnTo>
                    <a:lnTo>
                      <a:pt x="157" y="232"/>
                    </a:lnTo>
                    <a:lnTo>
                      <a:pt x="106" y="232"/>
                    </a:lnTo>
                    <a:lnTo>
                      <a:pt x="106" y="232"/>
                    </a:lnTo>
                    <a:lnTo>
                      <a:pt x="103" y="227"/>
                    </a:lnTo>
                    <a:lnTo>
                      <a:pt x="101" y="221"/>
                    </a:lnTo>
                    <a:lnTo>
                      <a:pt x="100" y="215"/>
                    </a:lnTo>
                    <a:lnTo>
                      <a:pt x="100" y="208"/>
                    </a:lnTo>
                    <a:lnTo>
                      <a:pt x="99" y="163"/>
                    </a:lnTo>
                    <a:lnTo>
                      <a:pt x="99" y="163"/>
                    </a:lnTo>
                    <a:lnTo>
                      <a:pt x="98" y="157"/>
                    </a:lnTo>
                    <a:lnTo>
                      <a:pt x="97" y="151"/>
                    </a:lnTo>
                    <a:lnTo>
                      <a:pt x="95" y="146"/>
                    </a:lnTo>
                    <a:lnTo>
                      <a:pt x="92" y="142"/>
                    </a:lnTo>
                    <a:lnTo>
                      <a:pt x="88" y="139"/>
                    </a:lnTo>
                    <a:lnTo>
                      <a:pt x="83" y="136"/>
                    </a:lnTo>
                    <a:lnTo>
                      <a:pt x="78" y="135"/>
                    </a:lnTo>
                    <a:lnTo>
                      <a:pt x="71" y="134"/>
                    </a:lnTo>
                    <a:lnTo>
                      <a:pt x="47" y="134"/>
                    </a:lnTo>
                    <a:lnTo>
                      <a:pt x="47" y="232"/>
                    </a:lnTo>
                    <a:lnTo>
                      <a:pt x="0" y="232"/>
                    </a:lnTo>
                    <a:lnTo>
                      <a:pt x="0" y="0"/>
                    </a:lnTo>
                    <a:close/>
                    <a:moveTo>
                      <a:pt x="47" y="101"/>
                    </a:moveTo>
                    <a:lnTo>
                      <a:pt x="66" y="101"/>
                    </a:lnTo>
                    <a:lnTo>
                      <a:pt x="66" y="101"/>
                    </a:lnTo>
                    <a:lnTo>
                      <a:pt x="74" y="101"/>
                    </a:lnTo>
                    <a:lnTo>
                      <a:pt x="81" y="99"/>
                    </a:lnTo>
                    <a:lnTo>
                      <a:pt x="87" y="97"/>
                    </a:lnTo>
                    <a:lnTo>
                      <a:pt x="91" y="93"/>
                    </a:lnTo>
                    <a:lnTo>
                      <a:pt x="95" y="89"/>
                    </a:lnTo>
                    <a:lnTo>
                      <a:pt x="98" y="83"/>
                    </a:lnTo>
                    <a:lnTo>
                      <a:pt x="100" y="75"/>
                    </a:lnTo>
                    <a:lnTo>
                      <a:pt x="100" y="67"/>
                    </a:lnTo>
                    <a:lnTo>
                      <a:pt x="100" y="67"/>
                    </a:lnTo>
                    <a:lnTo>
                      <a:pt x="100" y="59"/>
                    </a:lnTo>
                    <a:lnTo>
                      <a:pt x="98" y="53"/>
                    </a:lnTo>
                    <a:lnTo>
                      <a:pt x="96" y="48"/>
                    </a:lnTo>
                    <a:lnTo>
                      <a:pt x="92" y="43"/>
                    </a:lnTo>
                    <a:lnTo>
                      <a:pt x="88" y="40"/>
                    </a:lnTo>
                    <a:lnTo>
                      <a:pt x="82" y="37"/>
                    </a:lnTo>
                    <a:lnTo>
                      <a:pt x="76" y="35"/>
                    </a:lnTo>
                    <a:lnTo>
                      <a:pt x="68" y="34"/>
                    </a:lnTo>
                    <a:lnTo>
                      <a:pt x="47" y="34"/>
                    </a:lnTo>
                    <a:lnTo>
                      <a:pt x="47" y="101"/>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0" name="Freeform 7">
                <a:extLst>
                  <a:ext uri="{FF2B5EF4-FFF2-40B4-BE49-F238E27FC236}">
                    <a16:creationId xmlns:a16="http://schemas.microsoft.com/office/drawing/2014/main" xmlns="" id="{0549FA00-8AF1-4B0B-8AE6-B37B389AF99A}"/>
                  </a:ext>
                </a:extLst>
              </p:cNvPr>
              <p:cNvSpPr>
                <a:spLocks noEditPoints="1"/>
              </p:cNvSpPr>
              <p:nvPr userDrawn="1"/>
            </p:nvSpPr>
            <p:spPr bwMode="auto">
              <a:xfrm>
                <a:off x="7904163" y="4803775"/>
                <a:ext cx="84138" cy="127000"/>
              </a:xfrm>
              <a:custGeom>
                <a:avLst/>
                <a:gdLst>
                  <a:gd name="T0" fmla="*/ 79 w 158"/>
                  <a:gd name="T1" fmla="*/ 0 h 240"/>
                  <a:gd name="T2" fmla="*/ 102 w 158"/>
                  <a:gd name="T3" fmla="*/ 2 h 240"/>
                  <a:gd name="T4" fmla="*/ 122 w 158"/>
                  <a:gd name="T5" fmla="*/ 8 h 240"/>
                  <a:gd name="T6" fmla="*/ 135 w 158"/>
                  <a:gd name="T7" fmla="*/ 19 h 240"/>
                  <a:gd name="T8" fmla="*/ 145 w 158"/>
                  <a:gd name="T9" fmla="*/ 33 h 240"/>
                  <a:gd name="T10" fmla="*/ 152 w 158"/>
                  <a:gd name="T11" fmla="*/ 51 h 240"/>
                  <a:gd name="T12" fmla="*/ 156 w 158"/>
                  <a:gd name="T13" fmla="*/ 72 h 240"/>
                  <a:gd name="T14" fmla="*/ 158 w 158"/>
                  <a:gd name="T15" fmla="*/ 121 h 240"/>
                  <a:gd name="T16" fmla="*/ 158 w 158"/>
                  <a:gd name="T17" fmla="*/ 146 h 240"/>
                  <a:gd name="T18" fmla="*/ 154 w 158"/>
                  <a:gd name="T19" fmla="*/ 179 h 240"/>
                  <a:gd name="T20" fmla="*/ 149 w 158"/>
                  <a:gd name="T21" fmla="*/ 198 h 240"/>
                  <a:gd name="T22" fmla="*/ 141 w 158"/>
                  <a:gd name="T23" fmla="*/ 215 h 240"/>
                  <a:gd name="T24" fmla="*/ 129 w 158"/>
                  <a:gd name="T25" fmla="*/ 227 h 240"/>
                  <a:gd name="T26" fmla="*/ 113 w 158"/>
                  <a:gd name="T27" fmla="*/ 235 h 240"/>
                  <a:gd name="T28" fmla="*/ 92 w 158"/>
                  <a:gd name="T29" fmla="*/ 240 h 240"/>
                  <a:gd name="T30" fmla="*/ 79 w 158"/>
                  <a:gd name="T31" fmla="*/ 240 h 240"/>
                  <a:gd name="T32" fmla="*/ 56 w 158"/>
                  <a:gd name="T33" fmla="*/ 238 h 240"/>
                  <a:gd name="T34" fmla="*/ 38 w 158"/>
                  <a:gd name="T35" fmla="*/ 232 h 240"/>
                  <a:gd name="T36" fmla="*/ 24 w 158"/>
                  <a:gd name="T37" fmla="*/ 221 h 240"/>
                  <a:gd name="T38" fmla="*/ 13 w 158"/>
                  <a:gd name="T39" fmla="*/ 207 h 240"/>
                  <a:gd name="T40" fmla="*/ 7 w 158"/>
                  <a:gd name="T41" fmla="*/ 189 h 240"/>
                  <a:gd name="T42" fmla="*/ 3 w 158"/>
                  <a:gd name="T43" fmla="*/ 168 h 240"/>
                  <a:gd name="T44" fmla="*/ 0 w 158"/>
                  <a:gd name="T45" fmla="*/ 121 h 240"/>
                  <a:gd name="T46" fmla="*/ 1 w 158"/>
                  <a:gd name="T47" fmla="*/ 94 h 240"/>
                  <a:gd name="T48" fmla="*/ 5 w 158"/>
                  <a:gd name="T49" fmla="*/ 61 h 240"/>
                  <a:gd name="T50" fmla="*/ 10 w 158"/>
                  <a:gd name="T51" fmla="*/ 42 h 240"/>
                  <a:gd name="T52" fmla="*/ 18 w 158"/>
                  <a:gd name="T53" fmla="*/ 26 h 240"/>
                  <a:gd name="T54" fmla="*/ 31 w 158"/>
                  <a:gd name="T55" fmla="*/ 13 h 240"/>
                  <a:gd name="T56" fmla="*/ 46 w 158"/>
                  <a:gd name="T57" fmla="*/ 5 h 240"/>
                  <a:gd name="T58" fmla="*/ 67 w 158"/>
                  <a:gd name="T59" fmla="*/ 0 h 240"/>
                  <a:gd name="T60" fmla="*/ 79 w 158"/>
                  <a:gd name="T61" fmla="*/ 0 h 240"/>
                  <a:gd name="T62" fmla="*/ 79 w 158"/>
                  <a:gd name="T63" fmla="*/ 206 h 240"/>
                  <a:gd name="T64" fmla="*/ 88 w 158"/>
                  <a:gd name="T65" fmla="*/ 205 h 240"/>
                  <a:gd name="T66" fmla="*/ 96 w 158"/>
                  <a:gd name="T67" fmla="*/ 202 h 240"/>
                  <a:gd name="T68" fmla="*/ 101 w 158"/>
                  <a:gd name="T69" fmla="*/ 195 h 240"/>
                  <a:gd name="T70" fmla="*/ 106 w 158"/>
                  <a:gd name="T71" fmla="*/ 186 h 240"/>
                  <a:gd name="T72" fmla="*/ 111 w 158"/>
                  <a:gd name="T73" fmla="*/ 160 h 240"/>
                  <a:gd name="T74" fmla="*/ 112 w 158"/>
                  <a:gd name="T75" fmla="*/ 121 h 240"/>
                  <a:gd name="T76" fmla="*/ 112 w 158"/>
                  <a:gd name="T77" fmla="*/ 98 h 240"/>
                  <a:gd name="T78" fmla="*/ 109 w 158"/>
                  <a:gd name="T79" fmla="*/ 66 h 240"/>
                  <a:gd name="T80" fmla="*/ 103 w 158"/>
                  <a:gd name="T81" fmla="*/ 49 h 240"/>
                  <a:gd name="T82" fmla="*/ 99 w 158"/>
                  <a:gd name="T83" fmla="*/ 42 h 240"/>
                  <a:gd name="T84" fmla="*/ 92 w 158"/>
                  <a:gd name="T85" fmla="*/ 36 h 240"/>
                  <a:gd name="T86" fmla="*/ 84 w 158"/>
                  <a:gd name="T87" fmla="*/ 34 h 240"/>
                  <a:gd name="T88" fmla="*/ 79 w 158"/>
                  <a:gd name="T89" fmla="*/ 34 h 240"/>
                  <a:gd name="T90" fmla="*/ 70 w 158"/>
                  <a:gd name="T91" fmla="*/ 35 h 240"/>
                  <a:gd name="T92" fmla="*/ 63 w 158"/>
                  <a:gd name="T93" fmla="*/ 38 h 240"/>
                  <a:gd name="T94" fmla="*/ 57 w 158"/>
                  <a:gd name="T95" fmla="*/ 45 h 240"/>
                  <a:gd name="T96" fmla="*/ 53 w 158"/>
                  <a:gd name="T97" fmla="*/ 54 h 240"/>
                  <a:gd name="T98" fmla="*/ 49 w 158"/>
                  <a:gd name="T99" fmla="*/ 80 h 240"/>
                  <a:gd name="T100" fmla="*/ 48 w 158"/>
                  <a:gd name="T101" fmla="*/ 121 h 240"/>
                  <a:gd name="T102" fmla="*/ 48 w 158"/>
                  <a:gd name="T103" fmla="*/ 142 h 240"/>
                  <a:gd name="T104" fmla="*/ 50 w 158"/>
                  <a:gd name="T105" fmla="*/ 174 h 240"/>
                  <a:gd name="T106" fmla="*/ 55 w 158"/>
                  <a:gd name="T107" fmla="*/ 191 h 240"/>
                  <a:gd name="T108" fmla="*/ 60 w 158"/>
                  <a:gd name="T109" fmla="*/ 198 h 240"/>
                  <a:gd name="T110" fmla="*/ 66 w 158"/>
                  <a:gd name="T111" fmla="*/ 204 h 240"/>
                  <a:gd name="T112" fmla="*/ 74 w 158"/>
                  <a:gd name="T113" fmla="*/ 206 h 240"/>
                  <a:gd name="T114" fmla="*/ 79 w 158"/>
                  <a:gd name="T115" fmla="*/ 2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240">
                    <a:moveTo>
                      <a:pt x="79" y="0"/>
                    </a:moveTo>
                    <a:lnTo>
                      <a:pt x="79" y="0"/>
                    </a:lnTo>
                    <a:lnTo>
                      <a:pt x="92" y="0"/>
                    </a:lnTo>
                    <a:lnTo>
                      <a:pt x="102" y="2"/>
                    </a:lnTo>
                    <a:lnTo>
                      <a:pt x="113" y="5"/>
                    </a:lnTo>
                    <a:lnTo>
                      <a:pt x="122" y="8"/>
                    </a:lnTo>
                    <a:lnTo>
                      <a:pt x="129" y="13"/>
                    </a:lnTo>
                    <a:lnTo>
                      <a:pt x="135" y="19"/>
                    </a:lnTo>
                    <a:lnTo>
                      <a:pt x="141" y="26"/>
                    </a:lnTo>
                    <a:lnTo>
                      <a:pt x="145" y="33"/>
                    </a:lnTo>
                    <a:lnTo>
                      <a:pt x="149" y="42"/>
                    </a:lnTo>
                    <a:lnTo>
                      <a:pt x="152" y="51"/>
                    </a:lnTo>
                    <a:lnTo>
                      <a:pt x="154" y="61"/>
                    </a:lnTo>
                    <a:lnTo>
                      <a:pt x="156" y="72"/>
                    </a:lnTo>
                    <a:lnTo>
                      <a:pt x="158" y="94"/>
                    </a:lnTo>
                    <a:lnTo>
                      <a:pt x="158" y="121"/>
                    </a:lnTo>
                    <a:lnTo>
                      <a:pt x="158" y="121"/>
                    </a:lnTo>
                    <a:lnTo>
                      <a:pt x="158" y="146"/>
                    </a:lnTo>
                    <a:lnTo>
                      <a:pt x="156" y="168"/>
                    </a:lnTo>
                    <a:lnTo>
                      <a:pt x="154" y="179"/>
                    </a:lnTo>
                    <a:lnTo>
                      <a:pt x="152" y="189"/>
                    </a:lnTo>
                    <a:lnTo>
                      <a:pt x="149" y="198"/>
                    </a:lnTo>
                    <a:lnTo>
                      <a:pt x="145" y="207"/>
                    </a:lnTo>
                    <a:lnTo>
                      <a:pt x="141" y="215"/>
                    </a:lnTo>
                    <a:lnTo>
                      <a:pt x="135" y="221"/>
                    </a:lnTo>
                    <a:lnTo>
                      <a:pt x="129" y="227"/>
                    </a:lnTo>
                    <a:lnTo>
                      <a:pt x="122" y="232"/>
                    </a:lnTo>
                    <a:lnTo>
                      <a:pt x="113" y="235"/>
                    </a:lnTo>
                    <a:lnTo>
                      <a:pt x="102" y="238"/>
                    </a:lnTo>
                    <a:lnTo>
                      <a:pt x="92" y="240"/>
                    </a:lnTo>
                    <a:lnTo>
                      <a:pt x="79" y="240"/>
                    </a:lnTo>
                    <a:lnTo>
                      <a:pt x="79" y="240"/>
                    </a:lnTo>
                    <a:lnTo>
                      <a:pt x="67" y="240"/>
                    </a:lnTo>
                    <a:lnTo>
                      <a:pt x="56" y="238"/>
                    </a:lnTo>
                    <a:lnTo>
                      <a:pt x="46" y="235"/>
                    </a:lnTo>
                    <a:lnTo>
                      <a:pt x="38" y="232"/>
                    </a:lnTo>
                    <a:lnTo>
                      <a:pt x="31" y="227"/>
                    </a:lnTo>
                    <a:lnTo>
                      <a:pt x="24" y="221"/>
                    </a:lnTo>
                    <a:lnTo>
                      <a:pt x="18" y="215"/>
                    </a:lnTo>
                    <a:lnTo>
                      <a:pt x="13" y="207"/>
                    </a:lnTo>
                    <a:lnTo>
                      <a:pt x="10" y="198"/>
                    </a:lnTo>
                    <a:lnTo>
                      <a:pt x="7" y="189"/>
                    </a:lnTo>
                    <a:lnTo>
                      <a:pt x="5" y="179"/>
                    </a:lnTo>
                    <a:lnTo>
                      <a:pt x="3" y="168"/>
                    </a:lnTo>
                    <a:lnTo>
                      <a:pt x="1" y="146"/>
                    </a:lnTo>
                    <a:lnTo>
                      <a:pt x="0" y="121"/>
                    </a:lnTo>
                    <a:lnTo>
                      <a:pt x="0" y="121"/>
                    </a:lnTo>
                    <a:lnTo>
                      <a:pt x="1" y="94"/>
                    </a:lnTo>
                    <a:lnTo>
                      <a:pt x="3" y="72"/>
                    </a:lnTo>
                    <a:lnTo>
                      <a:pt x="5" y="61"/>
                    </a:lnTo>
                    <a:lnTo>
                      <a:pt x="7" y="51"/>
                    </a:lnTo>
                    <a:lnTo>
                      <a:pt x="10" y="42"/>
                    </a:lnTo>
                    <a:lnTo>
                      <a:pt x="13" y="33"/>
                    </a:lnTo>
                    <a:lnTo>
                      <a:pt x="18" y="26"/>
                    </a:lnTo>
                    <a:lnTo>
                      <a:pt x="24" y="19"/>
                    </a:lnTo>
                    <a:lnTo>
                      <a:pt x="31" y="13"/>
                    </a:lnTo>
                    <a:lnTo>
                      <a:pt x="38" y="8"/>
                    </a:lnTo>
                    <a:lnTo>
                      <a:pt x="46" y="5"/>
                    </a:lnTo>
                    <a:lnTo>
                      <a:pt x="56" y="2"/>
                    </a:lnTo>
                    <a:lnTo>
                      <a:pt x="67" y="0"/>
                    </a:lnTo>
                    <a:lnTo>
                      <a:pt x="79" y="0"/>
                    </a:lnTo>
                    <a:lnTo>
                      <a:pt x="79" y="0"/>
                    </a:lnTo>
                    <a:close/>
                    <a:moveTo>
                      <a:pt x="79" y="206"/>
                    </a:moveTo>
                    <a:lnTo>
                      <a:pt x="79" y="206"/>
                    </a:lnTo>
                    <a:lnTo>
                      <a:pt x="84" y="206"/>
                    </a:lnTo>
                    <a:lnTo>
                      <a:pt x="88" y="205"/>
                    </a:lnTo>
                    <a:lnTo>
                      <a:pt x="92" y="204"/>
                    </a:lnTo>
                    <a:lnTo>
                      <a:pt x="96" y="202"/>
                    </a:lnTo>
                    <a:lnTo>
                      <a:pt x="99" y="198"/>
                    </a:lnTo>
                    <a:lnTo>
                      <a:pt x="101" y="195"/>
                    </a:lnTo>
                    <a:lnTo>
                      <a:pt x="103" y="191"/>
                    </a:lnTo>
                    <a:lnTo>
                      <a:pt x="106" y="186"/>
                    </a:lnTo>
                    <a:lnTo>
                      <a:pt x="109" y="174"/>
                    </a:lnTo>
                    <a:lnTo>
                      <a:pt x="111" y="160"/>
                    </a:lnTo>
                    <a:lnTo>
                      <a:pt x="112" y="142"/>
                    </a:lnTo>
                    <a:lnTo>
                      <a:pt x="112" y="121"/>
                    </a:lnTo>
                    <a:lnTo>
                      <a:pt x="112" y="121"/>
                    </a:lnTo>
                    <a:lnTo>
                      <a:pt x="112" y="98"/>
                    </a:lnTo>
                    <a:lnTo>
                      <a:pt x="111" y="80"/>
                    </a:lnTo>
                    <a:lnTo>
                      <a:pt x="109" y="66"/>
                    </a:lnTo>
                    <a:lnTo>
                      <a:pt x="106" y="54"/>
                    </a:lnTo>
                    <a:lnTo>
                      <a:pt x="103" y="49"/>
                    </a:lnTo>
                    <a:lnTo>
                      <a:pt x="101" y="45"/>
                    </a:lnTo>
                    <a:lnTo>
                      <a:pt x="99" y="42"/>
                    </a:lnTo>
                    <a:lnTo>
                      <a:pt x="96" y="38"/>
                    </a:lnTo>
                    <a:lnTo>
                      <a:pt x="92" y="36"/>
                    </a:lnTo>
                    <a:lnTo>
                      <a:pt x="88" y="35"/>
                    </a:lnTo>
                    <a:lnTo>
                      <a:pt x="84" y="34"/>
                    </a:lnTo>
                    <a:lnTo>
                      <a:pt x="79" y="34"/>
                    </a:lnTo>
                    <a:lnTo>
                      <a:pt x="79" y="34"/>
                    </a:lnTo>
                    <a:lnTo>
                      <a:pt x="74" y="34"/>
                    </a:lnTo>
                    <a:lnTo>
                      <a:pt x="70" y="35"/>
                    </a:lnTo>
                    <a:lnTo>
                      <a:pt x="66" y="36"/>
                    </a:lnTo>
                    <a:lnTo>
                      <a:pt x="63" y="38"/>
                    </a:lnTo>
                    <a:lnTo>
                      <a:pt x="60" y="42"/>
                    </a:lnTo>
                    <a:lnTo>
                      <a:pt x="57" y="45"/>
                    </a:lnTo>
                    <a:lnTo>
                      <a:pt x="55" y="49"/>
                    </a:lnTo>
                    <a:lnTo>
                      <a:pt x="53" y="54"/>
                    </a:lnTo>
                    <a:lnTo>
                      <a:pt x="50" y="66"/>
                    </a:lnTo>
                    <a:lnTo>
                      <a:pt x="49" y="80"/>
                    </a:lnTo>
                    <a:lnTo>
                      <a:pt x="48" y="98"/>
                    </a:lnTo>
                    <a:lnTo>
                      <a:pt x="48" y="121"/>
                    </a:lnTo>
                    <a:lnTo>
                      <a:pt x="48" y="121"/>
                    </a:lnTo>
                    <a:lnTo>
                      <a:pt x="48" y="142"/>
                    </a:lnTo>
                    <a:lnTo>
                      <a:pt x="49" y="160"/>
                    </a:lnTo>
                    <a:lnTo>
                      <a:pt x="50" y="174"/>
                    </a:lnTo>
                    <a:lnTo>
                      <a:pt x="53" y="186"/>
                    </a:lnTo>
                    <a:lnTo>
                      <a:pt x="55" y="191"/>
                    </a:lnTo>
                    <a:lnTo>
                      <a:pt x="57" y="195"/>
                    </a:lnTo>
                    <a:lnTo>
                      <a:pt x="60" y="198"/>
                    </a:lnTo>
                    <a:lnTo>
                      <a:pt x="63" y="202"/>
                    </a:lnTo>
                    <a:lnTo>
                      <a:pt x="66" y="204"/>
                    </a:lnTo>
                    <a:lnTo>
                      <a:pt x="70" y="205"/>
                    </a:lnTo>
                    <a:lnTo>
                      <a:pt x="74" y="206"/>
                    </a:lnTo>
                    <a:lnTo>
                      <a:pt x="79" y="206"/>
                    </a:lnTo>
                    <a:lnTo>
                      <a:pt x="79" y="206"/>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1" name="Freeform 8">
                <a:extLst>
                  <a:ext uri="{FF2B5EF4-FFF2-40B4-BE49-F238E27FC236}">
                    <a16:creationId xmlns:a16="http://schemas.microsoft.com/office/drawing/2014/main" xmlns="" id="{151E731B-DD86-492E-8984-D35023C17A68}"/>
                  </a:ext>
                </a:extLst>
              </p:cNvPr>
              <p:cNvSpPr>
                <a:spLocks/>
              </p:cNvSpPr>
              <p:nvPr userDrawn="1"/>
            </p:nvSpPr>
            <p:spPr bwMode="auto">
              <a:xfrm>
                <a:off x="8002588" y="4805363"/>
                <a:ext cx="77788" cy="125413"/>
              </a:xfrm>
              <a:custGeom>
                <a:avLst/>
                <a:gdLst>
                  <a:gd name="T0" fmla="*/ 47 w 148"/>
                  <a:gd name="T1" fmla="*/ 0 h 236"/>
                  <a:gd name="T2" fmla="*/ 47 w 148"/>
                  <a:gd name="T3" fmla="*/ 162 h 236"/>
                  <a:gd name="T4" fmla="*/ 47 w 148"/>
                  <a:gd name="T5" fmla="*/ 162 h 236"/>
                  <a:gd name="T6" fmla="*/ 47 w 148"/>
                  <a:gd name="T7" fmla="*/ 170 h 236"/>
                  <a:gd name="T8" fmla="*/ 48 w 148"/>
                  <a:gd name="T9" fmla="*/ 178 h 236"/>
                  <a:gd name="T10" fmla="*/ 50 w 148"/>
                  <a:gd name="T11" fmla="*/ 184 h 236"/>
                  <a:gd name="T12" fmla="*/ 52 w 148"/>
                  <a:gd name="T13" fmla="*/ 190 h 236"/>
                  <a:gd name="T14" fmla="*/ 56 w 148"/>
                  <a:gd name="T15" fmla="*/ 195 h 236"/>
                  <a:gd name="T16" fmla="*/ 60 w 148"/>
                  <a:gd name="T17" fmla="*/ 199 h 236"/>
                  <a:gd name="T18" fmla="*/ 66 w 148"/>
                  <a:gd name="T19" fmla="*/ 202 h 236"/>
                  <a:gd name="T20" fmla="*/ 74 w 148"/>
                  <a:gd name="T21" fmla="*/ 202 h 236"/>
                  <a:gd name="T22" fmla="*/ 74 w 148"/>
                  <a:gd name="T23" fmla="*/ 202 h 236"/>
                  <a:gd name="T24" fmla="*/ 81 w 148"/>
                  <a:gd name="T25" fmla="*/ 202 h 236"/>
                  <a:gd name="T26" fmla="*/ 87 w 148"/>
                  <a:gd name="T27" fmla="*/ 199 h 236"/>
                  <a:gd name="T28" fmla="*/ 93 w 148"/>
                  <a:gd name="T29" fmla="*/ 195 h 236"/>
                  <a:gd name="T30" fmla="*/ 96 w 148"/>
                  <a:gd name="T31" fmla="*/ 190 h 236"/>
                  <a:gd name="T32" fmla="*/ 99 w 148"/>
                  <a:gd name="T33" fmla="*/ 184 h 236"/>
                  <a:gd name="T34" fmla="*/ 100 w 148"/>
                  <a:gd name="T35" fmla="*/ 178 h 236"/>
                  <a:gd name="T36" fmla="*/ 101 w 148"/>
                  <a:gd name="T37" fmla="*/ 170 h 236"/>
                  <a:gd name="T38" fmla="*/ 102 w 148"/>
                  <a:gd name="T39" fmla="*/ 162 h 236"/>
                  <a:gd name="T40" fmla="*/ 102 w 148"/>
                  <a:gd name="T41" fmla="*/ 0 h 236"/>
                  <a:gd name="T42" fmla="*/ 148 w 148"/>
                  <a:gd name="T43" fmla="*/ 0 h 236"/>
                  <a:gd name="T44" fmla="*/ 148 w 148"/>
                  <a:gd name="T45" fmla="*/ 162 h 236"/>
                  <a:gd name="T46" fmla="*/ 148 w 148"/>
                  <a:gd name="T47" fmla="*/ 162 h 236"/>
                  <a:gd name="T48" fmla="*/ 147 w 148"/>
                  <a:gd name="T49" fmla="*/ 172 h 236"/>
                  <a:gd name="T50" fmla="*/ 146 w 148"/>
                  <a:gd name="T51" fmla="*/ 182 h 236"/>
                  <a:gd name="T52" fmla="*/ 144 w 148"/>
                  <a:gd name="T53" fmla="*/ 190 h 236"/>
                  <a:gd name="T54" fmla="*/ 142 w 148"/>
                  <a:gd name="T55" fmla="*/ 199 h 236"/>
                  <a:gd name="T56" fmla="*/ 138 w 148"/>
                  <a:gd name="T57" fmla="*/ 206 h 236"/>
                  <a:gd name="T58" fmla="*/ 135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9 w 148"/>
                  <a:gd name="T73" fmla="*/ 236 h 236"/>
                  <a:gd name="T74" fmla="*/ 74 w 148"/>
                  <a:gd name="T75" fmla="*/ 236 h 236"/>
                  <a:gd name="T76" fmla="*/ 74 w 148"/>
                  <a:gd name="T77" fmla="*/ 236 h 236"/>
                  <a:gd name="T78" fmla="*/ 60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7 w 148"/>
                  <a:gd name="T97" fmla="*/ 200 h 236"/>
                  <a:gd name="T98" fmla="*/ 4 w 148"/>
                  <a:gd name="T99" fmla="*/ 191 h 236"/>
                  <a:gd name="T100" fmla="*/ 1 w 148"/>
                  <a:gd name="T101" fmla="*/ 182 h 236"/>
                  <a:gd name="T102" fmla="*/ 0 w 148"/>
                  <a:gd name="T103" fmla="*/ 173 h 236"/>
                  <a:gd name="T104" fmla="*/ 0 w 148"/>
                  <a:gd name="T105" fmla="*/ 162 h 236"/>
                  <a:gd name="T106" fmla="*/ 0 w 148"/>
                  <a:gd name="T107" fmla="*/ 0 h 236"/>
                  <a:gd name="T108" fmla="*/ 47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7" y="0"/>
                    </a:moveTo>
                    <a:lnTo>
                      <a:pt x="47" y="162"/>
                    </a:lnTo>
                    <a:lnTo>
                      <a:pt x="47" y="162"/>
                    </a:lnTo>
                    <a:lnTo>
                      <a:pt x="47" y="170"/>
                    </a:lnTo>
                    <a:lnTo>
                      <a:pt x="48" y="178"/>
                    </a:lnTo>
                    <a:lnTo>
                      <a:pt x="50" y="184"/>
                    </a:lnTo>
                    <a:lnTo>
                      <a:pt x="52" y="190"/>
                    </a:lnTo>
                    <a:lnTo>
                      <a:pt x="56" y="195"/>
                    </a:lnTo>
                    <a:lnTo>
                      <a:pt x="60" y="199"/>
                    </a:lnTo>
                    <a:lnTo>
                      <a:pt x="66" y="202"/>
                    </a:lnTo>
                    <a:lnTo>
                      <a:pt x="74" y="202"/>
                    </a:lnTo>
                    <a:lnTo>
                      <a:pt x="74" y="202"/>
                    </a:lnTo>
                    <a:lnTo>
                      <a:pt x="81" y="202"/>
                    </a:lnTo>
                    <a:lnTo>
                      <a:pt x="87" y="199"/>
                    </a:lnTo>
                    <a:lnTo>
                      <a:pt x="93" y="195"/>
                    </a:lnTo>
                    <a:lnTo>
                      <a:pt x="96" y="190"/>
                    </a:lnTo>
                    <a:lnTo>
                      <a:pt x="99" y="184"/>
                    </a:lnTo>
                    <a:lnTo>
                      <a:pt x="100" y="178"/>
                    </a:lnTo>
                    <a:lnTo>
                      <a:pt x="101" y="170"/>
                    </a:lnTo>
                    <a:lnTo>
                      <a:pt x="102" y="162"/>
                    </a:lnTo>
                    <a:lnTo>
                      <a:pt x="102" y="0"/>
                    </a:lnTo>
                    <a:lnTo>
                      <a:pt x="148" y="0"/>
                    </a:lnTo>
                    <a:lnTo>
                      <a:pt x="148" y="162"/>
                    </a:lnTo>
                    <a:lnTo>
                      <a:pt x="148" y="162"/>
                    </a:lnTo>
                    <a:lnTo>
                      <a:pt x="147" y="172"/>
                    </a:lnTo>
                    <a:lnTo>
                      <a:pt x="146" y="182"/>
                    </a:lnTo>
                    <a:lnTo>
                      <a:pt x="144" y="190"/>
                    </a:lnTo>
                    <a:lnTo>
                      <a:pt x="142" y="199"/>
                    </a:lnTo>
                    <a:lnTo>
                      <a:pt x="138" y="206"/>
                    </a:lnTo>
                    <a:lnTo>
                      <a:pt x="135" y="212"/>
                    </a:lnTo>
                    <a:lnTo>
                      <a:pt x="130" y="217"/>
                    </a:lnTo>
                    <a:lnTo>
                      <a:pt x="125" y="221"/>
                    </a:lnTo>
                    <a:lnTo>
                      <a:pt x="120" y="225"/>
                    </a:lnTo>
                    <a:lnTo>
                      <a:pt x="114" y="228"/>
                    </a:lnTo>
                    <a:lnTo>
                      <a:pt x="108" y="231"/>
                    </a:lnTo>
                    <a:lnTo>
                      <a:pt x="102" y="233"/>
                    </a:lnTo>
                    <a:lnTo>
                      <a:pt x="89" y="236"/>
                    </a:lnTo>
                    <a:lnTo>
                      <a:pt x="74" y="236"/>
                    </a:lnTo>
                    <a:lnTo>
                      <a:pt x="74" y="236"/>
                    </a:lnTo>
                    <a:lnTo>
                      <a:pt x="60" y="236"/>
                    </a:lnTo>
                    <a:lnTo>
                      <a:pt x="46" y="234"/>
                    </a:lnTo>
                    <a:lnTo>
                      <a:pt x="40" y="232"/>
                    </a:lnTo>
                    <a:lnTo>
                      <a:pt x="34" y="229"/>
                    </a:lnTo>
                    <a:lnTo>
                      <a:pt x="28" y="226"/>
                    </a:lnTo>
                    <a:lnTo>
                      <a:pt x="23" y="223"/>
                    </a:lnTo>
                    <a:lnTo>
                      <a:pt x="18" y="218"/>
                    </a:lnTo>
                    <a:lnTo>
                      <a:pt x="14" y="213"/>
                    </a:lnTo>
                    <a:lnTo>
                      <a:pt x="10" y="207"/>
                    </a:lnTo>
                    <a:lnTo>
                      <a:pt x="7" y="200"/>
                    </a:lnTo>
                    <a:lnTo>
                      <a:pt x="4" y="191"/>
                    </a:lnTo>
                    <a:lnTo>
                      <a:pt x="1" y="182"/>
                    </a:lnTo>
                    <a:lnTo>
                      <a:pt x="0" y="173"/>
                    </a:lnTo>
                    <a:lnTo>
                      <a:pt x="0" y="162"/>
                    </a:lnTo>
                    <a:lnTo>
                      <a:pt x="0" y="0"/>
                    </a:lnTo>
                    <a:lnTo>
                      <a:pt x="4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2" name="Freeform 9">
                <a:extLst>
                  <a:ext uri="{FF2B5EF4-FFF2-40B4-BE49-F238E27FC236}">
                    <a16:creationId xmlns:a16="http://schemas.microsoft.com/office/drawing/2014/main" xmlns="" id="{D59BFE0B-C59F-408C-BCD2-8E7E8A30CF41}"/>
                  </a:ext>
                </a:extLst>
              </p:cNvPr>
              <p:cNvSpPr>
                <a:spLocks noEditPoints="1"/>
              </p:cNvSpPr>
              <p:nvPr userDrawn="1"/>
            </p:nvSpPr>
            <p:spPr bwMode="auto">
              <a:xfrm>
                <a:off x="8101013" y="4805363"/>
                <a:ext cx="76200" cy="123825"/>
              </a:xfrm>
              <a:custGeom>
                <a:avLst/>
                <a:gdLst>
                  <a:gd name="T0" fmla="*/ 0 w 144"/>
                  <a:gd name="T1" fmla="*/ 0 h 232"/>
                  <a:gd name="T2" fmla="*/ 82 w 144"/>
                  <a:gd name="T3" fmla="*/ 0 h 232"/>
                  <a:gd name="T4" fmla="*/ 82 w 144"/>
                  <a:gd name="T5" fmla="*/ 0 h 232"/>
                  <a:gd name="T6" fmla="*/ 90 w 144"/>
                  <a:gd name="T7" fmla="*/ 1 h 232"/>
                  <a:gd name="T8" fmla="*/ 98 w 144"/>
                  <a:gd name="T9" fmla="*/ 2 h 232"/>
                  <a:gd name="T10" fmla="*/ 105 w 144"/>
                  <a:gd name="T11" fmla="*/ 4 h 232"/>
                  <a:gd name="T12" fmla="*/ 111 w 144"/>
                  <a:gd name="T13" fmla="*/ 6 h 232"/>
                  <a:gd name="T14" fmla="*/ 117 w 144"/>
                  <a:gd name="T15" fmla="*/ 9 h 232"/>
                  <a:gd name="T16" fmla="*/ 122 w 144"/>
                  <a:gd name="T17" fmla="*/ 13 h 232"/>
                  <a:gd name="T18" fmla="*/ 127 w 144"/>
                  <a:gd name="T19" fmla="*/ 17 h 232"/>
                  <a:gd name="T20" fmla="*/ 131 w 144"/>
                  <a:gd name="T21" fmla="*/ 22 h 232"/>
                  <a:gd name="T22" fmla="*/ 134 w 144"/>
                  <a:gd name="T23" fmla="*/ 27 h 232"/>
                  <a:gd name="T24" fmla="*/ 137 w 144"/>
                  <a:gd name="T25" fmla="*/ 32 h 232"/>
                  <a:gd name="T26" fmla="*/ 141 w 144"/>
                  <a:gd name="T27" fmla="*/ 45 h 232"/>
                  <a:gd name="T28" fmla="*/ 144 w 144"/>
                  <a:gd name="T29" fmla="*/ 57 h 232"/>
                  <a:gd name="T30" fmla="*/ 144 w 144"/>
                  <a:gd name="T31" fmla="*/ 70 h 232"/>
                  <a:gd name="T32" fmla="*/ 144 w 144"/>
                  <a:gd name="T33" fmla="*/ 70 h 232"/>
                  <a:gd name="T34" fmla="*/ 144 w 144"/>
                  <a:gd name="T35" fmla="*/ 78 h 232"/>
                  <a:gd name="T36" fmla="*/ 143 w 144"/>
                  <a:gd name="T37" fmla="*/ 86 h 232"/>
                  <a:gd name="T38" fmla="*/ 141 w 144"/>
                  <a:gd name="T39" fmla="*/ 94 h 232"/>
                  <a:gd name="T40" fmla="*/ 139 w 144"/>
                  <a:gd name="T41" fmla="*/ 101 h 232"/>
                  <a:gd name="T42" fmla="*/ 136 w 144"/>
                  <a:gd name="T43" fmla="*/ 107 h 232"/>
                  <a:gd name="T44" fmla="*/ 133 w 144"/>
                  <a:gd name="T45" fmla="*/ 112 h 232"/>
                  <a:gd name="T46" fmla="*/ 129 w 144"/>
                  <a:gd name="T47" fmla="*/ 118 h 232"/>
                  <a:gd name="T48" fmla="*/ 124 w 144"/>
                  <a:gd name="T49" fmla="*/ 123 h 232"/>
                  <a:gd name="T50" fmla="*/ 119 w 144"/>
                  <a:gd name="T51" fmla="*/ 127 h 232"/>
                  <a:gd name="T52" fmla="*/ 114 w 144"/>
                  <a:gd name="T53" fmla="*/ 130 h 232"/>
                  <a:gd name="T54" fmla="*/ 108 w 144"/>
                  <a:gd name="T55" fmla="*/ 133 h 232"/>
                  <a:gd name="T56" fmla="*/ 101 w 144"/>
                  <a:gd name="T57" fmla="*/ 136 h 232"/>
                  <a:gd name="T58" fmla="*/ 95 w 144"/>
                  <a:gd name="T59" fmla="*/ 137 h 232"/>
                  <a:gd name="T60" fmla="*/ 87 w 144"/>
                  <a:gd name="T61" fmla="*/ 139 h 232"/>
                  <a:gd name="T62" fmla="*/ 71 w 144"/>
                  <a:gd name="T63" fmla="*/ 140 h 232"/>
                  <a:gd name="T64" fmla="*/ 46 w 144"/>
                  <a:gd name="T65" fmla="*/ 140 h 232"/>
                  <a:gd name="T66" fmla="*/ 46 w 144"/>
                  <a:gd name="T67" fmla="*/ 232 h 232"/>
                  <a:gd name="T68" fmla="*/ 0 w 144"/>
                  <a:gd name="T69" fmla="*/ 232 h 232"/>
                  <a:gd name="T70" fmla="*/ 0 w 144"/>
                  <a:gd name="T71" fmla="*/ 0 h 232"/>
                  <a:gd name="T72" fmla="*/ 46 w 144"/>
                  <a:gd name="T73" fmla="*/ 105 h 232"/>
                  <a:gd name="T74" fmla="*/ 67 w 144"/>
                  <a:gd name="T75" fmla="*/ 105 h 232"/>
                  <a:gd name="T76" fmla="*/ 67 w 144"/>
                  <a:gd name="T77" fmla="*/ 105 h 232"/>
                  <a:gd name="T78" fmla="*/ 74 w 144"/>
                  <a:gd name="T79" fmla="*/ 104 h 232"/>
                  <a:gd name="T80" fmla="*/ 80 w 144"/>
                  <a:gd name="T81" fmla="*/ 103 h 232"/>
                  <a:gd name="T82" fmla="*/ 85 w 144"/>
                  <a:gd name="T83" fmla="*/ 100 h 232"/>
                  <a:gd name="T84" fmla="*/ 90 w 144"/>
                  <a:gd name="T85" fmla="*/ 96 h 232"/>
                  <a:gd name="T86" fmla="*/ 93 w 144"/>
                  <a:gd name="T87" fmla="*/ 92 h 232"/>
                  <a:gd name="T88" fmla="*/ 96 w 144"/>
                  <a:gd name="T89" fmla="*/ 86 h 232"/>
                  <a:gd name="T90" fmla="*/ 98 w 144"/>
                  <a:gd name="T91" fmla="*/ 79 h 232"/>
                  <a:gd name="T92" fmla="*/ 98 w 144"/>
                  <a:gd name="T93" fmla="*/ 70 h 232"/>
                  <a:gd name="T94" fmla="*/ 98 w 144"/>
                  <a:gd name="T95" fmla="*/ 70 h 232"/>
                  <a:gd name="T96" fmla="*/ 98 w 144"/>
                  <a:gd name="T97" fmla="*/ 62 h 232"/>
                  <a:gd name="T98" fmla="*/ 97 w 144"/>
                  <a:gd name="T99" fmla="*/ 55 h 232"/>
                  <a:gd name="T100" fmla="*/ 94 w 144"/>
                  <a:gd name="T101" fmla="*/ 49 h 232"/>
                  <a:gd name="T102" fmla="*/ 91 w 144"/>
                  <a:gd name="T103" fmla="*/ 44 h 232"/>
                  <a:gd name="T104" fmla="*/ 87 w 144"/>
                  <a:gd name="T105" fmla="*/ 40 h 232"/>
                  <a:gd name="T106" fmla="*/ 81 w 144"/>
                  <a:gd name="T107" fmla="*/ 37 h 232"/>
                  <a:gd name="T108" fmla="*/ 74 w 144"/>
                  <a:gd name="T109" fmla="*/ 35 h 232"/>
                  <a:gd name="T110" fmla="*/ 65 w 144"/>
                  <a:gd name="T111" fmla="*/ 34 h 232"/>
                  <a:gd name="T112" fmla="*/ 46 w 144"/>
                  <a:gd name="T113" fmla="*/ 34 h 232"/>
                  <a:gd name="T114" fmla="*/ 46 w 144"/>
                  <a:gd name="T115" fmla="*/ 10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32">
                    <a:moveTo>
                      <a:pt x="0" y="0"/>
                    </a:moveTo>
                    <a:lnTo>
                      <a:pt x="82" y="0"/>
                    </a:lnTo>
                    <a:lnTo>
                      <a:pt x="82" y="0"/>
                    </a:lnTo>
                    <a:lnTo>
                      <a:pt x="90" y="1"/>
                    </a:lnTo>
                    <a:lnTo>
                      <a:pt x="98" y="2"/>
                    </a:lnTo>
                    <a:lnTo>
                      <a:pt x="105" y="4"/>
                    </a:lnTo>
                    <a:lnTo>
                      <a:pt x="111" y="6"/>
                    </a:lnTo>
                    <a:lnTo>
                      <a:pt x="117" y="9"/>
                    </a:lnTo>
                    <a:lnTo>
                      <a:pt x="122" y="13"/>
                    </a:lnTo>
                    <a:lnTo>
                      <a:pt x="127" y="17"/>
                    </a:lnTo>
                    <a:lnTo>
                      <a:pt x="131" y="22"/>
                    </a:lnTo>
                    <a:lnTo>
                      <a:pt x="134" y="27"/>
                    </a:lnTo>
                    <a:lnTo>
                      <a:pt x="137" y="32"/>
                    </a:lnTo>
                    <a:lnTo>
                      <a:pt x="141" y="45"/>
                    </a:lnTo>
                    <a:lnTo>
                      <a:pt x="144" y="57"/>
                    </a:lnTo>
                    <a:lnTo>
                      <a:pt x="144" y="70"/>
                    </a:lnTo>
                    <a:lnTo>
                      <a:pt x="144" y="70"/>
                    </a:lnTo>
                    <a:lnTo>
                      <a:pt x="144" y="78"/>
                    </a:lnTo>
                    <a:lnTo>
                      <a:pt x="143" y="86"/>
                    </a:lnTo>
                    <a:lnTo>
                      <a:pt x="141" y="94"/>
                    </a:lnTo>
                    <a:lnTo>
                      <a:pt x="139" y="101"/>
                    </a:lnTo>
                    <a:lnTo>
                      <a:pt x="136" y="107"/>
                    </a:lnTo>
                    <a:lnTo>
                      <a:pt x="133" y="112"/>
                    </a:lnTo>
                    <a:lnTo>
                      <a:pt x="129" y="118"/>
                    </a:lnTo>
                    <a:lnTo>
                      <a:pt x="124" y="123"/>
                    </a:lnTo>
                    <a:lnTo>
                      <a:pt x="119" y="127"/>
                    </a:lnTo>
                    <a:lnTo>
                      <a:pt x="114" y="130"/>
                    </a:lnTo>
                    <a:lnTo>
                      <a:pt x="108" y="133"/>
                    </a:lnTo>
                    <a:lnTo>
                      <a:pt x="101" y="136"/>
                    </a:lnTo>
                    <a:lnTo>
                      <a:pt x="95" y="137"/>
                    </a:lnTo>
                    <a:lnTo>
                      <a:pt x="87" y="139"/>
                    </a:lnTo>
                    <a:lnTo>
                      <a:pt x="71" y="140"/>
                    </a:lnTo>
                    <a:lnTo>
                      <a:pt x="46" y="140"/>
                    </a:lnTo>
                    <a:lnTo>
                      <a:pt x="46" y="232"/>
                    </a:lnTo>
                    <a:lnTo>
                      <a:pt x="0" y="232"/>
                    </a:lnTo>
                    <a:lnTo>
                      <a:pt x="0" y="0"/>
                    </a:lnTo>
                    <a:close/>
                    <a:moveTo>
                      <a:pt x="46" y="105"/>
                    </a:moveTo>
                    <a:lnTo>
                      <a:pt x="67" y="105"/>
                    </a:lnTo>
                    <a:lnTo>
                      <a:pt x="67" y="105"/>
                    </a:lnTo>
                    <a:lnTo>
                      <a:pt x="74" y="104"/>
                    </a:lnTo>
                    <a:lnTo>
                      <a:pt x="80" y="103"/>
                    </a:lnTo>
                    <a:lnTo>
                      <a:pt x="85" y="100"/>
                    </a:lnTo>
                    <a:lnTo>
                      <a:pt x="90" y="96"/>
                    </a:lnTo>
                    <a:lnTo>
                      <a:pt x="93" y="92"/>
                    </a:lnTo>
                    <a:lnTo>
                      <a:pt x="96" y="86"/>
                    </a:lnTo>
                    <a:lnTo>
                      <a:pt x="98" y="79"/>
                    </a:lnTo>
                    <a:lnTo>
                      <a:pt x="98" y="70"/>
                    </a:lnTo>
                    <a:lnTo>
                      <a:pt x="98" y="70"/>
                    </a:lnTo>
                    <a:lnTo>
                      <a:pt x="98" y="62"/>
                    </a:lnTo>
                    <a:lnTo>
                      <a:pt x="97" y="55"/>
                    </a:lnTo>
                    <a:lnTo>
                      <a:pt x="94" y="49"/>
                    </a:lnTo>
                    <a:lnTo>
                      <a:pt x="91" y="44"/>
                    </a:lnTo>
                    <a:lnTo>
                      <a:pt x="87" y="40"/>
                    </a:lnTo>
                    <a:lnTo>
                      <a:pt x="81" y="37"/>
                    </a:lnTo>
                    <a:lnTo>
                      <a:pt x="74" y="35"/>
                    </a:lnTo>
                    <a:lnTo>
                      <a:pt x="65" y="34"/>
                    </a:lnTo>
                    <a:lnTo>
                      <a:pt x="46" y="34"/>
                    </a:lnTo>
                    <a:lnTo>
                      <a:pt x="46" y="105"/>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3" name="Freeform 10">
                <a:extLst>
                  <a:ext uri="{FF2B5EF4-FFF2-40B4-BE49-F238E27FC236}">
                    <a16:creationId xmlns:a16="http://schemas.microsoft.com/office/drawing/2014/main" xmlns="" id="{1432C616-0D0B-4A46-ADB3-350BBB4F13D6}"/>
                  </a:ext>
                </a:extLst>
              </p:cNvPr>
              <p:cNvSpPr>
                <a:spLocks/>
              </p:cNvSpPr>
              <p:nvPr userDrawn="1"/>
            </p:nvSpPr>
            <p:spPr bwMode="auto">
              <a:xfrm>
                <a:off x="8188325"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4" name="Freeform 11">
                <a:extLst>
                  <a:ext uri="{FF2B5EF4-FFF2-40B4-BE49-F238E27FC236}">
                    <a16:creationId xmlns:a16="http://schemas.microsoft.com/office/drawing/2014/main" xmlns="" id="{008C5548-39FB-4D86-86A7-F7B57C3DD02B}"/>
                  </a:ext>
                </a:extLst>
              </p:cNvPr>
              <p:cNvSpPr>
                <a:spLocks noEditPoints="1"/>
              </p:cNvSpPr>
              <p:nvPr userDrawn="1"/>
            </p:nvSpPr>
            <p:spPr bwMode="auto">
              <a:xfrm>
                <a:off x="8315325" y="4805363"/>
                <a:ext cx="82550" cy="123825"/>
              </a:xfrm>
              <a:custGeom>
                <a:avLst/>
                <a:gdLst>
                  <a:gd name="T0" fmla="*/ 87 w 157"/>
                  <a:gd name="T1" fmla="*/ 0 h 232"/>
                  <a:gd name="T2" fmla="*/ 101 w 157"/>
                  <a:gd name="T3" fmla="*/ 1 h 232"/>
                  <a:gd name="T4" fmla="*/ 124 w 157"/>
                  <a:gd name="T5" fmla="*/ 9 h 232"/>
                  <a:gd name="T6" fmla="*/ 132 w 157"/>
                  <a:gd name="T7" fmla="*/ 15 h 232"/>
                  <a:gd name="T8" fmla="*/ 139 w 157"/>
                  <a:gd name="T9" fmla="*/ 23 h 232"/>
                  <a:gd name="T10" fmla="*/ 144 w 157"/>
                  <a:gd name="T11" fmla="*/ 33 h 232"/>
                  <a:gd name="T12" fmla="*/ 147 w 157"/>
                  <a:gd name="T13" fmla="*/ 46 h 232"/>
                  <a:gd name="T14" fmla="*/ 149 w 157"/>
                  <a:gd name="T15" fmla="*/ 60 h 232"/>
                  <a:gd name="T16" fmla="*/ 146 w 157"/>
                  <a:gd name="T17" fmla="*/ 81 h 232"/>
                  <a:gd name="T18" fmla="*/ 139 w 157"/>
                  <a:gd name="T19" fmla="*/ 98 h 232"/>
                  <a:gd name="T20" fmla="*/ 127 w 157"/>
                  <a:gd name="T21" fmla="*/ 110 h 232"/>
                  <a:gd name="T22" fmla="*/ 110 w 157"/>
                  <a:gd name="T23" fmla="*/ 118 h 232"/>
                  <a:gd name="T24" fmla="*/ 110 w 157"/>
                  <a:gd name="T25" fmla="*/ 118 h 232"/>
                  <a:gd name="T26" fmla="*/ 129 w 157"/>
                  <a:gd name="T27" fmla="*/ 124 h 232"/>
                  <a:gd name="T28" fmla="*/ 136 w 157"/>
                  <a:gd name="T29" fmla="*/ 129 h 232"/>
                  <a:gd name="T30" fmla="*/ 140 w 157"/>
                  <a:gd name="T31" fmla="*/ 137 h 232"/>
                  <a:gd name="T32" fmla="*/ 146 w 157"/>
                  <a:gd name="T33" fmla="*/ 157 h 232"/>
                  <a:gd name="T34" fmla="*/ 147 w 157"/>
                  <a:gd name="T35" fmla="*/ 188 h 232"/>
                  <a:gd name="T36" fmla="*/ 148 w 157"/>
                  <a:gd name="T37" fmla="*/ 205 h 232"/>
                  <a:gd name="T38" fmla="*/ 151 w 157"/>
                  <a:gd name="T39" fmla="*/ 221 h 232"/>
                  <a:gd name="T40" fmla="*/ 155 w 157"/>
                  <a:gd name="T41" fmla="*/ 228 h 232"/>
                  <a:gd name="T42" fmla="*/ 157 w 157"/>
                  <a:gd name="T43" fmla="*/ 232 h 232"/>
                  <a:gd name="T44" fmla="*/ 108 w 157"/>
                  <a:gd name="T45" fmla="*/ 232 h 232"/>
                  <a:gd name="T46" fmla="*/ 103 w 157"/>
                  <a:gd name="T47" fmla="*/ 221 h 232"/>
                  <a:gd name="T48" fmla="*/ 102 w 157"/>
                  <a:gd name="T49" fmla="*/ 208 h 232"/>
                  <a:gd name="T50" fmla="*/ 100 w 157"/>
                  <a:gd name="T51" fmla="*/ 163 h 232"/>
                  <a:gd name="T52" fmla="*/ 99 w 157"/>
                  <a:gd name="T53" fmla="*/ 151 h 232"/>
                  <a:gd name="T54" fmla="*/ 94 w 157"/>
                  <a:gd name="T55" fmla="*/ 142 h 232"/>
                  <a:gd name="T56" fmla="*/ 84 w 157"/>
                  <a:gd name="T57" fmla="*/ 136 h 232"/>
                  <a:gd name="T58" fmla="*/ 72 w 157"/>
                  <a:gd name="T59" fmla="*/ 134 h 232"/>
                  <a:gd name="T60" fmla="*/ 48 w 157"/>
                  <a:gd name="T61" fmla="*/ 232 h 232"/>
                  <a:gd name="T62" fmla="*/ 0 w 157"/>
                  <a:gd name="T63" fmla="*/ 0 h 232"/>
                  <a:gd name="T64" fmla="*/ 67 w 157"/>
                  <a:gd name="T65" fmla="*/ 101 h 232"/>
                  <a:gd name="T66" fmla="*/ 75 w 157"/>
                  <a:gd name="T67" fmla="*/ 101 h 232"/>
                  <a:gd name="T68" fmla="*/ 87 w 157"/>
                  <a:gd name="T69" fmla="*/ 97 h 232"/>
                  <a:gd name="T70" fmla="*/ 97 w 157"/>
                  <a:gd name="T71" fmla="*/ 89 h 232"/>
                  <a:gd name="T72" fmla="*/ 102 w 157"/>
                  <a:gd name="T73" fmla="*/ 75 h 232"/>
                  <a:gd name="T74" fmla="*/ 102 w 157"/>
                  <a:gd name="T75" fmla="*/ 67 h 232"/>
                  <a:gd name="T76" fmla="*/ 100 w 157"/>
                  <a:gd name="T77" fmla="*/ 53 h 232"/>
                  <a:gd name="T78" fmla="*/ 94 w 157"/>
                  <a:gd name="T79" fmla="*/ 43 h 232"/>
                  <a:gd name="T80" fmla="*/ 83 w 157"/>
                  <a:gd name="T81" fmla="*/ 37 h 232"/>
                  <a:gd name="T82" fmla="*/ 69 w 157"/>
                  <a:gd name="T83" fmla="*/ 34 h 232"/>
                  <a:gd name="T84" fmla="*/ 48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7" y="0"/>
                    </a:lnTo>
                    <a:lnTo>
                      <a:pt x="87" y="0"/>
                    </a:lnTo>
                    <a:lnTo>
                      <a:pt x="101" y="1"/>
                    </a:lnTo>
                    <a:lnTo>
                      <a:pt x="113" y="4"/>
                    </a:lnTo>
                    <a:lnTo>
                      <a:pt x="124" y="9"/>
                    </a:lnTo>
                    <a:lnTo>
                      <a:pt x="128" y="12"/>
                    </a:lnTo>
                    <a:lnTo>
                      <a:pt x="132" y="15"/>
                    </a:lnTo>
                    <a:lnTo>
                      <a:pt x="136" y="19"/>
                    </a:lnTo>
                    <a:lnTo>
                      <a:pt x="139" y="23"/>
                    </a:lnTo>
                    <a:lnTo>
                      <a:pt x="142" y="28"/>
                    </a:lnTo>
                    <a:lnTo>
                      <a:pt x="144" y="33"/>
                    </a:lnTo>
                    <a:lnTo>
                      <a:pt x="146" y="40"/>
                    </a:lnTo>
                    <a:lnTo>
                      <a:pt x="147" y="46"/>
                    </a:lnTo>
                    <a:lnTo>
                      <a:pt x="149" y="60"/>
                    </a:lnTo>
                    <a:lnTo>
                      <a:pt x="149" y="60"/>
                    </a:lnTo>
                    <a:lnTo>
                      <a:pt x="148" y="71"/>
                    </a:lnTo>
                    <a:lnTo>
                      <a:pt x="146" y="81"/>
                    </a:lnTo>
                    <a:lnTo>
                      <a:pt x="143" y="90"/>
                    </a:lnTo>
                    <a:lnTo>
                      <a:pt x="139" y="98"/>
                    </a:lnTo>
                    <a:lnTo>
                      <a:pt x="134" y="104"/>
                    </a:lnTo>
                    <a:lnTo>
                      <a:pt x="127" y="110"/>
                    </a:lnTo>
                    <a:lnTo>
                      <a:pt x="119" y="114"/>
                    </a:lnTo>
                    <a:lnTo>
                      <a:pt x="110" y="118"/>
                    </a:lnTo>
                    <a:lnTo>
                      <a:pt x="110" y="118"/>
                    </a:lnTo>
                    <a:lnTo>
                      <a:pt x="110" y="118"/>
                    </a:lnTo>
                    <a:lnTo>
                      <a:pt x="121" y="120"/>
                    </a:lnTo>
                    <a:lnTo>
                      <a:pt x="129" y="124"/>
                    </a:lnTo>
                    <a:lnTo>
                      <a:pt x="133" y="126"/>
                    </a:lnTo>
                    <a:lnTo>
                      <a:pt x="136" y="129"/>
                    </a:lnTo>
                    <a:lnTo>
                      <a:pt x="138" y="133"/>
                    </a:lnTo>
                    <a:lnTo>
                      <a:pt x="140" y="137"/>
                    </a:lnTo>
                    <a:lnTo>
                      <a:pt x="144" y="146"/>
                    </a:lnTo>
                    <a:lnTo>
                      <a:pt x="146" y="157"/>
                    </a:lnTo>
                    <a:lnTo>
                      <a:pt x="147" y="171"/>
                    </a:lnTo>
                    <a:lnTo>
                      <a:pt x="147" y="188"/>
                    </a:lnTo>
                    <a:lnTo>
                      <a:pt x="147" y="188"/>
                    </a:lnTo>
                    <a:lnTo>
                      <a:pt x="148" y="205"/>
                    </a:lnTo>
                    <a:lnTo>
                      <a:pt x="149" y="217"/>
                    </a:lnTo>
                    <a:lnTo>
                      <a:pt x="151" y="221"/>
                    </a:lnTo>
                    <a:lnTo>
                      <a:pt x="152" y="225"/>
                    </a:lnTo>
                    <a:lnTo>
                      <a:pt x="155" y="228"/>
                    </a:lnTo>
                    <a:lnTo>
                      <a:pt x="157" y="230"/>
                    </a:lnTo>
                    <a:lnTo>
                      <a:pt x="157" y="232"/>
                    </a:lnTo>
                    <a:lnTo>
                      <a:pt x="108" y="232"/>
                    </a:lnTo>
                    <a:lnTo>
                      <a:pt x="108" y="232"/>
                    </a:lnTo>
                    <a:lnTo>
                      <a:pt x="105" y="227"/>
                    </a:lnTo>
                    <a:lnTo>
                      <a:pt x="103" y="221"/>
                    </a:lnTo>
                    <a:lnTo>
                      <a:pt x="102" y="215"/>
                    </a:lnTo>
                    <a:lnTo>
                      <a:pt x="102" y="208"/>
                    </a:lnTo>
                    <a:lnTo>
                      <a:pt x="100" y="163"/>
                    </a:lnTo>
                    <a:lnTo>
                      <a:pt x="100" y="163"/>
                    </a:lnTo>
                    <a:lnTo>
                      <a:pt x="100" y="157"/>
                    </a:lnTo>
                    <a:lnTo>
                      <a:pt x="99" y="151"/>
                    </a:lnTo>
                    <a:lnTo>
                      <a:pt x="96" y="146"/>
                    </a:lnTo>
                    <a:lnTo>
                      <a:pt x="94" y="142"/>
                    </a:lnTo>
                    <a:lnTo>
                      <a:pt x="89" y="139"/>
                    </a:lnTo>
                    <a:lnTo>
                      <a:pt x="84" y="136"/>
                    </a:lnTo>
                    <a:lnTo>
                      <a:pt x="79" y="135"/>
                    </a:lnTo>
                    <a:lnTo>
                      <a:pt x="72" y="134"/>
                    </a:lnTo>
                    <a:lnTo>
                      <a:pt x="48" y="134"/>
                    </a:lnTo>
                    <a:lnTo>
                      <a:pt x="48" y="232"/>
                    </a:lnTo>
                    <a:lnTo>
                      <a:pt x="0" y="232"/>
                    </a:lnTo>
                    <a:lnTo>
                      <a:pt x="0" y="0"/>
                    </a:lnTo>
                    <a:close/>
                    <a:moveTo>
                      <a:pt x="48" y="101"/>
                    </a:moveTo>
                    <a:lnTo>
                      <a:pt x="67" y="101"/>
                    </a:lnTo>
                    <a:lnTo>
                      <a:pt x="67" y="101"/>
                    </a:lnTo>
                    <a:lnTo>
                      <a:pt x="75" y="101"/>
                    </a:lnTo>
                    <a:lnTo>
                      <a:pt x="82" y="99"/>
                    </a:lnTo>
                    <a:lnTo>
                      <a:pt x="87" y="97"/>
                    </a:lnTo>
                    <a:lnTo>
                      <a:pt x="92" y="93"/>
                    </a:lnTo>
                    <a:lnTo>
                      <a:pt x="97" y="89"/>
                    </a:lnTo>
                    <a:lnTo>
                      <a:pt x="100" y="83"/>
                    </a:lnTo>
                    <a:lnTo>
                      <a:pt x="102" y="75"/>
                    </a:lnTo>
                    <a:lnTo>
                      <a:pt x="102" y="67"/>
                    </a:lnTo>
                    <a:lnTo>
                      <a:pt x="102" y="67"/>
                    </a:lnTo>
                    <a:lnTo>
                      <a:pt x="102" y="59"/>
                    </a:lnTo>
                    <a:lnTo>
                      <a:pt x="100" y="53"/>
                    </a:lnTo>
                    <a:lnTo>
                      <a:pt x="98" y="48"/>
                    </a:lnTo>
                    <a:lnTo>
                      <a:pt x="94" y="43"/>
                    </a:lnTo>
                    <a:lnTo>
                      <a:pt x="89" y="40"/>
                    </a:lnTo>
                    <a:lnTo>
                      <a:pt x="83" y="37"/>
                    </a:lnTo>
                    <a:lnTo>
                      <a:pt x="77" y="35"/>
                    </a:lnTo>
                    <a:lnTo>
                      <a:pt x="69" y="34"/>
                    </a:lnTo>
                    <a:lnTo>
                      <a:pt x="48" y="34"/>
                    </a:lnTo>
                    <a:lnTo>
                      <a:pt x="4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5" name="Freeform 12">
                <a:extLst>
                  <a:ext uri="{FF2B5EF4-FFF2-40B4-BE49-F238E27FC236}">
                    <a16:creationId xmlns:a16="http://schemas.microsoft.com/office/drawing/2014/main" xmlns="" id="{73002360-C931-4296-A57B-3DAE8F413CF5}"/>
                  </a:ext>
                </a:extLst>
              </p:cNvPr>
              <p:cNvSpPr>
                <a:spLocks/>
              </p:cNvSpPr>
              <p:nvPr userDrawn="1"/>
            </p:nvSpPr>
            <p:spPr bwMode="auto">
              <a:xfrm>
                <a:off x="8413750"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6" name="Freeform 13">
                <a:extLst>
                  <a:ext uri="{FF2B5EF4-FFF2-40B4-BE49-F238E27FC236}">
                    <a16:creationId xmlns:a16="http://schemas.microsoft.com/office/drawing/2014/main" xmlns="" id="{CD60D82A-6084-4DFD-9754-018387B1C6C7}"/>
                  </a:ext>
                </a:extLst>
              </p:cNvPr>
              <p:cNvSpPr>
                <a:spLocks/>
              </p:cNvSpPr>
              <p:nvPr userDrawn="1"/>
            </p:nvSpPr>
            <p:spPr bwMode="auto">
              <a:xfrm>
                <a:off x="8497888" y="4805363"/>
                <a:ext cx="80963" cy="123825"/>
              </a:xfrm>
              <a:custGeom>
                <a:avLst/>
                <a:gdLst>
                  <a:gd name="T0" fmla="*/ 54 w 154"/>
                  <a:gd name="T1" fmla="*/ 0 h 232"/>
                  <a:gd name="T2" fmla="*/ 111 w 154"/>
                  <a:gd name="T3" fmla="*/ 159 h 232"/>
                  <a:gd name="T4" fmla="*/ 112 w 154"/>
                  <a:gd name="T5" fmla="*/ 159 h 232"/>
                  <a:gd name="T6" fmla="*/ 112 w 154"/>
                  <a:gd name="T7" fmla="*/ 0 h 232"/>
                  <a:gd name="T8" fmla="*/ 154 w 154"/>
                  <a:gd name="T9" fmla="*/ 0 h 232"/>
                  <a:gd name="T10" fmla="*/ 154 w 154"/>
                  <a:gd name="T11" fmla="*/ 232 h 232"/>
                  <a:gd name="T12" fmla="*/ 102 w 154"/>
                  <a:gd name="T13" fmla="*/ 232 h 232"/>
                  <a:gd name="T14" fmla="*/ 44 w 154"/>
                  <a:gd name="T15" fmla="*/ 70 h 232"/>
                  <a:gd name="T16" fmla="*/ 44 w 154"/>
                  <a:gd name="T17" fmla="*/ 70 h 232"/>
                  <a:gd name="T18" fmla="*/ 44 w 154"/>
                  <a:gd name="T19" fmla="*/ 232 h 232"/>
                  <a:gd name="T20" fmla="*/ 0 w 154"/>
                  <a:gd name="T21" fmla="*/ 232 h 232"/>
                  <a:gd name="T22" fmla="*/ 0 w 154"/>
                  <a:gd name="T23" fmla="*/ 0 h 232"/>
                  <a:gd name="T24" fmla="*/ 54 w 154"/>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232">
                    <a:moveTo>
                      <a:pt x="54" y="0"/>
                    </a:moveTo>
                    <a:lnTo>
                      <a:pt x="111" y="159"/>
                    </a:lnTo>
                    <a:lnTo>
                      <a:pt x="112" y="159"/>
                    </a:lnTo>
                    <a:lnTo>
                      <a:pt x="112" y="0"/>
                    </a:lnTo>
                    <a:lnTo>
                      <a:pt x="154" y="0"/>
                    </a:lnTo>
                    <a:lnTo>
                      <a:pt x="154" y="232"/>
                    </a:lnTo>
                    <a:lnTo>
                      <a:pt x="102" y="232"/>
                    </a:lnTo>
                    <a:lnTo>
                      <a:pt x="44" y="70"/>
                    </a:lnTo>
                    <a:lnTo>
                      <a:pt x="44" y="70"/>
                    </a:lnTo>
                    <a:lnTo>
                      <a:pt x="44" y="232"/>
                    </a:lnTo>
                    <a:lnTo>
                      <a:pt x="0" y="232"/>
                    </a:lnTo>
                    <a:lnTo>
                      <a:pt x="0"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7" name="Freeform 14">
                <a:extLst>
                  <a:ext uri="{FF2B5EF4-FFF2-40B4-BE49-F238E27FC236}">
                    <a16:creationId xmlns:a16="http://schemas.microsoft.com/office/drawing/2014/main" xmlns="" id="{25339790-1FC8-46B7-8EE8-17BF5B745FBF}"/>
                  </a:ext>
                </a:extLst>
              </p:cNvPr>
              <p:cNvSpPr>
                <a:spLocks noEditPoints="1"/>
              </p:cNvSpPr>
              <p:nvPr userDrawn="1"/>
            </p:nvSpPr>
            <p:spPr bwMode="auto">
              <a:xfrm>
                <a:off x="8589963" y="4805363"/>
                <a:ext cx="95250" cy="123825"/>
              </a:xfrm>
              <a:custGeom>
                <a:avLst/>
                <a:gdLst>
                  <a:gd name="T0" fmla="*/ 61 w 180"/>
                  <a:gd name="T1" fmla="*/ 0 h 232"/>
                  <a:gd name="T2" fmla="*/ 119 w 180"/>
                  <a:gd name="T3" fmla="*/ 0 h 232"/>
                  <a:gd name="T4" fmla="*/ 180 w 180"/>
                  <a:gd name="T5" fmla="*/ 232 h 232"/>
                  <a:gd name="T6" fmla="*/ 131 w 180"/>
                  <a:gd name="T7" fmla="*/ 232 h 232"/>
                  <a:gd name="T8" fmla="*/ 121 w 180"/>
                  <a:gd name="T9" fmla="*/ 183 h 232"/>
                  <a:gd name="T10" fmla="*/ 59 w 180"/>
                  <a:gd name="T11" fmla="*/ 183 h 232"/>
                  <a:gd name="T12" fmla="*/ 48 w 180"/>
                  <a:gd name="T13" fmla="*/ 232 h 232"/>
                  <a:gd name="T14" fmla="*/ 0 w 180"/>
                  <a:gd name="T15" fmla="*/ 232 h 232"/>
                  <a:gd name="T16" fmla="*/ 61 w 180"/>
                  <a:gd name="T17" fmla="*/ 0 h 232"/>
                  <a:gd name="T18" fmla="*/ 67 w 180"/>
                  <a:gd name="T19" fmla="*/ 145 h 232"/>
                  <a:gd name="T20" fmla="*/ 113 w 180"/>
                  <a:gd name="T21" fmla="*/ 145 h 232"/>
                  <a:gd name="T22" fmla="*/ 90 w 180"/>
                  <a:gd name="T23" fmla="*/ 41 h 232"/>
                  <a:gd name="T24" fmla="*/ 90 w 180"/>
                  <a:gd name="T25" fmla="*/ 41 h 232"/>
                  <a:gd name="T26" fmla="*/ 67 w 180"/>
                  <a:gd name="T27" fmla="*/ 14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232">
                    <a:moveTo>
                      <a:pt x="61" y="0"/>
                    </a:moveTo>
                    <a:lnTo>
                      <a:pt x="119" y="0"/>
                    </a:lnTo>
                    <a:lnTo>
                      <a:pt x="180" y="232"/>
                    </a:lnTo>
                    <a:lnTo>
                      <a:pt x="131" y="232"/>
                    </a:lnTo>
                    <a:lnTo>
                      <a:pt x="121" y="183"/>
                    </a:lnTo>
                    <a:lnTo>
                      <a:pt x="59" y="183"/>
                    </a:lnTo>
                    <a:lnTo>
                      <a:pt x="48" y="232"/>
                    </a:lnTo>
                    <a:lnTo>
                      <a:pt x="0" y="232"/>
                    </a:lnTo>
                    <a:lnTo>
                      <a:pt x="61" y="0"/>
                    </a:lnTo>
                    <a:close/>
                    <a:moveTo>
                      <a:pt x="67" y="145"/>
                    </a:moveTo>
                    <a:lnTo>
                      <a:pt x="113" y="145"/>
                    </a:lnTo>
                    <a:lnTo>
                      <a:pt x="90" y="41"/>
                    </a:lnTo>
                    <a:lnTo>
                      <a:pt x="90" y="41"/>
                    </a:lnTo>
                    <a:lnTo>
                      <a:pt x="67"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8" name="Freeform 15">
                <a:extLst>
                  <a:ext uri="{FF2B5EF4-FFF2-40B4-BE49-F238E27FC236}">
                    <a16:creationId xmlns:a16="http://schemas.microsoft.com/office/drawing/2014/main" xmlns="" id="{E7554A75-5649-4987-BA85-E89D123C9DF9}"/>
                  </a:ext>
                </a:extLst>
              </p:cNvPr>
              <p:cNvSpPr>
                <a:spLocks/>
              </p:cNvSpPr>
              <p:nvPr userDrawn="1"/>
            </p:nvSpPr>
            <p:spPr bwMode="auto">
              <a:xfrm>
                <a:off x="8691563" y="4805363"/>
                <a:ext cx="77788" cy="125413"/>
              </a:xfrm>
              <a:custGeom>
                <a:avLst/>
                <a:gdLst>
                  <a:gd name="T0" fmla="*/ 46 w 148"/>
                  <a:gd name="T1" fmla="*/ 0 h 236"/>
                  <a:gd name="T2" fmla="*/ 46 w 148"/>
                  <a:gd name="T3" fmla="*/ 162 h 236"/>
                  <a:gd name="T4" fmla="*/ 46 w 148"/>
                  <a:gd name="T5" fmla="*/ 162 h 236"/>
                  <a:gd name="T6" fmla="*/ 47 w 148"/>
                  <a:gd name="T7" fmla="*/ 170 h 236"/>
                  <a:gd name="T8" fmla="*/ 48 w 148"/>
                  <a:gd name="T9" fmla="*/ 178 h 236"/>
                  <a:gd name="T10" fmla="*/ 49 w 148"/>
                  <a:gd name="T11" fmla="*/ 184 h 236"/>
                  <a:gd name="T12" fmla="*/ 52 w 148"/>
                  <a:gd name="T13" fmla="*/ 190 h 236"/>
                  <a:gd name="T14" fmla="*/ 55 w 148"/>
                  <a:gd name="T15" fmla="*/ 195 h 236"/>
                  <a:gd name="T16" fmla="*/ 60 w 148"/>
                  <a:gd name="T17" fmla="*/ 199 h 236"/>
                  <a:gd name="T18" fmla="*/ 67 w 148"/>
                  <a:gd name="T19" fmla="*/ 202 h 236"/>
                  <a:gd name="T20" fmla="*/ 74 w 148"/>
                  <a:gd name="T21" fmla="*/ 202 h 236"/>
                  <a:gd name="T22" fmla="*/ 74 w 148"/>
                  <a:gd name="T23" fmla="*/ 202 h 236"/>
                  <a:gd name="T24" fmla="*/ 82 w 148"/>
                  <a:gd name="T25" fmla="*/ 202 h 236"/>
                  <a:gd name="T26" fmla="*/ 88 w 148"/>
                  <a:gd name="T27" fmla="*/ 199 h 236"/>
                  <a:gd name="T28" fmla="*/ 92 w 148"/>
                  <a:gd name="T29" fmla="*/ 195 h 236"/>
                  <a:gd name="T30" fmla="*/ 96 w 148"/>
                  <a:gd name="T31" fmla="*/ 190 h 236"/>
                  <a:gd name="T32" fmla="*/ 98 w 148"/>
                  <a:gd name="T33" fmla="*/ 184 h 236"/>
                  <a:gd name="T34" fmla="*/ 100 w 148"/>
                  <a:gd name="T35" fmla="*/ 178 h 236"/>
                  <a:gd name="T36" fmla="*/ 101 w 148"/>
                  <a:gd name="T37" fmla="*/ 170 h 236"/>
                  <a:gd name="T38" fmla="*/ 101 w 148"/>
                  <a:gd name="T39" fmla="*/ 162 h 236"/>
                  <a:gd name="T40" fmla="*/ 101 w 148"/>
                  <a:gd name="T41" fmla="*/ 0 h 236"/>
                  <a:gd name="T42" fmla="*/ 148 w 148"/>
                  <a:gd name="T43" fmla="*/ 0 h 236"/>
                  <a:gd name="T44" fmla="*/ 148 w 148"/>
                  <a:gd name="T45" fmla="*/ 162 h 236"/>
                  <a:gd name="T46" fmla="*/ 148 w 148"/>
                  <a:gd name="T47" fmla="*/ 162 h 236"/>
                  <a:gd name="T48" fmla="*/ 148 w 148"/>
                  <a:gd name="T49" fmla="*/ 172 h 236"/>
                  <a:gd name="T50" fmla="*/ 147 w 148"/>
                  <a:gd name="T51" fmla="*/ 182 h 236"/>
                  <a:gd name="T52" fmla="*/ 144 w 148"/>
                  <a:gd name="T53" fmla="*/ 190 h 236"/>
                  <a:gd name="T54" fmla="*/ 141 w 148"/>
                  <a:gd name="T55" fmla="*/ 199 h 236"/>
                  <a:gd name="T56" fmla="*/ 138 w 148"/>
                  <a:gd name="T57" fmla="*/ 206 h 236"/>
                  <a:gd name="T58" fmla="*/ 134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8 w 148"/>
                  <a:gd name="T73" fmla="*/ 236 h 236"/>
                  <a:gd name="T74" fmla="*/ 74 w 148"/>
                  <a:gd name="T75" fmla="*/ 236 h 236"/>
                  <a:gd name="T76" fmla="*/ 74 w 148"/>
                  <a:gd name="T77" fmla="*/ 236 h 236"/>
                  <a:gd name="T78" fmla="*/ 59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6 w 148"/>
                  <a:gd name="T97" fmla="*/ 200 h 236"/>
                  <a:gd name="T98" fmla="*/ 4 w 148"/>
                  <a:gd name="T99" fmla="*/ 191 h 236"/>
                  <a:gd name="T100" fmla="*/ 2 w 148"/>
                  <a:gd name="T101" fmla="*/ 182 h 236"/>
                  <a:gd name="T102" fmla="*/ 1 w 148"/>
                  <a:gd name="T103" fmla="*/ 173 h 236"/>
                  <a:gd name="T104" fmla="*/ 0 w 148"/>
                  <a:gd name="T105" fmla="*/ 162 h 236"/>
                  <a:gd name="T106" fmla="*/ 0 w 148"/>
                  <a:gd name="T107" fmla="*/ 0 h 236"/>
                  <a:gd name="T108" fmla="*/ 46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6" y="0"/>
                    </a:moveTo>
                    <a:lnTo>
                      <a:pt x="46" y="162"/>
                    </a:lnTo>
                    <a:lnTo>
                      <a:pt x="46" y="162"/>
                    </a:lnTo>
                    <a:lnTo>
                      <a:pt x="47" y="170"/>
                    </a:lnTo>
                    <a:lnTo>
                      <a:pt x="48" y="178"/>
                    </a:lnTo>
                    <a:lnTo>
                      <a:pt x="49" y="184"/>
                    </a:lnTo>
                    <a:lnTo>
                      <a:pt x="52" y="190"/>
                    </a:lnTo>
                    <a:lnTo>
                      <a:pt x="55" y="195"/>
                    </a:lnTo>
                    <a:lnTo>
                      <a:pt x="60" y="199"/>
                    </a:lnTo>
                    <a:lnTo>
                      <a:pt x="67" y="202"/>
                    </a:lnTo>
                    <a:lnTo>
                      <a:pt x="74" y="202"/>
                    </a:lnTo>
                    <a:lnTo>
                      <a:pt x="74" y="202"/>
                    </a:lnTo>
                    <a:lnTo>
                      <a:pt x="82" y="202"/>
                    </a:lnTo>
                    <a:lnTo>
                      <a:pt x="88" y="199"/>
                    </a:lnTo>
                    <a:lnTo>
                      <a:pt x="92" y="195"/>
                    </a:lnTo>
                    <a:lnTo>
                      <a:pt x="96" y="190"/>
                    </a:lnTo>
                    <a:lnTo>
                      <a:pt x="98" y="184"/>
                    </a:lnTo>
                    <a:lnTo>
                      <a:pt x="100" y="178"/>
                    </a:lnTo>
                    <a:lnTo>
                      <a:pt x="101" y="170"/>
                    </a:lnTo>
                    <a:lnTo>
                      <a:pt x="101" y="162"/>
                    </a:lnTo>
                    <a:lnTo>
                      <a:pt x="101" y="0"/>
                    </a:lnTo>
                    <a:lnTo>
                      <a:pt x="148" y="0"/>
                    </a:lnTo>
                    <a:lnTo>
                      <a:pt x="148" y="162"/>
                    </a:lnTo>
                    <a:lnTo>
                      <a:pt x="148" y="162"/>
                    </a:lnTo>
                    <a:lnTo>
                      <a:pt x="148" y="172"/>
                    </a:lnTo>
                    <a:lnTo>
                      <a:pt x="147" y="182"/>
                    </a:lnTo>
                    <a:lnTo>
                      <a:pt x="144" y="190"/>
                    </a:lnTo>
                    <a:lnTo>
                      <a:pt x="141" y="199"/>
                    </a:lnTo>
                    <a:lnTo>
                      <a:pt x="138" y="206"/>
                    </a:lnTo>
                    <a:lnTo>
                      <a:pt x="134" y="212"/>
                    </a:lnTo>
                    <a:lnTo>
                      <a:pt x="130" y="217"/>
                    </a:lnTo>
                    <a:lnTo>
                      <a:pt x="125" y="221"/>
                    </a:lnTo>
                    <a:lnTo>
                      <a:pt x="120" y="225"/>
                    </a:lnTo>
                    <a:lnTo>
                      <a:pt x="114" y="228"/>
                    </a:lnTo>
                    <a:lnTo>
                      <a:pt x="108" y="231"/>
                    </a:lnTo>
                    <a:lnTo>
                      <a:pt x="102" y="233"/>
                    </a:lnTo>
                    <a:lnTo>
                      <a:pt x="88" y="236"/>
                    </a:lnTo>
                    <a:lnTo>
                      <a:pt x="74" y="236"/>
                    </a:lnTo>
                    <a:lnTo>
                      <a:pt x="74" y="236"/>
                    </a:lnTo>
                    <a:lnTo>
                      <a:pt x="59" y="236"/>
                    </a:lnTo>
                    <a:lnTo>
                      <a:pt x="46" y="234"/>
                    </a:lnTo>
                    <a:lnTo>
                      <a:pt x="40" y="232"/>
                    </a:lnTo>
                    <a:lnTo>
                      <a:pt x="34" y="229"/>
                    </a:lnTo>
                    <a:lnTo>
                      <a:pt x="28" y="226"/>
                    </a:lnTo>
                    <a:lnTo>
                      <a:pt x="23" y="223"/>
                    </a:lnTo>
                    <a:lnTo>
                      <a:pt x="18" y="218"/>
                    </a:lnTo>
                    <a:lnTo>
                      <a:pt x="14" y="213"/>
                    </a:lnTo>
                    <a:lnTo>
                      <a:pt x="10" y="207"/>
                    </a:lnTo>
                    <a:lnTo>
                      <a:pt x="6" y="200"/>
                    </a:lnTo>
                    <a:lnTo>
                      <a:pt x="4" y="191"/>
                    </a:lnTo>
                    <a:lnTo>
                      <a:pt x="2" y="182"/>
                    </a:lnTo>
                    <a:lnTo>
                      <a:pt x="1" y="173"/>
                    </a:lnTo>
                    <a:lnTo>
                      <a:pt x="0" y="162"/>
                    </a:lnTo>
                    <a:lnTo>
                      <a:pt x="0" y="0"/>
                    </a:lnTo>
                    <a:lnTo>
                      <a:pt x="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39" name="Freeform 16">
                <a:extLst>
                  <a:ext uri="{FF2B5EF4-FFF2-40B4-BE49-F238E27FC236}">
                    <a16:creationId xmlns:a16="http://schemas.microsoft.com/office/drawing/2014/main" xmlns="" id="{51FEC0B0-848B-45A6-AB0E-7F92BA368728}"/>
                  </a:ext>
                </a:extLst>
              </p:cNvPr>
              <p:cNvSpPr>
                <a:spLocks/>
              </p:cNvSpPr>
              <p:nvPr userDrawn="1"/>
            </p:nvSpPr>
            <p:spPr bwMode="auto">
              <a:xfrm>
                <a:off x="8789988" y="4805363"/>
                <a:ext cx="69850" cy="123825"/>
              </a:xfrm>
              <a:custGeom>
                <a:avLst/>
                <a:gdLst>
                  <a:gd name="T0" fmla="*/ 0 w 130"/>
                  <a:gd name="T1" fmla="*/ 232 h 232"/>
                  <a:gd name="T2" fmla="*/ 0 w 130"/>
                  <a:gd name="T3" fmla="*/ 0 h 232"/>
                  <a:gd name="T4" fmla="*/ 47 w 130"/>
                  <a:gd name="T5" fmla="*/ 0 h 232"/>
                  <a:gd name="T6" fmla="*/ 47 w 130"/>
                  <a:gd name="T7" fmla="*/ 193 h 232"/>
                  <a:gd name="T8" fmla="*/ 130 w 130"/>
                  <a:gd name="T9" fmla="*/ 193 h 232"/>
                  <a:gd name="T10" fmla="*/ 130 w 130"/>
                  <a:gd name="T11" fmla="*/ 232 h 232"/>
                  <a:gd name="T12" fmla="*/ 0 w 130"/>
                  <a:gd name="T13" fmla="*/ 232 h 232"/>
                </a:gdLst>
                <a:ahLst/>
                <a:cxnLst>
                  <a:cxn ang="0">
                    <a:pos x="T0" y="T1"/>
                  </a:cxn>
                  <a:cxn ang="0">
                    <a:pos x="T2" y="T3"/>
                  </a:cxn>
                  <a:cxn ang="0">
                    <a:pos x="T4" y="T5"/>
                  </a:cxn>
                  <a:cxn ang="0">
                    <a:pos x="T6" y="T7"/>
                  </a:cxn>
                  <a:cxn ang="0">
                    <a:pos x="T8" y="T9"/>
                  </a:cxn>
                  <a:cxn ang="0">
                    <a:pos x="T10" y="T11"/>
                  </a:cxn>
                  <a:cxn ang="0">
                    <a:pos x="T12" y="T13"/>
                  </a:cxn>
                </a:cxnLst>
                <a:rect l="0" t="0" r="r" b="b"/>
                <a:pathLst>
                  <a:path w="130" h="232">
                    <a:moveTo>
                      <a:pt x="0" y="232"/>
                    </a:moveTo>
                    <a:lnTo>
                      <a:pt x="0" y="0"/>
                    </a:lnTo>
                    <a:lnTo>
                      <a:pt x="47" y="0"/>
                    </a:lnTo>
                    <a:lnTo>
                      <a:pt x="47" y="193"/>
                    </a:lnTo>
                    <a:lnTo>
                      <a:pt x="130" y="193"/>
                    </a:lnTo>
                    <a:lnTo>
                      <a:pt x="130" y="232"/>
                    </a:lnTo>
                    <a:lnTo>
                      <a:pt x="0"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40" name="Freeform 17">
                <a:extLst>
                  <a:ext uri="{FF2B5EF4-FFF2-40B4-BE49-F238E27FC236}">
                    <a16:creationId xmlns:a16="http://schemas.microsoft.com/office/drawing/2014/main" xmlns="" id="{644E283A-B20B-4F49-85E7-333278004719}"/>
                  </a:ext>
                </a:extLst>
              </p:cNvPr>
              <p:cNvSpPr>
                <a:spLocks/>
              </p:cNvSpPr>
              <p:nvPr userDrawn="1"/>
            </p:nvSpPr>
            <p:spPr bwMode="auto">
              <a:xfrm>
                <a:off x="8848725" y="4805363"/>
                <a:ext cx="77788" cy="123825"/>
              </a:xfrm>
              <a:custGeom>
                <a:avLst/>
                <a:gdLst>
                  <a:gd name="T0" fmla="*/ 148 w 148"/>
                  <a:gd name="T1" fmla="*/ 0 h 232"/>
                  <a:gd name="T2" fmla="*/ 148 w 148"/>
                  <a:gd name="T3" fmla="*/ 39 h 232"/>
                  <a:gd name="T4" fmla="*/ 97 w 148"/>
                  <a:gd name="T5" fmla="*/ 39 h 232"/>
                  <a:gd name="T6" fmla="*/ 97 w 148"/>
                  <a:gd name="T7" fmla="*/ 232 h 232"/>
                  <a:gd name="T8" fmla="*/ 51 w 148"/>
                  <a:gd name="T9" fmla="*/ 232 h 232"/>
                  <a:gd name="T10" fmla="*/ 51 w 148"/>
                  <a:gd name="T11" fmla="*/ 39 h 232"/>
                  <a:gd name="T12" fmla="*/ 0 w 148"/>
                  <a:gd name="T13" fmla="*/ 39 h 232"/>
                  <a:gd name="T14" fmla="*/ 0 w 148"/>
                  <a:gd name="T15" fmla="*/ 0 h 232"/>
                  <a:gd name="T16" fmla="*/ 148 w 148"/>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32">
                    <a:moveTo>
                      <a:pt x="148" y="0"/>
                    </a:moveTo>
                    <a:lnTo>
                      <a:pt x="148" y="39"/>
                    </a:lnTo>
                    <a:lnTo>
                      <a:pt x="97" y="39"/>
                    </a:lnTo>
                    <a:lnTo>
                      <a:pt x="97" y="232"/>
                    </a:lnTo>
                    <a:lnTo>
                      <a:pt x="51" y="232"/>
                    </a:lnTo>
                    <a:lnTo>
                      <a:pt x="51" y="39"/>
                    </a:lnTo>
                    <a:lnTo>
                      <a:pt x="0" y="39"/>
                    </a:lnTo>
                    <a:lnTo>
                      <a:pt x="0" y="0"/>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grpSp>
      </p:grpSp>
    </p:spTree>
    <p:extLst>
      <p:ext uri="{BB962C8B-B14F-4D97-AF65-F5344CB8AC3E}">
        <p14:creationId xmlns:p14="http://schemas.microsoft.com/office/powerpoint/2010/main" val="4145245767"/>
      </p:ext>
    </p:extLst>
  </p:cSld>
  <p:clrMapOvr>
    <a:masterClrMapping/>
  </p:clrMapOvr>
  <p:extLst mod="1">
    <p:ext uri="{DCECCB84-F9BA-43D5-87BE-67443E8EF086}">
      <p15:sldGuideLst xmlns:p15="http://schemas.microsoft.com/office/powerpoint/2012/main">
        <p15:guide id="1" pos="340">
          <p15:clr>
            <a:srgbClr val="FBAE40"/>
          </p15:clr>
        </p15:guide>
        <p15:guide id="2" orient="horz" pos="2445">
          <p15:clr>
            <a:srgbClr val="FBAE40"/>
          </p15:clr>
        </p15:guide>
        <p15:guide id="4" pos="3690">
          <p15:clr>
            <a:srgbClr val="FBAE40"/>
          </p15:clr>
        </p15:guide>
        <p15:guide id="5" orient="horz" pos="2788">
          <p15:clr>
            <a:srgbClr val="FBAE40"/>
          </p15:clr>
        </p15:guide>
        <p15:guide id="6" pos="113">
          <p15:clr>
            <a:srgbClr val="FBAE40"/>
          </p15:clr>
        </p15:guide>
        <p15:guide id="7" orient="horz" pos="113">
          <p15:clr>
            <a:srgbClr val="FBAE40"/>
          </p15:clr>
        </p15:guide>
        <p15:guide id="9" pos="564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uverture 1">
    <p:spTree>
      <p:nvGrpSpPr>
        <p:cNvPr id="1" name=""/>
        <p:cNvGrpSpPr/>
        <p:nvPr/>
      </p:nvGrpSpPr>
      <p:grpSpPr>
        <a:xfrm>
          <a:off x="0" y="0"/>
          <a:ext cx="0" cy="0"/>
          <a:chOff x="0" y="0"/>
          <a:chExt cx="0" cy="0"/>
        </a:xfrm>
      </p:grpSpPr>
      <p:grpSp>
        <p:nvGrpSpPr>
          <p:cNvPr id="3" name="Groupe 10"/>
          <p:cNvGrpSpPr>
            <a:grpSpLocks/>
          </p:cNvGrpSpPr>
          <p:nvPr userDrawn="1"/>
        </p:nvGrpSpPr>
        <p:grpSpPr bwMode="auto">
          <a:xfrm>
            <a:off x="0" y="836613"/>
            <a:ext cx="9144000" cy="3887787"/>
            <a:chOff x="0" y="836613"/>
            <a:chExt cx="9144000" cy="3887787"/>
          </a:xfrm>
        </p:grpSpPr>
        <p:pic>
          <p:nvPicPr>
            <p:cNvPr id="4" name="Picture 3" descr="Frise2"/>
            <p:cNvPicPr>
              <a:picLocks noChangeAspect="1" noChangeArrowheads="1"/>
            </p:cNvPicPr>
            <p:nvPr/>
          </p:nvPicPr>
          <p:blipFill>
            <a:blip r:embed="rId2" cstate="print">
              <a:extLst>
                <a:ext uri="{28A0092B-C50C-407E-A947-70E740481C1C}">
                  <a14:useLocalDpi xmlns:a14="http://schemas.microsoft.com/office/drawing/2010/main" val="0"/>
                </a:ext>
              </a:extLst>
            </a:blip>
            <a:srcRect t="12199" b="31111"/>
            <a:stretch>
              <a:fillRect/>
            </a:stretch>
          </p:blipFill>
          <p:spPr bwMode="gray">
            <a:xfrm>
              <a:off x="0" y="836613"/>
              <a:ext cx="9144000" cy="3887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reeform 4"/>
            <p:cNvSpPr>
              <a:spLocks/>
            </p:cNvSpPr>
            <p:nvPr/>
          </p:nvSpPr>
          <p:spPr bwMode="gray">
            <a:xfrm>
              <a:off x="0" y="855663"/>
              <a:ext cx="8272463" cy="1373187"/>
            </a:xfrm>
            <a:custGeom>
              <a:avLst/>
              <a:gdLst>
                <a:gd name="T0" fmla="*/ 2147483647 w 1285"/>
                <a:gd name="T1" fmla="*/ 0 h 213"/>
                <a:gd name="T2" fmla="*/ 0 w 1285"/>
                <a:gd name="T3" fmla="*/ 0 h 213"/>
                <a:gd name="T4" fmla="*/ 0 w 1285"/>
                <a:gd name="T5" fmla="*/ 2147483647 h 213"/>
                <a:gd name="T6" fmla="*/ 2147483647 w 1285"/>
                <a:gd name="T7" fmla="*/ 2147483647 h 213"/>
                <a:gd name="T8" fmla="*/ 2147483647 w 1285"/>
                <a:gd name="T9" fmla="*/ 2147483647 h 213"/>
                <a:gd name="T10" fmla="*/ 2147483647 w 1285"/>
                <a:gd name="T11" fmla="*/ 2147483647 h 213"/>
                <a:gd name="T12" fmla="*/ 2147483647 w 1285"/>
                <a:gd name="T13" fmla="*/ 0 h 2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85" h="213">
                  <a:moveTo>
                    <a:pt x="1285" y="0"/>
                  </a:moveTo>
                  <a:cubicBezTo>
                    <a:pt x="0" y="0"/>
                    <a:pt x="0" y="0"/>
                    <a:pt x="0" y="0"/>
                  </a:cubicBezTo>
                  <a:cubicBezTo>
                    <a:pt x="0" y="213"/>
                    <a:pt x="0" y="213"/>
                    <a:pt x="0" y="213"/>
                  </a:cubicBezTo>
                  <a:cubicBezTo>
                    <a:pt x="1199" y="213"/>
                    <a:pt x="1199" y="213"/>
                    <a:pt x="1199" y="213"/>
                  </a:cubicBezTo>
                  <a:cubicBezTo>
                    <a:pt x="1214" y="213"/>
                    <a:pt x="1227" y="211"/>
                    <a:pt x="1238" y="207"/>
                  </a:cubicBezTo>
                  <a:cubicBezTo>
                    <a:pt x="1268" y="196"/>
                    <a:pt x="1285" y="171"/>
                    <a:pt x="1285" y="131"/>
                  </a:cubicBezTo>
                  <a:cubicBezTo>
                    <a:pt x="1285" y="0"/>
                    <a:pt x="1285" y="0"/>
                    <a:pt x="1285" y="0"/>
                  </a:cubicBezTo>
                </a:path>
              </a:pathLst>
            </a:custGeom>
            <a:solidFill>
              <a:schemeClr val="accent2">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fr-FR" sz="2400">
                <a:solidFill>
                  <a:prstClr val="black"/>
                </a:solidFill>
              </a:endParaRPr>
            </a:p>
          </p:txBody>
        </p:sp>
      </p:grpSp>
      <p:sp>
        <p:nvSpPr>
          <p:cNvPr id="6" name="Rectangle 5"/>
          <p:cNvSpPr/>
          <p:nvPr userDrawn="1"/>
        </p:nvSpPr>
        <p:spPr>
          <a:xfrm>
            <a:off x="6054725" y="5572125"/>
            <a:ext cx="2609850" cy="796925"/>
          </a:xfrm>
          <a:prstGeom prst="rect">
            <a:avLst/>
          </a:pr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prstClr val="white"/>
              </a:solidFill>
            </a:endParaRPr>
          </a:p>
        </p:txBody>
      </p:sp>
      <p:sp>
        <p:nvSpPr>
          <p:cNvPr id="7" name="Rectangle 6"/>
          <p:cNvSpPr/>
          <p:nvPr userDrawn="1"/>
        </p:nvSpPr>
        <p:spPr bwMode="hidden">
          <a:xfrm>
            <a:off x="6054725" y="5572125"/>
            <a:ext cx="2609850" cy="796925"/>
          </a:xfrm>
          <a:prstGeom prst="rect">
            <a:avLst/>
          </a:prstGeom>
          <a:blipFill>
            <a:blip r:embed="rId4"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prstClr val="white"/>
              </a:solidFill>
            </a:endParaRPr>
          </a:p>
        </p:txBody>
      </p:sp>
      <p:sp>
        <p:nvSpPr>
          <p:cNvPr id="21" name="Espace réservé du texte 20"/>
          <p:cNvSpPr>
            <a:spLocks noGrp="1"/>
          </p:cNvSpPr>
          <p:nvPr>
            <p:ph type="body" sz="quarter" idx="13"/>
          </p:nvPr>
        </p:nvSpPr>
        <p:spPr bwMode="gray">
          <a:xfrm>
            <a:off x="889200" y="844062"/>
            <a:ext cx="7340400" cy="1391540"/>
          </a:xfrm>
        </p:spPr>
        <p:txBody>
          <a:bodyPr anchor="ctr"/>
          <a:lstStyle>
            <a:lvl1pPr marL="0" indent="0">
              <a:lnSpc>
                <a:spcPts val="3300"/>
              </a:lnSpc>
              <a:spcBef>
                <a:spcPts val="0"/>
              </a:spcBef>
              <a:spcAft>
                <a:spcPts val="0"/>
              </a:spcAft>
              <a:buFont typeface="Arial" pitchFamily="34" charset="0"/>
              <a:buNone/>
              <a:tabLst/>
              <a:defRPr sz="2100" b="1">
                <a:solidFill>
                  <a:schemeClr val="bg1"/>
                </a:solidFill>
              </a:defRPr>
            </a:lvl1pPr>
            <a:lvl2pPr marL="0" indent="0">
              <a:lnSpc>
                <a:spcPts val="2200"/>
              </a:lnSpc>
              <a:spcBef>
                <a:spcPts val="0"/>
              </a:spcBef>
              <a:spcAft>
                <a:spcPts val="0"/>
              </a:spcAft>
              <a:buNone/>
              <a:tabLst/>
              <a:defRPr sz="1400">
                <a:solidFill>
                  <a:schemeClr val="bg1"/>
                </a:solidFill>
              </a:defRPr>
            </a:lvl2pPr>
            <a:lvl3pPr marL="0" indent="0">
              <a:lnSpc>
                <a:spcPts val="2000"/>
              </a:lnSpc>
              <a:spcBef>
                <a:spcPts val="0"/>
              </a:spcBef>
              <a:buNone/>
              <a:tabLst/>
              <a:defRPr sz="1300" b="1">
                <a:solidFill>
                  <a:schemeClr val="bg1"/>
                </a:solidFill>
              </a:defRPr>
            </a:lvl3pPr>
            <a:lvl4pPr marL="3175" indent="0">
              <a:buFont typeface="Arial" pitchFamily="34" charset="0"/>
              <a:buNone/>
              <a:tabLst/>
              <a:defRPr>
                <a:solidFill>
                  <a:schemeClr val="tx1"/>
                </a:solidFill>
              </a:defRPr>
            </a:lvl4pPr>
            <a:lvl5pPr marL="3175" indent="0">
              <a:buFont typeface="Arial" pitchFamily="34" charset="0"/>
              <a:buNone/>
              <a:tabLst/>
              <a:defRPr>
                <a:solidFill>
                  <a:schemeClr val="tx1"/>
                </a:solidFill>
              </a:defRPr>
            </a:lvl5pPr>
          </a:lstStyle>
          <a:p>
            <a:pPr lvl="0"/>
            <a:r>
              <a:rPr lang="fr-FR" dirty="0"/>
              <a:t>Cliquez pour modifier les styles du texte du masque</a:t>
            </a:r>
          </a:p>
          <a:p>
            <a:pPr lvl="1"/>
            <a:r>
              <a:rPr lang="fr-FR" dirty="0"/>
              <a:t>Deuxième niveau</a:t>
            </a:r>
          </a:p>
          <a:p>
            <a:pPr lvl="2"/>
            <a:r>
              <a:rPr lang="fr-FR" dirty="0"/>
              <a:t>Troisième niveau</a:t>
            </a:r>
          </a:p>
        </p:txBody>
      </p:sp>
      <p:sp>
        <p:nvSpPr>
          <p:cNvPr id="8" name="Espace réservé de la date 12"/>
          <p:cNvSpPr>
            <a:spLocks noGrp="1"/>
          </p:cNvSpPr>
          <p:nvPr>
            <p:ph type="dt" sz="half" idx="14"/>
          </p:nvPr>
        </p:nvSpPr>
        <p:spPr/>
        <p:txBody>
          <a:bodyPr/>
          <a:lstStyle>
            <a:lvl1pPr eaLnBrk="0" fontAlgn="base" hangingPunct="0">
              <a:spcBef>
                <a:spcPct val="0"/>
              </a:spcBef>
              <a:spcAft>
                <a:spcPct val="0"/>
              </a:spcAft>
              <a:defRPr>
                <a:latin typeface="Arial" charset="0"/>
              </a:defRPr>
            </a:lvl1pPr>
          </a:lstStyle>
          <a:p>
            <a:pPr>
              <a:defRPr/>
            </a:pPr>
            <a:endParaRPr lang="fr-FR" dirty="0"/>
          </a:p>
        </p:txBody>
      </p:sp>
      <p:sp>
        <p:nvSpPr>
          <p:cNvPr id="9" name="Espace réservé du numéro de diapositive 13"/>
          <p:cNvSpPr>
            <a:spLocks noGrp="1"/>
          </p:cNvSpPr>
          <p:nvPr>
            <p:ph type="sldNum" sz="quarter" idx="15"/>
          </p:nvPr>
        </p:nvSpPr>
        <p:spPr/>
        <p:txBody>
          <a:bodyPr/>
          <a:lstStyle>
            <a:lvl1pPr eaLnBrk="0" fontAlgn="base" hangingPunct="0">
              <a:spcBef>
                <a:spcPct val="0"/>
              </a:spcBef>
              <a:spcAft>
                <a:spcPct val="0"/>
              </a:spcAft>
              <a:defRPr>
                <a:solidFill>
                  <a:prstClr val="white"/>
                </a:solidFill>
                <a:latin typeface="Arial" charset="0"/>
              </a:defRPr>
            </a:lvl1pPr>
          </a:lstStyle>
          <a:p>
            <a:pPr>
              <a:defRPr/>
            </a:pPr>
            <a:fld id="{D8B057EB-0DF1-4D71-B95F-64ADF37DAC12}" type="slidenum">
              <a:rPr lang="fr-FR"/>
              <a:pPr>
                <a:defRPr/>
              </a:pPr>
              <a:t>‹N°›</a:t>
            </a:fld>
            <a:endParaRPr lang="fr-FR" dirty="0"/>
          </a:p>
        </p:txBody>
      </p:sp>
      <p:sp>
        <p:nvSpPr>
          <p:cNvPr id="10" name="Espace réservé du pied de page 21"/>
          <p:cNvSpPr>
            <a:spLocks noGrp="1"/>
          </p:cNvSpPr>
          <p:nvPr>
            <p:ph type="ftr" sz="quarter" idx="16"/>
          </p:nvPr>
        </p:nvSpPr>
        <p:spPr/>
        <p:txBody>
          <a:bodyPr/>
          <a:lstStyle>
            <a:lvl1pPr eaLnBrk="0" fontAlgn="base" hangingPunct="0">
              <a:spcBef>
                <a:spcPct val="0"/>
              </a:spcBef>
              <a:spcAft>
                <a:spcPct val="0"/>
              </a:spcAft>
              <a:defRPr>
                <a:solidFill>
                  <a:prstClr val="white"/>
                </a:solidFill>
                <a:latin typeface="Arial" charset="0"/>
              </a:defRPr>
            </a:lvl1pPr>
          </a:lstStyle>
          <a:p>
            <a:pPr>
              <a:defRPr/>
            </a:pPr>
            <a:r>
              <a:rPr lang="fr-FR"/>
              <a:t>CR2PA - Atelier N°8 -10 déc 2015_RTE       Bernard Ouillon, Yves Sarrazin</a:t>
            </a:r>
            <a:endParaRPr lang="fr-FR" dirty="0"/>
          </a:p>
        </p:txBody>
      </p:sp>
    </p:spTree>
    <p:extLst>
      <p:ext uri="{BB962C8B-B14F-4D97-AF65-F5344CB8AC3E}">
        <p14:creationId xmlns:p14="http://schemas.microsoft.com/office/powerpoint/2010/main" val="3329641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uverture 2">
    <p:spTree>
      <p:nvGrpSpPr>
        <p:cNvPr id="1" name=""/>
        <p:cNvGrpSpPr/>
        <p:nvPr/>
      </p:nvGrpSpPr>
      <p:grpSpPr>
        <a:xfrm>
          <a:off x="0" y="0"/>
          <a:ext cx="0" cy="0"/>
          <a:chOff x="0" y="0"/>
          <a:chExt cx="0" cy="0"/>
        </a:xfrm>
      </p:grpSpPr>
      <p:sp>
        <p:nvSpPr>
          <p:cNvPr id="29" name="Espace réservé pour une image  9"/>
          <p:cNvSpPr>
            <a:spLocks noGrp="1"/>
          </p:cNvSpPr>
          <p:nvPr>
            <p:ph type="pic" sz="quarter" idx="13"/>
          </p:nvPr>
        </p:nvSpPr>
        <p:spPr>
          <a:xfrm>
            <a:off x="0" y="932400"/>
            <a:ext cx="9144000" cy="3474000"/>
          </a:xfrm>
          <a:solidFill>
            <a:schemeClr val="bg2"/>
          </a:solidFill>
        </p:spPr>
        <p:txBody>
          <a:bodyPr rtlCol="0" anchor="ctr">
            <a:noAutofit/>
          </a:bodyPr>
          <a:lstStyle>
            <a:lvl1pPr algn="ctr">
              <a:defRPr>
                <a:solidFill>
                  <a:schemeClr val="tx1"/>
                </a:solidFill>
              </a:defRPr>
            </a:lvl1pPr>
          </a:lstStyle>
          <a:p>
            <a:pPr lvl="0"/>
            <a:r>
              <a:rPr lang="fr-FR" noProof="0"/>
              <a:t>Cliquez sur l'icône pour ajouter une image</a:t>
            </a:r>
            <a:endParaRPr lang="fr-FR" noProof="0" dirty="0"/>
          </a:p>
        </p:txBody>
      </p:sp>
      <p:sp>
        <p:nvSpPr>
          <p:cNvPr id="18" name="Espace réservé du texte 11"/>
          <p:cNvSpPr>
            <a:spLocks noGrp="1"/>
          </p:cNvSpPr>
          <p:nvPr>
            <p:ph type="body" sz="quarter" idx="26"/>
          </p:nvPr>
        </p:nvSpPr>
        <p:spPr bwMode="white">
          <a:xfrm>
            <a:off x="-8792" y="1440000"/>
            <a:ext cx="5612400" cy="1440000"/>
          </a:xfrm>
          <a:blipFill>
            <a:blip r:embed="rId2" cstate="print"/>
            <a:stretch>
              <a:fillRect/>
            </a:stretch>
          </a:blipFill>
        </p:spPr>
        <p:txBody>
          <a:bodyPr anchor="ctr"/>
          <a:lstStyle>
            <a:lvl1pPr algn="ctr">
              <a:defRPr/>
            </a:lvl1pPr>
          </a:lstStyle>
          <a:p>
            <a:pPr lvl="0"/>
            <a:r>
              <a:rPr lang="fr-FR"/>
              <a:t>Modifiez les styles du texte du masque</a:t>
            </a:r>
          </a:p>
        </p:txBody>
      </p:sp>
      <p:sp>
        <p:nvSpPr>
          <p:cNvPr id="13" name="Espace réservé du texte 11"/>
          <p:cNvSpPr>
            <a:spLocks noGrp="1"/>
          </p:cNvSpPr>
          <p:nvPr>
            <p:ph type="body" sz="quarter" idx="22"/>
          </p:nvPr>
        </p:nvSpPr>
        <p:spPr bwMode="white">
          <a:xfrm>
            <a:off x="0" y="0"/>
            <a:ext cx="9144000" cy="1144800"/>
          </a:xfrm>
          <a:solidFill>
            <a:schemeClr val="bg1"/>
          </a:solidFill>
        </p:spPr>
        <p:txBody>
          <a:bodyPr anchor="ctr"/>
          <a:lstStyle>
            <a:lvl1pPr algn="ctr">
              <a:defRPr/>
            </a:lvl1pPr>
          </a:lstStyle>
          <a:p>
            <a:pPr lvl="0"/>
            <a:r>
              <a:rPr lang="fr-FR"/>
              <a:t>Modifiez les styles du texte du masque</a:t>
            </a:r>
          </a:p>
        </p:txBody>
      </p:sp>
      <p:sp>
        <p:nvSpPr>
          <p:cNvPr id="26" name="Espace réservé du texte 11"/>
          <p:cNvSpPr>
            <a:spLocks noGrp="1"/>
          </p:cNvSpPr>
          <p:nvPr>
            <p:ph type="body" sz="quarter" idx="18"/>
          </p:nvPr>
        </p:nvSpPr>
        <p:spPr bwMode="white">
          <a:xfrm>
            <a:off x="0" y="4230000"/>
            <a:ext cx="9144000" cy="2628000"/>
          </a:xfrm>
          <a:solidFill>
            <a:schemeClr val="bg1"/>
          </a:solidFill>
        </p:spPr>
        <p:txBody>
          <a:bodyPr anchor="ctr"/>
          <a:lstStyle>
            <a:lvl1pPr algn="ctr">
              <a:defRPr/>
            </a:lvl1pPr>
          </a:lstStyle>
          <a:p>
            <a:pPr lvl="0"/>
            <a:r>
              <a:rPr lang="fr-FR"/>
              <a:t>Modifiez les styles du texte du masque</a:t>
            </a:r>
          </a:p>
        </p:txBody>
      </p:sp>
      <p:sp>
        <p:nvSpPr>
          <p:cNvPr id="12" name="Espace réservé du texte 11"/>
          <p:cNvSpPr>
            <a:spLocks noGrp="1"/>
          </p:cNvSpPr>
          <p:nvPr>
            <p:ph type="body" sz="quarter" idx="14"/>
          </p:nvPr>
        </p:nvSpPr>
        <p:spPr>
          <a:xfrm>
            <a:off x="0" y="3722400"/>
            <a:ext cx="9144000" cy="792000"/>
          </a:xfrm>
          <a:blipFill>
            <a:blip r:embed="rId3" cstate="print"/>
            <a:stretch>
              <a:fillRect/>
            </a:stretch>
          </a:blipFill>
        </p:spPr>
        <p:txBody>
          <a:bodyPr anchor="ctr"/>
          <a:lstStyle>
            <a:lvl1pPr algn="ctr">
              <a:defRPr/>
            </a:lvl1pPr>
          </a:lstStyle>
          <a:p>
            <a:pPr lvl="0"/>
            <a:r>
              <a:rPr lang="fr-FR"/>
              <a:t>Modifiez les styles du texte du masque</a:t>
            </a:r>
          </a:p>
        </p:txBody>
      </p:sp>
      <p:sp>
        <p:nvSpPr>
          <p:cNvPr id="28" name="Espace réservé du texte 11"/>
          <p:cNvSpPr>
            <a:spLocks noGrp="1"/>
          </p:cNvSpPr>
          <p:nvPr>
            <p:ph type="body" sz="quarter" idx="19"/>
          </p:nvPr>
        </p:nvSpPr>
        <p:spPr>
          <a:xfrm>
            <a:off x="6055200" y="5572800"/>
            <a:ext cx="2610000" cy="795600"/>
          </a:xfrm>
          <a:blipFill>
            <a:blip r:embed="rId4" cstate="print"/>
            <a:stretch>
              <a:fillRect/>
            </a:stretch>
          </a:blipFill>
        </p:spPr>
        <p:txBody>
          <a:bodyPr anchor="ctr"/>
          <a:lstStyle>
            <a:lvl1pPr algn="ctr">
              <a:defRPr/>
            </a:lvl1pPr>
          </a:lstStyle>
          <a:p>
            <a:pPr lvl="0"/>
            <a:r>
              <a:rPr lang="fr-FR"/>
              <a:t>Modifiez les styles du texte du masque</a:t>
            </a:r>
          </a:p>
        </p:txBody>
      </p:sp>
      <p:sp>
        <p:nvSpPr>
          <p:cNvPr id="30" name="Espace réservé du texte 11"/>
          <p:cNvSpPr>
            <a:spLocks noGrp="1"/>
          </p:cNvSpPr>
          <p:nvPr>
            <p:ph type="body" sz="quarter" idx="20"/>
          </p:nvPr>
        </p:nvSpPr>
        <p:spPr bwMode="hidden">
          <a:xfrm>
            <a:off x="6055200" y="5572800"/>
            <a:ext cx="2610000" cy="795600"/>
          </a:xfrm>
          <a:blipFill>
            <a:blip r:embed="rId5" cstate="print"/>
            <a:stretch>
              <a:fillRect/>
            </a:stretch>
          </a:blipFill>
        </p:spPr>
        <p:txBody>
          <a:bodyPr anchor="ctr"/>
          <a:lstStyle>
            <a:lvl1pPr algn="ctr">
              <a:defRPr/>
            </a:lvl1pPr>
          </a:lstStyle>
          <a:p>
            <a:pPr lvl="0"/>
            <a:r>
              <a:rPr lang="fr-FR"/>
              <a:t>Modifiez les styles du texte du masque</a:t>
            </a:r>
          </a:p>
        </p:txBody>
      </p:sp>
      <p:sp>
        <p:nvSpPr>
          <p:cNvPr id="31" name="Espace réservé du texte 20"/>
          <p:cNvSpPr>
            <a:spLocks noGrp="1"/>
          </p:cNvSpPr>
          <p:nvPr>
            <p:ph type="body" sz="quarter" idx="21"/>
          </p:nvPr>
        </p:nvSpPr>
        <p:spPr bwMode="gray">
          <a:xfrm>
            <a:off x="889200" y="1459523"/>
            <a:ext cx="4366800" cy="1382122"/>
          </a:xfrm>
        </p:spPr>
        <p:txBody>
          <a:bodyPr anchor="ctr"/>
          <a:lstStyle>
            <a:lvl1pPr marL="0" indent="0">
              <a:lnSpc>
                <a:spcPts val="3300"/>
              </a:lnSpc>
              <a:spcBef>
                <a:spcPts val="0"/>
              </a:spcBef>
              <a:spcAft>
                <a:spcPts val="0"/>
              </a:spcAft>
              <a:buFont typeface="Arial" pitchFamily="34" charset="0"/>
              <a:buNone/>
              <a:tabLst/>
              <a:defRPr sz="2100" b="1">
                <a:solidFill>
                  <a:schemeClr val="bg1"/>
                </a:solidFill>
              </a:defRPr>
            </a:lvl1pPr>
            <a:lvl2pPr marL="0" indent="0">
              <a:lnSpc>
                <a:spcPts val="2200"/>
              </a:lnSpc>
              <a:spcBef>
                <a:spcPts val="0"/>
              </a:spcBef>
              <a:spcAft>
                <a:spcPts val="0"/>
              </a:spcAft>
              <a:buNone/>
              <a:tabLst/>
              <a:defRPr sz="1400">
                <a:solidFill>
                  <a:schemeClr val="bg1"/>
                </a:solidFill>
              </a:defRPr>
            </a:lvl2pPr>
            <a:lvl3pPr marL="0" indent="0">
              <a:lnSpc>
                <a:spcPts val="2000"/>
              </a:lnSpc>
              <a:spcBef>
                <a:spcPts val="0"/>
              </a:spcBef>
              <a:buNone/>
              <a:tabLst/>
              <a:defRPr sz="1300" b="1">
                <a:solidFill>
                  <a:schemeClr val="bg1"/>
                </a:solidFill>
              </a:defRPr>
            </a:lvl3pPr>
            <a:lvl4pPr marL="3175" indent="0">
              <a:buFont typeface="Arial" pitchFamily="34" charset="0"/>
              <a:buNone/>
              <a:tabLst/>
              <a:defRPr>
                <a:solidFill>
                  <a:schemeClr val="tx1"/>
                </a:solidFill>
              </a:defRPr>
            </a:lvl4pPr>
            <a:lvl5pPr marL="3175" indent="0">
              <a:buFont typeface="Arial" pitchFamily="34" charset="0"/>
              <a:buNone/>
              <a:tabLst/>
              <a:defRPr>
                <a:solidFill>
                  <a:schemeClr val="tx1"/>
                </a:solidFill>
              </a:defRPr>
            </a:lvl5pPr>
          </a:lstStyle>
          <a:p>
            <a:pPr lvl="0"/>
            <a:r>
              <a:rPr lang="fr-FR" dirty="0"/>
              <a:t>Cliquez pour modifier les styles du texte du masque</a:t>
            </a:r>
          </a:p>
          <a:p>
            <a:pPr lvl="1"/>
            <a:r>
              <a:rPr lang="fr-FR" dirty="0"/>
              <a:t>Deuxième niveau</a:t>
            </a:r>
          </a:p>
          <a:p>
            <a:pPr lvl="2"/>
            <a:r>
              <a:rPr lang="fr-FR" dirty="0"/>
              <a:t>Troisième niveau</a:t>
            </a:r>
          </a:p>
        </p:txBody>
      </p:sp>
      <p:sp>
        <p:nvSpPr>
          <p:cNvPr id="10" name="Espace réservé de la date 13"/>
          <p:cNvSpPr>
            <a:spLocks noGrp="1"/>
          </p:cNvSpPr>
          <p:nvPr>
            <p:ph type="dt" sz="half" idx="27"/>
          </p:nvPr>
        </p:nvSpPr>
        <p:spPr/>
        <p:txBody>
          <a:bodyPr/>
          <a:lstStyle>
            <a:lvl1pPr eaLnBrk="0" fontAlgn="base" hangingPunct="0">
              <a:spcBef>
                <a:spcPct val="0"/>
              </a:spcBef>
              <a:spcAft>
                <a:spcPct val="0"/>
              </a:spcAft>
              <a:defRPr>
                <a:latin typeface="Arial" charset="0"/>
              </a:defRPr>
            </a:lvl1pPr>
          </a:lstStyle>
          <a:p>
            <a:pPr>
              <a:defRPr/>
            </a:pPr>
            <a:endParaRPr lang="fr-FR" dirty="0"/>
          </a:p>
        </p:txBody>
      </p:sp>
      <p:sp>
        <p:nvSpPr>
          <p:cNvPr id="11" name="Espace réservé du numéro de diapositive 14"/>
          <p:cNvSpPr>
            <a:spLocks noGrp="1"/>
          </p:cNvSpPr>
          <p:nvPr>
            <p:ph type="sldNum" sz="quarter" idx="28"/>
          </p:nvPr>
        </p:nvSpPr>
        <p:spPr/>
        <p:txBody>
          <a:bodyPr/>
          <a:lstStyle>
            <a:lvl1pPr eaLnBrk="0" fontAlgn="base" hangingPunct="0">
              <a:spcBef>
                <a:spcPct val="0"/>
              </a:spcBef>
              <a:spcAft>
                <a:spcPct val="0"/>
              </a:spcAft>
              <a:defRPr>
                <a:solidFill>
                  <a:prstClr val="white"/>
                </a:solidFill>
                <a:latin typeface="Arial" charset="0"/>
              </a:defRPr>
            </a:lvl1pPr>
          </a:lstStyle>
          <a:p>
            <a:pPr>
              <a:defRPr/>
            </a:pPr>
            <a:fld id="{88F42C69-BE89-466B-91B6-DB2ED620036E}" type="slidenum">
              <a:rPr lang="fr-FR"/>
              <a:pPr>
                <a:defRPr/>
              </a:pPr>
              <a:t>‹N°›</a:t>
            </a:fld>
            <a:endParaRPr lang="fr-FR" dirty="0"/>
          </a:p>
        </p:txBody>
      </p:sp>
      <p:sp>
        <p:nvSpPr>
          <p:cNvPr id="14" name="Espace réservé du pied de page 15"/>
          <p:cNvSpPr>
            <a:spLocks noGrp="1"/>
          </p:cNvSpPr>
          <p:nvPr>
            <p:ph type="ftr" sz="quarter" idx="29"/>
          </p:nvPr>
        </p:nvSpPr>
        <p:spPr/>
        <p:txBody>
          <a:bodyPr/>
          <a:lstStyle>
            <a:lvl1pPr eaLnBrk="0" fontAlgn="base" hangingPunct="0">
              <a:spcBef>
                <a:spcPct val="0"/>
              </a:spcBef>
              <a:spcAft>
                <a:spcPct val="0"/>
              </a:spcAft>
              <a:defRPr>
                <a:solidFill>
                  <a:prstClr val="white"/>
                </a:solidFill>
                <a:latin typeface="Arial" charset="0"/>
              </a:defRPr>
            </a:lvl1pPr>
          </a:lstStyle>
          <a:p>
            <a:pPr>
              <a:defRPr/>
            </a:pPr>
            <a:r>
              <a:rPr lang="fr-FR"/>
              <a:t>CR2PA - Atelier N°8 -10 déc 2015_RTE       Bernard Ouillon, Yves Sarrazin</a:t>
            </a:r>
            <a:endParaRPr lang="fr-FR" dirty="0"/>
          </a:p>
        </p:txBody>
      </p:sp>
    </p:spTree>
    <p:extLst>
      <p:ext uri="{BB962C8B-B14F-4D97-AF65-F5344CB8AC3E}">
        <p14:creationId xmlns:p14="http://schemas.microsoft.com/office/powerpoint/2010/main" val="38117456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re">
    <p:spTree>
      <p:nvGrpSpPr>
        <p:cNvPr id="1" name=""/>
        <p:cNvGrpSpPr/>
        <p:nvPr/>
      </p:nvGrpSpPr>
      <p:grpSpPr>
        <a:xfrm>
          <a:off x="0" y="0"/>
          <a:ext cx="0" cy="0"/>
          <a:chOff x="0" y="0"/>
          <a:chExt cx="0" cy="0"/>
        </a:xfrm>
      </p:grpSpPr>
      <p:grpSp>
        <p:nvGrpSpPr>
          <p:cNvPr id="4" name="Group 2"/>
          <p:cNvGrpSpPr>
            <a:grpSpLocks/>
          </p:cNvGrpSpPr>
          <p:nvPr userDrawn="1"/>
        </p:nvGrpSpPr>
        <p:grpSpPr bwMode="auto">
          <a:xfrm>
            <a:off x="0" y="0"/>
            <a:ext cx="8620125" cy="6011863"/>
            <a:chOff x="0" y="0"/>
            <a:chExt cx="5430" cy="3787"/>
          </a:xfrm>
          <a:solidFill>
            <a:schemeClr val="accent2"/>
          </a:solidFill>
        </p:grpSpPr>
        <p:sp>
          <p:nvSpPr>
            <p:cNvPr id="5" name="Freeform 3"/>
            <p:cNvSpPr>
              <a:spLocks/>
            </p:cNvSpPr>
            <p:nvPr/>
          </p:nvSpPr>
          <p:spPr bwMode="gray">
            <a:xfrm>
              <a:off x="0" y="3034"/>
              <a:ext cx="5430" cy="753"/>
            </a:xfrm>
            <a:custGeom>
              <a:avLst/>
              <a:gdLst/>
              <a:ahLst/>
              <a:cxnLst>
                <a:cxn ang="0">
                  <a:pos x="0" y="753"/>
                </a:cxn>
                <a:cxn ang="0">
                  <a:pos x="0" y="0"/>
                </a:cxn>
                <a:cxn ang="0">
                  <a:pos x="5429" y="0"/>
                </a:cxn>
                <a:cxn ang="0">
                  <a:pos x="5430" y="464"/>
                </a:cxn>
                <a:cxn ang="0">
                  <a:pos x="5126" y="752"/>
                </a:cxn>
                <a:cxn ang="0">
                  <a:pos x="0" y="753"/>
                </a:cxn>
              </a:cxnLst>
              <a:rect l="0" t="0" r="r" b="b"/>
              <a:pathLst>
                <a:path w="5430" h="753">
                  <a:moveTo>
                    <a:pt x="0" y="753"/>
                  </a:moveTo>
                  <a:lnTo>
                    <a:pt x="0" y="0"/>
                  </a:lnTo>
                  <a:lnTo>
                    <a:pt x="5429" y="0"/>
                  </a:lnTo>
                  <a:lnTo>
                    <a:pt x="5430" y="464"/>
                  </a:lnTo>
                  <a:cubicBezTo>
                    <a:pt x="5430" y="464"/>
                    <a:pt x="5430" y="752"/>
                    <a:pt x="5126" y="752"/>
                  </a:cubicBezTo>
                  <a:cubicBezTo>
                    <a:pt x="2563" y="752"/>
                    <a:pt x="0" y="753"/>
                    <a:pt x="0" y="753"/>
                  </a:cubicBezTo>
                  <a:close/>
                </a:path>
              </a:pathLst>
            </a:custGeom>
            <a:grpFill/>
            <a:ln w="3810">
              <a:noFill/>
              <a:round/>
              <a:headEnd/>
              <a:tailEnd/>
            </a:ln>
            <a:effectLst/>
          </p:spPr>
          <p:txBody>
            <a:bodyPr wrap="none" anchor="ctr"/>
            <a:lstStyle/>
            <a:p>
              <a:pPr>
                <a:defRPr/>
              </a:pPr>
              <a:endParaRPr lang="fr-FR">
                <a:solidFill>
                  <a:prstClr val="black"/>
                </a:solidFill>
              </a:endParaRPr>
            </a:p>
          </p:txBody>
        </p:sp>
        <p:sp>
          <p:nvSpPr>
            <p:cNvPr id="6" name="Rectangle 4"/>
            <p:cNvSpPr>
              <a:spLocks noChangeArrowheads="1"/>
            </p:cNvSpPr>
            <p:nvPr/>
          </p:nvSpPr>
          <p:spPr bwMode="gray">
            <a:xfrm>
              <a:off x="0" y="0"/>
              <a:ext cx="5429" cy="3072"/>
            </a:xfrm>
            <a:prstGeom prst="rect">
              <a:avLst/>
            </a:prstGeom>
            <a:grpFill/>
            <a:ln w="9525">
              <a:noFill/>
              <a:miter lim="800000"/>
              <a:headEnd/>
              <a:tailEnd/>
            </a:ln>
            <a:effectLst/>
          </p:spPr>
          <p:txBody>
            <a:bodyPr wrap="none" anchor="ctr"/>
            <a:lstStyle/>
            <a:p>
              <a:pPr>
                <a:defRPr/>
              </a:pPr>
              <a:endParaRPr lang="fr-FR">
                <a:solidFill>
                  <a:prstClr val="black"/>
                </a:solidFill>
              </a:endParaRPr>
            </a:p>
          </p:txBody>
        </p:sp>
      </p:grpSp>
      <p:sp>
        <p:nvSpPr>
          <p:cNvPr id="7" name="Rectangle 6"/>
          <p:cNvSpPr/>
          <p:nvPr userDrawn="1"/>
        </p:nvSpPr>
        <p:spPr>
          <a:xfrm>
            <a:off x="0" y="587375"/>
            <a:ext cx="936625" cy="53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prstClr val="white"/>
              </a:solidFill>
            </a:endParaRPr>
          </a:p>
        </p:txBody>
      </p:sp>
      <p:sp>
        <p:nvSpPr>
          <p:cNvPr id="2" name="Titre 1"/>
          <p:cNvSpPr>
            <a:spLocks noGrp="1"/>
          </p:cNvSpPr>
          <p:nvPr>
            <p:ph type="ctrTitle"/>
          </p:nvPr>
        </p:nvSpPr>
        <p:spPr bwMode="white">
          <a:xfrm>
            <a:off x="1065600" y="1389600"/>
            <a:ext cx="5032800" cy="3286800"/>
          </a:xfrm>
        </p:spPr>
        <p:txBody>
          <a:bodyPr/>
          <a:lstStyle>
            <a:lvl1pPr>
              <a:lnSpc>
                <a:spcPts val="6300"/>
              </a:lnSpc>
              <a:defRPr sz="7000" b="1"/>
            </a:lvl1pPr>
          </a:lstStyle>
          <a:p>
            <a:r>
              <a:rPr lang="fr-FR" dirty="0"/>
              <a:t>Cliquez pour modifier le style du titre</a:t>
            </a:r>
          </a:p>
        </p:txBody>
      </p:sp>
      <p:sp>
        <p:nvSpPr>
          <p:cNvPr id="3" name="Sous-titre 2"/>
          <p:cNvSpPr>
            <a:spLocks noGrp="1"/>
          </p:cNvSpPr>
          <p:nvPr>
            <p:ph type="subTitle" idx="1"/>
          </p:nvPr>
        </p:nvSpPr>
        <p:spPr>
          <a:xfrm>
            <a:off x="1065600" y="0"/>
            <a:ext cx="7394400" cy="1195200"/>
          </a:xfrm>
        </p:spPr>
        <p:txBody>
          <a:bodyPr anchor="ctr"/>
          <a:lstStyle>
            <a:lvl1pPr marL="0" indent="0" algn="l">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p>
        </p:txBody>
      </p:sp>
      <p:sp>
        <p:nvSpPr>
          <p:cNvPr id="8" name="Espace réservé de la date 11"/>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endParaRPr lang="fr-FR" dirty="0"/>
          </a:p>
        </p:txBody>
      </p:sp>
      <p:sp>
        <p:nvSpPr>
          <p:cNvPr id="9" name="Espace réservé du numéro de diapositive 12"/>
          <p:cNvSpPr>
            <a:spLocks noGrp="1"/>
          </p:cNvSpPr>
          <p:nvPr>
            <p:ph type="sldNum" sz="quarter" idx="11"/>
          </p:nvPr>
        </p:nvSpPr>
        <p:spPr/>
        <p:txBody>
          <a:bodyPr/>
          <a:lstStyle>
            <a:lvl1pPr eaLnBrk="0" fontAlgn="base" hangingPunct="0">
              <a:spcBef>
                <a:spcPct val="0"/>
              </a:spcBef>
              <a:spcAft>
                <a:spcPct val="0"/>
              </a:spcAft>
              <a:defRPr>
                <a:latin typeface="Arial" charset="0"/>
              </a:defRPr>
            </a:lvl1pPr>
          </a:lstStyle>
          <a:p>
            <a:pPr>
              <a:defRPr/>
            </a:pPr>
            <a:fld id="{BF86D9DD-AB51-49DD-B6EA-096540EDE6B6}" type="slidenum">
              <a:rPr lang="fr-FR"/>
              <a:pPr>
                <a:defRPr/>
              </a:pPr>
              <a:t>‹N°›</a:t>
            </a:fld>
            <a:endParaRPr lang="fr-FR" dirty="0"/>
          </a:p>
        </p:txBody>
      </p:sp>
      <p:sp>
        <p:nvSpPr>
          <p:cNvPr id="10" name="Espace réservé du pied de page 13"/>
          <p:cNvSpPr>
            <a:spLocks noGrp="1"/>
          </p:cNvSpPr>
          <p:nvPr>
            <p:ph type="ftr" sz="quarter" idx="12"/>
          </p:nvPr>
        </p:nvSpPr>
        <p:spPr/>
        <p:txBody>
          <a:bodyPr/>
          <a:lstStyle>
            <a:lvl1pPr eaLnBrk="0" fontAlgn="base" hangingPunct="0">
              <a:spcBef>
                <a:spcPct val="0"/>
              </a:spcBef>
              <a:spcAft>
                <a:spcPct val="0"/>
              </a:spcAft>
              <a:defRPr>
                <a:latin typeface="Arial" charset="0"/>
              </a:defRPr>
            </a:lvl1pPr>
          </a:lstStyle>
          <a:p>
            <a:pPr>
              <a:defRPr/>
            </a:pPr>
            <a:r>
              <a:rPr lang="fr-FR"/>
              <a:t>CR2PA - Atelier N°8 -10 déc 2015_RTE       Bernard Ouillon, Yves Sarrazin</a:t>
            </a:r>
          </a:p>
        </p:txBody>
      </p:sp>
    </p:spTree>
    <p:extLst>
      <p:ext uri="{BB962C8B-B14F-4D97-AF65-F5344CB8AC3E}">
        <p14:creationId xmlns:p14="http://schemas.microsoft.com/office/powerpoint/2010/main" val="19658881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exte">
    <p:spTree>
      <p:nvGrpSpPr>
        <p:cNvPr id="1" name=""/>
        <p:cNvGrpSpPr/>
        <p:nvPr/>
      </p:nvGrpSpPr>
      <p:grpSpPr>
        <a:xfrm>
          <a:off x="0" y="0"/>
          <a:ext cx="0" cy="0"/>
          <a:chOff x="0" y="0"/>
          <a:chExt cx="0" cy="0"/>
        </a:xfrm>
      </p:grpSpPr>
      <p:sp>
        <p:nvSpPr>
          <p:cNvPr id="4" name="Rectangle 2"/>
          <p:cNvSpPr>
            <a:spLocks noChangeArrowheads="1"/>
          </p:cNvSpPr>
          <p:nvPr userDrawn="1"/>
        </p:nvSpPr>
        <p:spPr bwMode="gray">
          <a:xfrm>
            <a:off x="0" y="0"/>
            <a:ext cx="9144000" cy="6011863"/>
          </a:xfrm>
          <a:prstGeom prst="rect">
            <a:avLst/>
          </a:prstGeom>
          <a:solidFill>
            <a:srgbClr val="ECEE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endParaRPr lang="fr-FR" altLang="fr-FR" sz="1800">
              <a:solidFill>
                <a:srgbClr val="000000"/>
              </a:solidFill>
            </a:endParaRPr>
          </a:p>
        </p:txBody>
      </p:sp>
      <p:sp>
        <p:nvSpPr>
          <p:cNvPr id="5" name="Freeform 8"/>
          <p:cNvSpPr>
            <a:spLocks/>
          </p:cNvSpPr>
          <p:nvPr userDrawn="1"/>
        </p:nvSpPr>
        <p:spPr bwMode="gray">
          <a:xfrm>
            <a:off x="0" y="0"/>
            <a:ext cx="8620125" cy="1195388"/>
          </a:xfrm>
          <a:custGeom>
            <a:avLst/>
            <a:gdLst>
              <a:gd name="T0" fmla="*/ 0 w 5430"/>
              <a:gd name="T1" fmla="*/ 2147483647 h 753"/>
              <a:gd name="T2" fmla="*/ 0 w 5430"/>
              <a:gd name="T3" fmla="*/ 0 h 753"/>
              <a:gd name="T4" fmla="*/ 2147483647 w 5430"/>
              <a:gd name="T5" fmla="*/ 0 h 753"/>
              <a:gd name="T6" fmla="*/ 2147483647 w 5430"/>
              <a:gd name="T7" fmla="*/ 2147483647 h 753"/>
              <a:gd name="T8" fmla="*/ 2147483647 w 5430"/>
              <a:gd name="T9" fmla="*/ 2147483647 h 753"/>
              <a:gd name="T10" fmla="*/ 0 w 5430"/>
              <a:gd name="T11" fmla="*/ 2147483647 h 7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430" h="753">
                <a:moveTo>
                  <a:pt x="0" y="753"/>
                </a:moveTo>
                <a:lnTo>
                  <a:pt x="0" y="0"/>
                </a:lnTo>
                <a:lnTo>
                  <a:pt x="5429" y="0"/>
                </a:lnTo>
                <a:lnTo>
                  <a:pt x="5430" y="464"/>
                </a:lnTo>
                <a:cubicBezTo>
                  <a:pt x="5430" y="464"/>
                  <a:pt x="5430" y="752"/>
                  <a:pt x="5126" y="752"/>
                </a:cubicBezTo>
                <a:cubicBezTo>
                  <a:pt x="2563" y="752"/>
                  <a:pt x="0" y="753"/>
                  <a:pt x="0" y="753"/>
                </a:cubicBezTo>
                <a:close/>
              </a:path>
            </a:pathLst>
          </a:custGeom>
          <a:solidFill>
            <a:schemeClr val="accent2"/>
          </a:solidFill>
          <a:ln>
            <a:noFill/>
          </a:ln>
          <a:extLst>
            <a:ext uri="{91240B29-F687-4F45-9708-019B960494DF}">
              <a14:hiddenLine xmlns:a14="http://schemas.microsoft.com/office/drawing/2010/main" w="3810">
                <a:solidFill>
                  <a:srgbClr val="000000"/>
                </a:solidFill>
                <a:round/>
                <a:headEnd/>
                <a:tailEnd/>
              </a14:hiddenLine>
            </a:ext>
          </a:extLst>
        </p:spPr>
        <p:txBody>
          <a:bodyPr wrap="none" anchor="ctr"/>
          <a:lstStyle/>
          <a:p>
            <a:pPr eaLnBrk="0" fontAlgn="base" hangingPunct="0">
              <a:spcBef>
                <a:spcPct val="0"/>
              </a:spcBef>
              <a:spcAft>
                <a:spcPct val="0"/>
              </a:spcAft>
            </a:pPr>
            <a:endParaRPr lang="fr-FR" sz="2400">
              <a:solidFill>
                <a:prstClr val="black"/>
              </a:solidFill>
            </a:endParaRPr>
          </a:p>
        </p:txBody>
      </p:sp>
      <p:sp>
        <p:nvSpPr>
          <p:cNvPr id="6" name="Rectangle 5"/>
          <p:cNvSpPr/>
          <p:nvPr userDrawn="1"/>
        </p:nvSpPr>
        <p:spPr bwMode="white">
          <a:xfrm>
            <a:off x="0" y="587375"/>
            <a:ext cx="936625" cy="53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prstClr val="white"/>
              </a:solidFill>
            </a:endParaRPr>
          </a:p>
        </p:txBody>
      </p:sp>
      <p:sp>
        <p:nvSpPr>
          <p:cNvPr id="2" name="Titre 1"/>
          <p:cNvSpPr>
            <a:spLocks noGrp="1"/>
          </p:cNvSpPr>
          <p:nvPr>
            <p:ph type="title"/>
          </p:nvPr>
        </p:nvSpPr>
        <p:spPr bwMode="white"/>
        <p:txBody>
          <a:bodyPr/>
          <a:lstStyle/>
          <a:p>
            <a:r>
              <a:rPr lang="fr-FR" dirty="0"/>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11"/>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endParaRPr lang="fr-FR" dirty="0"/>
          </a:p>
        </p:txBody>
      </p:sp>
      <p:sp>
        <p:nvSpPr>
          <p:cNvPr id="8" name="Espace réservé du numéro de diapositive 12"/>
          <p:cNvSpPr>
            <a:spLocks noGrp="1"/>
          </p:cNvSpPr>
          <p:nvPr>
            <p:ph type="sldNum" sz="quarter" idx="11"/>
          </p:nvPr>
        </p:nvSpPr>
        <p:spPr/>
        <p:txBody>
          <a:bodyPr/>
          <a:lstStyle>
            <a:lvl1pPr eaLnBrk="0" fontAlgn="base" hangingPunct="0">
              <a:spcBef>
                <a:spcPct val="0"/>
              </a:spcBef>
              <a:spcAft>
                <a:spcPct val="0"/>
              </a:spcAft>
              <a:defRPr>
                <a:latin typeface="Arial" charset="0"/>
              </a:defRPr>
            </a:lvl1pPr>
          </a:lstStyle>
          <a:p>
            <a:pPr>
              <a:defRPr/>
            </a:pPr>
            <a:fld id="{F096602D-BE4C-4172-8C43-9D42668E2976}" type="slidenum">
              <a:rPr lang="fr-FR"/>
              <a:pPr>
                <a:defRPr/>
              </a:pPr>
              <a:t>‹N°›</a:t>
            </a:fld>
            <a:endParaRPr lang="fr-FR" dirty="0"/>
          </a:p>
        </p:txBody>
      </p:sp>
      <p:sp>
        <p:nvSpPr>
          <p:cNvPr id="9" name="Espace réservé du pied de page 13"/>
          <p:cNvSpPr>
            <a:spLocks noGrp="1"/>
          </p:cNvSpPr>
          <p:nvPr>
            <p:ph type="ftr" sz="quarter" idx="12"/>
          </p:nvPr>
        </p:nvSpPr>
        <p:spPr/>
        <p:txBody>
          <a:bodyPr/>
          <a:lstStyle>
            <a:lvl1pPr eaLnBrk="0" fontAlgn="base" hangingPunct="0">
              <a:spcBef>
                <a:spcPct val="0"/>
              </a:spcBef>
              <a:spcAft>
                <a:spcPct val="0"/>
              </a:spcAft>
              <a:defRPr>
                <a:latin typeface="Arial" charset="0"/>
              </a:defRPr>
            </a:lvl1pPr>
          </a:lstStyle>
          <a:p>
            <a:pPr>
              <a:defRPr/>
            </a:pPr>
            <a:r>
              <a:rPr lang="fr-FR"/>
              <a:t>CR2PA - Atelier N°8 -10 déc 2015_RTE       Bernard Ouillon, Yves Sarrazin</a:t>
            </a:r>
          </a:p>
        </p:txBody>
      </p:sp>
    </p:spTree>
    <p:extLst>
      <p:ext uri="{BB962C8B-B14F-4D97-AF65-F5344CB8AC3E}">
        <p14:creationId xmlns:p14="http://schemas.microsoft.com/office/powerpoint/2010/main" val="28847716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e + visuel">
    <p:spTree>
      <p:nvGrpSpPr>
        <p:cNvPr id="1" name=""/>
        <p:cNvGrpSpPr/>
        <p:nvPr/>
      </p:nvGrpSpPr>
      <p:grpSpPr>
        <a:xfrm>
          <a:off x="0" y="0"/>
          <a:ext cx="0" cy="0"/>
          <a:chOff x="0" y="0"/>
          <a:chExt cx="0" cy="0"/>
        </a:xfrm>
      </p:grpSpPr>
      <p:sp>
        <p:nvSpPr>
          <p:cNvPr id="5" name="Rectangle 2"/>
          <p:cNvSpPr>
            <a:spLocks noChangeArrowheads="1"/>
          </p:cNvSpPr>
          <p:nvPr userDrawn="1"/>
        </p:nvSpPr>
        <p:spPr bwMode="gray">
          <a:xfrm>
            <a:off x="0" y="0"/>
            <a:ext cx="9144000" cy="6011863"/>
          </a:xfrm>
          <a:prstGeom prst="rect">
            <a:avLst/>
          </a:prstGeom>
          <a:solidFill>
            <a:srgbClr val="ECEEE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endParaRPr lang="fr-FR" altLang="fr-FR" sz="1800">
              <a:solidFill>
                <a:srgbClr val="000000"/>
              </a:solidFill>
            </a:endParaRPr>
          </a:p>
        </p:txBody>
      </p:sp>
      <p:sp>
        <p:nvSpPr>
          <p:cNvPr id="6" name="Freeform 8"/>
          <p:cNvSpPr>
            <a:spLocks/>
          </p:cNvSpPr>
          <p:nvPr userDrawn="1"/>
        </p:nvSpPr>
        <p:spPr bwMode="gray">
          <a:xfrm>
            <a:off x="0" y="0"/>
            <a:ext cx="8620125" cy="1195388"/>
          </a:xfrm>
          <a:custGeom>
            <a:avLst/>
            <a:gdLst>
              <a:gd name="T0" fmla="*/ 0 w 5430"/>
              <a:gd name="T1" fmla="*/ 2147483647 h 753"/>
              <a:gd name="T2" fmla="*/ 0 w 5430"/>
              <a:gd name="T3" fmla="*/ 0 h 753"/>
              <a:gd name="T4" fmla="*/ 2147483647 w 5430"/>
              <a:gd name="T5" fmla="*/ 0 h 753"/>
              <a:gd name="T6" fmla="*/ 2147483647 w 5430"/>
              <a:gd name="T7" fmla="*/ 2147483647 h 753"/>
              <a:gd name="T8" fmla="*/ 2147483647 w 5430"/>
              <a:gd name="T9" fmla="*/ 2147483647 h 753"/>
              <a:gd name="T10" fmla="*/ 0 w 5430"/>
              <a:gd name="T11" fmla="*/ 2147483647 h 7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430" h="753">
                <a:moveTo>
                  <a:pt x="0" y="753"/>
                </a:moveTo>
                <a:lnTo>
                  <a:pt x="0" y="0"/>
                </a:lnTo>
                <a:lnTo>
                  <a:pt x="5429" y="0"/>
                </a:lnTo>
                <a:lnTo>
                  <a:pt x="5430" y="464"/>
                </a:lnTo>
                <a:cubicBezTo>
                  <a:pt x="5430" y="464"/>
                  <a:pt x="5430" y="752"/>
                  <a:pt x="5126" y="752"/>
                </a:cubicBezTo>
                <a:cubicBezTo>
                  <a:pt x="2563" y="752"/>
                  <a:pt x="0" y="753"/>
                  <a:pt x="0" y="753"/>
                </a:cubicBezTo>
                <a:close/>
              </a:path>
            </a:pathLst>
          </a:custGeom>
          <a:solidFill>
            <a:schemeClr val="accent2"/>
          </a:solidFill>
          <a:ln>
            <a:noFill/>
          </a:ln>
          <a:extLst>
            <a:ext uri="{91240B29-F687-4F45-9708-019B960494DF}">
              <a14:hiddenLine xmlns:a14="http://schemas.microsoft.com/office/drawing/2010/main" w="3810">
                <a:solidFill>
                  <a:srgbClr val="000000"/>
                </a:solidFill>
                <a:round/>
                <a:headEnd/>
                <a:tailEnd/>
              </a14:hiddenLine>
            </a:ext>
          </a:extLst>
        </p:spPr>
        <p:txBody>
          <a:bodyPr wrap="none" anchor="ctr"/>
          <a:lstStyle/>
          <a:p>
            <a:pPr eaLnBrk="0" fontAlgn="base" hangingPunct="0">
              <a:spcBef>
                <a:spcPct val="0"/>
              </a:spcBef>
              <a:spcAft>
                <a:spcPct val="0"/>
              </a:spcAft>
            </a:pPr>
            <a:endParaRPr lang="fr-FR" sz="2400">
              <a:solidFill>
                <a:prstClr val="black"/>
              </a:solidFill>
            </a:endParaRPr>
          </a:p>
        </p:txBody>
      </p:sp>
      <p:sp>
        <p:nvSpPr>
          <p:cNvPr id="7" name="Rectangle 6"/>
          <p:cNvSpPr/>
          <p:nvPr userDrawn="1"/>
        </p:nvSpPr>
        <p:spPr bwMode="white">
          <a:xfrm>
            <a:off x="0" y="587375"/>
            <a:ext cx="936625" cy="53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prstClr val="white"/>
              </a:solidFill>
            </a:endParaRPr>
          </a:p>
        </p:txBody>
      </p:sp>
      <p:sp>
        <p:nvSpPr>
          <p:cNvPr id="2" name="Titre 1"/>
          <p:cNvSpPr>
            <a:spLocks noGrp="1"/>
          </p:cNvSpPr>
          <p:nvPr>
            <p:ph type="title"/>
          </p:nvPr>
        </p:nvSpPr>
        <p:spPr bwMode="white"/>
        <p:txBody>
          <a:bodyPr/>
          <a:lstStyle/>
          <a:p>
            <a:r>
              <a:rPr lang="fr-FR" dirty="0"/>
              <a:t>Cliquez pour modifier le style du titre</a:t>
            </a:r>
          </a:p>
        </p:txBody>
      </p:sp>
      <p:sp>
        <p:nvSpPr>
          <p:cNvPr id="3" name="Espace réservé du contenu 2"/>
          <p:cNvSpPr>
            <a:spLocks noGrp="1"/>
          </p:cNvSpPr>
          <p:nvPr>
            <p:ph idx="1"/>
          </p:nvPr>
        </p:nvSpPr>
        <p:spPr>
          <a:xfrm>
            <a:off x="4726800" y="1584000"/>
            <a:ext cx="3733200" cy="4057200"/>
          </a:xfrm>
        </p:spPr>
        <p:txBody>
          <a:bodyPr anchor="b"/>
          <a:lstStyle>
            <a:lvl1pPr marL="0" indent="0">
              <a:lnSpc>
                <a:spcPts val="5800"/>
              </a:lnSpc>
              <a:spcBef>
                <a:spcPts val="0"/>
              </a:spcBef>
              <a:spcAft>
                <a:spcPts val="0"/>
              </a:spcAft>
              <a:buFont typeface="Arial" pitchFamily="34" charset="0"/>
              <a:buNone/>
              <a:defRPr sz="4800">
                <a:solidFill>
                  <a:schemeClr val="tx1"/>
                </a:solidFill>
              </a:defRPr>
            </a:lvl1pPr>
            <a:lvl2pPr marL="0" indent="0">
              <a:lnSpc>
                <a:spcPts val="1300"/>
              </a:lnSpc>
              <a:spcBef>
                <a:spcPts val="300"/>
              </a:spcBef>
              <a:spcAft>
                <a:spcPts val="500"/>
              </a:spcAft>
              <a:buNone/>
              <a:defRPr sz="1100">
                <a:solidFill>
                  <a:schemeClr val="tx1"/>
                </a:solidFill>
              </a:defRPr>
            </a:lvl2pPr>
            <a:lvl3pPr marL="0" indent="0">
              <a:lnSpc>
                <a:spcPts val="1300"/>
              </a:lnSpc>
              <a:spcBef>
                <a:spcPts val="400"/>
              </a:spcBef>
              <a:buNone/>
              <a:defRPr sz="1100">
                <a:solidFill>
                  <a:schemeClr val="tx1"/>
                </a:solidFill>
              </a:defRPr>
            </a:lvl3pPr>
            <a:lvl4pPr marL="0" indent="0">
              <a:lnSpc>
                <a:spcPts val="1300"/>
              </a:lnSpc>
              <a:spcBef>
                <a:spcPts val="300"/>
              </a:spcBef>
              <a:buFont typeface="Arial" pitchFamily="34" charset="0"/>
              <a:buNone/>
              <a:defRPr sz="1100">
                <a:solidFill>
                  <a:schemeClr val="tx1"/>
                </a:solidFill>
              </a:defRPr>
            </a:lvl4pPr>
            <a:lvl5pPr marL="0" indent="0">
              <a:lnSpc>
                <a:spcPts val="1300"/>
              </a:lnSpc>
              <a:spcBef>
                <a:spcPts val="300"/>
              </a:spcBef>
              <a:buFont typeface="Arial" pitchFamily="34" charset="0"/>
              <a:buNone/>
              <a:defRPr sz="1100">
                <a:solidFill>
                  <a:schemeClr val="tx1"/>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0" name="Espace réservé pour une image  9"/>
          <p:cNvSpPr>
            <a:spLocks noGrp="1"/>
          </p:cNvSpPr>
          <p:nvPr>
            <p:ph type="pic" sz="quarter" idx="13"/>
          </p:nvPr>
        </p:nvSpPr>
        <p:spPr>
          <a:xfrm>
            <a:off x="0" y="1195200"/>
            <a:ext cx="4575600" cy="4816800"/>
          </a:xfrm>
          <a:solidFill>
            <a:schemeClr val="bg2">
              <a:lumMod val="90000"/>
            </a:schemeClr>
          </a:solidFill>
        </p:spPr>
        <p:txBody>
          <a:bodyPr rtlCol="0" anchor="ctr">
            <a:noAutofit/>
          </a:bodyPr>
          <a:lstStyle>
            <a:lvl1pPr algn="ctr">
              <a:defRPr>
                <a:solidFill>
                  <a:schemeClr val="tx1"/>
                </a:solidFill>
              </a:defRPr>
            </a:lvl1pPr>
          </a:lstStyle>
          <a:p>
            <a:pPr lvl="0"/>
            <a:r>
              <a:rPr lang="fr-FR" noProof="0"/>
              <a:t>Cliquez sur l'icône pour ajouter une image</a:t>
            </a:r>
            <a:endParaRPr lang="fr-FR" noProof="0" dirty="0"/>
          </a:p>
        </p:txBody>
      </p:sp>
      <p:sp>
        <p:nvSpPr>
          <p:cNvPr id="8" name="Espace réservé de la date 11"/>
          <p:cNvSpPr>
            <a:spLocks noGrp="1"/>
          </p:cNvSpPr>
          <p:nvPr>
            <p:ph type="dt" sz="half" idx="14"/>
          </p:nvPr>
        </p:nvSpPr>
        <p:spPr/>
        <p:txBody>
          <a:bodyPr/>
          <a:lstStyle>
            <a:lvl1pPr eaLnBrk="0" fontAlgn="base" hangingPunct="0">
              <a:spcBef>
                <a:spcPct val="0"/>
              </a:spcBef>
              <a:spcAft>
                <a:spcPct val="0"/>
              </a:spcAft>
              <a:defRPr>
                <a:latin typeface="Arial" charset="0"/>
              </a:defRPr>
            </a:lvl1pPr>
          </a:lstStyle>
          <a:p>
            <a:pPr>
              <a:defRPr/>
            </a:pPr>
            <a:endParaRPr lang="fr-FR" dirty="0"/>
          </a:p>
        </p:txBody>
      </p:sp>
      <p:sp>
        <p:nvSpPr>
          <p:cNvPr id="9" name="Espace réservé du numéro de diapositive 12"/>
          <p:cNvSpPr>
            <a:spLocks noGrp="1"/>
          </p:cNvSpPr>
          <p:nvPr>
            <p:ph type="sldNum" sz="quarter" idx="15"/>
          </p:nvPr>
        </p:nvSpPr>
        <p:spPr/>
        <p:txBody>
          <a:bodyPr/>
          <a:lstStyle>
            <a:lvl1pPr eaLnBrk="0" fontAlgn="base" hangingPunct="0">
              <a:spcBef>
                <a:spcPct val="0"/>
              </a:spcBef>
              <a:spcAft>
                <a:spcPct val="0"/>
              </a:spcAft>
              <a:defRPr>
                <a:latin typeface="Arial" charset="0"/>
              </a:defRPr>
            </a:lvl1pPr>
          </a:lstStyle>
          <a:p>
            <a:pPr>
              <a:defRPr/>
            </a:pPr>
            <a:fld id="{8071AF33-2184-4BF6-B3D4-4A822BDCFB62}" type="slidenum">
              <a:rPr lang="fr-FR"/>
              <a:pPr>
                <a:defRPr/>
              </a:pPr>
              <a:t>‹N°›</a:t>
            </a:fld>
            <a:endParaRPr lang="fr-FR" dirty="0"/>
          </a:p>
        </p:txBody>
      </p:sp>
      <p:sp>
        <p:nvSpPr>
          <p:cNvPr id="11" name="Espace réservé du pied de page 13"/>
          <p:cNvSpPr>
            <a:spLocks noGrp="1"/>
          </p:cNvSpPr>
          <p:nvPr>
            <p:ph type="ftr" sz="quarter" idx="16"/>
          </p:nvPr>
        </p:nvSpPr>
        <p:spPr/>
        <p:txBody>
          <a:bodyPr/>
          <a:lstStyle>
            <a:lvl1pPr eaLnBrk="0" fontAlgn="base" hangingPunct="0">
              <a:spcBef>
                <a:spcPct val="0"/>
              </a:spcBef>
              <a:spcAft>
                <a:spcPct val="0"/>
              </a:spcAft>
              <a:defRPr>
                <a:latin typeface="Arial" charset="0"/>
              </a:defRPr>
            </a:lvl1pPr>
          </a:lstStyle>
          <a:p>
            <a:pPr>
              <a:defRPr/>
            </a:pPr>
            <a:r>
              <a:rPr lang="fr-FR"/>
              <a:t>CR2PA - Atelier N°8 -10 déc 2015_RTE       Bernard Ouillon, Yves Sarrazin</a:t>
            </a:r>
          </a:p>
        </p:txBody>
      </p:sp>
    </p:spTree>
    <p:extLst>
      <p:ext uri="{BB962C8B-B14F-4D97-AF65-F5344CB8AC3E}">
        <p14:creationId xmlns:p14="http://schemas.microsoft.com/office/powerpoint/2010/main" val="2411801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3_Disposition personnalisé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2895" y="1556792"/>
            <a:ext cx="5583008" cy="1193800"/>
          </a:xfrm>
        </p:spPr>
        <p:txBody>
          <a:bodyPr/>
          <a:lstStyle>
            <a:lvl1pPr>
              <a:defRPr sz="2400"/>
            </a:lvl1pPr>
          </a:lstStyle>
          <a:p>
            <a:r>
              <a:rPr lang="fr-FR"/>
              <a:t>Modifiez le style du titre</a:t>
            </a:r>
            <a:endParaRPr lang="fr-FR" dirty="0"/>
          </a:p>
        </p:txBody>
      </p:sp>
    </p:spTree>
    <p:extLst>
      <p:ext uri="{BB962C8B-B14F-4D97-AF65-F5344CB8AC3E}">
        <p14:creationId xmlns:p14="http://schemas.microsoft.com/office/powerpoint/2010/main" val="38421435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6" name="Espace réservé du contenu 2"/>
          <p:cNvSpPr>
            <a:spLocks noGrp="1"/>
          </p:cNvSpPr>
          <p:nvPr>
            <p:ph sz="half" idx="12"/>
          </p:nvPr>
        </p:nvSpPr>
        <p:spPr>
          <a:xfrm>
            <a:off x="467544" y="1586855"/>
            <a:ext cx="8142610" cy="4054475"/>
          </a:xfrm>
          <a:prstGeom prst="rect">
            <a:avLst/>
          </a:prstGeom>
        </p:spPr>
        <p:txBody>
          <a:bodyPr/>
          <a:lstStyle>
            <a:lvl1pPr>
              <a:buFont typeface="Wingdings" pitchFamily="2" charset="2"/>
              <a:buChar char="Ø"/>
              <a:defRPr baseline="0"/>
            </a:lvl1pPr>
            <a:lvl2pPr>
              <a:defRPr/>
            </a:lvl2pPr>
            <a:lvl4pPr>
              <a:defRPr lang="fr-FR" sz="1600" dirty="0" smtClean="0">
                <a:solidFill>
                  <a:schemeClr val="tx1"/>
                </a:solidFill>
                <a:latin typeface="+mn-lt"/>
              </a:defRPr>
            </a:lvl4pPr>
            <a:lvl6pPr>
              <a:defRPr lang="fr-FR" sz="1600" dirty="0" smtClean="0">
                <a:solidFill>
                  <a:schemeClr val="tx1"/>
                </a:solidFill>
                <a:latin typeface="+mn-lt"/>
              </a:defRPr>
            </a:lvl6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Rectangle 5"/>
          <p:cNvSpPr>
            <a:spLocks noGrp="1" noChangeArrowheads="1"/>
          </p:cNvSpPr>
          <p:nvPr>
            <p:ph type="ftr" sz="quarter" idx="13"/>
          </p:nvPr>
        </p:nvSpPr>
        <p:spPr/>
        <p:txBody>
          <a:bodyPr/>
          <a:lstStyle>
            <a:lvl1pPr>
              <a:defRPr/>
            </a:lvl1pPr>
          </a:lstStyle>
          <a:p>
            <a:pPr>
              <a:defRPr/>
            </a:pPr>
            <a:r>
              <a:rPr lang="fr-FR"/>
              <a:t>CR2PA - Atelier N°8 -10 déc 2015_RTE       Bernard Ouillon, Yves Sarrazin</a:t>
            </a:r>
          </a:p>
        </p:txBody>
      </p:sp>
      <p:sp>
        <p:nvSpPr>
          <p:cNvPr id="5" name="Rectangle 6"/>
          <p:cNvSpPr>
            <a:spLocks noGrp="1" noChangeArrowheads="1"/>
          </p:cNvSpPr>
          <p:nvPr>
            <p:ph type="sldNum" sz="quarter" idx="14"/>
          </p:nvPr>
        </p:nvSpPr>
        <p:spPr/>
        <p:txBody>
          <a:bodyPr/>
          <a:lstStyle>
            <a:lvl1pPr>
              <a:defRPr/>
            </a:lvl1pPr>
          </a:lstStyle>
          <a:p>
            <a:pPr>
              <a:defRPr/>
            </a:pPr>
            <a:fld id="{48545369-1055-4882-AF88-2FB058E6F8C1}" type="slidenum">
              <a:rPr lang="fr-FR"/>
              <a:pPr>
                <a:defRPr/>
              </a:pPr>
              <a:t>‹N°›</a:t>
            </a:fld>
            <a:endParaRPr lang="fr-FR"/>
          </a:p>
        </p:txBody>
      </p:sp>
    </p:spTree>
    <p:extLst>
      <p:ext uri="{BB962C8B-B14F-4D97-AF65-F5344CB8AC3E}">
        <p14:creationId xmlns:p14="http://schemas.microsoft.com/office/powerpoint/2010/main" val="1577562332"/>
      </p:ext>
    </p:extLst>
  </p:cSld>
  <p:clrMapOvr>
    <a:masterClrMapping/>
  </p:clrMapOvr>
  <p:transition>
    <p:wipe di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r>
              <a:rPr lang="fr-FR"/>
              <a:t>CR2PA - Atelier N°8 -10 déc 2015_RTE       Bernard Ouillon, Yves Sarrazin</a:t>
            </a:r>
            <a:endParaRPr lang="fr-FR" dirty="0"/>
          </a:p>
        </p:txBody>
      </p:sp>
      <p:sp>
        <p:nvSpPr>
          <p:cNvPr id="6" name="Espace réservé du numéro de diapositive 5"/>
          <p:cNvSpPr>
            <a:spLocks noGrp="1"/>
          </p:cNvSpPr>
          <p:nvPr>
            <p:ph type="sldNum" sz="quarter" idx="12"/>
          </p:nvPr>
        </p:nvSpPr>
        <p:spPr/>
        <p:txBody>
          <a:bodyPr/>
          <a:lstStyle/>
          <a:p>
            <a:fld id="{FCE514DE-E9F9-4E23-84E5-45B810FC164B}" type="slidenum">
              <a:rPr lang="fr-FR" smtClean="0"/>
              <a:pPr/>
              <a:t>‹N°›</a:t>
            </a:fld>
            <a:endParaRPr lang="fr-F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49" y="6246304"/>
            <a:ext cx="661851" cy="585216"/>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
        <p:nvSpPr>
          <p:cNvPr id="4"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Tree>
    <p:extLst>
      <p:ext uri="{BB962C8B-B14F-4D97-AF65-F5344CB8AC3E}">
        <p14:creationId xmlns:p14="http://schemas.microsoft.com/office/powerpoint/2010/main" val="1993116260"/>
      </p:ext>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5" name="Espace réservé du texte 4"/>
          <p:cNvSpPr>
            <a:spLocks noGrp="1"/>
          </p:cNvSpPr>
          <p:nvPr>
            <p:ph type="body" sz="quarter" idx="10" hasCustomPrompt="1"/>
          </p:nvPr>
        </p:nvSpPr>
        <p:spPr>
          <a:xfrm>
            <a:off x="542925" y="1139514"/>
            <a:ext cx="8060894" cy="4759637"/>
          </a:xfrm>
          <a:prstGeom prst="rect">
            <a:avLst/>
          </a:prstGeom>
        </p:spPr>
        <p:txBody>
          <a:bodyPr lIns="0" tIns="0" rIns="0" bIns="0"/>
          <a:lstStyle>
            <a:lvl1pPr marL="177800" indent="-177800">
              <a:spcBef>
                <a:spcPts val="300"/>
              </a:spcBef>
              <a:buClr>
                <a:schemeClr val="accent1"/>
              </a:buClr>
              <a:defRPr sz="1800"/>
            </a:lvl1pPr>
            <a:lvl2pPr marL="450850" indent="-184150">
              <a:spcBef>
                <a:spcPts val="300"/>
              </a:spcBef>
              <a:buClr>
                <a:schemeClr val="tx1"/>
              </a:buClr>
              <a:buFont typeface="Arial" pitchFamily="34" charset="0"/>
              <a:buChar char="−"/>
              <a:defRPr sz="1600"/>
            </a:lvl2pPr>
            <a:lvl3pPr marL="715963" indent="-176213">
              <a:spcBef>
                <a:spcPts val="300"/>
              </a:spcBef>
              <a:buClr>
                <a:schemeClr val="tx1"/>
              </a:buClr>
              <a:buFont typeface="Arial" pitchFamily="34" charset="0"/>
              <a:buChar char="−"/>
              <a:tabLst/>
              <a:defRPr sz="1400"/>
            </a:lvl3pPr>
            <a:lvl4pPr marL="982663" indent="-177800">
              <a:spcBef>
                <a:spcPts val="300"/>
              </a:spcBef>
              <a:buClr>
                <a:schemeClr val="tx1"/>
              </a:buClr>
              <a:buFont typeface="Arial" pitchFamily="34" charset="0"/>
              <a:buChar char="−"/>
              <a:defRPr sz="1200"/>
            </a:lvl4pPr>
            <a:lvl5pPr marL="1255713" indent="-177800">
              <a:spcBef>
                <a:spcPts val="300"/>
              </a:spcBef>
              <a:buClr>
                <a:schemeClr val="tx1"/>
              </a:buClr>
              <a:buFont typeface="Arial" pitchFamily="34" charset="0"/>
              <a:buChar char="−"/>
              <a:defRPr sz="1000"/>
            </a:lvl5pPr>
          </a:lstStyle>
          <a:p>
            <a:pPr lvl="0"/>
            <a:r>
              <a:rPr lang="fr-FR" dirty="0"/>
              <a:t>First </a:t>
            </a:r>
            <a:r>
              <a:rPr lang="fr-FR" dirty="0" err="1"/>
              <a:t>level</a:t>
            </a:r>
            <a:r>
              <a:rPr lang="fr-FR" dirty="0"/>
              <a:t> </a:t>
            </a:r>
            <a:r>
              <a:rPr lang="fr-FR" dirty="0" err="1"/>
              <a:t>text</a:t>
            </a:r>
            <a:endParaRPr lang="fr-FR" dirty="0"/>
          </a:p>
          <a:p>
            <a:pPr lvl="1"/>
            <a:r>
              <a:rPr lang="fr-FR" dirty="0"/>
              <a:t>Second </a:t>
            </a:r>
            <a:r>
              <a:rPr lang="fr-FR" dirty="0" err="1"/>
              <a:t>level</a:t>
            </a:r>
            <a:r>
              <a:rPr lang="fr-FR" dirty="0"/>
              <a:t> </a:t>
            </a:r>
            <a:r>
              <a:rPr lang="fr-FR" dirty="0" err="1"/>
              <a:t>text</a:t>
            </a:r>
            <a:endParaRPr lang="fr-FR" dirty="0"/>
          </a:p>
          <a:p>
            <a:pPr lvl="2"/>
            <a:r>
              <a:rPr lang="fr-FR" dirty="0" err="1"/>
              <a:t>Third</a:t>
            </a:r>
            <a:r>
              <a:rPr lang="fr-FR" dirty="0"/>
              <a:t> </a:t>
            </a:r>
            <a:r>
              <a:rPr lang="fr-FR" dirty="0" err="1"/>
              <a:t>level</a:t>
            </a:r>
            <a:r>
              <a:rPr lang="fr-FR" dirty="0"/>
              <a:t> </a:t>
            </a:r>
            <a:r>
              <a:rPr lang="fr-FR" dirty="0" err="1"/>
              <a:t>text</a:t>
            </a:r>
            <a:endParaRPr lang="fr-FR" dirty="0"/>
          </a:p>
          <a:p>
            <a:pPr lvl="3"/>
            <a:r>
              <a:rPr lang="fr-FR" dirty="0" err="1"/>
              <a:t>Fourth</a:t>
            </a:r>
            <a:r>
              <a:rPr lang="fr-FR" dirty="0"/>
              <a:t> </a:t>
            </a:r>
            <a:r>
              <a:rPr lang="fr-FR" dirty="0" err="1"/>
              <a:t>level</a:t>
            </a:r>
            <a:r>
              <a:rPr lang="fr-FR" dirty="0"/>
              <a:t> </a:t>
            </a:r>
            <a:r>
              <a:rPr lang="fr-FR" dirty="0" err="1"/>
              <a:t>text</a:t>
            </a:r>
            <a:endParaRPr lang="fr-FR" dirty="0"/>
          </a:p>
          <a:p>
            <a:pPr lvl="4"/>
            <a:r>
              <a:rPr lang="fr-FR" dirty="0" err="1"/>
              <a:t>Fifth</a:t>
            </a:r>
            <a:r>
              <a:rPr lang="fr-FR" dirty="0"/>
              <a:t> </a:t>
            </a:r>
            <a:r>
              <a:rPr lang="fr-FR" dirty="0" err="1"/>
              <a:t>level</a:t>
            </a:r>
            <a:r>
              <a:rPr lang="fr-FR" dirty="0"/>
              <a:t> </a:t>
            </a:r>
            <a:r>
              <a:rPr lang="fr-FR" dirty="0" err="1"/>
              <a:t>text</a:t>
            </a:r>
            <a:endParaRPr lang="fr-FR" dirty="0"/>
          </a:p>
        </p:txBody>
      </p:sp>
      <p:sp>
        <p:nvSpPr>
          <p:cNvPr id="10"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2406405093"/>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1" name="Espace réservé pour une image  2"/>
          <p:cNvSpPr>
            <a:spLocks noGrp="1"/>
          </p:cNvSpPr>
          <p:nvPr>
            <p:ph type="pic" sz="quarter" idx="22"/>
          </p:nvPr>
        </p:nvSpPr>
        <p:spPr>
          <a:xfrm>
            <a:off x="542926" y="1210735"/>
            <a:ext cx="8061325" cy="4688416"/>
          </a:xfrm>
          <a:prstGeom prst="rect">
            <a:avLst/>
          </a:prstGeom>
        </p:spPr>
        <p:txBody>
          <a:bodyPr/>
          <a:lstStyle>
            <a:lvl1pPr marL="0" indent="0">
              <a:buFontTx/>
              <a:buNone/>
              <a:defRPr/>
            </a:lvl1pPr>
          </a:lstStyle>
          <a:p>
            <a:endParaRPr lang="fr-FR" dirty="0"/>
          </a:p>
        </p:txBody>
      </p:sp>
      <p:sp>
        <p:nvSpPr>
          <p:cNvPr id="13"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3010825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sp>
        <p:nvSpPr>
          <p:cNvPr id="10" name="Espace réservé pour une image  2"/>
          <p:cNvSpPr>
            <a:spLocks noGrp="1"/>
          </p:cNvSpPr>
          <p:nvPr>
            <p:ph type="pic" sz="quarter" idx="22"/>
          </p:nvPr>
        </p:nvSpPr>
        <p:spPr>
          <a:xfrm>
            <a:off x="180976" y="1210735"/>
            <a:ext cx="8785225" cy="4688416"/>
          </a:xfrm>
          <a:prstGeom prst="rect">
            <a:avLst/>
          </a:prstGeom>
        </p:spPr>
        <p:txBody>
          <a:bodyPr/>
          <a:lstStyle>
            <a:lvl1pPr marL="0" indent="0">
              <a:buFontTx/>
              <a:buNone/>
              <a:defRPr/>
            </a:lvl1pPr>
          </a:lstStyle>
          <a:p>
            <a:endParaRPr lang="fr-FR" dirty="0"/>
          </a:p>
        </p:txBody>
      </p:sp>
      <p:sp>
        <p:nvSpPr>
          <p:cNvPr id="12"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5395139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Image composition">
    <p:spTree>
      <p:nvGrpSpPr>
        <p:cNvPr id="1" name=""/>
        <p:cNvGrpSpPr/>
        <p:nvPr/>
      </p:nvGrpSpPr>
      <p:grpSpPr>
        <a:xfrm>
          <a:off x="0" y="0"/>
          <a:ext cx="0" cy="0"/>
          <a:chOff x="0" y="0"/>
          <a:chExt cx="0" cy="0"/>
        </a:xfrm>
      </p:grpSpPr>
      <p:sp>
        <p:nvSpPr>
          <p:cNvPr id="10" name="Espace réservé pour une image  6"/>
          <p:cNvSpPr>
            <a:spLocks noGrp="1"/>
          </p:cNvSpPr>
          <p:nvPr>
            <p:ph type="pic" sz="quarter" idx="10"/>
          </p:nvPr>
        </p:nvSpPr>
        <p:spPr>
          <a:xfrm>
            <a:off x="180975" y="1210735"/>
            <a:ext cx="5824539" cy="4688416"/>
          </a:xfrm>
          <a:prstGeom prst="rect">
            <a:avLst/>
          </a:prstGeom>
        </p:spPr>
        <p:txBody>
          <a:bodyPr/>
          <a:lstStyle>
            <a:lvl1pPr marL="0" indent="0">
              <a:buFontTx/>
              <a:buNone/>
              <a:defRPr/>
            </a:lvl1pPr>
          </a:lstStyle>
          <a:p>
            <a:endParaRPr lang="fr-FR"/>
          </a:p>
        </p:txBody>
      </p:sp>
      <p:sp>
        <p:nvSpPr>
          <p:cNvPr id="11" name="Espace réservé pour une image  6"/>
          <p:cNvSpPr>
            <a:spLocks noGrp="1"/>
          </p:cNvSpPr>
          <p:nvPr>
            <p:ph type="pic" sz="quarter" idx="11"/>
          </p:nvPr>
        </p:nvSpPr>
        <p:spPr>
          <a:xfrm>
            <a:off x="6096001" y="1210735"/>
            <a:ext cx="2868613" cy="2284208"/>
          </a:xfrm>
          <a:prstGeom prst="rect">
            <a:avLst/>
          </a:prstGeom>
        </p:spPr>
        <p:txBody>
          <a:bodyPr/>
          <a:lstStyle>
            <a:lvl1pPr marL="0" indent="0">
              <a:buFontTx/>
              <a:buNone/>
              <a:defRPr/>
            </a:lvl1pPr>
          </a:lstStyle>
          <a:p>
            <a:endParaRPr lang="fr-FR"/>
          </a:p>
        </p:txBody>
      </p:sp>
      <p:sp>
        <p:nvSpPr>
          <p:cNvPr id="12" name="Espace réservé pour une image  6"/>
          <p:cNvSpPr>
            <a:spLocks noGrp="1"/>
          </p:cNvSpPr>
          <p:nvPr>
            <p:ph type="pic" sz="quarter" idx="12"/>
          </p:nvPr>
        </p:nvSpPr>
        <p:spPr>
          <a:xfrm>
            <a:off x="6096001" y="3614944"/>
            <a:ext cx="2868613" cy="2284208"/>
          </a:xfrm>
          <a:prstGeom prst="rect">
            <a:avLst/>
          </a:prstGeom>
        </p:spPr>
        <p:txBody>
          <a:bodyPr/>
          <a:lstStyle>
            <a:lvl1pPr marL="0" indent="0">
              <a:buFontTx/>
              <a:buNone/>
              <a:defRPr/>
            </a:lvl1pPr>
          </a:lstStyle>
          <a:p>
            <a:endParaRPr lang="fr-FR"/>
          </a:p>
        </p:txBody>
      </p:sp>
      <p:sp>
        <p:nvSpPr>
          <p:cNvPr id="15"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8"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37527599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0" name="Espace réservé pour une image  2"/>
          <p:cNvSpPr>
            <a:spLocks noGrp="1"/>
          </p:cNvSpPr>
          <p:nvPr>
            <p:ph type="pic" sz="quarter" idx="22"/>
          </p:nvPr>
        </p:nvSpPr>
        <p:spPr>
          <a:xfrm>
            <a:off x="180976" y="241300"/>
            <a:ext cx="8785225" cy="5657851"/>
          </a:xfrm>
          <a:prstGeom prst="rect">
            <a:avLst/>
          </a:prstGeom>
        </p:spPr>
        <p:txBody>
          <a:bodyPr/>
          <a:lstStyle>
            <a:lvl1pPr marL="0" indent="0">
              <a:buFontTx/>
              <a:buNone/>
              <a:defRPr/>
            </a:lvl1pPr>
          </a:lstStyle>
          <a:p>
            <a:endParaRPr lang="fr-FR"/>
          </a:p>
        </p:txBody>
      </p:sp>
    </p:spTree>
    <p:extLst>
      <p:ext uri="{BB962C8B-B14F-4D97-AF65-F5344CB8AC3E}">
        <p14:creationId xmlns:p14="http://schemas.microsoft.com/office/powerpoint/2010/main" val="7995120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94537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735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xte seul">
    <p:spTree>
      <p:nvGrpSpPr>
        <p:cNvPr id="1" name=""/>
        <p:cNvGrpSpPr/>
        <p:nvPr/>
      </p:nvGrpSpPr>
      <p:grpSpPr>
        <a:xfrm>
          <a:off x="0" y="0"/>
          <a:ext cx="0" cy="0"/>
          <a:chOff x="0" y="0"/>
          <a:chExt cx="0" cy="0"/>
        </a:xfrm>
      </p:grpSpPr>
      <p:sp>
        <p:nvSpPr>
          <p:cNvPr id="8" name="Espace réservé du texte 7"/>
          <p:cNvSpPr>
            <a:spLocks noGrp="1"/>
          </p:cNvSpPr>
          <p:nvPr>
            <p:ph type="body" sz="quarter" idx="22"/>
          </p:nvPr>
        </p:nvSpPr>
        <p:spPr>
          <a:xfrm>
            <a:off x="179389" y="230402"/>
            <a:ext cx="8785225" cy="323849"/>
          </a:xfrm>
          <a:prstGeom prst="rect">
            <a:avLst/>
          </a:prstGeom>
        </p:spPr>
        <p:txBody>
          <a:bodyPr lIns="0" tIns="0" rIns="0" bIns="0"/>
          <a:lstStyle>
            <a:lvl1pPr marL="0" indent="0">
              <a:buNone/>
              <a:defRPr sz="1500">
                <a:latin typeface="+mj-lt"/>
              </a:defRPr>
            </a:lvl1pPr>
          </a:lstStyle>
          <a:p>
            <a:pPr lvl="0"/>
            <a:r>
              <a:rPr lang="en-US" dirty="0"/>
              <a:t>Click to edit Master text styles</a:t>
            </a:r>
          </a:p>
        </p:txBody>
      </p:sp>
      <p:sp>
        <p:nvSpPr>
          <p:cNvPr id="11" name="Espace réservé du texte 9"/>
          <p:cNvSpPr>
            <a:spLocks noGrp="1"/>
          </p:cNvSpPr>
          <p:nvPr>
            <p:ph type="body" sz="quarter" idx="23"/>
          </p:nvPr>
        </p:nvSpPr>
        <p:spPr>
          <a:xfrm>
            <a:off x="565151" y="1268414"/>
            <a:ext cx="8013700" cy="4427537"/>
          </a:xfrm>
          <a:prstGeom prst="rect">
            <a:avLst/>
          </a:prstGeom>
        </p:spPr>
        <p:txBody>
          <a:bodyPr lIns="0" tIns="0" rIns="0" bIns="0"/>
          <a:lstStyle>
            <a:lvl1pPr>
              <a:lnSpc>
                <a:spcPts val="1350"/>
              </a:lnSpc>
              <a:spcAft>
                <a:spcPts val="450"/>
              </a:spcAft>
              <a:defRPr/>
            </a:lvl1pPr>
            <a:lvl2pPr marL="413147" indent="-214313">
              <a:lnSpc>
                <a:spcPts val="1350"/>
              </a:lnSpc>
              <a:spcAft>
                <a:spcPts val="450"/>
              </a:spcAft>
              <a:buFont typeface="Wingdings" pitchFamily="2" charset="2"/>
              <a:buChar char="§"/>
              <a:defRPr/>
            </a:lvl2pPr>
            <a:lvl3pPr marL="670322" indent="-130969">
              <a:lnSpc>
                <a:spcPts val="1350"/>
              </a:lnSpc>
              <a:spcAft>
                <a:spcPts val="450"/>
              </a:spcAft>
              <a:defRPr/>
            </a:lvl3pPr>
            <a:lvl4pPr marL="873919" indent="-135731">
              <a:lnSpc>
                <a:spcPts val="1350"/>
              </a:lnSpc>
              <a:spcAft>
                <a:spcPts val="450"/>
              </a:spcAft>
              <a:buClr>
                <a:schemeClr val="accent5">
                  <a:lumMod val="90000"/>
                </a:schemeClr>
              </a:buClr>
              <a:buSzPct val="85000"/>
              <a:defRPr sz="900"/>
            </a:lvl4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11283536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3" name="Titre 3"/>
          <p:cNvSpPr>
            <a:spLocks noGrp="1"/>
          </p:cNvSpPr>
          <p:nvPr>
            <p:ph type="title" hasCustomPrompt="1"/>
            <p:custDataLst>
              <p:tags r:id="rId1"/>
            </p:custDataLst>
          </p:nvPr>
        </p:nvSpPr>
        <p:spPr bwMode="auto">
          <a:xfrm>
            <a:off x="180976" y="163200"/>
            <a:ext cx="8425921" cy="345157"/>
          </a:xfrm>
          <a:prstGeom prst="rect">
            <a:avLst/>
          </a:prstGeo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0" rIns="0" bIns="0" anchor="t" anchorCtr="0">
            <a:noAutofit/>
          </a:bodyPr>
          <a:lstStyle>
            <a:lvl1pPr marL="0" indent="0" algn="l">
              <a:lnSpc>
                <a:spcPct val="100000"/>
              </a:lnSpc>
              <a:spcBef>
                <a:spcPct val="0"/>
              </a:spcBef>
              <a:spcAft>
                <a:spcPct val="0"/>
              </a:spcAft>
              <a:defRPr kumimoji="0" sz="2000" b="1" i="0" u="none" cap="all" baseline="0">
                <a:solidFill>
                  <a:srgbClr val="000000"/>
                </a:solidFill>
                <a:latin typeface="Arial Narrow"/>
              </a:defRPr>
            </a:lvl1pPr>
          </a:lstStyle>
          <a:p>
            <a:r>
              <a:rPr lang="fr-FR" dirty="0"/>
              <a:t>PAGE TITLE</a:t>
            </a:r>
          </a:p>
        </p:txBody>
      </p:sp>
    </p:spTree>
    <p:extLst>
      <p:ext uri="{BB962C8B-B14F-4D97-AF65-F5344CB8AC3E}">
        <p14:creationId xmlns:p14="http://schemas.microsoft.com/office/powerpoint/2010/main" val="3941655832"/>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r>
              <a:rPr lang="fr-FR"/>
              <a:t>CR2PA - Atelier N°8 -10 déc 2015_RTE       Bernard Ouillon, Yves Sarrazin</a:t>
            </a:r>
          </a:p>
        </p:txBody>
      </p:sp>
      <p:sp>
        <p:nvSpPr>
          <p:cNvPr id="6" name="Espace réservé du numéro de diapositive 5"/>
          <p:cNvSpPr>
            <a:spLocks noGrp="1"/>
          </p:cNvSpPr>
          <p:nvPr>
            <p:ph type="sldNum" sz="quarter" idx="12"/>
          </p:nvPr>
        </p:nvSpPr>
        <p:spPr/>
        <p:txBody>
          <a:bodyPr/>
          <a:lstStyle/>
          <a:p>
            <a:fld id="{FCE514DE-E9F9-4E23-84E5-45B810FC164B}" type="slidenum">
              <a:rPr lang="fr-FR" smtClean="0"/>
              <a:pPr/>
              <a:t>‹N°›</a:t>
            </a:fld>
            <a:endParaRPr lang="fr-F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49" y="6246304"/>
            <a:ext cx="661851" cy="585216"/>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GOOD">
    <p:spTree>
      <p:nvGrpSpPr>
        <p:cNvPr id="1" name=""/>
        <p:cNvGrpSpPr/>
        <p:nvPr/>
      </p:nvGrpSpPr>
      <p:grpSpPr>
        <a:xfrm>
          <a:off x="0" y="0"/>
          <a:ext cx="0" cy="0"/>
          <a:chOff x="0" y="0"/>
          <a:chExt cx="0" cy="0"/>
        </a:xfrm>
      </p:grpSpPr>
      <p:sp>
        <p:nvSpPr>
          <p:cNvPr id="3" name="Titre 3"/>
          <p:cNvSpPr>
            <a:spLocks noGrp="1"/>
          </p:cNvSpPr>
          <p:nvPr>
            <p:ph type="title" hasCustomPrompt="1"/>
            <p:custDataLst>
              <p:tags r:id="rId1"/>
            </p:custDataLst>
          </p:nvPr>
        </p:nvSpPr>
        <p:spPr>
          <a:xfrm>
            <a:off x="180976" y="397062"/>
            <a:ext cx="8425921" cy="345157"/>
          </a:xfrm>
          <a:prstGeom prst="rect">
            <a:avLst/>
          </a:prstGeom>
        </p:spPr>
        <p:txBody>
          <a:bodyPr lIns="0" tIns="0" rIns="0" bIns="0"/>
          <a:lstStyle>
            <a:lvl1pPr>
              <a:defRPr sz="2000" b="1" cap="all" baseline="0">
                <a:solidFill>
                  <a:srgbClr val="000000"/>
                </a:solidFill>
              </a:defRPr>
            </a:lvl1pPr>
          </a:lstStyle>
          <a:p>
            <a:r>
              <a:rPr lang="fr-FR" dirty="0"/>
              <a:t>PAGE TITLE</a:t>
            </a:r>
          </a:p>
        </p:txBody>
      </p:sp>
    </p:spTree>
    <p:extLst>
      <p:ext uri="{BB962C8B-B14F-4D97-AF65-F5344CB8AC3E}">
        <p14:creationId xmlns:p14="http://schemas.microsoft.com/office/powerpoint/2010/main" val="1048097575"/>
      </p:ext>
    </p:extLst>
  </p:cSld>
  <p:clrMapOvr>
    <a:masterClrMapping/>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
        <p:nvSpPr>
          <p:cNvPr id="4"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Tree>
    <p:extLst>
      <p:ext uri="{BB962C8B-B14F-4D97-AF65-F5344CB8AC3E}">
        <p14:creationId xmlns:p14="http://schemas.microsoft.com/office/powerpoint/2010/main" val="3853233363"/>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5" name="Espace réservé du texte 4"/>
          <p:cNvSpPr>
            <a:spLocks noGrp="1"/>
          </p:cNvSpPr>
          <p:nvPr>
            <p:ph type="body" sz="quarter" idx="10" hasCustomPrompt="1"/>
          </p:nvPr>
        </p:nvSpPr>
        <p:spPr>
          <a:xfrm>
            <a:off x="542925" y="1139514"/>
            <a:ext cx="8060894" cy="4759637"/>
          </a:xfrm>
          <a:prstGeom prst="rect">
            <a:avLst/>
          </a:prstGeom>
        </p:spPr>
        <p:txBody>
          <a:bodyPr lIns="0" tIns="0" rIns="0" bIns="0"/>
          <a:lstStyle>
            <a:lvl1pPr marL="177800" indent="-177800">
              <a:spcBef>
                <a:spcPts val="300"/>
              </a:spcBef>
              <a:buClr>
                <a:schemeClr val="accent1"/>
              </a:buClr>
              <a:defRPr sz="1800"/>
            </a:lvl1pPr>
            <a:lvl2pPr marL="450850" indent="-184150">
              <a:spcBef>
                <a:spcPts val="300"/>
              </a:spcBef>
              <a:buClr>
                <a:schemeClr val="tx1"/>
              </a:buClr>
              <a:buFont typeface="Arial" pitchFamily="34" charset="0"/>
              <a:buChar char="−"/>
              <a:defRPr sz="1600"/>
            </a:lvl2pPr>
            <a:lvl3pPr marL="715963" indent="-176213">
              <a:spcBef>
                <a:spcPts val="300"/>
              </a:spcBef>
              <a:buClr>
                <a:schemeClr val="tx1"/>
              </a:buClr>
              <a:buFont typeface="Arial" pitchFamily="34" charset="0"/>
              <a:buChar char="−"/>
              <a:tabLst/>
              <a:defRPr sz="1400"/>
            </a:lvl3pPr>
            <a:lvl4pPr marL="982663" indent="-177800">
              <a:spcBef>
                <a:spcPts val="300"/>
              </a:spcBef>
              <a:buClr>
                <a:schemeClr val="tx1"/>
              </a:buClr>
              <a:buFont typeface="Arial" pitchFamily="34" charset="0"/>
              <a:buChar char="−"/>
              <a:defRPr sz="1200"/>
            </a:lvl4pPr>
            <a:lvl5pPr marL="1255713" indent="-177800">
              <a:spcBef>
                <a:spcPts val="300"/>
              </a:spcBef>
              <a:buClr>
                <a:schemeClr val="tx1"/>
              </a:buClr>
              <a:buFont typeface="Arial" pitchFamily="34" charset="0"/>
              <a:buChar char="−"/>
              <a:defRPr sz="1000"/>
            </a:lvl5pPr>
          </a:lstStyle>
          <a:p>
            <a:pPr lvl="0"/>
            <a:r>
              <a:rPr lang="fr-FR" dirty="0"/>
              <a:t>First </a:t>
            </a:r>
            <a:r>
              <a:rPr lang="fr-FR" dirty="0" err="1"/>
              <a:t>level</a:t>
            </a:r>
            <a:r>
              <a:rPr lang="fr-FR" dirty="0"/>
              <a:t> </a:t>
            </a:r>
            <a:r>
              <a:rPr lang="fr-FR" dirty="0" err="1"/>
              <a:t>text</a:t>
            </a:r>
            <a:endParaRPr lang="fr-FR" dirty="0"/>
          </a:p>
          <a:p>
            <a:pPr lvl="1"/>
            <a:r>
              <a:rPr lang="fr-FR" dirty="0"/>
              <a:t>Second </a:t>
            </a:r>
            <a:r>
              <a:rPr lang="fr-FR" dirty="0" err="1"/>
              <a:t>level</a:t>
            </a:r>
            <a:r>
              <a:rPr lang="fr-FR" dirty="0"/>
              <a:t> </a:t>
            </a:r>
            <a:r>
              <a:rPr lang="fr-FR" dirty="0" err="1"/>
              <a:t>text</a:t>
            </a:r>
            <a:endParaRPr lang="fr-FR" dirty="0"/>
          </a:p>
          <a:p>
            <a:pPr lvl="2"/>
            <a:r>
              <a:rPr lang="fr-FR" dirty="0" err="1"/>
              <a:t>Third</a:t>
            </a:r>
            <a:r>
              <a:rPr lang="fr-FR" dirty="0"/>
              <a:t> </a:t>
            </a:r>
            <a:r>
              <a:rPr lang="fr-FR" dirty="0" err="1"/>
              <a:t>level</a:t>
            </a:r>
            <a:r>
              <a:rPr lang="fr-FR" dirty="0"/>
              <a:t> </a:t>
            </a:r>
            <a:r>
              <a:rPr lang="fr-FR" dirty="0" err="1"/>
              <a:t>text</a:t>
            </a:r>
            <a:endParaRPr lang="fr-FR" dirty="0"/>
          </a:p>
          <a:p>
            <a:pPr lvl="3"/>
            <a:r>
              <a:rPr lang="fr-FR" dirty="0" err="1"/>
              <a:t>Fourth</a:t>
            </a:r>
            <a:r>
              <a:rPr lang="fr-FR" dirty="0"/>
              <a:t> </a:t>
            </a:r>
            <a:r>
              <a:rPr lang="fr-FR" dirty="0" err="1"/>
              <a:t>level</a:t>
            </a:r>
            <a:r>
              <a:rPr lang="fr-FR" dirty="0"/>
              <a:t> </a:t>
            </a:r>
            <a:r>
              <a:rPr lang="fr-FR" dirty="0" err="1"/>
              <a:t>text</a:t>
            </a:r>
            <a:endParaRPr lang="fr-FR" dirty="0"/>
          </a:p>
          <a:p>
            <a:pPr lvl="4"/>
            <a:r>
              <a:rPr lang="fr-FR" dirty="0" err="1"/>
              <a:t>Fifth</a:t>
            </a:r>
            <a:r>
              <a:rPr lang="fr-FR" dirty="0"/>
              <a:t> </a:t>
            </a:r>
            <a:r>
              <a:rPr lang="fr-FR" dirty="0" err="1"/>
              <a:t>level</a:t>
            </a:r>
            <a:r>
              <a:rPr lang="fr-FR" dirty="0"/>
              <a:t> </a:t>
            </a:r>
            <a:r>
              <a:rPr lang="fr-FR" dirty="0" err="1"/>
              <a:t>text</a:t>
            </a:r>
            <a:endParaRPr lang="fr-FR" dirty="0"/>
          </a:p>
        </p:txBody>
      </p:sp>
      <p:sp>
        <p:nvSpPr>
          <p:cNvPr id="10"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2279495132"/>
      </p:ext>
    </p:extLst>
  </p:cSld>
  <p:clrMapOvr>
    <a:masterClrMapping/>
  </p:clrMapOvr>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1" name="Espace réservé pour une image  2"/>
          <p:cNvSpPr>
            <a:spLocks noGrp="1"/>
          </p:cNvSpPr>
          <p:nvPr>
            <p:ph type="pic" sz="quarter" idx="22"/>
          </p:nvPr>
        </p:nvSpPr>
        <p:spPr>
          <a:xfrm>
            <a:off x="542926" y="1210735"/>
            <a:ext cx="8061325" cy="4688416"/>
          </a:xfrm>
          <a:prstGeom prst="rect">
            <a:avLst/>
          </a:prstGeom>
        </p:spPr>
        <p:txBody>
          <a:bodyPr/>
          <a:lstStyle>
            <a:lvl1pPr marL="0" indent="0">
              <a:buFontTx/>
              <a:buNone/>
              <a:defRPr/>
            </a:lvl1pPr>
          </a:lstStyle>
          <a:p>
            <a:endParaRPr lang="fr-FR" dirty="0"/>
          </a:p>
        </p:txBody>
      </p:sp>
      <p:sp>
        <p:nvSpPr>
          <p:cNvPr id="13"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445991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sp>
        <p:nvSpPr>
          <p:cNvPr id="10" name="Espace réservé pour une image  2"/>
          <p:cNvSpPr>
            <a:spLocks noGrp="1"/>
          </p:cNvSpPr>
          <p:nvPr>
            <p:ph type="pic" sz="quarter" idx="22"/>
          </p:nvPr>
        </p:nvSpPr>
        <p:spPr>
          <a:xfrm>
            <a:off x="180976" y="1210735"/>
            <a:ext cx="8785225" cy="4688416"/>
          </a:xfrm>
          <a:prstGeom prst="rect">
            <a:avLst/>
          </a:prstGeom>
        </p:spPr>
        <p:txBody>
          <a:bodyPr/>
          <a:lstStyle>
            <a:lvl1pPr marL="0" indent="0">
              <a:buFontTx/>
              <a:buNone/>
              <a:defRPr/>
            </a:lvl1pPr>
          </a:lstStyle>
          <a:p>
            <a:endParaRPr lang="fr-FR" dirty="0"/>
          </a:p>
        </p:txBody>
      </p:sp>
      <p:sp>
        <p:nvSpPr>
          <p:cNvPr id="12"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3395601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 Image composition">
    <p:spTree>
      <p:nvGrpSpPr>
        <p:cNvPr id="1" name=""/>
        <p:cNvGrpSpPr/>
        <p:nvPr/>
      </p:nvGrpSpPr>
      <p:grpSpPr>
        <a:xfrm>
          <a:off x="0" y="0"/>
          <a:ext cx="0" cy="0"/>
          <a:chOff x="0" y="0"/>
          <a:chExt cx="0" cy="0"/>
        </a:xfrm>
      </p:grpSpPr>
      <p:sp>
        <p:nvSpPr>
          <p:cNvPr id="10" name="Espace réservé pour une image  6"/>
          <p:cNvSpPr>
            <a:spLocks noGrp="1"/>
          </p:cNvSpPr>
          <p:nvPr>
            <p:ph type="pic" sz="quarter" idx="10"/>
          </p:nvPr>
        </p:nvSpPr>
        <p:spPr>
          <a:xfrm>
            <a:off x="180975" y="1210735"/>
            <a:ext cx="5824539" cy="4688416"/>
          </a:xfrm>
          <a:prstGeom prst="rect">
            <a:avLst/>
          </a:prstGeom>
        </p:spPr>
        <p:txBody>
          <a:bodyPr/>
          <a:lstStyle>
            <a:lvl1pPr marL="0" indent="0">
              <a:buFontTx/>
              <a:buNone/>
              <a:defRPr/>
            </a:lvl1pPr>
          </a:lstStyle>
          <a:p>
            <a:endParaRPr lang="fr-FR"/>
          </a:p>
        </p:txBody>
      </p:sp>
      <p:sp>
        <p:nvSpPr>
          <p:cNvPr id="11" name="Espace réservé pour une image  6"/>
          <p:cNvSpPr>
            <a:spLocks noGrp="1"/>
          </p:cNvSpPr>
          <p:nvPr>
            <p:ph type="pic" sz="quarter" idx="11"/>
          </p:nvPr>
        </p:nvSpPr>
        <p:spPr>
          <a:xfrm>
            <a:off x="6096001" y="1210735"/>
            <a:ext cx="2868613" cy="2284208"/>
          </a:xfrm>
          <a:prstGeom prst="rect">
            <a:avLst/>
          </a:prstGeom>
        </p:spPr>
        <p:txBody>
          <a:bodyPr/>
          <a:lstStyle>
            <a:lvl1pPr marL="0" indent="0">
              <a:buFontTx/>
              <a:buNone/>
              <a:defRPr/>
            </a:lvl1pPr>
          </a:lstStyle>
          <a:p>
            <a:endParaRPr lang="fr-FR"/>
          </a:p>
        </p:txBody>
      </p:sp>
      <p:sp>
        <p:nvSpPr>
          <p:cNvPr id="12" name="Espace réservé pour une image  6"/>
          <p:cNvSpPr>
            <a:spLocks noGrp="1"/>
          </p:cNvSpPr>
          <p:nvPr>
            <p:ph type="pic" sz="quarter" idx="12"/>
          </p:nvPr>
        </p:nvSpPr>
        <p:spPr>
          <a:xfrm>
            <a:off x="6096001" y="3614944"/>
            <a:ext cx="2868613" cy="2284208"/>
          </a:xfrm>
          <a:prstGeom prst="rect">
            <a:avLst/>
          </a:prstGeom>
        </p:spPr>
        <p:txBody>
          <a:bodyPr/>
          <a:lstStyle>
            <a:lvl1pPr marL="0" indent="0">
              <a:buFontTx/>
              <a:buNone/>
              <a:defRPr/>
            </a:lvl1pPr>
          </a:lstStyle>
          <a:p>
            <a:endParaRPr lang="fr-FR"/>
          </a:p>
        </p:txBody>
      </p:sp>
      <p:sp>
        <p:nvSpPr>
          <p:cNvPr id="15" name="Espace réservé du texte 5"/>
          <p:cNvSpPr>
            <a:spLocks noGrp="1"/>
          </p:cNvSpPr>
          <p:nvPr>
            <p:ph type="body" sz="quarter" idx="21" hasCustomPrompt="1"/>
          </p:nvPr>
        </p:nvSpPr>
        <p:spPr>
          <a:xfrm>
            <a:off x="180975" y="187331"/>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8" name="Titre 3"/>
          <p:cNvSpPr>
            <a:spLocks noGrp="1"/>
          </p:cNvSpPr>
          <p:nvPr>
            <p:ph type="title" hasCustomPrompt="1"/>
          </p:nvPr>
        </p:nvSpPr>
        <p:spPr>
          <a:xfrm>
            <a:off x="180976"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37922487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0" name="Espace réservé pour une image  2"/>
          <p:cNvSpPr>
            <a:spLocks noGrp="1"/>
          </p:cNvSpPr>
          <p:nvPr>
            <p:ph type="pic" sz="quarter" idx="22"/>
          </p:nvPr>
        </p:nvSpPr>
        <p:spPr>
          <a:xfrm>
            <a:off x="180976" y="241300"/>
            <a:ext cx="8785225" cy="5657851"/>
          </a:xfrm>
          <a:prstGeom prst="rect">
            <a:avLst/>
          </a:prstGeom>
        </p:spPr>
        <p:txBody>
          <a:bodyPr/>
          <a:lstStyle>
            <a:lvl1pPr marL="0" indent="0">
              <a:buFontTx/>
              <a:buNone/>
              <a:defRPr/>
            </a:lvl1pPr>
          </a:lstStyle>
          <a:p>
            <a:endParaRPr lang="fr-FR"/>
          </a:p>
        </p:txBody>
      </p:sp>
    </p:spTree>
    <p:extLst>
      <p:ext uri="{BB962C8B-B14F-4D97-AF65-F5344CB8AC3E}">
        <p14:creationId xmlns:p14="http://schemas.microsoft.com/office/powerpoint/2010/main" val="17641995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0345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79390" y="508000"/>
            <a:ext cx="8785225" cy="304800"/>
          </a:xfrm>
          <a:prstGeom prst="rect">
            <a:avLst/>
          </a:prstGeom>
        </p:spPr>
        <p:txBody>
          <a:bodyPr/>
          <a:lstStyle/>
          <a:p>
            <a:r>
              <a:rPr lang="fr-FR"/>
              <a:t>Modifiez le style du titre</a:t>
            </a:r>
          </a:p>
        </p:txBody>
      </p:sp>
      <p:sp>
        <p:nvSpPr>
          <p:cNvPr id="3" name="Espace réservé du contenu 2"/>
          <p:cNvSpPr>
            <a:spLocks noGrp="1"/>
          </p:cNvSpPr>
          <p:nvPr>
            <p:ph idx="1"/>
          </p:nvPr>
        </p:nvSpPr>
        <p:spPr>
          <a:xfrm>
            <a:off x="568325" y="944563"/>
            <a:ext cx="8008938" cy="5148263"/>
          </a:xfrm>
          <a:prstGeom prst="rect">
            <a:avLst/>
          </a:prstGeo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44"/>
          <p:cNvSpPr>
            <a:spLocks noGrp="1" noChangeArrowheads="1"/>
          </p:cNvSpPr>
          <p:nvPr>
            <p:ph type="dt" sz="half" idx="10"/>
          </p:nvPr>
        </p:nvSpPr>
        <p:spPr>
          <a:xfrm>
            <a:off x="2722563" y="6208714"/>
            <a:ext cx="1562100" cy="539751"/>
          </a:xfrm>
          <a:prstGeom prst="rect">
            <a:avLst/>
          </a:prstGeom>
          <a:ln/>
        </p:spPr>
        <p:txBody>
          <a:bodyPr/>
          <a:lstStyle>
            <a:lvl1pPr>
              <a:defRPr/>
            </a:lvl1pPr>
          </a:lstStyle>
          <a:p>
            <a:pPr>
              <a:defRPr/>
            </a:pPr>
            <a:r>
              <a:rPr lang="en-US"/>
              <a:t>19 NOVEMBRE 2014</a:t>
            </a:r>
            <a:endParaRPr lang="en-US" noProof="1"/>
          </a:p>
        </p:txBody>
      </p:sp>
    </p:spTree>
    <p:extLst>
      <p:ext uri="{BB962C8B-B14F-4D97-AF65-F5344CB8AC3E}">
        <p14:creationId xmlns:p14="http://schemas.microsoft.com/office/powerpoint/2010/main" val="13350970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GOOD">
    <p:spTree>
      <p:nvGrpSpPr>
        <p:cNvPr id="1" name=""/>
        <p:cNvGrpSpPr/>
        <p:nvPr/>
      </p:nvGrpSpPr>
      <p:grpSpPr>
        <a:xfrm>
          <a:off x="0" y="0"/>
          <a:ext cx="0" cy="0"/>
          <a:chOff x="0" y="0"/>
          <a:chExt cx="0" cy="0"/>
        </a:xfrm>
      </p:grpSpPr>
      <p:sp>
        <p:nvSpPr>
          <p:cNvPr id="3" name="Titre 3"/>
          <p:cNvSpPr>
            <a:spLocks noGrp="1"/>
          </p:cNvSpPr>
          <p:nvPr>
            <p:ph type="title" hasCustomPrompt="1"/>
            <p:custDataLst>
              <p:tags r:id="rId1"/>
            </p:custDataLst>
          </p:nvPr>
        </p:nvSpPr>
        <p:spPr>
          <a:xfrm>
            <a:off x="180976" y="397062"/>
            <a:ext cx="8425921" cy="345157"/>
          </a:xfrm>
          <a:prstGeom prst="rect">
            <a:avLst/>
          </a:prstGeom>
        </p:spPr>
        <p:txBody>
          <a:bodyPr lIns="0" tIns="0" rIns="0" bIns="0"/>
          <a:lstStyle>
            <a:lvl1pPr>
              <a:defRPr sz="2000" b="1" cap="all" baseline="0">
                <a:solidFill>
                  <a:srgbClr val="000000"/>
                </a:solidFill>
              </a:defRPr>
            </a:lvl1pPr>
          </a:lstStyle>
          <a:p>
            <a:r>
              <a:rPr lang="fr-FR" dirty="0"/>
              <a:t>PAGE TITLE</a:t>
            </a:r>
          </a:p>
        </p:txBody>
      </p:sp>
    </p:spTree>
    <p:extLst>
      <p:ext uri="{BB962C8B-B14F-4D97-AF65-F5344CB8AC3E}">
        <p14:creationId xmlns:p14="http://schemas.microsoft.com/office/powerpoint/2010/main" val="97746365"/>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r>
              <a:rPr lang="fr-FR"/>
              <a:t>CR2PA - Atelier N°8 -10 déc 2015_RTE       Bernard Ouillon, Yves Sarrazin</a:t>
            </a:r>
          </a:p>
        </p:txBody>
      </p:sp>
      <p:sp>
        <p:nvSpPr>
          <p:cNvPr id="7" name="Espace réservé du numéro de diapositive 6"/>
          <p:cNvSpPr>
            <a:spLocks noGrp="1"/>
          </p:cNvSpPr>
          <p:nvPr>
            <p:ph type="sldNum" sz="quarter" idx="12"/>
          </p:nvPr>
        </p:nvSpPr>
        <p:spPr/>
        <p:txBody>
          <a:bodyPr/>
          <a:lstStyle/>
          <a:p>
            <a:fld id="{FCE514DE-E9F9-4E23-84E5-45B810FC164B}" type="slidenum">
              <a:rPr lang="fr-FR" smtClean="0"/>
              <a:pPr/>
              <a:t>‹N°›</a:t>
            </a:fld>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949" y="6246304"/>
            <a:ext cx="661851" cy="585216"/>
          </a:xfrm>
          <a:prstGeom prst="rect">
            <a:avLst/>
          </a:prstGeom>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nlle signature">
    <p:spTree>
      <p:nvGrpSpPr>
        <p:cNvPr id="1" name=""/>
        <p:cNvGrpSpPr/>
        <p:nvPr/>
      </p:nvGrpSpPr>
      <p:grpSpPr>
        <a:xfrm>
          <a:off x="0" y="0"/>
          <a:ext cx="0" cy="0"/>
          <a:chOff x="0" y="0"/>
          <a:chExt cx="0" cy="0"/>
        </a:xfrm>
      </p:grpSpPr>
      <p:sp>
        <p:nvSpPr>
          <p:cNvPr id="259" name="Rectangle 43"/>
          <p:cNvSpPr>
            <a:spLocks noChangeArrowheads="1"/>
          </p:cNvSpPr>
          <p:nvPr userDrawn="1"/>
        </p:nvSpPr>
        <p:spPr bwMode="auto">
          <a:xfrm>
            <a:off x="180975" y="240000"/>
            <a:ext cx="8784012" cy="3739333"/>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68580" tIns="34291" rIns="68580" bIns="34291" anchor="ctr"/>
          <a:lstStyle/>
          <a:p>
            <a:endParaRPr lang="fr-FR" sz="1400" b="0">
              <a:solidFill>
                <a:schemeClr val="tx1"/>
              </a:solidFill>
            </a:endParaRPr>
          </a:p>
        </p:txBody>
      </p:sp>
      <p:sp>
        <p:nvSpPr>
          <p:cNvPr id="5" name="Rectangle 41"/>
          <p:cNvSpPr>
            <a:spLocks noGrp="1" noChangeArrowheads="1"/>
          </p:cNvSpPr>
          <p:nvPr>
            <p:ph type="title" hasCustomPrompt="1"/>
          </p:nvPr>
        </p:nvSpPr>
        <p:spPr bwMode="auto">
          <a:xfrm>
            <a:off x="180978" y="241304"/>
            <a:ext cx="8785225" cy="373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0" tIns="0" rIns="0" bIns="0" numCol="1" anchor="ctr" anchorCtr="0" compatLnSpc="1">
            <a:prstTxWarp prst="textNoShape">
              <a:avLst/>
            </a:prstTxWarp>
          </a:bodyPr>
          <a:lstStyle>
            <a:lvl1pPr>
              <a:defRPr sz="2400" cap="all" baseline="0">
                <a:latin typeface="+mn-lt"/>
              </a:defRPr>
            </a:lvl1pPr>
          </a:lstStyle>
          <a:p>
            <a:pPr lvl="0"/>
            <a:r>
              <a:rPr lang="fr-FR" dirty="0"/>
              <a:t>PRESENTATION TITLE</a:t>
            </a:r>
          </a:p>
        </p:txBody>
      </p:sp>
    </p:spTree>
    <p:extLst>
      <p:ext uri="{BB962C8B-B14F-4D97-AF65-F5344CB8AC3E}">
        <p14:creationId xmlns:p14="http://schemas.microsoft.com/office/powerpoint/2010/main" val="3993262864"/>
      </p:ext>
    </p:extLst>
  </p:cSld>
  <p:clrMapOvr>
    <a:masterClrMapping/>
  </p:clrMapOvr>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 Title">
    <p:spTree>
      <p:nvGrpSpPr>
        <p:cNvPr id="1" name=""/>
        <p:cNvGrpSpPr/>
        <p:nvPr/>
      </p:nvGrpSpPr>
      <p:grpSpPr>
        <a:xfrm>
          <a:off x="0" y="0"/>
          <a:ext cx="0" cy="0"/>
          <a:chOff x="0" y="0"/>
          <a:chExt cx="0" cy="0"/>
        </a:xfrm>
      </p:grpSpPr>
      <p:sp>
        <p:nvSpPr>
          <p:cNvPr id="93" name="Espace réservé pour une image  5"/>
          <p:cNvSpPr>
            <a:spLocks noGrp="1"/>
          </p:cNvSpPr>
          <p:nvPr>
            <p:ph type="pic" sz="quarter" idx="10"/>
          </p:nvPr>
        </p:nvSpPr>
        <p:spPr>
          <a:xfrm>
            <a:off x="180978" y="241301"/>
            <a:ext cx="8785225" cy="3738032"/>
          </a:xfrm>
          <a:prstGeom prst="rect">
            <a:avLst/>
          </a:prstGeom>
        </p:spPr>
        <p:txBody>
          <a:bodyPr/>
          <a:lstStyle>
            <a:lvl1pPr marL="0" indent="0">
              <a:buFontTx/>
              <a:buNone/>
              <a:defRPr/>
            </a:lvl1pPr>
          </a:lstStyle>
          <a:p>
            <a:r>
              <a:rPr lang="fr-FR"/>
              <a:t>Cliquez sur l'icône pour ajouter une image</a:t>
            </a:r>
            <a:endParaRPr lang="fr-FR" dirty="0"/>
          </a:p>
        </p:txBody>
      </p:sp>
      <p:sp>
        <p:nvSpPr>
          <p:cNvPr id="5" name="Rectangle 41"/>
          <p:cNvSpPr>
            <a:spLocks noGrp="1" noChangeArrowheads="1"/>
          </p:cNvSpPr>
          <p:nvPr>
            <p:ph type="title" hasCustomPrompt="1"/>
          </p:nvPr>
        </p:nvSpPr>
        <p:spPr bwMode="auto">
          <a:xfrm>
            <a:off x="180978" y="4030137"/>
            <a:ext cx="8785225" cy="1873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0" tIns="0" rIns="0" bIns="0" numCol="1" anchor="ctr" anchorCtr="0" compatLnSpc="1">
            <a:prstTxWarp prst="textNoShape">
              <a:avLst/>
            </a:prstTxWarp>
          </a:bodyPr>
          <a:lstStyle>
            <a:lvl1pPr>
              <a:defRPr sz="2400" cap="all" baseline="0">
                <a:latin typeface="+mn-lt"/>
              </a:defRPr>
            </a:lvl1pPr>
          </a:lstStyle>
          <a:p>
            <a:pPr lvl="0"/>
            <a:r>
              <a:rPr lang="fr-FR" dirty="0"/>
              <a:t>PRESENTATION TITLE</a:t>
            </a:r>
          </a:p>
        </p:txBody>
      </p:sp>
    </p:spTree>
    <p:extLst>
      <p:ext uri="{BB962C8B-B14F-4D97-AF65-F5344CB8AC3E}">
        <p14:creationId xmlns:p14="http://schemas.microsoft.com/office/powerpoint/2010/main" val="2308120538"/>
      </p:ext>
    </p:extLst>
  </p:cSld>
  <p:clrMapOvr>
    <a:masterClrMapping/>
  </p:clrMapOvr>
  <p:extLst mod="1">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05E637CD-0640-49C4-97F5-1821D989EDEF}" type="datetimeFigureOut">
              <a:rPr lang="fr-FR" smtClean="0"/>
              <a:t>29/08/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91EB7E84-FCE5-4C59-8C9C-6CD984661FDE}" type="slidenum">
              <a:rPr lang="fr-FR" smtClean="0"/>
              <a:t>‹N°›</a:t>
            </a:fld>
            <a:endParaRPr lang="fr-FR"/>
          </a:p>
        </p:txBody>
      </p:sp>
    </p:spTree>
    <p:extLst>
      <p:ext uri="{BB962C8B-B14F-4D97-AF65-F5344CB8AC3E}">
        <p14:creationId xmlns:p14="http://schemas.microsoft.com/office/powerpoint/2010/main" val="17145604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re 3"/>
          <p:cNvSpPr>
            <a:spLocks noGrp="1"/>
          </p:cNvSpPr>
          <p:nvPr>
            <p:ph type="title" hasCustomPrompt="1"/>
          </p:nvPr>
        </p:nvSpPr>
        <p:spPr>
          <a:xfrm>
            <a:off x="180978" y="397062"/>
            <a:ext cx="8425921" cy="345157"/>
          </a:xfrm>
          <a:prstGeom prst="rect">
            <a:avLst/>
          </a:prstGeom>
        </p:spPr>
        <p:txBody>
          <a:bodyPr lIns="0" tIns="0" rIns="0" bIns="0"/>
          <a:lstStyle>
            <a:lvl1pPr>
              <a:defRPr sz="2000" cap="all" baseline="0"/>
            </a:lvl1pPr>
          </a:lstStyle>
          <a:p>
            <a:r>
              <a:rPr lang="fr-FR" dirty="0"/>
              <a:t>PAGE TITLE</a:t>
            </a:r>
          </a:p>
        </p:txBody>
      </p:sp>
      <p:sp>
        <p:nvSpPr>
          <p:cNvPr id="4" name="Espace réservé du texte 5"/>
          <p:cNvSpPr>
            <a:spLocks noGrp="1"/>
          </p:cNvSpPr>
          <p:nvPr>
            <p:ph type="body" sz="quarter" idx="21" hasCustomPrompt="1"/>
          </p:nvPr>
        </p:nvSpPr>
        <p:spPr>
          <a:xfrm>
            <a:off x="180976" y="187334"/>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Tree>
    <p:extLst>
      <p:ext uri="{BB962C8B-B14F-4D97-AF65-F5344CB8AC3E}">
        <p14:creationId xmlns:p14="http://schemas.microsoft.com/office/powerpoint/2010/main" val="2839630000"/>
      </p:ext>
    </p:extLst>
  </p:cSld>
  <p:clrMapOvr>
    <a:masterClrMapping/>
  </p:clrMapOvr>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5" name="Espace réservé du texte 4"/>
          <p:cNvSpPr>
            <a:spLocks noGrp="1"/>
          </p:cNvSpPr>
          <p:nvPr>
            <p:ph type="body" sz="quarter" idx="10" hasCustomPrompt="1"/>
          </p:nvPr>
        </p:nvSpPr>
        <p:spPr>
          <a:xfrm>
            <a:off x="542927" y="1139514"/>
            <a:ext cx="8060895" cy="4759637"/>
          </a:xfrm>
          <a:prstGeom prst="rect">
            <a:avLst/>
          </a:prstGeom>
        </p:spPr>
        <p:txBody>
          <a:bodyPr lIns="0" tIns="0" rIns="0" bIns="0"/>
          <a:lstStyle>
            <a:lvl1pPr marL="177796" indent="-177796">
              <a:spcBef>
                <a:spcPts val="300"/>
              </a:spcBef>
              <a:buClr>
                <a:schemeClr val="accent1"/>
              </a:buClr>
              <a:defRPr sz="1800"/>
            </a:lvl1pPr>
            <a:lvl2pPr marL="450839" indent="-184146">
              <a:spcBef>
                <a:spcPts val="300"/>
              </a:spcBef>
              <a:buClr>
                <a:schemeClr val="tx1"/>
              </a:buClr>
              <a:buFont typeface="Arial" pitchFamily="34" charset="0"/>
              <a:buChar char="−"/>
              <a:defRPr sz="1600"/>
            </a:lvl2pPr>
            <a:lvl3pPr marL="715945" indent="-176209">
              <a:spcBef>
                <a:spcPts val="300"/>
              </a:spcBef>
              <a:buClr>
                <a:schemeClr val="tx1"/>
              </a:buClr>
              <a:buFont typeface="Arial" pitchFamily="34" charset="0"/>
              <a:buChar char="−"/>
              <a:tabLst/>
              <a:defRPr sz="1400"/>
            </a:lvl3pPr>
            <a:lvl4pPr marL="982638" indent="-177796">
              <a:spcBef>
                <a:spcPts val="300"/>
              </a:spcBef>
              <a:buClr>
                <a:schemeClr val="tx1"/>
              </a:buClr>
              <a:buFont typeface="Arial" pitchFamily="34" charset="0"/>
              <a:buChar char="−"/>
              <a:defRPr sz="1200"/>
            </a:lvl4pPr>
            <a:lvl5pPr marL="1255682" indent="-177796">
              <a:spcBef>
                <a:spcPts val="300"/>
              </a:spcBef>
              <a:buClr>
                <a:schemeClr val="tx1"/>
              </a:buClr>
              <a:buFont typeface="Arial" pitchFamily="34" charset="0"/>
              <a:buChar char="−"/>
              <a:defRPr sz="1000"/>
            </a:lvl5pPr>
          </a:lstStyle>
          <a:p>
            <a:pPr lvl="0"/>
            <a:r>
              <a:rPr lang="fr-FR" dirty="0"/>
              <a:t>First </a:t>
            </a:r>
            <a:r>
              <a:rPr lang="fr-FR" dirty="0" err="1"/>
              <a:t>level</a:t>
            </a:r>
            <a:r>
              <a:rPr lang="fr-FR" dirty="0"/>
              <a:t> </a:t>
            </a:r>
            <a:r>
              <a:rPr lang="fr-FR" dirty="0" err="1"/>
              <a:t>text</a:t>
            </a:r>
            <a:endParaRPr lang="fr-FR" dirty="0"/>
          </a:p>
          <a:p>
            <a:pPr lvl="1"/>
            <a:r>
              <a:rPr lang="fr-FR" dirty="0"/>
              <a:t>Second </a:t>
            </a:r>
            <a:r>
              <a:rPr lang="fr-FR" dirty="0" err="1"/>
              <a:t>level</a:t>
            </a:r>
            <a:r>
              <a:rPr lang="fr-FR" dirty="0"/>
              <a:t> </a:t>
            </a:r>
            <a:r>
              <a:rPr lang="fr-FR" dirty="0" err="1"/>
              <a:t>text</a:t>
            </a:r>
            <a:endParaRPr lang="fr-FR" dirty="0"/>
          </a:p>
          <a:p>
            <a:pPr lvl="2"/>
            <a:r>
              <a:rPr lang="fr-FR" dirty="0" err="1"/>
              <a:t>Third</a:t>
            </a:r>
            <a:r>
              <a:rPr lang="fr-FR" dirty="0"/>
              <a:t> </a:t>
            </a:r>
            <a:r>
              <a:rPr lang="fr-FR" dirty="0" err="1"/>
              <a:t>level</a:t>
            </a:r>
            <a:r>
              <a:rPr lang="fr-FR" dirty="0"/>
              <a:t> </a:t>
            </a:r>
            <a:r>
              <a:rPr lang="fr-FR" dirty="0" err="1"/>
              <a:t>text</a:t>
            </a:r>
            <a:endParaRPr lang="fr-FR" dirty="0"/>
          </a:p>
          <a:p>
            <a:pPr lvl="3"/>
            <a:r>
              <a:rPr lang="fr-FR" dirty="0" err="1"/>
              <a:t>Fourth</a:t>
            </a:r>
            <a:r>
              <a:rPr lang="fr-FR" dirty="0"/>
              <a:t> </a:t>
            </a:r>
            <a:r>
              <a:rPr lang="fr-FR" dirty="0" err="1"/>
              <a:t>level</a:t>
            </a:r>
            <a:r>
              <a:rPr lang="fr-FR" dirty="0"/>
              <a:t> </a:t>
            </a:r>
            <a:r>
              <a:rPr lang="fr-FR" dirty="0" err="1"/>
              <a:t>text</a:t>
            </a:r>
            <a:endParaRPr lang="fr-FR" dirty="0"/>
          </a:p>
          <a:p>
            <a:pPr lvl="4"/>
            <a:r>
              <a:rPr lang="fr-FR" dirty="0" err="1"/>
              <a:t>Fifth</a:t>
            </a:r>
            <a:r>
              <a:rPr lang="fr-FR" dirty="0"/>
              <a:t> </a:t>
            </a:r>
            <a:r>
              <a:rPr lang="fr-FR" dirty="0" err="1"/>
              <a:t>level</a:t>
            </a:r>
            <a:r>
              <a:rPr lang="fr-FR" dirty="0"/>
              <a:t> </a:t>
            </a:r>
            <a:r>
              <a:rPr lang="fr-FR" dirty="0" err="1"/>
              <a:t>text</a:t>
            </a:r>
            <a:endParaRPr lang="fr-FR" dirty="0"/>
          </a:p>
        </p:txBody>
      </p:sp>
      <p:sp>
        <p:nvSpPr>
          <p:cNvPr id="10" name="Espace réservé du texte 5"/>
          <p:cNvSpPr>
            <a:spLocks noGrp="1"/>
          </p:cNvSpPr>
          <p:nvPr>
            <p:ph type="body" sz="quarter" idx="21" hasCustomPrompt="1"/>
          </p:nvPr>
        </p:nvSpPr>
        <p:spPr>
          <a:xfrm>
            <a:off x="180976" y="187334"/>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180978"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1688620554"/>
      </p:ext>
    </p:extLst>
  </p:cSld>
  <p:clrMapOvr>
    <a:masterClrMapping/>
  </p:clrMapOvr>
  <p:extLst mod="1">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1" name="Espace réservé pour une image  2"/>
          <p:cNvSpPr>
            <a:spLocks noGrp="1"/>
          </p:cNvSpPr>
          <p:nvPr>
            <p:ph type="pic" sz="quarter" idx="22"/>
          </p:nvPr>
        </p:nvSpPr>
        <p:spPr>
          <a:xfrm>
            <a:off x="542927" y="1210735"/>
            <a:ext cx="8061325" cy="4688416"/>
          </a:xfrm>
          <a:prstGeom prst="rect">
            <a:avLst/>
          </a:prstGeom>
        </p:spPr>
        <p:txBody>
          <a:bodyPr/>
          <a:lstStyle>
            <a:lvl1pPr marL="0" indent="0">
              <a:buFontTx/>
              <a:buNone/>
              <a:defRPr/>
            </a:lvl1pPr>
          </a:lstStyle>
          <a:p>
            <a:endParaRPr lang="fr-FR" dirty="0"/>
          </a:p>
        </p:txBody>
      </p:sp>
      <p:sp>
        <p:nvSpPr>
          <p:cNvPr id="13" name="Espace réservé du texte 5"/>
          <p:cNvSpPr>
            <a:spLocks noGrp="1"/>
          </p:cNvSpPr>
          <p:nvPr>
            <p:ph type="body" sz="quarter" idx="21" hasCustomPrompt="1"/>
          </p:nvPr>
        </p:nvSpPr>
        <p:spPr>
          <a:xfrm>
            <a:off x="180976" y="187334"/>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180978"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17919203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sp>
        <p:nvSpPr>
          <p:cNvPr id="10" name="Espace réservé pour une image  2"/>
          <p:cNvSpPr>
            <a:spLocks noGrp="1"/>
          </p:cNvSpPr>
          <p:nvPr>
            <p:ph type="pic" sz="quarter" idx="22"/>
          </p:nvPr>
        </p:nvSpPr>
        <p:spPr>
          <a:xfrm>
            <a:off x="180978" y="1210735"/>
            <a:ext cx="8785225" cy="4688416"/>
          </a:xfrm>
          <a:prstGeom prst="rect">
            <a:avLst/>
          </a:prstGeom>
        </p:spPr>
        <p:txBody>
          <a:bodyPr/>
          <a:lstStyle>
            <a:lvl1pPr marL="0" indent="0">
              <a:buFontTx/>
              <a:buNone/>
              <a:defRPr/>
            </a:lvl1pPr>
          </a:lstStyle>
          <a:p>
            <a:endParaRPr lang="fr-FR" dirty="0"/>
          </a:p>
        </p:txBody>
      </p:sp>
      <p:sp>
        <p:nvSpPr>
          <p:cNvPr id="12" name="Espace réservé du texte 5"/>
          <p:cNvSpPr>
            <a:spLocks noGrp="1"/>
          </p:cNvSpPr>
          <p:nvPr>
            <p:ph type="body" sz="quarter" idx="21" hasCustomPrompt="1"/>
          </p:nvPr>
        </p:nvSpPr>
        <p:spPr>
          <a:xfrm>
            <a:off x="180976" y="187334"/>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180978"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31012186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Image composition">
    <p:spTree>
      <p:nvGrpSpPr>
        <p:cNvPr id="1" name=""/>
        <p:cNvGrpSpPr/>
        <p:nvPr/>
      </p:nvGrpSpPr>
      <p:grpSpPr>
        <a:xfrm>
          <a:off x="0" y="0"/>
          <a:ext cx="0" cy="0"/>
          <a:chOff x="0" y="0"/>
          <a:chExt cx="0" cy="0"/>
        </a:xfrm>
      </p:grpSpPr>
      <p:sp>
        <p:nvSpPr>
          <p:cNvPr id="10" name="Espace réservé pour une image  6"/>
          <p:cNvSpPr>
            <a:spLocks noGrp="1"/>
          </p:cNvSpPr>
          <p:nvPr>
            <p:ph type="pic" sz="quarter" idx="10"/>
          </p:nvPr>
        </p:nvSpPr>
        <p:spPr>
          <a:xfrm>
            <a:off x="180976" y="1210735"/>
            <a:ext cx="5824539" cy="4688416"/>
          </a:xfrm>
          <a:prstGeom prst="rect">
            <a:avLst/>
          </a:prstGeom>
        </p:spPr>
        <p:txBody>
          <a:bodyPr/>
          <a:lstStyle>
            <a:lvl1pPr marL="0" indent="0">
              <a:buFontTx/>
              <a:buNone/>
              <a:defRPr/>
            </a:lvl1pPr>
          </a:lstStyle>
          <a:p>
            <a:endParaRPr lang="fr-FR"/>
          </a:p>
        </p:txBody>
      </p:sp>
      <p:sp>
        <p:nvSpPr>
          <p:cNvPr id="11" name="Espace réservé pour une image  6"/>
          <p:cNvSpPr>
            <a:spLocks noGrp="1"/>
          </p:cNvSpPr>
          <p:nvPr>
            <p:ph type="pic" sz="quarter" idx="11"/>
          </p:nvPr>
        </p:nvSpPr>
        <p:spPr>
          <a:xfrm>
            <a:off x="6096001" y="1210735"/>
            <a:ext cx="2868613" cy="2284208"/>
          </a:xfrm>
          <a:prstGeom prst="rect">
            <a:avLst/>
          </a:prstGeom>
        </p:spPr>
        <p:txBody>
          <a:bodyPr/>
          <a:lstStyle>
            <a:lvl1pPr marL="0" indent="0">
              <a:buFontTx/>
              <a:buNone/>
              <a:defRPr/>
            </a:lvl1pPr>
          </a:lstStyle>
          <a:p>
            <a:endParaRPr lang="fr-FR"/>
          </a:p>
        </p:txBody>
      </p:sp>
      <p:sp>
        <p:nvSpPr>
          <p:cNvPr id="12" name="Espace réservé pour une image  6"/>
          <p:cNvSpPr>
            <a:spLocks noGrp="1"/>
          </p:cNvSpPr>
          <p:nvPr>
            <p:ph type="pic" sz="quarter" idx="12"/>
          </p:nvPr>
        </p:nvSpPr>
        <p:spPr>
          <a:xfrm>
            <a:off x="6096001" y="3614944"/>
            <a:ext cx="2868613" cy="2284208"/>
          </a:xfrm>
          <a:prstGeom prst="rect">
            <a:avLst/>
          </a:prstGeom>
        </p:spPr>
        <p:txBody>
          <a:bodyPr/>
          <a:lstStyle>
            <a:lvl1pPr marL="0" indent="0">
              <a:buFontTx/>
              <a:buNone/>
              <a:defRPr/>
            </a:lvl1pPr>
          </a:lstStyle>
          <a:p>
            <a:endParaRPr lang="fr-FR"/>
          </a:p>
        </p:txBody>
      </p:sp>
      <p:sp>
        <p:nvSpPr>
          <p:cNvPr id="15" name="Espace réservé du texte 5"/>
          <p:cNvSpPr>
            <a:spLocks noGrp="1"/>
          </p:cNvSpPr>
          <p:nvPr>
            <p:ph type="body" sz="quarter" idx="21" hasCustomPrompt="1"/>
          </p:nvPr>
        </p:nvSpPr>
        <p:spPr>
          <a:xfrm>
            <a:off x="180976" y="187334"/>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8" name="Titre 3"/>
          <p:cNvSpPr>
            <a:spLocks noGrp="1"/>
          </p:cNvSpPr>
          <p:nvPr>
            <p:ph type="title" hasCustomPrompt="1"/>
          </p:nvPr>
        </p:nvSpPr>
        <p:spPr>
          <a:xfrm>
            <a:off x="180978" y="397062"/>
            <a:ext cx="8425921" cy="345157"/>
          </a:xfrm>
          <a:prstGeom prst="rect">
            <a:avLst/>
          </a:prstGeom>
        </p:spPr>
        <p:txBody>
          <a:bodyPr lIns="0" tIns="0" rIns="0" bIns="0"/>
          <a:lstStyle>
            <a:lvl1pPr>
              <a:defRPr sz="2000" cap="all" baseline="0"/>
            </a:lvl1pPr>
          </a:lstStyle>
          <a:p>
            <a:r>
              <a:rPr lang="fr-FR" dirty="0"/>
              <a:t>PAGE TITLE</a:t>
            </a:r>
          </a:p>
        </p:txBody>
      </p:sp>
    </p:spTree>
    <p:extLst>
      <p:ext uri="{BB962C8B-B14F-4D97-AF65-F5344CB8AC3E}">
        <p14:creationId xmlns:p14="http://schemas.microsoft.com/office/powerpoint/2010/main" val="29924395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0" name="Espace réservé pour une image  2"/>
          <p:cNvSpPr>
            <a:spLocks noGrp="1"/>
          </p:cNvSpPr>
          <p:nvPr>
            <p:ph type="pic" sz="quarter" idx="22"/>
          </p:nvPr>
        </p:nvSpPr>
        <p:spPr>
          <a:xfrm>
            <a:off x="180978" y="241300"/>
            <a:ext cx="8785225" cy="5657851"/>
          </a:xfrm>
          <a:prstGeom prst="rect">
            <a:avLst/>
          </a:prstGeom>
        </p:spPr>
        <p:txBody>
          <a:bodyPr/>
          <a:lstStyle>
            <a:lvl1pPr marL="0" indent="0">
              <a:buFontTx/>
              <a:buNone/>
              <a:defRPr/>
            </a:lvl1pPr>
          </a:lstStyle>
          <a:p>
            <a:endParaRPr lang="fr-FR"/>
          </a:p>
        </p:txBody>
      </p:sp>
    </p:spTree>
    <p:extLst>
      <p:ext uri="{BB962C8B-B14F-4D97-AF65-F5344CB8AC3E}">
        <p14:creationId xmlns:p14="http://schemas.microsoft.com/office/powerpoint/2010/main" val="29537690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3179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endParaRPr lang="fr-FR"/>
          </a:p>
        </p:txBody>
      </p:sp>
      <p:sp>
        <p:nvSpPr>
          <p:cNvPr id="8" name="Espace réservé du pied de page 7"/>
          <p:cNvSpPr>
            <a:spLocks noGrp="1"/>
          </p:cNvSpPr>
          <p:nvPr>
            <p:ph type="ftr" sz="quarter" idx="11"/>
          </p:nvPr>
        </p:nvSpPr>
        <p:spPr>
          <a:xfrm>
            <a:off x="3124200" y="6356350"/>
            <a:ext cx="2895600" cy="365125"/>
          </a:xfrm>
          <a:prstGeom prst="rect">
            <a:avLst/>
          </a:prstGeom>
        </p:spPr>
        <p:txBody>
          <a:bodyPr/>
          <a:lstStyle/>
          <a:p>
            <a:r>
              <a:rPr lang="fr-FR"/>
              <a:t>CR2PA - Atelier N°8 -10 déc 2015_RTE       Bernard Ouillon, Yves Sarrazin</a:t>
            </a:r>
          </a:p>
        </p:txBody>
      </p:sp>
      <p:sp>
        <p:nvSpPr>
          <p:cNvPr id="9" name="Espace réservé du numéro de diapositive 8"/>
          <p:cNvSpPr>
            <a:spLocks noGrp="1"/>
          </p:cNvSpPr>
          <p:nvPr>
            <p:ph type="sldNum" sz="quarter" idx="12"/>
          </p:nvPr>
        </p:nvSpPr>
        <p:spPr/>
        <p:txBody>
          <a:bodyPr/>
          <a:lstStyle/>
          <a:p>
            <a:fld id="{FCE514DE-E9F9-4E23-84E5-45B810FC164B}" type="slidenum">
              <a:rPr lang="fr-FR" smtClean="0"/>
              <a:pPr/>
              <a:t>‹N°›</a:t>
            </a:fld>
            <a:endParaRPr lang="fr-F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grpSp>
        <p:nvGrpSpPr>
          <p:cNvPr id="20" name="Groupe 19"/>
          <p:cNvGrpSpPr/>
          <p:nvPr userDrawn="1"/>
        </p:nvGrpSpPr>
        <p:grpSpPr>
          <a:xfrm>
            <a:off x="3136901" y="3107267"/>
            <a:ext cx="2870201" cy="643467"/>
            <a:chOff x="3136900" y="2330450"/>
            <a:chExt cx="2870201" cy="482600"/>
          </a:xfrm>
        </p:grpSpPr>
        <p:sp>
          <p:nvSpPr>
            <p:cNvPr id="12" name="Freeform 6"/>
            <p:cNvSpPr>
              <a:spLocks/>
            </p:cNvSpPr>
            <p:nvPr userDrawn="1"/>
          </p:nvSpPr>
          <p:spPr bwMode="auto">
            <a:xfrm>
              <a:off x="3136900" y="2339975"/>
              <a:ext cx="296863" cy="463550"/>
            </a:xfrm>
            <a:custGeom>
              <a:avLst/>
              <a:gdLst>
                <a:gd name="T0" fmla="*/ 748 w 748"/>
                <a:gd name="T1" fmla="*/ 0 h 1172"/>
                <a:gd name="T2" fmla="*/ 748 w 748"/>
                <a:gd name="T3" fmla="*/ 194 h 1172"/>
                <a:gd name="T4" fmla="*/ 492 w 748"/>
                <a:gd name="T5" fmla="*/ 194 h 1172"/>
                <a:gd name="T6" fmla="*/ 492 w 748"/>
                <a:gd name="T7" fmla="*/ 1172 h 1172"/>
                <a:gd name="T8" fmla="*/ 255 w 748"/>
                <a:gd name="T9" fmla="*/ 1172 h 1172"/>
                <a:gd name="T10" fmla="*/ 255 w 748"/>
                <a:gd name="T11" fmla="*/ 194 h 1172"/>
                <a:gd name="T12" fmla="*/ 0 w 748"/>
                <a:gd name="T13" fmla="*/ 194 h 1172"/>
                <a:gd name="T14" fmla="*/ 0 w 748"/>
                <a:gd name="T15" fmla="*/ 0 h 1172"/>
                <a:gd name="T16" fmla="*/ 748 w 748"/>
                <a:gd name="T17"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8" h="1172">
                  <a:moveTo>
                    <a:pt x="748" y="0"/>
                  </a:moveTo>
                  <a:lnTo>
                    <a:pt x="748" y="194"/>
                  </a:lnTo>
                  <a:lnTo>
                    <a:pt x="492" y="194"/>
                  </a:lnTo>
                  <a:lnTo>
                    <a:pt x="492" y="1172"/>
                  </a:lnTo>
                  <a:lnTo>
                    <a:pt x="255" y="1172"/>
                  </a:lnTo>
                  <a:lnTo>
                    <a:pt x="255" y="194"/>
                  </a:lnTo>
                  <a:lnTo>
                    <a:pt x="0" y="194"/>
                  </a:lnTo>
                  <a:lnTo>
                    <a:pt x="0" y="0"/>
                  </a:lnTo>
                  <a:lnTo>
                    <a:pt x="74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sz="1800" dirty="0"/>
            </a:p>
          </p:txBody>
        </p:sp>
        <p:sp>
          <p:nvSpPr>
            <p:cNvPr id="13" name="Freeform 7"/>
            <p:cNvSpPr>
              <a:spLocks/>
            </p:cNvSpPr>
            <p:nvPr userDrawn="1"/>
          </p:nvSpPr>
          <p:spPr bwMode="auto">
            <a:xfrm>
              <a:off x="3465513" y="2339975"/>
              <a:ext cx="296863" cy="463550"/>
            </a:xfrm>
            <a:custGeom>
              <a:avLst/>
              <a:gdLst>
                <a:gd name="T0" fmla="*/ 0 w 748"/>
                <a:gd name="T1" fmla="*/ 0 h 1172"/>
                <a:gd name="T2" fmla="*/ 237 w 748"/>
                <a:gd name="T3" fmla="*/ 0 h 1172"/>
                <a:gd name="T4" fmla="*/ 237 w 748"/>
                <a:gd name="T5" fmla="*/ 448 h 1172"/>
                <a:gd name="T6" fmla="*/ 513 w 748"/>
                <a:gd name="T7" fmla="*/ 448 h 1172"/>
                <a:gd name="T8" fmla="*/ 513 w 748"/>
                <a:gd name="T9" fmla="*/ 0 h 1172"/>
                <a:gd name="T10" fmla="*/ 748 w 748"/>
                <a:gd name="T11" fmla="*/ 0 h 1172"/>
                <a:gd name="T12" fmla="*/ 748 w 748"/>
                <a:gd name="T13" fmla="*/ 1172 h 1172"/>
                <a:gd name="T14" fmla="*/ 513 w 748"/>
                <a:gd name="T15" fmla="*/ 1172 h 1172"/>
                <a:gd name="T16" fmla="*/ 513 w 748"/>
                <a:gd name="T17" fmla="*/ 652 h 1172"/>
                <a:gd name="T18" fmla="*/ 237 w 748"/>
                <a:gd name="T19" fmla="*/ 652 h 1172"/>
                <a:gd name="T20" fmla="*/ 237 w 748"/>
                <a:gd name="T21" fmla="*/ 1172 h 1172"/>
                <a:gd name="T22" fmla="*/ 0 w 748"/>
                <a:gd name="T23" fmla="*/ 1172 h 1172"/>
                <a:gd name="T24" fmla="*/ 0 w 748"/>
                <a:gd name="T25"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8" h="1172">
                  <a:moveTo>
                    <a:pt x="0" y="0"/>
                  </a:moveTo>
                  <a:lnTo>
                    <a:pt x="237" y="0"/>
                  </a:lnTo>
                  <a:lnTo>
                    <a:pt x="237" y="448"/>
                  </a:lnTo>
                  <a:lnTo>
                    <a:pt x="513" y="448"/>
                  </a:lnTo>
                  <a:lnTo>
                    <a:pt x="513" y="0"/>
                  </a:lnTo>
                  <a:lnTo>
                    <a:pt x="748" y="0"/>
                  </a:lnTo>
                  <a:lnTo>
                    <a:pt x="748" y="1172"/>
                  </a:lnTo>
                  <a:lnTo>
                    <a:pt x="513" y="1172"/>
                  </a:lnTo>
                  <a:lnTo>
                    <a:pt x="513" y="652"/>
                  </a:lnTo>
                  <a:lnTo>
                    <a:pt x="237" y="652"/>
                  </a:lnTo>
                  <a:lnTo>
                    <a:pt x="237" y="1172"/>
                  </a:lnTo>
                  <a:lnTo>
                    <a:pt x="0" y="1172"/>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sz="1800" dirty="0"/>
            </a:p>
          </p:txBody>
        </p:sp>
        <p:sp>
          <p:nvSpPr>
            <p:cNvPr id="14" name="Freeform 8"/>
            <p:cNvSpPr>
              <a:spLocks noEditPoints="1"/>
            </p:cNvSpPr>
            <p:nvPr userDrawn="1"/>
          </p:nvSpPr>
          <p:spPr bwMode="auto">
            <a:xfrm>
              <a:off x="3790950" y="2339975"/>
              <a:ext cx="361950" cy="463550"/>
            </a:xfrm>
            <a:custGeom>
              <a:avLst/>
              <a:gdLst>
                <a:gd name="T0" fmla="*/ 311 w 912"/>
                <a:gd name="T1" fmla="*/ 0 h 1172"/>
                <a:gd name="T2" fmla="*/ 602 w 912"/>
                <a:gd name="T3" fmla="*/ 0 h 1172"/>
                <a:gd name="T4" fmla="*/ 912 w 912"/>
                <a:gd name="T5" fmla="*/ 1172 h 1172"/>
                <a:gd name="T6" fmla="*/ 666 w 912"/>
                <a:gd name="T7" fmla="*/ 1172 h 1172"/>
                <a:gd name="T8" fmla="*/ 613 w 912"/>
                <a:gd name="T9" fmla="*/ 924 h 1172"/>
                <a:gd name="T10" fmla="*/ 301 w 912"/>
                <a:gd name="T11" fmla="*/ 924 h 1172"/>
                <a:gd name="T12" fmla="*/ 247 w 912"/>
                <a:gd name="T13" fmla="*/ 1172 h 1172"/>
                <a:gd name="T14" fmla="*/ 0 w 912"/>
                <a:gd name="T15" fmla="*/ 1172 h 1172"/>
                <a:gd name="T16" fmla="*/ 311 w 912"/>
                <a:gd name="T17" fmla="*/ 0 h 1172"/>
                <a:gd name="T18" fmla="*/ 342 w 912"/>
                <a:gd name="T19" fmla="*/ 730 h 1172"/>
                <a:gd name="T20" fmla="*/ 571 w 912"/>
                <a:gd name="T21" fmla="*/ 730 h 1172"/>
                <a:gd name="T22" fmla="*/ 458 w 912"/>
                <a:gd name="T23" fmla="*/ 204 h 1172"/>
                <a:gd name="T24" fmla="*/ 455 w 912"/>
                <a:gd name="T25" fmla="*/ 204 h 1172"/>
                <a:gd name="T26" fmla="*/ 342 w 912"/>
                <a:gd name="T27" fmla="*/ 73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72">
                  <a:moveTo>
                    <a:pt x="311" y="0"/>
                  </a:moveTo>
                  <a:lnTo>
                    <a:pt x="602" y="0"/>
                  </a:lnTo>
                  <a:lnTo>
                    <a:pt x="912" y="1172"/>
                  </a:lnTo>
                  <a:lnTo>
                    <a:pt x="666" y="1172"/>
                  </a:lnTo>
                  <a:lnTo>
                    <a:pt x="613" y="924"/>
                  </a:lnTo>
                  <a:lnTo>
                    <a:pt x="301" y="924"/>
                  </a:lnTo>
                  <a:lnTo>
                    <a:pt x="247" y="1172"/>
                  </a:lnTo>
                  <a:lnTo>
                    <a:pt x="0" y="1172"/>
                  </a:lnTo>
                  <a:lnTo>
                    <a:pt x="311" y="0"/>
                  </a:lnTo>
                  <a:close/>
                  <a:moveTo>
                    <a:pt x="342" y="730"/>
                  </a:moveTo>
                  <a:lnTo>
                    <a:pt x="571" y="730"/>
                  </a:lnTo>
                  <a:lnTo>
                    <a:pt x="458" y="204"/>
                  </a:lnTo>
                  <a:lnTo>
                    <a:pt x="455" y="204"/>
                  </a:lnTo>
                  <a:lnTo>
                    <a:pt x="342" y="7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sz="1800" dirty="0"/>
            </a:p>
          </p:txBody>
        </p:sp>
        <p:sp>
          <p:nvSpPr>
            <p:cNvPr id="15" name="Freeform 9"/>
            <p:cNvSpPr>
              <a:spLocks/>
            </p:cNvSpPr>
            <p:nvPr userDrawn="1"/>
          </p:nvSpPr>
          <p:spPr bwMode="auto">
            <a:xfrm>
              <a:off x="4181475" y="2339975"/>
              <a:ext cx="309563" cy="463550"/>
            </a:xfrm>
            <a:custGeom>
              <a:avLst/>
              <a:gdLst>
                <a:gd name="T0" fmla="*/ 271 w 777"/>
                <a:gd name="T1" fmla="*/ 0 h 1172"/>
                <a:gd name="T2" fmla="*/ 557 w 777"/>
                <a:gd name="T3" fmla="*/ 803 h 1172"/>
                <a:gd name="T4" fmla="*/ 560 w 777"/>
                <a:gd name="T5" fmla="*/ 803 h 1172"/>
                <a:gd name="T6" fmla="*/ 560 w 777"/>
                <a:gd name="T7" fmla="*/ 0 h 1172"/>
                <a:gd name="T8" fmla="*/ 777 w 777"/>
                <a:gd name="T9" fmla="*/ 0 h 1172"/>
                <a:gd name="T10" fmla="*/ 777 w 777"/>
                <a:gd name="T11" fmla="*/ 1172 h 1172"/>
                <a:gd name="T12" fmla="*/ 508 w 777"/>
                <a:gd name="T13" fmla="*/ 1172 h 1172"/>
                <a:gd name="T14" fmla="*/ 219 w 777"/>
                <a:gd name="T15" fmla="*/ 352 h 1172"/>
                <a:gd name="T16" fmla="*/ 216 w 777"/>
                <a:gd name="T17" fmla="*/ 352 h 1172"/>
                <a:gd name="T18" fmla="*/ 216 w 777"/>
                <a:gd name="T19" fmla="*/ 1172 h 1172"/>
                <a:gd name="T20" fmla="*/ 0 w 777"/>
                <a:gd name="T21" fmla="*/ 1172 h 1172"/>
                <a:gd name="T22" fmla="*/ 0 w 777"/>
                <a:gd name="T23" fmla="*/ 0 h 1172"/>
                <a:gd name="T24" fmla="*/ 271 w 777"/>
                <a:gd name="T25"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7" h="1172">
                  <a:moveTo>
                    <a:pt x="271" y="0"/>
                  </a:moveTo>
                  <a:lnTo>
                    <a:pt x="557" y="803"/>
                  </a:lnTo>
                  <a:lnTo>
                    <a:pt x="560" y="803"/>
                  </a:lnTo>
                  <a:lnTo>
                    <a:pt x="560" y="0"/>
                  </a:lnTo>
                  <a:lnTo>
                    <a:pt x="777" y="0"/>
                  </a:lnTo>
                  <a:lnTo>
                    <a:pt x="777" y="1172"/>
                  </a:lnTo>
                  <a:lnTo>
                    <a:pt x="508" y="1172"/>
                  </a:lnTo>
                  <a:lnTo>
                    <a:pt x="219" y="352"/>
                  </a:lnTo>
                  <a:lnTo>
                    <a:pt x="216" y="352"/>
                  </a:lnTo>
                  <a:lnTo>
                    <a:pt x="216" y="1172"/>
                  </a:lnTo>
                  <a:lnTo>
                    <a:pt x="0" y="1172"/>
                  </a:lnTo>
                  <a:lnTo>
                    <a:pt x="0" y="0"/>
                  </a:lnTo>
                  <a:lnTo>
                    <a:pt x="27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sz="1800" dirty="0"/>
            </a:p>
          </p:txBody>
        </p:sp>
        <p:sp>
          <p:nvSpPr>
            <p:cNvPr id="16" name="Freeform 10"/>
            <p:cNvSpPr>
              <a:spLocks/>
            </p:cNvSpPr>
            <p:nvPr userDrawn="1"/>
          </p:nvSpPr>
          <p:spPr bwMode="auto">
            <a:xfrm>
              <a:off x="4543425" y="2339975"/>
              <a:ext cx="330200" cy="463550"/>
            </a:xfrm>
            <a:custGeom>
              <a:avLst/>
              <a:gdLst>
                <a:gd name="T0" fmla="*/ 236 w 830"/>
                <a:gd name="T1" fmla="*/ 0 h 1172"/>
                <a:gd name="T2" fmla="*/ 236 w 830"/>
                <a:gd name="T3" fmla="*/ 470 h 1172"/>
                <a:gd name="T4" fmla="*/ 240 w 830"/>
                <a:gd name="T5" fmla="*/ 470 h 1172"/>
                <a:gd name="T6" fmla="*/ 538 w 830"/>
                <a:gd name="T7" fmla="*/ 0 h 1172"/>
                <a:gd name="T8" fmla="*/ 794 w 830"/>
                <a:gd name="T9" fmla="*/ 0 h 1172"/>
                <a:gd name="T10" fmla="*/ 475 w 830"/>
                <a:gd name="T11" fmla="*/ 502 h 1172"/>
                <a:gd name="T12" fmla="*/ 830 w 830"/>
                <a:gd name="T13" fmla="*/ 1172 h 1172"/>
                <a:gd name="T14" fmla="*/ 565 w 830"/>
                <a:gd name="T15" fmla="*/ 1172 h 1172"/>
                <a:gd name="T16" fmla="*/ 323 w 830"/>
                <a:gd name="T17" fmla="*/ 690 h 1172"/>
                <a:gd name="T18" fmla="*/ 236 w 830"/>
                <a:gd name="T19" fmla="*/ 824 h 1172"/>
                <a:gd name="T20" fmla="*/ 236 w 830"/>
                <a:gd name="T21" fmla="*/ 1172 h 1172"/>
                <a:gd name="T22" fmla="*/ 0 w 830"/>
                <a:gd name="T23" fmla="*/ 1172 h 1172"/>
                <a:gd name="T24" fmla="*/ 0 w 830"/>
                <a:gd name="T25" fmla="*/ 0 h 1172"/>
                <a:gd name="T26" fmla="*/ 236 w 830"/>
                <a:gd name="T27"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0" h="1172">
                  <a:moveTo>
                    <a:pt x="236" y="0"/>
                  </a:moveTo>
                  <a:lnTo>
                    <a:pt x="236" y="470"/>
                  </a:lnTo>
                  <a:lnTo>
                    <a:pt x="240" y="470"/>
                  </a:lnTo>
                  <a:lnTo>
                    <a:pt x="538" y="0"/>
                  </a:lnTo>
                  <a:lnTo>
                    <a:pt x="794" y="0"/>
                  </a:lnTo>
                  <a:lnTo>
                    <a:pt x="475" y="502"/>
                  </a:lnTo>
                  <a:lnTo>
                    <a:pt x="830" y="1172"/>
                  </a:lnTo>
                  <a:lnTo>
                    <a:pt x="565" y="1172"/>
                  </a:lnTo>
                  <a:lnTo>
                    <a:pt x="323" y="690"/>
                  </a:lnTo>
                  <a:lnTo>
                    <a:pt x="236" y="824"/>
                  </a:lnTo>
                  <a:lnTo>
                    <a:pt x="236" y="1172"/>
                  </a:lnTo>
                  <a:lnTo>
                    <a:pt x="0" y="1172"/>
                  </a:lnTo>
                  <a:lnTo>
                    <a:pt x="0" y="0"/>
                  </a:lnTo>
                  <a:lnTo>
                    <a:pt x="23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sz="1800" dirty="0"/>
            </a:p>
          </p:txBody>
        </p:sp>
        <p:sp>
          <p:nvSpPr>
            <p:cNvPr id="17" name="Freeform 11"/>
            <p:cNvSpPr>
              <a:spLocks/>
            </p:cNvSpPr>
            <p:nvPr userDrawn="1"/>
          </p:nvSpPr>
          <p:spPr bwMode="auto">
            <a:xfrm>
              <a:off x="5018088" y="2339975"/>
              <a:ext cx="334963" cy="463550"/>
            </a:xfrm>
            <a:custGeom>
              <a:avLst/>
              <a:gdLst>
                <a:gd name="T0" fmla="*/ 265 w 843"/>
                <a:gd name="T1" fmla="*/ 0 h 1172"/>
                <a:gd name="T2" fmla="*/ 420 w 843"/>
                <a:gd name="T3" fmla="*/ 453 h 1172"/>
                <a:gd name="T4" fmla="*/ 423 w 843"/>
                <a:gd name="T5" fmla="*/ 453 h 1172"/>
                <a:gd name="T6" fmla="*/ 588 w 843"/>
                <a:gd name="T7" fmla="*/ 0 h 1172"/>
                <a:gd name="T8" fmla="*/ 843 w 843"/>
                <a:gd name="T9" fmla="*/ 0 h 1172"/>
                <a:gd name="T10" fmla="*/ 540 w 843"/>
                <a:gd name="T11" fmla="*/ 710 h 1172"/>
                <a:gd name="T12" fmla="*/ 540 w 843"/>
                <a:gd name="T13" fmla="*/ 1172 h 1172"/>
                <a:gd name="T14" fmla="*/ 304 w 843"/>
                <a:gd name="T15" fmla="*/ 1172 h 1172"/>
                <a:gd name="T16" fmla="*/ 304 w 843"/>
                <a:gd name="T17" fmla="*/ 710 h 1172"/>
                <a:gd name="T18" fmla="*/ 0 w 843"/>
                <a:gd name="T19" fmla="*/ 0 h 1172"/>
                <a:gd name="T20" fmla="*/ 265 w 843"/>
                <a:gd name="T21"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3" h="1172">
                  <a:moveTo>
                    <a:pt x="265" y="0"/>
                  </a:moveTo>
                  <a:lnTo>
                    <a:pt x="420" y="453"/>
                  </a:lnTo>
                  <a:lnTo>
                    <a:pt x="423" y="453"/>
                  </a:lnTo>
                  <a:lnTo>
                    <a:pt x="588" y="0"/>
                  </a:lnTo>
                  <a:lnTo>
                    <a:pt x="843" y="0"/>
                  </a:lnTo>
                  <a:lnTo>
                    <a:pt x="540" y="710"/>
                  </a:lnTo>
                  <a:lnTo>
                    <a:pt x="540" y="1172"/>
                  </a:lnTo>
                  <a:lnTo>
                    <a:pt x="304" y="1172"/>
                  </a:lnTo>
                  <a:lnTo>
                    <a:pt x="304" y="710"/>
                  </a:lnTo>
                  <a:lnTo>
                    <a:pt x="0" y="0"/>
                  </a:lnTo>
                  <a:lnTo>
                    <a:pt x="26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sz="1800" dirty="0"/>
            </a:p>
          </p:txBody>
        </p:sp>
        <p:sp>
          <p:nvSpPr>
            <p:cNvPr id="18" name="Freeform 12"/>
            <p:cNvSpPr>
              <a:spLocks noEditPoints="1"/>
            </p:cNvSpPr>
            <p:nvPr userDrawn="1"/>
          </p:nvSpPr>
          <p:spPr bwMode="auto">
            <a:xfrm>
              <a:off x="5353050" y="2330450"/>
              <a:ext cx="315913" cy="482600"/>
            </a:xfrm>
            <a:custGeom>
              <a:avLst/>
              <a:gdLst>
                <a:gd name="T0" fmla="*/ 462 w 797"/>
                <a:gd name="T1" fmla="*/ 2 h 1216"/>
                <a:gd name="T2" fmla="*/ 567 w 797"/>
                <a:gd name="T3" fmla="*/ 26 h 1216"/>
                <a:gd name="T4" fmla="*/ 648 w 797"/>
                <a:gd name="T5" fmla="*/ 68 h 1216"/>
                <a:gd name="T6" fmla="*/ 707 w 797"/>
                <a:gd name="T7" fmla="*/ 132 h 1216"/>
                <a:gd name="T8" fmla="*/ 749 w 797"/>
                <a:gd name="T9" fmla="*/ 212 h 1216"/>
                <a:gd name="T10" fmla="*/ 776 w 797"/>
                <a:gd name="T11" fmla="*/ 309 h 1216"/>
                <a:gd name="T12" fmla="*/ 791 w 797"/>
                <a:gd name="T13" fmla="*/ 420 h 1216"/>
                <a:gd name="T14" fmla="*/ 797 w 797"/>
                <a:gd name="T15" fmla="*/ 608 h 1216"/>
                <a:gd name="T16" fmla="*/ 789 w 797"/>
                <a:gd name="T17" fmla="*/ 825 h 1216"/>
                <a:gd name="T18" fmla="*/ 771 w 797"/>
                <a:gd name="T19" fmla="*/ 933 h 1216"/>
                <a:gd name="T20" fmla="*/ 741 w 797"/>
                <a:gd name="T21" fmla="*/ 1025 h 1216"/>
                <a:gd name="T22" fmla="*/ 695 w 797"/>
                <a:gd name="T23" fmla="*/ 1101 h 1216"/>
                <a:gd name="T24" fmla="*/ 630 w 797"/>
                <a:gd name="T25" fmla="*/ 1160 h 1216"/>
                <a:gd name="T26" fmla="*/ 543 w 797"/>
                <a:gd name="T27" fmla="*/ 1199 h 1216"/>
                <a:gd name="T28" fmla="*/ 431 w 797"/>
                <a:gd name="T29" fmla="*/ 1216 h 1216"/>
                <a:gd name="T30" fmla="*/ 336 w 797"/>
                <a:gd name="T31" fmla="*/ 1214 h 1216"/>
                <a:gd name="T32" fmla="*/ 231 w 797"/>
                <a:gd name="T33" fmla="*/ 1190 h 1216"/>
                <a:gd name="T34" fmla="*/ 150 w 797"/>
                <a:gd name="T35" fmla="*/ 1148 h 1216"/>
                <a:gd name="T36" fmla="*/ 89 w 797"/>
                <a:gd name="T37" fmla="*/ 1084 h 1216"/>
                <a:gd name="T38" fmla="*/ 47 w 797"/>
                <a:gd name="T39" fmla="*/ 1004 h 1216"/>
                <a:gd name="T40" fmla="*/ 22 w 797"/>
                <a:gd name="T41" fmla="*/ 907 h 1216"/>
                <a:gd name="T42" fmla="*/ 7 w 797"/>
                <a:gd name="T43" fmla="*/ 796 h 1216"/>
                <a:gd name="T44" fmla="*/ 0 w 797"/>
                <a:gd name="T45" fmla="*/ 608 h 1216"/>
                <a:gd name="T46" fmla="*/ 9 w 797"/>
                <a:gd name="T47" fmla="*/ 391 h 1216"/>
                <a:gd name="T48" fmla="*/ 27 w 797"/>
                <a:gd name="T49" fmla="*/ 283 h 1216"/>
                <a:gd name="T50" fmla="*/ 57 w 797"/>
                <a:gd name="T51" fmla="*/ 191 h 1216"/>
                <a:gd name="T52" fmla="*/ 103 w 797"/>
                <a:gd name="T53" fmla="*/ 115 h 1216"/>
                <a:gd name="T54" fmla="*/ 168 w 797"/>
                <a:gd name="T55" fmla="*/ 56 h 1216"/>
                <a:gd name="T56" fmla="*/ 254 w 797"/>
                <a:gd name="T57" fmla="*/ 17 h 1216"/>
                <a:gd name="T58" fmla="*/ 366 w 797"/>
                <a:gd name="T59" fmla="*/ 0 h 1216"/>
                <a:gd name="T60" fmla="*/ 399 w 797"/>
                <a:gd name="T61" fmla="*/ 1043 h 1216"/>
                <a:gd name="T62" fmla="*/ 445 w 797"/>
                <a:gd name="T63" fmla="*/ 1037 h 1216"/>
                <a:gd name="T64" fmla="*/ 482 w 797"/>
                <a:gd name="T65" fmla="*/ 1019 h 1216"/>
                <a:gd name="T66" fmla="*/ 511 w 797"/>
                <a:gd name="T67" fmla="*/ 989 h 1216"/>
                <a:gd name="T68" fmla="*/ 532 w 797"/>
                <a:gd name="T69" fmla="*/ 943 h 1216"/>
                <a:gd name="T70" fmla="*/ 556 w 797"/>
                <a:gd name="T71" fmla="*/ 809 h 1216"/>
                <a:gd name="T72" fmla="*/ 561 w 797"/>
                <a:gd name="T73" fmla="*/ 608 h 1216"/>
                <a:gd name="T74" fmla="*/ 558 w 797"/>
                <a:gd name="T75" fmla="*/ 451 h 1216"/>
                <a:gd name="T76" fmla="*/ 540 w 797"/>
                <a:gd name="T77" fmla="*/ 301 h 1216"/>
                <a:gd name="T78" fmla="*/ 517 w 797"/>
                <a:gd name="T79" fmla="*/ 238 h 1216"/>
                <a:gd name="T80" fmla="*/ 491 w 797"/>
                <a:gd name="T81" fmla="*/ 204 h 1216"/>
                <a:gd name="T82" fmla="*/ 456 w 797"/>
                <a:gd name="T83" fmla="*/ 182 h 1216"/>
                <a:gd name="T84" fmla="*/ 412 w 797"/>
                <a:gd name="T85" fmla="*/ 174 h 1216"/>
                <a:gd name="T86" fmla="*/ 373 w 797"/>
                <a:gd name="T87" fmla="*/ 175 h 1216"/>
                <a:gd name="T88" fmla="*/ 332 w 797"/>
                <a:gd name="T89" fmla="*/ 187 h 1216"/>
                <a:gd name="T90" fmla="*/ 299 w 797"/>
                <a:gd name="T91" fmla="*/ 211 h 1216"/>
                <a:gd name="T92" fmla="*/ 275 w 797"/>
                <a:gd name="T93" fmla="*/ 249 h 1216"/>
                <a:gd name="T94" fmla="*/ 252 w 797"/>
                <a:gd name="T95" fmla="*/ 333 h 1216"/>
                <a:gd name="T96" fmla="*/ 238 w 797"/>
                <a:gd name="T97" fmla="*/ 499 h 1216"/>
                <a:gd name="T98" fmla="*/ 237 w 797"/>
                <a:gd name="T99" fmla="*/ 665 h 1216"/>
                <a:gd name="T100" fmla="*/ 246 w 797"/>
                <a:gd name="T101" fmla="*/ 848 h 1216"/>
                <a:gd name="T102" fmla="*/ 270 w 797"/>
                <a:gd name="T103" fmla="*/ 956 h 1216"/>
                <a:gd name="T104" fmla="*/ 292 w 797"/>
                <a:gd name="T105" fmla="*/ 997 h 1216"/>
                <a:gd name="T106" fmla="*/ 324 w 797"/>
                <a:gd name="T107" fmla="*/ 1025 h 1216"/>
                <a:gd name="T108" fmla="*/ 363 w 797"/>
                <a:gd name="T109" fmla="*/ 1040 h 1216"/>
                <a:gd name="T110" fmla="*/ 399 w 797"/>
                <a:gd name="T111" fmla="*/ 1043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97" h="1216">
                  <a:moveTo>
                    <a:pt x="399" y="0"/>
                  </a:moveTo>
                  <a:lnTo>
                    <a:pt x="399" y="0"/>
                  </a:lnTo>
                  <a:lnTo>
                    <a:pt x="431" y="0"/>
                  </a:lnTo>
                  <a:lnTo>
                    <a:pt x="462" y="2"/>
                  </a:lnTo>
                  <a:lnTo>
                    <a:pt x="491" y="6"/>
                  </a:lnTo>
                  <a:lnTo>
                    <a:pt x="517" y="10"/>
                  </a:lnTo>
                  <a:lnTo>
                    <a:pt x="543" y="17"/>
                  </a:lnTo>
                  <a:lnTo>
                    <a:pt x="567" y="26"/>
                  </a:lnTo>
                  <a:lnTo>
                    <a:pt x="589" y="34"/>
                  </a:lnTo>
                  <a:lnTo>
                    <a:pt x="610" y="44"/>
                  </a:lnTo>
                  <a:lnTo>
                    <a:pt x="630" y="56"/>
                  </a:lnTo>
                  <a:lnTo>
                    <a:pt x="648" y="68"/>
                  </a:lnTo>
                  <a:lnTo>
                    <a:pt x="665" y="82"/>
                  </a:lnTo>
                  <a:lnTo>
                    <a:pt x="681" y="99"/>
                  </a:lnTo>
                  <a:lnTo>
                    <a:pt x="695" y="115"/>
                  </a:lnTo>
                  <a:lnTo>
                    <a:pt x="707" y="132"/>
                  </a:lnTo>
                  <a:lnTo>
                    <a:pt x="720" y="151"/>
                  </a:lnTo>
                  <a:lnTo>
                    <a:pt x="731" y="171"/>
                  </a:lnTo>
                  <a:lnTo>
                    <a:pt x="741" y="191"/>
                  </a:lnTo>
                  <a:lnTo>
                    <a:pt x="749" y="212"/>
                  </a:lnTo>
                  <a:lnTo>
                    <a:pt x="757" y="236"/>
                  </a:lnTo>
                  <a:lnTo>
                    <a:pt x="764" y="259"/>
                  </a:lnTo>
                  <a:lnTo>
                    <a:pt x="771" y="283"/>
                  </a:lnTo>
                  <a:lnTo>
                    <a:pt x="776" y="309"/>
                  </a:lnTo>
                  <a:lnTo>
                    <a:pt x="781" y="335"/>
                  </a:lnTo>
                  <a:lnTo>
                    <a:pt x="785" y="363"/>
                  </a:lnTo>
                  <a:lnTo>
                    <a:pt x="789" y="391"/>
                  </a:lnTo>
                  <a:lnTo>
                    <a:pt x="791" y="420"/>
                  </a:lnTo>
                  <a:lnTo>
                    <a:pt x="794" y="479"/>
                  </a:lnTo>
                  <a:lnTo>
                    <a:pt x="797" y="543"/>
                  </a:lnTo>
                  <a:lnTo>
                    <a:pt x="797" y="608"/>
                  </a:lnTo>
                  <a:lnTo>
                    <a:pt x="797" y="608"/>
                  </a:lnTo>
                  <a:lnTo>
                    <a:pt x="797" y="673"/>
                  </a:lnTo>
                  <a:lnTo>
                    <a:pt x="794" y="737"/>
                  </a:lnTo>
                  <a:lnTo>
                    <a:pt x="791" y="796"/>
                  </a:lnTo>
                  <a:lnTo>
                    <a:pt x="789" y="825"/>
                  </a:lnTo>
                  <a:lnTo>
                    <a:pt x="785" y="853"/>
                  </a:lnTo>
                  <a:lnTo>
                    <a:pt x="781" y="881"/>
                  </a:lnTo>
                  <a:lnTo>
                    <a:pt x="776" y="907"/>
                  </a:lnTo>
                  <a:lnTo>
                    <a:pt x="771" y="933"/>
                  </a:lnTo>
                  <a:lnTo>
                    <a:pt x="764" y="957"/>
                  </a:lnTo>
                  <a:lnTo>
                    <a:pt x="757" y="980"/>
                  </a:lnTo>
                  <a:lnTo>
                    <a:pt x="749" y="1004"/>
                  </a:lnTo>
                  <a:lnTo>
                    <a:pt x="741" y="1025"/>
                  </a:lnTo>
                  <a:lnTo>
                    <a:pt x="731" y="1045"/>
                  </a:lnTo>
                  <a:lnTo>
                    <a:pt x="720" y="1065"/>
                  </a:lnTo>
                  <a:lnTo>
                    <a:pt x="707" y="1084"/>
                  </a:lnTo>
                  <a:lnTo>
                    <a:pt x="695" y="1101"/>
                  </a:lnTo>
                  <a:lnTo>
                    <a:pt x="681" y="1117"/>
                  </a:lnTo>
                  <a:lnTo>
                    <a:pt x="665" y="1134"/>
                  </a:lnTo>
                  <a:lnTo>
                    <a:pt x="648" y="1148"/>
                  </a:lnTo>
                  <a:lnTo>
                    <a:pt x="630" y="1160"/>
                  </a:lnTo>
                  <a:lnTo>
                    <a:pt x="610" y="1172"/>
                  </a:lnTo>
                  <a:lnTo>
                    <a:pt x="589" y="1182"/>
                  </a:lnTo>
                  <a:lnTo>
                    <a:pt x="567" y="1190"/>
                  </a:lnTo>
                  <a:lnTo>
                    <a:pt x="543" y="1199"/>
                  </a:lnTo>
                  <a:lnTo>
                    <a:pt x="517" y="1206"/>
                  </a:lnTo>
                  <a:lnTo>
                    <a:pt x="491" y="1210"/>
                  </a:lnTo>
                  <a:lnTo>
                    <a:pt x="462" y="1214"/>
                  </a:lnTo>
                  <a:lnTo>
                    <a:pt x="431" y="1216"/>
                  </a:lnTo>
                  <a:lnTo>
                    <a:pt x="399" y="1216"/>
                  </a:lnTo>
                  <a:lnTo>
                    <a:pt x="399" y="1216"/>
                  </a:lnTo>
                  <a:lnTo>
                    <a:pt x="366" y="1216"/>
                  </a:lnTo>
                  <a:lnTo>
                    <a:pt x="336" y="1214"/>
                  </a:lnTo>
                  <a:lnTo>
                    <a:pt x="307" y="1210"/>
                  </a:lnTo>
                  <a:lnTo>
                    <a:pt x="279" y="1206"/>
                  </a:lnTo>
                  <a:lnTo>
                    <a:pt x="254" y="1199"/>
                  </a:lnTo>
                  <a:lnTo>
                    <a:pt x="231" y="1190"/>
                  </a:lnTo>
                  <a:lnTo>
                    <a:pt x="208" y="1182"/>
                  </a:lnTo>
                  <a:lnTo>
                    <a:pt x="187" y="1172"/>
                  </a:lnTo>
                  <a:lnTo>
                    <a:pt x="168" y="1160"/>
                  </a:lnTo>
                  <a:lnTo>
                    <a:pt x="150" y="1148"/>
                  </a:lnTo>
                  <a:lnTo>
                    <a:pt x="132" y="1134"/>
                  </a:lnTo>
                  <a:lnTo>
                    <a:pt x="117" y="1117"/>
                  </a:lnTo>
                  <a:lnTo>
                    <a:pt x="103" y="1101"/>
                  </a:lnTo>
                  <a:lnTo>
                    <a:pt x="89" y="1084"/>
                  </a:lnTo>
                  <a:lnTo>
                    <a:pt x="78" y="1065"/>
                  </a:lnTo>
                  <a:lnTo>
                    <a:pt x="67" y="1045"/>
                  </a:lnTo>
                  <a:lnTo>
                    <a:pt x="57" y="1025"/>
                  </a:lnTo>
                  <a:lnTo>
                    <a:pt x="47" y="1004"/>
                  </a:lnTo>
                  <a:lnTo>
                    <a:pt x="41" y="980"/>
                  </a:lnTo>
                  <a:lnTo>
                    <a:pt x="34" y="957"/>
                  </a:lnTo>
                  <a:lnTo>
                    <a:pt x="27" y="933"/>
                  </a:lnTo>
                  <a:lnTo>
                    <a:pt x="22" y="907"/>
                  </a:lnTo>
                  <a:lnTo>
                    <a:pt x="16" y="881"/>
                  </a:lnTo>
                  <a:lnTo>
                    <a:pt x="13" y="853"/>
                  </a:lnTo>
                  <a:lnTo>
                    <a:pt x="9" y="825"/>
                  </a:lnTo>
                  <a:lnTo>
                    <a:pt x="7" y="796"/>
                  </a:lnTo>
                  <a:lnTo>
                    <a:pt x="3" y="737"/>
                  </a:lnTo>
                  <a:lnTo>
                    <a:pt x="1" y="673"/>
                  </a:lnTo>
                  <a:lnTo>
                    <a:pt x="0" y="608"/>
                  </a:lnTo>
                  <a:lnTo>
                    <a:pt x="0" y="608"/>
                  </a:lnTo>
                  <a:lnTo>
                    <a:pt x="1" y="543"/>
                  </a:lnTo>
                  <a:lnTo>
                    <a:pt x="3" y="479"/>
                  </a:lnTo>
                  <a:lnTo>
                    <a:pt x="7" y="420"/>
                  </a:lnTo>
                  <a:lnTo>
                    <a:pt x="9" y="391"/>
                  </a:lnTo>
                  <a:lnTo>
                    <a:pt x="13" y="363"/>
                  </a:lnTo>
                  <a:lnTo>
                    <a:pt x="16" y="335"/>
                  </a:lnTo>
                  <a:lnTo>
                    <a:pt x="22" y="309"/>
                  </a:lnTo>
                  <a:lnTo>
                    <a:pt x="27" y="283"/>
                  </a:lnTo>
                  <a:lnTo>
                    <a:pt x="34" y="259"/>
                  </a:lnTo>
                  <a:lnTo>
                    <a:pt x="41" y="236"/>
                  </a:lnTo>
                  <a:lnTo>
                    <a:pt x="47" y="212"/>
                  </a:lnTo>
                  <a:lnTo>
                    <a:pt x="57" y="191"/>
                  </a:lnTo>
                  <a:lnTo>
                    <a:pt x="67" y="171"/>
                  </a:lnTo>
                  <a:lnTo>
                    <a:pt x="78" y="151"/>
                  </a:lnTo>
                  <a:lnTo>
                    <a:pt x="89" y="132"/>
                  </a:lnTo>
                  <a:lnTo>
                    <a:pt x="103" y="115"/>
                  </a:lnTo>
                  <a:lnTo>
                    <a:pt x="117" y="99"/>
                  </a:lnTo>
                  <a:lnTo>
                    <a:pt x="132" y="82"/>
                  </a:lnTo>
                  <a:lnTo>
                    <a:pt x="150" y="68"/>
                  </a:lnTo>
                  <a:lnTo>
                    <a:pt x="168" y="56"/>
                  </a:lnTo>
                  <a:lnTo>
                    <a:pt x="187" y="44"/>
                  </a:lnTo>
                  <a:lnTo>
                    <a:pt x="208" y="34"/>
                  </a:lnTo>
                  <a:lnTo>
                    <a:pt x="231" y="26"/>
                  </a:lnTo>
                  <a:lnTo>
                    <a:pt x="254" y="17"/>
                  </a:lnTo>
                  <a:lnTo>
                    <a:pt x="279" y="10"/>
                  </a:lnTo>
                  <a:lnTo>
                    <a:pt x="307" y="6"/>
                  </a:lnTo>
                  <a:lnTo>
                    <a:pt x="336" y="2"/>
                  </a:lnTo>
                  <a:lnTo>
                    <a:pt x="366" y="0"/>
                  </a:lnTo>
                  <a:lnTo>
                    <a:pt x="399" y="0"/>
                  </a:lnTo>
                  <a:lnTo>
                    <a:pt x="399" y="0"/>
                  </a:lnTo>
                  <a:close/>
                  <a:moveTo>
                    <a:pt x="399" y="1043"/>
                  </a:moveTo>
                  <a:lnTo>
                    <a:pt x="399" y="1043"/>
                  </a:lnTo>
                  <a:lnTo>
                    <a:pt x="412" y="1042"/>
                  </a:lnTo>
                  <a:lnTo>
                    <a:pt x="423" y="1041"/>
                  </a:lnTo>
                  <a:lnTo>
                    <a:pt x="435" y="1040"/>
                  </a:lnTo>
                  <a:lnTo>
                    <a:pt x="445" y="1037"/>
                  </a:lnTo>
                  <a:lnTo>
                    <a:pt x="456" y="1034"/>
                  </a:lnTo>
                  <a:lnTo>
                    <a:pt x="465" y="1029"/>
                  </a:lnTo>
                  <a:lnTo>
                    <a:pt x="474" y="1025"/>
                  </a:lnTo>
                  <a:lnTo>
                    <a:pt x="482" y="1019"/>
                  </a:lnTo>
                  <a:lnTo>
                    <a:pt x="491" y="1013"/>
                  </a:lnTo>
                  <a:lnTo>
                    <a:pt x="499" y="1005"/>
                  </a:lnTo>
                  <a:lnTo>
                    <a:pt x="504" y="997"/>
                  </a:lnTo>
                  <a:lnTo>
                    <a:pt x="511" y="989"/>
                  </a:lnTo>
                  <a:lnTo>
                    <a:pt x="517" y="978"/>
                  </a:lnTo>
                  <a:lnTo>
                    <a:pt x="523" y="968"/>
                  </a:lnTo>
                  <a:lnTo>
                    <a:pt x="528" y="956"/>
                  </a:lnTo>
                  <a:lnTo>
                    <a:pt x="532" y="943"/>
                  </a:lnTo>
                  <a:lnTo>
                    <a:pt x="540" y="915"/>
                  </a:lnTo>
                  <a:lnTo>
                    <a:pt x="546" y="884"/>
                  </a:lnTo>
                  <a:lnTo>
                    <a:pt x="552" y="848"/>
                  </a:lnTo>
                  <a:lnTo>
                    <a:pt x="556" y="809"/>
                  </a:lnTo>
                  <a:lnTo>
                    <a:pt x="558" y="765"/>
                  </a:lnTo>
                  <a:lnTo>
                    <a:pt x="560" y="717"/>
                  </a:lnTo>
                  <a:lnTo>
                    <a:pt x="561" y="665"/>
                  </a:lnTo>
                  <a:lnTo>
                    <a:pt x="561" y="608"/>
                  </a:lnTo>
                  <a:lnTo>
                    <a:pt x="561" y="608"/>
                  </a:lnTo>
                  <a:lnTo>
                    <a:pt x="561" y="551"/>
                  </a:lnTo>
                  <a:lnTo>
                    <a:pt x="560" y="499"/>
                  </a:lnTo>
                  <a:lnTo>
                    <a:pt x="558" y="451"/>
                  </a:lnTo>
                  <a:lnTo>
                    <a:pt x="556" y="408"/>
                  </a:lnTo>
                  <a:lnTo>
                    <a:pt x="552" y="368"/>
                  </a:lnTo>
                  <a:lnTo>
                    <a:pt x="546" y="333"/>
                  </a:lnTo>
                  <a:lnTo>
                    <a:pt x="540" y="301"/>
                  </a:lnTo>
                  <a:lnTo>
                    <a:pt x="532" y="273"/>
                  </a:lnTo>
                  <a:lnTo>
                    <a:pt x="528" y="261"/>
                  </a:lnTo>
                  <a:lnTo>
                    <a:pt x="523" y="249"/>
                  </a:lnTo>
                  <a:lnTo>
                    <a:pt x="517" y="238"/>
                  </a:lnTo>
                  <a:lnTo>
                    <a:pt x="511" y="229"/>
                  </a:lnTo>
                  <a:lnTo>
                    <a:pt x="504" y="219"/>
                  </a:lnTo>
                  <a:lnTo>
                    <a:pt x="499" y="211"/>
                  </a:lnTo>
                  <a:lnTo>
                    <a:pt x="491" y="204"/>
                  </a:lnTo>
                  <a:lnTo>
                    <a:pt x="482" y="197"/>
                  </a:lnTo>
                  <a:lnTo>
                    <a:pt x="474" y="191"/>
                  </a:lnTo>
                  <a:lnTo>
                    <a:pt x="465" y="187"/>
                  </a:lnTo>
                  <a:lnTo>
                    <a:pt x="456" y="182"/>
                  </a:lnTo>
                  <a:lnTo>
                    <a:pt x="445" y="179"/>
                  </a:lnTo>
                  <a:lnTo>
                    <a:pt x="435" y="176"/>
                  </a:lnTo>
                  <a:lnTo>
                    <a:pt x="423" y="175"/>
                  </a:lnTo>
                  <a:lnTo>
                    <a:pt x="412" y="174"/>
                  </a:lnTo>
                  <a:lnTo>
                    <a:pt x="399" y="173"/>
                  </a:lnTo>
                  <a:lnTo>
                    <a:pt x="399" y="173"/>
                  </a:lnTo>
                  <a:lnTo>
                    <a:pt x="386" y="174"/>
                  </a:lnTo>
                  <a:lnTo>
                    <a:pt x="373" y="175"/>
                  </a:lnTo>
                  <a:lnTo>
                    <a:pt x="363" y="176"/>
                  </a:lnTo>
                  <a:lnTo>
                    <a:pt x="351" y="179"/>
                  </a:lnTo>
                  <a:lnTo>
                    <a:pt x="342" y="182"/>
                  </a:lnTo>
                  <a:lnTo>
                    <a:pt x="332" y="187"/>
                  </a:lnTo>
                  <a:lnTo>
                    <a:pt x="324" y="191"/>
                  </a:lnTo>
                  <a:lnTo>
                    <a:pt x="314" y="197"/>
                  </a:lnTo>
                  <a:lnTo>
                    <a:pt x="307" y="204"/>
                  </a:lnTo>
                  <a:lnTo>
                    <a:pt x="299" y="211"/>
                  </a:lnTo>
                  <a:lnTo>
                    <a:pt x="292" y="219"/>
                  </a:lnTo>
                  <a:lnTo>
                    <a:pt x="286" y="229"/>
                  </a:lnTo>
                  <a:lnTo>
                    <a:pt x="281" y="238"/>
                  </a:lnTo>
                  <a:lnTo>
                    <a:pt x="275" y="249"/>
                  </a:lnTo>
                  <a:lnTo>
                    <a:pt x="270" y="261"/>
                  </a:lnTo>
                  <a:lnTo>
                    <a:pt x="266" y="273"/>
                  </a:lnTo>
                  <a:lnTo>
                    <a:pt x="257" y="301"/>
                  </a:lnTo>
                  <a:lnTo>
                    <a:pt x="252" y="333"/>
                  </a:lnTo>
                  <a:lnTo>
                    <a:pt x="246" y="368"/>
                  </a:lnTo>
                  <a:lnTo>
                    <a:pt x="242" y="408"/>
                  </a:lnTo>
                  <a:lnTo>
                    <a:pt x="240" y="451"/>
                  </a:lnTo>
                  <a:lnTo>
                    <a:pt x="238" y="499"/>
                  </a:lnTo>
                  <a:lnTo>
                    <a:pt x="237" y="551"/>
                  </a:lnTo>
                  <a:lnTo>
                    <a:pt x="237" y="608"/>
                  </a:lnTo>
                  <a:lnTo>
                    <a:pt x="237" y="608"/>
                  </a:lnTo>
                  <a:lnTo>
                    <a:pt x="237" y="665"/>
                  </a:lnTo>
                  <a:lnTo>
                    <a:pt x="238" y="717"/>
                  </a:lnTo>
                  <a:lnTo>
                    <a:pt x="240" y="765"/>
                  </a:lnTo>
                  <a:lnTo>
                    <a:pt x="242" y="809"/>
                  </a:lnTo>
                  <a:lnTo>
                    <a:pt x="246" y="848"/>
                  </a:lnTo>
                  <a:lnTo>
                    <a:pt x="252" y="884"/>
                  </a:lnTo>
                  <a:lnTo>
                    <a:pt x="257" y="915"/>
                  </a:lnTo>
                  <a:lnTo>
                    <a:pt x="266" y="943"/>
                  </a:lnTo>
                  <a:lnTo>
                    <a:pt x="270" y="956"/>
                  </a:lnTo>
                  <a:lnTo>
                    <a:pt x="275" y="968"/>
                  </a:lnTo>
                  <a:lnTo>
                    <a:pt x="281" y="978"/>
                  </a:lnTo>
                  <a:lnTo>
                    <a:pt x="286" y="989"/>
                  </a:lnTo>
                  <a:lnTo>
                    <a:pt x="292" y="997"/>
                  </a:lnTo>
                  <a:lnTo>
                    <a:pt x="299" y="1005"/>
                  </a:lnTo>
                  <a:lnTo>
                    <a:pt x="307" y="1013"/>
                  </a:lnTo>
                  <a:lnTo>
                    <a:pt x="314" y="1019"/>
                  </a:lnTo>
                  <a:lnTo>
                    <a:pt x="324" y="1025"/>
                  </a:lnTo>
                  <a:lnTo>
                    <a:pt x="332" y="1029"/>
                  </a:lnTo>
                  <a:lnTo>
                    <a:pt x="342" y="1034"/>
                  </a:lnTo>
                  <a:lnTo>
                    <a:pt x="351" y="1037"/>
                  </a:lnTo>
                  <a:lnTo>
                    <a:pt x="363" y="1040"/>
                  </a:lnTo>
                  <a:lnTo>
                    <a:pt x="373" y="1041"/>
                  </a:lnTo>
                  <a:lnTo>
                    <a:pt x="386" y="1042"/>
                  </a:lnTo>
                  <a:lnTo>
                    <a:pt x="399" y="1043"/>
                  </a:lnTo>
                  <a:lnTo>
                    <a:pt x="399" y="10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sz="1800" dirty="0"/>
            </a:p>
          </p:txBody>
        </p:sp>
        <p:sp>
          <p:nvSpPr>
            <p:cNvPr id="19" name="Freeform 13"/>
            <p:cNvSpPr>
              <a:spLocks/>
            </p:cNvSpPr>
            <p:nvPr userDrawn="1"/>
          </p:nvSpPr>
          <p:spPr bwMode="auto">
            <a:xfrm>
              <a:off x="5710238" y="2339975"/>
              <a:ext cx="296863" cy="473075"/>
            </a:xfrm>
            <a:custGeom>
              <a:avLst/>
              <a:gdLst>
                <a:gd name="T0" fmla="*/ 235 w 747"/>
                <a:gd name="T1" fmla="*/ 817 h 1194"/>
                <a:gd name="T2" fmla="*/ 235 w 747"/>
                <a:gd name="T3" fmla="*/ 839 h 1194"/>
                <a:gd name="T4" fmla="*/ 239 w 747"/>
                <a:gd name="T5" fmla="*/ 880 h 1194"/>
                <a:gd name="T6" fmla="*/ 246 w 747"/>
                <a:gd name="T7" fmla="*/ 916 h 1194"/>
                <a:gd name="T8" fmla="*/ 256 w 747"/>
                <a:gd name="T9" fmla="*/ 948 h 1194"/>
                <a:gd name="T10" fmla="*/ 271 w 747"/>
                <a:gd name="T11" fmla="*/ 976 h 1194"/>
                <a:gd name="T12" fmla="*/ 292 w 747"/>
                <a:gd name="T13" fmla="*/ 997 h 1194"/>
                <a:gd name="T14" fmla="*/ 320 w 747"/>
                <a:gd name="T15" fmla="*/ 1012 h 1194"/>
                <a:gd name="T16" fmla="*/ 354 w 747"/>
                <a:gd name="T17" fmla="*/ 1020 h 1194"/>
                <a:gd name="T18" fmla="*/ 374 w 747"/>
                <a:gd name="T19" fmla="*/ 1021 h 1194"/>
                <a:gd name="T20" fmla="*/ 411 w 747"/>
                <a:gd name="T21" fmla="*/ 1016 h 1194"/>
                <a:gd name="T22" fmla="*/ 441 w 747"/>
                <a:gd name="T23" fmla="*/ 1005 h 1194"/>
                <a:gd name="T24" fmla="*/ 465 w 747"/>
                <a:gd name="T25" fmla="*/ 987 h 1194"/>
                <a:gd name="T26" fmla="*/ 484 w 747"/>
                <a:gd name="T27" fmla="*/ 963 h 1194"/>
                <a:gd name="T28" fmla="*/ 496 w 747"/>
                <a:gd name="T29" fmla="*/ 933 h 1194"/>
                <a:gd name="T30" fmla="*/ 505 w 747"/>
                <a:gd name="T31" fmla="*/ 898 h 1194"/>
                <a:gd name="T32" fmla="*/ 509 w 747"/>
                <a:gd name="T33" fmla="*/ 860 h 1194"/>
                <a:gd name="T34" fmla="*/ 512 w 747"/>
                <a:gd name="T35" fmla="*/ 817 h 1194"/>
                <a:gd name="T36" fmla="*/ 747 w 747"/>
                <a:gd name="T37" fmla="*/ 0 h 1194"/>
                <a:gd name="T38" fmla="*/ 747 w 747"/>
                <a:gd name="T39" fmla="*/ 817 h 1194"/>
                <a:gd name="T40" fmla="*/ 745 w 747"/>
                <a:gd name="T41" fmla="*/ 870 h 1194"/>
                <a:gd name="T42" fmla="*/ 739 w 747"/>
                <a:gd name="T43" fmla="*/ 919 h 1194"/>
                <a:gd name="T44" fmla="*/ 730 w 747"/>
                <a:gd name="T45" fmla="*/ 963 h 1194"/>
                <a:gd name="T46" fmla="*/ 716 w 747"/>
                <a:gd name="T47" fmla="*/ 1003 h 1194"/>
                <a:gd name="T48" fmla="*/ 699 w 747"/>
                <a:gd name="T49" fmla="*/ 1037 h 1194"/>
                <a:gd name="T50" fmla="*/ 680 w 747"/>
                <a:gd name="T51" fmla="*/ 1068 h 1194"/>
                <a:gd name="T52" fmla="*/ 658 w 747"/>
                <a:gd name="T53" fmla="*/ 1094 h 1194"/>
                <a:gd name="T54" fmla="*/ 632 w 747"/>
                <a:gd name="T55" fmla="*/ 1117 h 1194"/>
                <a:gd name="T56" fmla="*/ 605 w 747"/>
                <a:gd name="T57" fmla="*/ 1137 h 1194"/>
                <a:gd name="T58" fmla="*/ 576 w 747"/>
                <a:gd name="T59" fmla="*/ 1153 h 1194"/>
                <a:gd name="T60" fmla="*/ 545 w 747"/>
                <a:gd name="T61" fmla="*/ 1167 h 1194"/>
                <a:gd name="T62" fmla="*/ 513 w 747"/>
                <a:gd name="T63" fmla="*/ 1178 h 1194"/>
                <a:gd name="T64" fmla="*/ 479 w 747"/>
                <a:gd name="T65" fmla="*/ 1186 h 1194"/>
                <a:gd name="T66" fmla="*/ 409 w 747"/>
                <a:gd name="T67" fmla="*/ 1194 h 1194"/>
                <a:gd name="T68" fmla="*/ 374 w 747"/>
                <a:gd name="T69" fmla="*/ 1194 h 1194"/>
                <a:gd name="T70" fmla="*/ 303 w 747"/>
                <a:gd name="T71" fmla="*/ 1192 h 1194"/>
                <a:gd name="T72" fmla="*/ 234 w 747"/>
                <a:gd name="T73" fmla="*/ 1180 h 1194"/>
                <a:gd name="T74" fmla="*/ 202 w 747"/>
                <a:gd name="T75" fmla="*/ 1170 h 1194"/>
                <a:gd name="T76" fmla="*/ 171 w 747"/>
                <a:gd name="T77" fmla="*/ 1158 h 1194"/>
                <a:gd name="T78" fmla="*/ 142 w 747"/>
                <a:gd name="T79" fmla="*/ 1142 h 1194"/>
                <a:gd name="T80" fmla="*/ 115 w 747"/>
                <a:gd name="T81" fmla="*/ 1123 h 1194"/>
                <a:gd name="T82" fmla="*/ 89 w 747"/>
                <a:gd name="T83" fmla="*/ 1101 h 1194"/>
                <a:gd name="T84" fmla="*/ 67 w 747"/>
                <a:gd name="T85" fmla="*/ 1074 h 1194"/>
                <a:gd name="T86" fmla="*/ 48 w 747"/>
                <a:gd name="T87" fmla="*/ 1043 h 1194"/>
                <a:gd name="T88" fmla="*/ 31 w 747"/>
                <a:gd name="T89" fmla="*/ 1008 h 1194"/>
                <a:gd name="T90" fmla="*/ 17 w 747"/>
                <a:gd name="T91" fmla="*/ 969 h 1194"/>
                <a:gd name="T92" fmla="*/ 8 w 747"/>
                <a:gd name="T93" fmla="*/ 924 h 1194"/>
                <a:gd name="T94" fmla="*/ 1 w 747"/>
                <a:gd name="T95" fmla="*/ 873 h 1194"/>
                <a:gd name="T96" fmla="*/ 0 w 747"/>
                <a:gd name="T97" fmla="*/ 817 h 1194"/>
                <a:gd name="T98" fmla="*/ 235 w 747"/>
                <a:gd name="T99" fmla="*/ 0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47" h="1194">
                  <a:moveTo>
                    <a:pt x="235" y="0"/>
                  </a:moveTo>
                  <a:lnTo>
                    <a:pt x="235" y="817"/>
                  </a:lnTo>
                  <a:lnTo>
                    <a:pt x="235" y="817"/>
                  </a:lnTo>
                  <a:lnTo>
                    <a:pt x="235" y="839"/>
                  </a:lnTo>
                  <a:lnTo>
                    <a:pt x="237" y="860"/>
                  </a:lnTo>
                  <a:lnTo>
                    <a:pt x="239" y="880"/>
                  </a:lnTo>
                  <a:lnTo>
                    <a:pt x="241" y="898"/>
                  </a:lnTo>
                  <a:lnTo>
                    <a:pt x="246" y="916"/>
                  </a:lnTo>
                  <a:lnTo>
                    <a:pt x="251" y="933"/>
                  </a:lnTo>
                  <a:lnTo>
                    <a:pt x="256" y="948"/>
                  </a:lnTo>
                  <a:lnTo>
                    <a:pt x="263" y="963"/>
                  </a:lnTo>
                  <a:lnTo>
                    <a:pt x="271" y="976"/>
                  </a:lnTo>
                  <a:lnTo>
                    <a:pt x="282" y="987"/>
                  </a:lnTo>
                  <a:lnTo>
                    <a:pt x="292" y="997"/>
                  </a:lnTo>
                  <a:lnTo>
                    <a:pt x="305" y="1005"/>
                  </a:lnTo>
                  <a:lnTo>
                    <a:pt x="320" y="1012"/>
                  </a:lnTo>
                  <a:lnTo>
                    <a:pt x="336" y="1016"/>
                  </a:lnTo>
                  <a:lnTo>
                    <a:pt x="354" y="1020"/>
                  </a:lnTo>
                  <a:lnTo>
                    <a:pt x="374" y="1021"/>
                  </a:lnTo>
                  <a:lnTo>
                    <a:pt x="374" y="1021"/>
                  </a:lnTo>
                  <a:lnTo>
                    <a:pt x="393" y="1020"/>
                  </a:lnTo>
                  <a:lnTo>
                    <a:pt x="411" y="1016"/>
                  </a:lnTo>
                  <a:lnTo>
                    <a:pt x="427" y="1012"/>
                  </a:lnTo>
                  <a:lnTo>
                    <a:pt x="441" y="1005"/>
                  </a:lnTo>
                  <a:lnTo>
                    <a:pt x="454" y="997"/>
                  </a:lnTo>
                  <a:lnTo>
                    <a:pt x="465" y="987"/>
                  </a:lnTo>
                  <a:lnTo>
                    <a:pt x="476" y="976"/>
                  </a:lnTo>
                  <a:lnTo>
                    <a:pt x="484" y="963"/>
                  </a:lnTo>
                  <a:lnTo>
                    <a:pt x="491" y="948"/>
                  </a:lnTo>
                  <a:lnTo>
                    <a:pt x="496" y="933"/>
                  </a:lnTo>
                  <a:lnTo>
                    <a:pt x="501" y="916"/>
                  </a:lnTo>
                  <a:lnTo>
                    <a:pt x="505" y="898"/>
                  </a:lnTo>
                  <a:lnTo>
                    <a:pt x="508" y="880"/>
                  </a:lnTo>
                  <a:lnTo>
                    <a:pt x="509" y="860"/>
                  </a:lnTo>
                  <a:lnTo>
                    <a:pt x="510" y="839"/>
                  </a:lnTo>
                  <a:lnTo>
                    <a:pt x="512" y="817"/>
                  </a:lnTo>
                  <a:lnTo>
                    <a:pt x="512" y="0"/>
                  </a:lnTo>
                  <a:lnTo>
                    <a:pt x="747" y="0"/>
                  </a:lnTo>
                  <a:lnTo>
                    <a:pt x="747" y="817"/>
                  </a:lnTo>
                  <a:lnTo>
                    <a:pt x="747" y="817"/>
                  </a:lnTo>
                  <a:lnTo>
                    <a:pt x="747" y="845"/>
                  </a:lnTo>
                  <a:lnTo>
                    <a:pt x="745" y="870"/>
                  </a:lnTo>
                  <a:lnTo>
                    <a:pt x="742" y="896"/>
                  </a:lnTo>
                  <a:lnTo>
                    <a:pt x="739" y="919"/>
                  </a:lnTo>
                  <a:lnTo>
                    <a:pt x="734" y="942"/>
                  </a:lnTo>
                  <a:lnTo>
                    <a:pt x="730" y="963"/>
                  </a:lnTo>
                  <a:lnTo>
                    <a:pt x="723" y="983"/>
                  </a:lnTo>
                  <a:lnTo>
                    <a:pt x="716" y="1003"/>
                  </a:lnTo>
                  <a:lnTo>
                    <a:pt x="708" y="1020"/>
                  </a:lnTo>
                  <a:lnTo>
                    <a:pt x="699" y="1037"/>
                  </a:lnTo>
                  <a:lnTo>
                    <a:pt x="690" y="1052"/>
                  </a:lnTo>
                  <a:lnTo>
                    <a:pt x="680" y="1068"/>
                  </a:lnTo>
                  <a:lnTo>
                    <a:pt x="669" y="1081"/>
                  </a:lnTo>
                  <a:lnTo>
                    <a:pt x="658" y="1094"/>
                  </a:lnTo>
                  <a:lnTo>
                    <a:pt x="645" y="1107"/>
                  </a:lnTo>
                  <a:lnTo>
                    <a:pt x="632" y="1117"/>
                  </a:lnTo>
                  <a:lnTo>
                    <a:pt x="619" y="1128"/>
                  </a:lnTo>
                  <a:lnTo>
                    <a:pt x="605" y="1137"/>
                  </a:lnTo>
                  <a:lnTo>
                    <a:pt x="590" y="1146"/>
                  </a:lnTo>
                  <a:lnTo>
                    <a:pt x="576" y="1153"/>
                  </a:lnTo>
                  <a:lnTo>
                    <a:pt x="560" y="1160"/>
                  </a:lnTo>
                  <a:lnTo>
                    <a:pt x="545" y="1167"/>
                  </a:lnTo>
                  <a:lnTo>
                    <a:pt x="529" y="1173"/>
                  </a:lnTo>
                  <a:lnTo>
                    <a:pt x="513" y="1178"/>
                  </a:lnTo>
                  <a:lnTo>
                    <a:pt x="496" y="1181"/>
                  </a:lnTo>
                  <a:lnTo>
                    <a:pt x="479" y="1186"/>
                  </a:lnTo>
                  <a:lnTo>
                    <a:pt x="444" y="1191"/>
                  </a:lnTo>
                  <a:lnTo>
                    <a:pt x="409" y="1194"/>
                  </a:lnTo>
                  <a:lnTo>
                    <a:pt x="374" y="1194"/>
                  </a:lnTo>
                  <a:lnTo>
                    <a:pt x="374" y="1194"/>
                  </a:lnTo>
                  <a:lnTo>
                    <a:pt x="338" y="1194"/>
                  </a:lnTo>
                  <a:lnTo>
                    <a:pt x="303" y="1192"/>
                  </a:lnTo>
                  <a:lnTo>
                    <a:pt x="268" y="1187"/>
                  </a:lnTo>
                  <a:lnTo>
                    <a:pt x="234" y="1180"/>
                  </a:lnTo>
                  <a:lnTo>
                    <a:pt x="218" y="1175"/>
                  </a:lnTo>
                  <a:lnTo>
                    <a:pt x="202" y="1170"/>
                  </a:lnTo>
                  <a:lnTo>
                    <a:pt x="186" y="1164"/>
                  </a:lnTo>
                  <a:lnTo>
                    <a:pt x="171" y="1158"/>
                  </a:lnTo>
                  <a:lnTo>
                    <a:pt x="155" y="1150"/>
                  </a:lnTo>
                  <a:lnTo>
                    <a:pt x="142" y="1142"/>
                  </a:lnTo>
                  <a:lnTo>
                    <a:pt x="128" y="1134"/>
                  </a:lnTo>
                  <a:lnTo>
                    <a:pt x="115" y="1123"/>
                  </a:lnTo>
                  <a:lnTo>
                    <a:pt x="102" y="1113"/>
                  </a:lnTo>
                  <a:lnTo>
                    <a:pt x="89" y="1101"/>
                  </a:lnTo>
                  <a:lnTo>
                    <a:pt x="78" y="1088"/>
                  </a:lnTo>
                  <a:lnTo>
                    <a:pt x="67" y="1074"/>
                  </a:lnTo>
                  <a:lnTo>
                    <a:pt x="57" y="1059"/>
                  </a:lnTo>
                  <a:lnTo>
                    <a:pt x="48" y="1043"/>
                  </a:lnTo>
                  <a:lnTo>
                    <a:pt x="39" y="1027"/>
                  </a:lnTo>
                  <a:lnTo>
                    <a:pt x="31" y="1008"/>
                  </a:lnTo>
                  <a:lnTo>
                    <a:pt x="24" y="989"/>
                  </a:lnTo>
                  <a:lnTo>
                    <a:pt x="17" y="969"/>
                  </a:lnTo>
                  <a:lnTo>
                    <a:pt x="13" y="947"/>
                  </a:lnTo>
                  <a:lnTo>
                    <a:pt x="8" y="924"/>
                  </a:lnTo>
                  <a:lnTo>
                    <a:pt x="5" y="899"/>
                  </a:lnTo>
                  <a:lnTo>
                    <a:pt x="1" y="873"/>
                  </a:lnTo>
                  <a:lnTo>
                    <a:pt x="0" y="846"/>
                  </a:lnTo>
                  <a:lnTo>
                    <a:pt x="0" y="817"/>
                  </a:lnTo>
                  <a:lnTo>
                    <a:pt x="0" y="0"/>
                  </a:lnTo>
                  <a:lnTo>
                    <a:pt x="23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sz="1800" dirty="0"/>
            </a:p>
          </p:txBody>
        </p:sp>
      </p:grpSp>
    </p:spTree>
    <p:extLst>
      <p:ext uri="{BB962C8B-B14F-4D97-AF65-F5344CB8AC3E}">
        <p14:creationId xmlns:p14="http://schemas.microsoft.com/office/powerpoint/2010/main" val="1384455294"/>
      </p:ext>
    </p:extLst>
  </p:cSld>
  <p:clrMapOvr>
    <a:masterClrMapping/>
  </p:clrMapOvr>
  <p:extLst mod="1">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Espace réservé du texte 4"/>
          <p:cNvSpPr>
            <a:spLocks noGrp="1"/>
          </p:cNvSpPr>
          <p:nvPr>
            <p:ph type="body" sz="quarter" idx="10" hasCustomPrompt="1"/>
          </p:nvPr>
        </p:nvSpPr>
        <p:spPr>
          <a:xfrm>
            <a:off x="542927" y="1139514"/>
            <a:ext cx="8060895" cy="4759637"/>
          </a:xfrm>
          <a:prstGeom prst="rect">
            <a:avLst/>
          </a:prstGeom>
        </p:spPr>
        <p:txBody>
          <a:bodyPr lIns="0" tIns="0" rIns="0" bIns="0"/>
          <a:lstStyle>
            <a:lvl1pPr marL="177796" indent="-177796">
              <a:spcBef>
                <a:spcPts val="300"/>
              </a:spcBef>
              <a:buClr>
                <a:schemeClr val="accent1"/>
              </a:buClr>
              <a:defRPr sz="1800"/>
            </a:lvl1pPr>
            <a:lvl2pPr marL="450839" indent="-184146">
              <a:spcBef>
                <a:spcPts val="300"/>
              </a:spcBef>
              <a:buClr>
                <a:schemeClr val="tx1"/>
              </a:buClr>
              <a:buFont typeface="Arial" pitchFamily="34" charset="0"/>
              <a:buChar char="−"/>
              <a:defRPr sz="1600"/>
            </a:lvl2pPr>
            <a:lvl3pPr marL="715945" indent="-176209">
              <a:spcBef>
                <a:spcPts val="300"/>
              </a:spcBef>
              <a:buClr>
                <a:schemeClr val="tx1"/>
              </a:buClr>
              <a:buFont typeface="Arial" pitchFamily="34" charset="0"/>
              <a:buChar char="−"/>
              <a:tabLst/>
              <a:defRPr sz="1400"/>
            </a:lvl3pPr>
            <a:lvl4pPr marL="982638" indent="-177796">
              <a:spcBef>
                <a:spcPts val="300"/>
              </a:spcBef>
              <a:buClr>
                <a:schemeClr val="tx1"/>
              </a:buClr>
              <a:buFont typeface="Arial" pitchFamily="34" charset="0"/>
              <a:buChar char="−"/>
              <a:defRPr sz="1200"/>
            </a:lvl4pPr>
            <a:lvl5pPr marL="1255682" indent="-177796">
              <a:spcBef>
                <a:spcPts val="300"/>
              </a:spcBef>
              <a:buClr>
                <a:schemeClr val="tx1"/>
              </a:buClr>
              <a:buFont typeface="Arial" pitchFamily="34" charset="0"/>
              <a:buChar char="−"/>
              <a:defRPr sz="1000"/>
            </a:lvl5pPr>
          </a:lstStyle>
          <a:p>
            <a:pPr lvl="0"/>
            <a:r>
              <a:rPr lang="fr-FR" dirty="0"/>
              <a:t>First </a:t>
            </a:r>
            <a:r>
              <a:rPr lang="fr-FR" dirty="0" err="1"/>
              <a:t>level</a:t>
            </a:r>
            <a:r>
              <a:rPr lang="fr-FR" dirty="0"/>
              <a:t> </a:t>
            </a:r>
            <a:r>
              <a:rPr lang="fr-FR" dirty="0" err="1"/>
              <a:t>text</a:t>
            </a:r>
            <a:endParaRPr lang="fr-FR" dirty="0"/>
          </a:p>
          <a:p>
            <a:pPr lvl="1"/>
            <a:r>
              <a:rPr lang="fr-FR" dirty="0"/>
              <a:t>Second </a:t>
            </a:r>
            <a:r>
              <a:rPr lang="fr-FR" dirty="0" err="1"/>
              <a:t>level</a:t>
            </a:r>
            <a:r>
              <a:rPr lang="fr-FR" dirty="0"/>
              <a:t> </a:t>
            </a:r>
            <a:r>
              <a:rPr lang="fr-FR" dirty="0" err="1"/>
              <a:t>text</a:t>
            </a:r>
            <a:endParaRPr lang="fr-FR" dirty="0"/>
          </a:p>
          <a:p>
            <a:pPr lvl="2"/>
            <a:r>
              <a:rPr lang="fr-FR" dirty="0" err="1"/>
              <a:t>Third</a:t>
            </a:r>
            <a:r>
              <a:rPr lang="fr-FR" dirty="0"/>
              <a:t> </a:t>
            </a:r>
            <a:r>
              <a:rPr lang="fr-FR" dirty="0" err="1"/>
              <a:t>level</a:t>
            </a:r>
            <a:r>
              <a:rPr lang="fr-FR" dirty="0"/>
              <a:t> </a:t>
            </a:r>
            <a:r>
              <a:rPr lang="fr-FR" dirty="0" err="1"/>
              <a:t>text</a:t>
            </a:r>
            <a:endParaRPr lang="fr-FR" dirty="0"/>
          </a:p>
          <a:p>
            <a:pPr lvl="3"/>
            <a:r>
              <a:rPr lang="fr-FR" dirty="0" err="1"/>
              <a:t>Fourth</a:t>
            </a:r>
            <a:r>
              <a:rPr lang="fr-FR" dirty="0"/>
              <a:t> </a:t>
            </a:r>
            <a:r>
              <a:rPr lang="fr-FR" dirty="0" err="1"/>
              <a:t>level</a:t>
            </a:r>
            <a:r>
              <a:rPr lang="fr-FR" dirty="0"/>
              <a:t> </a:t>
            </a:r>
            <a:r>
              <a:rPr lang="fr-FR" dirty="0" err="1"/>
              <a:t>text</a:t>
            </a:r>
            <a:endParaRPr lang="fr-FR" dirty="0"/>
          </a:p>
          <a:p>
            <a:pPr lvl="4"/>
            <a:r>
              <a:rPr lang="fr-FR" dirty="0" err="1"/>
              <a:t>Fifth</a:t>
            </a:r>
            <a:r>
              <a:rPr lang="fr-FR" dirty="0"/>
              <a:t> </a:t>
            </a:r>
            <a:r>
              <a:rPr lang="fr-FR" dirty="0" err="1"/>
              <a:t>level</a:t>
            </a:r>
            <a:r>
              <a:rPr lang="fr-FR" dirty="0"/>
              <a:t> </a:t>
            </a:r>
            <a:r>
              <a:rPr lang="fr-FR" dirty="0" err="1"/>
              <a:t>text</a:t>
            </a:r>
            <a:endParaRPr lang="fr-FR" dirty="0"/>
          </a:p>
        </p:txBody>
      </p:sp>
      <p:sp>
        <p:nvSpPr>
          <p:cNvPr id="4" name="Espace réservé du texte 5"/>
          <p:cNvSpPr>
            <a:spLocks noGrp="1"/>
          </p:cNvSpPr>
          <p:nvPr>
            <p:ph type="body" sz="quarter" idx="21" hasCustomPrompt="1"/>
          </p:nvPr>
        </p:nvSpPr>
        <p:spPr>
          <a:xfrm>
            <a:off x="180976" y="187334"/>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5" name="Titre 3"/>
          <p:cNvSpPr>
            <a:spLocks noGrp="1"/>
          </p:cNvSpPr>
          <p:nvPr>
            <p:ph type="title" hasCustomPrompt="1"/>
          </p:nvPr>
        </p:nvSpPr>
        <p:spPr>
          <a:xfrm>
            <a:off x="180978" y="397062"/>
            <a:ext cx="8425921" cy="345157"/>
          </a:xfrm>
          <a:prstGeom prst="rect">
            <a:avLst/>
          </a:prstGeom>
        </p:spPr>
        <p:txBody>
          <a:bodyPr lIns="0" tIns="0" rIns="0" bIns="0"/>
          <a:lstStyle>
            <a:lvl1pPr>
              <a:defRPr sz="1600" cap="all" baseline="0"/>
            </a:lvl1pPr>
          </a:lstStyle>
          <a:p>
            <a:r>
              <a:rPr lang="fr-FR" dirty="0"/>
              <a:t>PAGE TITLE</a:t>
            </a:r>
          </a:p>
        </p:txBody>
      </p:sp>
    </p:spTree>
    <p:extLst>
      <p:ext uri="{BB962C8B-B14F-4D97-AF65-F5344CB8AC3E}">
        <p14:creationId xmlns:p14="http://schemas.microsoft.com/office/powerpoint/2010/main" val="4507291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Espace réservé du texte 4"/>
          <p:cNvSpPr>
            <a:spLocks noGrp="1"/>
          </p:cNvSpPr>
          <p:nvPr>
            <p:ph type="body" sz="quarter" idx="10" hasCustomPrompt="1"/>
          </p:nvPr>
        </p:nvSpPr>
        <p:spPr>
          <a:xfrm>
            <a:off x="542927" y="1139514"/>
            <a:ext cx="8060895" cy="4759637"/>
          </a:xfrm>
          <a:prstGeom prst="rect">
            <a:avLst/>
          </a:prstGeom>
        </p:spPr>
        <p:txBody>
          <a:bodyPr lIns="0" tIns="0" rIns="0" bIns="0"/>
          <a:lstStyle>
            <a:lvl1pPr marL="177796" indent="-177796">
              <a:spcBef>
                <a:spcPts val="300"/>
              </a:spcBef>
              <a:buClr>
                <a:schemeClr val="accent1"/>
              </a:buClr>
              <a:defRPr sz="1800"/>
            </a:lvl1pPr>
            <a:lvl2pPr marL="450839" indent="-184146">
              <a:spcBef>
                <a:spcPts val="300"/>
              </a:spcBef>
              <a:buClr>
                <a:schemeClr val="tx1"/>
              </a:buClr>
              <a:buFont typeface="Arial" pitchFamily="34" charset="0"/>
              <a:buChar char="−"/>
              <a:defRPr sz="1600"/>
            </a:lvl2pPr>
            <a:lvl3pPr marL="715945" indent="-176209">
              <a:spcBef>
                <a:spcPts val="300"/>
              </a:spcBef>
              <a:buClr>
                <a:schemeClr val="tx1"/>
              </a:buClr>
              <a:buFont typeface="Arial" pitchFamily="34" charset="0"/>
              <a:buChar char="−"/>
              <a:tabLst/>
              <a:defRPr sz="1400"/>
            </a:lvl3pPr>
            <a:lvl4pPr marL="982638" indent="-177796">
              <a:spcBef>
                <a:spcPts val="300"/>
              </a:spcBef>
              <a:buClr>
                <a:schemeClr val="tx1"/>
              </a:buClr>
              <a:buFont typeface="Arial" pitchFamily="34" charset="0"/>
              <a:buChar char="−"/>
              <a:defRPr sz="1200"/>
            </a:lvl4pPr>
            <a:lvl5pPr marL="1255682" indent="-177796">
              <a:spcBef>
                <a:spcPts val="300"/>
              </a:spcBef>
              <a:buClr>
                <a:schemeClr val="tx1"/>
              </a:buClr>
              <a:buFont typeface="Arial" pitchFamily="34" charset="0"/>
              <a:buChar char="−"/>
              <a:defRPr sz="1000"/>
            </a:lvl5pPr>
          </a:lstStyle>
          <a:p>
            <a:pPr lvl="0"/>
            <a:r>
              <a:rPr lang="fr-FR" dirty="0"/>
              <a:t>First </a:t>
            </a:r>
            <a:r>
              <a:rPr lang="fr-FR" dirty="0" err="1"/>
              <a:t>level</a:t>
            </a:r>
            <a:r>
              <a:rPr lang="fr-FR" dirty="0"/>
              <a:t> </a:t>
            </a:r>
            <a:r>
              <a:rPr lang="fr-FR" dirty="0" err="1"/>
              <a:t>text</a:t>
            </a:r>
            <a:endParaRPr lang="fr-FR" dirty="0"/>
          </a:p>
          <a:p>
            <a:pPr lvl="1"/>
            <a:r>
              <a:rPr lang="fr-FR" dirty="0"/>
              <a:t>Second </a:t>
            </a:r>
            <a:r>
              <a:rPr lang="fr-FR" dirty="0" err="1"/>
              <a:t>level</a:t>
            </a:r>
            <a:r>
              <a:rPr lang="fr-FR" dirty="0"/>
              <a:t> </a:t>
            </a:r>
            <a:r>
              <a:rPr lang="fr-FR" dirty="0" err="1"/>
              <a:t>text</a:t>
            </a:r>
            <a:endParaRPr lang="fr-FR" dirty="0"/>
          </a:p>
          <a:p>
            <a:pPr lvl="2"/>
            <a:r>
              <a:rPr lang="fr-FR" dirty="0" err="1"/>
              <a:t>Third</a:t>
            </a:r>
            <a:r>
              <a:rPr lang="fr-FR" dirty="0"/>
              <a:t> </a:t>
            </a:r>
            <a:r>
              <a:rPr lang="fr-FR" dirty="0" err="1"/>
              <a:t>level</a:t>
            </a:r>
            <a:r>
              <a:rPr lang="fr-FR" dirty="0"/>
              <a:t> </a:t>
            </a:r>
            <a:r>
              <a:rPr lang="fr-FR" dirty="0" err="1"/>
              <a:t>text</a:t>
            </a:r>
            <a:endParaRPr lang="fr-FR" dirty="0"/>
          </a:p>
          <a:p>
            <a:pPr lvl="3"/>
            <a:r>
              <a:rPr lang="fr-FR" dirty="0" err="1"/>
              <a:t>Fourth</a:t>
            </a:r>
            <a:r>
              <a:rPr lang="fr-FR" dirty="0"/>
              <a:t> </a:t>
            </a:r>
            <a:r>
              <a:rPr lang="fr-FR" dirty="0" err="1"/>
              <a:t>level</a:t>
            </a:r>
            <a:r>
              <a:rPr lang="fr-FR" dirty="0"/>
              <a:t> </a:t>
            </a:r>
            <a:r>
              <a:rPr lang="fr-FR" dirty="0" err="1"/>
              <a:t>text</a:t>
            </a:r>
            <a:endParaRPr lang="fr-FR" dirty="0"/>
          </a:p>
          <a:p>
            <a:pPr lvl="4"/>
            <a:r>
              <a:rPr lang="fr-FR" dirty="0" err="1"/>
              <a:t>Fifth</a:t>
            </a:r>
            <a:r>
              <a:rPr lang="fr-FR" dirty="0"/>
              <a:t> </a:t>
            </a:r>
            <a:r>
              <a:rPr lang="fr-FR" dirty="0" err="1"/>
              <a:t>level</a:t>
            </a:r>
            <a:r>
              <a:rPr lang="fr-FR" dirty="0"/>
              <a:t> </a:t>
            </a:r>
            <a:r>
              <a:rPr lang="fr-FR" dirty="0" err="1"/>
              <a:t>text</a:t>
            </a:r>
            <a:endParaRPr lang="fr-FR" dirty="0"/>
          </a:p>
        </p:txBody>
      </p:sp>
      <p:sp>
        <p:nvSpPr>
          <p:cNvPr id="4" name="Espace réservé du texte 5"/>
          <p:cNvSpPr>
            <a:spLocks noGrp="1"/>
          </p:cNvSpPr>
          <p:nvPr>
            <p:ph type="body" sz="quarter" idx="21" hasCustomPrompt="1"/>
          </p:nvPr>
        </p:nvSpPr>
        <p:spPr>
          <a:xfrm>
            <a:off x="180976" y="187334"/>
            <a:ext cx="8423275"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5" name="Titre 3"/>
          <p:cNvSpPr>
            <a:spLocks noGrp="1"/>
          </p:cNvSpPr>
          <p:nvPr>
            <p:ph type="title" hasCustomPrompt="1"/>
          </p:nvPr>
        </p:nvSpPr>
        <p:spPr>
          <a:xfrm>
            <a:off x="180978" y="397062"/>
            <a:ext cx="8425921" cy="345157"/>
          </a:xfrm>
          <a:prstGeom prst="rect">
            <a:avLst/>
          </a:prstGeom>
        </p:spPr>
        <p:txBody>
          <a:bodyPr lIns="0" tIns="0" rIns="0" bIns="0"/>
          <a:lstStyle>
            <a:lvl1pPr>
              <a:defRPr sz="1600" cap="all" baseline="0"/>
            </a:lvl1pPr>
          </a:lstStyle>
          <a:p>
            <a:r>
              <a:rPr lang="fr-FR" dirty="0"/>
              <a:t>PAGE TITLE</a:t>
            </a:r>
          </a:p>
        </p:txBody>
      </p:sp>
    </p:spTree>
    <p:extLst>
      <p:ext uri="{BB962C8B-B14F-4D97-AF65-F5344CB8AC3E}">
        <p14:creationId xmlns:p14="http://schemas.microsoft.com/office/powerpoint/2010/main" val="18825089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 Title">
    <p:spTree>
      <p:nvGrpSpPr>
        <p:cNvPr id="1" name=""/>
        <p:cNvGrpSpPr/>
        <p:nvPr/>
      </p:nvGrpSpPr>
      <p:grpSpPr>
        <a:xfrm>
          <a:off x="0" y="0"/>
          <a:ext cx="0" cy="0"/>
          <a:chOff x="0" y="0"/>
          <a:chExt cx="0" cy="0"/>
        </a:xfrm>
      </p:grpSpPr>
      <p:sp>
        <p:nvSpPr>
          <p:cNvPr id="93" name="Espace réservé pour une image  5"/>
          <p:cNvSpPr>
            <a:spLocks noGrp="1"/>
          </p:cNvSpPr>
          <p:nvPr>
            <p:ph type="pic" sz="quarter" idx="10"/>
          </p:nvPr>
        </p:nvSpPr>
        <p:spPr>
          <a:xfrm>
            <a:off x="180978" y="241301"/>
            <a:ext cx="8785225" cy="3738032"/>
          </a:xfrm>
          <a:prstGeom prst="rect">
            <a:avLst/>
          </a:prstGeom>
        </p:spPr>
        <p:txBody>
          <a:bodyPr/>
          <a:lstStyle>
            <a:lvl1pPr marL="0" indent="0">
              <a:buFontTx/>
              <a:buNone/>
              <a:defRPr/>
            </a:lvl1pPr>
          </a:lstStyle>
          <a:p>
            <a:r>
              <a:rPr lang="fr-FR"/>
              <a:t>Cliquez sur l'icône pour ajouter une image</a:t>
            </a:r>
            <a:endParaRPr lang="fr-FR" dirty="0"/>
          </a:p>
        </p:txBody>
      </p:sp>
      <p:sp>
        <p:nvSpPr>
          <p:cNvPr id="5" name="Rectangle 41"/>
          <p:cNvSpPr>
            <a:spLocks noGrp="1" noChangeArrowheads="1"/>
          </p:cNvSpPr>
          <p:nvPr>
            <p:ph type="title" hasCustomPrompt="1"/>
          </p:nvPr>
        </p:nvSpPr>
        <p:spPr bwMode="auto">
          <a:xfrm>
            <a:off x="180978" y="4030137"/>
            <a:ext cx="8785225" cy="1873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0" tIns="0" rIns="0" bIns="0" numCol="1" anchor="ctr" anchorCtr="0" compatLnSpc="1">
            <a:prstTxWarp prst="textNoShape">
              <a:avLst/>
            </a:prstTxWarp>
          </a:bodyPr>
          <a:lstStyle>
            <a:lvl1pPr>
              <a:defRPr sz="2400" cap="all" baseline="0">
                <a:latin typeface="+mn-lt"/>
              </a:defRPr>
            </a:lvl1pPr>
          </a:lstStyle>
          <a:p>
            <a:pPr lvl="0"/>
            <a:r>
              <a:rPr lang="fr-FR" dirty="0"/>
              <a:t>PRESENTATION TITLE</a:t>
            </a:r>
          </a:p>
        </p:txBody>
      </p:sp>
    </p:spTree>
    <p:extLst>
      <p:ext uri="{BB962C8B-B14F-4D97-AF65-F5344CB8AC3E}">
        <p14:creationId xmlns:p14="http://schemas.microsoft.com/office/powerpoint/2010/main" val="2143892483"/>
      </p:ext>
    </p:extLst>
  </p:cSld>
  <p:clrMapOvr>
    <a:masterClrMapping/>
  </p:clrMapOvr>
  <p:extLst mod="1">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05E637CD-0640-49C4-97F5-1821D989EDEF}" type="datetimeFigureOut">
              <a:rPr lang="fr-FR" smtClean="0"/>
              <a:t>29/08/2017</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91EB7E84-FCE5-4C59-8C9C-6CD984661FDE}" type="slidenum">
              <a:rPr lang="fr-FR" smtClean="0"/>
              <a:t>‹N°›</a:t>
            </a:fld>
            <a:endParaRPr lang="fr-FR"/>
          </a:p>
        </p:txBody>
      </p:sp>
    </p:spTree>
    <p:extLst>
      <p:ext uri="{BB962C8B-B14F-4D97-AF65-F5344CB8AC3E}">
        <p14:creationId xmlns:p14="http://schemas.microsoft.com/office/powerpoint/2010/main" val="3857641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e la date 2"/>
          <p:cNvSpPr>
            <a:spLocks noGrp="1"/>
          </p:cNvSpPr>
          <p:nvPr>
            <p:ph type="dt" sz="half" idx="10"/>
          </p:nvPr>
        </p:nvSpPr>
        <p:spPr/>
        <p:txBody>
          <a:bodyPr/>
          <a:lstStyle/>
          <a:p>
            <a:endParaRPr lang="fr-FR"/>
          </a:p>
        </p:txBody>
      </p:sp>
      <p:sp>
        <p:nvSpPr>
          <p:cNvPr id="4" name="Espace réservé du pied de page 3"/>
          <p:cNvSpPr>
            <a:spLocks noGrp="1"/>
          </p:cNvSpPr>
          <p:nvPr>
            <p:ph type="ftr" sz="quarter" idx="11"/>
          </p:nvPr>
        </p:nvSpPr>
        <p:spPr>
          <a:xfrm>
            <a:off x="3124200" y="6356350"/>
            <a:ext cx="2895600" cy="365125"/>
          </a:xfrm>
          <a:prstGeom prst="rect">
            <a:avLst/>
          </a:prstGeom>
        </p:spPr>
        <p:txBody>
          <a:bodyPr/>
          <a:lstStyle/>
          <a:p>
            <a:r>
              <a:rPr lang="fr-FR"/>
              <a:t>CR2PA - Atelier N°8 -10 déc 2015_RTE       Bernard Ouillon, Yves Sarrazin</a:t>
            </a:r>
          </a:p>
        </p:txBody>
      </p:sp>
      <p:sp>
        <p:nvSpPr>
          <p:cNvPr id="5" name="Espace réservé du numéro de diapositive 4"/>
          <p:cNvSpPr>
            <a:spLocks noGrp="1"/>
          </p:cNvSpPr>
          <p:nvPr>
            <p:ph type="sldNum" sz="quarter" idx="12"/>
          </p:nvPr>
        </p:nvSpPr>
        <p:spPr/>
        <p:txBody>
          <a:bodyPr/>
          <a:lstStyle/>
          <a:p>
            <a:fld id="{FCE514DE-E9F9-4E23-84E5-45B810FC164B}" type="slidenum">
              <a:rPr lang="fr-FR" smtClean="0"/>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FR"/>
          </a:p>
        </p:txBody>
      </p:sp>
      <p:sp>
        <p:nvSpPr>
          <p:cNvPr id="3" name="Espace réservé du pied de page 2"/>
          <p:cNvSpPr>
            <a:spLocks noGrp="1"/>
          </p:cNvSpPr>
          <p:nvPr>
            <p:ph type="ftr" sz="quarter" idx="11"/>
          </p:nvPr>
        </p:nvSpPr>
        <p:spPr>
          <a:xfrm>
            <a:off x="3124200" y="6356350"/>
            <a:ext cx="2895600" cy="365125"/>
          </a:xfrm>
          <a:prstGeom prst="rect">
            <a:avLst/>
          </a:prstGeom>
        </p:spPr>
        <p:txBody>
          <a:bodyPr/>
          <a:lstStyle/>
          <a:p>
            <a:r>
              <a:rPr lang="fr-FR"/>
              <a:t>CR2PA - Atelier N°8 -10 déc 2015_RTE       Bernard Ouillon, Yves Sarrazin</a:t>
            </a:r>
          </a:p>
        </p:txBody>
      </p:sp>
      <p:sp>
        <p:nvSpPr>
          <p:cNvPr id="4" name="Espace réservé du numéro de diapositive 3"/>
          <p:cNvSpPr>
            <a:spLocks noGrp="1"/>
          </p:cNvSpPr>
          <p:nvPr>
            <p:ph type="sldNum" sz="quarter" idx="12"/>
          </p:nvPr>
        </p:nvSpPr>
        <p:spPr/>
        <p:txBody>
          <a:bodyPr/>
          <a:lstStyle/>
          <a:p>
            <a:fld id="{FCE514DE-E9F9-4E23-84E5-45B810FC164B}" type="slidenum">
              <a:rPr lang="fr-FR" smtClean="0"/>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r>
              <a:rPr lang="fr-FR"/>
              <a:t>CR2PA - Atelier N°8 -10 déc 2015_RTE       Bernard Ouillon, Yves Sarrazin</a:t>
            </a:r>
          </a:p>
        </p:txBody>
      </p:sp>
      <p:sp>
        <p:nvSpPr>
          <p:cNvPr id="7" name="Espace réservé du numéro de diapositive 6"/>
          <p:cNvSpPr>
            <a:spLocks noGrp="1"/>
          </p:cNvSpPr>
          <p:nvPr>
            <p:ph type="sldNum" sz="quarter" idx="12"/>
          </p:nvPr>
        </p:nvSpPr>
        <p:spPr/>
        <p:txBody>
          <a:bodyPr/>
          <a:lstStyle/>
          <a:p>
            <a:fld id="{FCE514DE-E9F9-4E23-84E5-45B810FC164B}" type="slidenum">
              <a:rPr lang="fr-FR" smtClean="0"/>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FCE514DE-E9F9-4E23-84E5-45B810FC164B}" type="slidenum">
              <a:rPr lang="fr-FR" smtClean="0"/>
              <a:pPr/>
              <a:t>‹N°›</a:t>
            </a:fld>
            <a:endParaRPr lang="fr-FR"/>
          </a:p>
        </p:txBody>
      </p:sp>
      <p:sp>
        <p:nvSpPr>
          <p:cNvPr id="8" name="Espace réservé du pied de page 4"/>
          <p:cNvSpPr txBox="1">
            <a:spLocks/>
          </p:cNvSpPr>
          <p:nvPr userDrawn="1"/>
        </p:nvSpPr>
        <p:spPr>
          <a:xfrm>
            <a:off x="3275856" y="6165304"/>
            <a:ext cx="2895600" cy="692696"/>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chemeClr val="tx1">
                    <a:tint val="75000"/>
                  </a:schemeClr>
                </a:solidFill>
                <a:effectLst/>
                <a:uLnTx/>
                <a:uFillTx/>
                <a:latin typeface="+mn-lt"/>
                <a:ea typeface="+mn-ea"/>
                <a:cs typeface="+mn-cs"/>
              </a:rPr>
              <a:t>CR2PA - Atelier N°8, 17 novembre 2015,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4.jpeg"/><Relationship Id="rId4" Type="http://schemas.openxmlformats.org/officeDocument/2006/relationships/slideLayout" Target="../slideLayouts/slideLayout16.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1.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1.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4.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 Id="rId4"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image" Target="../media/image12.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6.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54.xml"/><Relationship Id="rId1" Type="http://schemas.openxmlformats.org/officeDocument/2006/relationships/slideLayout" Target="../slideLayouts/slideLayout53.xml"/><Relationship Id="rId4"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a:t>Cliquez pour modifier le style du titre</a:t>
            </a: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E514DE-E9F9-4E23-84E5-45B810FC164B}" type="slidenum">
              <a:rPr lang="fr-FR" smtClean="0"/>
              <a:pPr/>
              <a:t>‹N°›</a:t>
            </a:fld>
            <a:endParaRPr lang="fr-FR"/>
          </a:p>
        </p:txBody>
      </p:sp>
      <p:sp>
        <p:nvSpPr>
          <p:cNvPr id="7" name="Espace réservé du pied de page 4"/>
          <p:cNvSpPr>
            <a:spLocks noGrp="1"/>
          </p:cNvSpPr>
          <p:nvPr userDrawn="1">
            <p:ph type="ftr" sz="quarter" idx="3"/>
          </p:nvPr>
        </p:nvSpPr>
        <p:spPr>
          <a:xfrm>
            <a:off x="2699792" y="6237312"/>
            <a:ext cx="5904656" cy="365125"/>
          </a:xfrm>
          <a:prstGeom prst="rect">
            <a:avLst/>
          </a:prstGeom>
        </p:spPr>
        <p:txBody>
          <a:bodyPr/>
          <a:lstStyle/>
          <a:p>
            <a:r>
              <a:rPr lang="fr-FR"/>
              <a:t>CR2PA - Atelier N°8 -10 déc 2015_RTE       Bernard Ouillon, Yves Sarrazin</a:t>
            </a:r>
            <a:endParaRPr lang="fr-FR"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9" r:id="rId1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Espace réservé du titre 1"/>
          <p:cNvSpPr>
            <a:spLocks noGrp="1"/>
          </p:cNvSpPr>
          <p:nvPr>
            <p:ph type="title"/>
          </p:nvPr>
        </p:nvSpPr>
        <p:spPr bwMode="auto">
          <a:xfrm>
            <a:off x="1065213" y="0"/>
            <a:ext cx="7394575" cy="119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r-FR" altLang="fr-FR"/>
              <a:t>Cliquez pour modifier le style du titre</a:t>
            </a:r>
          </a:p>
        </p:txBody>
      </p:sp>
      <p:sp>
        <p:nvSpPr>
          <p:cNvPr id="6147" name="Espace réservé du texte 2"/>
          <p:cNvSpPr>
            <a:spLocks noGrp="1"/>
          </p:cNvSpPr>
          <p:nvPr>
            <p:ph type="body" idx="1"/>
          </p:nvPr>
        </p:nvSpPr>
        <p:spPr bwMode="auto">
          <a:xfrm>
            <a:off x="519113" y="1584325"/>
            <a:ext cx="7940675" cy="405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4" name="Espace réservé de la date 3"/>
          <p:cNvSpPr>
            <a:spLocks noGrp="1"/>
          </p:cNvSpPr>
          <p:nvPr>
            <p:ph type="dt" sz="half" idx="2"/>
          </p:nvPr>
        </p:nvSpPr>
        <p:spPr>
          <a:xfrm>
            <a:off x="0" y="6092825"/>
            <a:ext cx="2133600" cy="144463"/>
          </a:xfrm>
          <a:prstGeom prst="rect">
            <a:avLst/>
          </a:prstGeom>
        </p:spPr>
        <p:txBody>
          <a:bodyPr vert="horz" lIns="91440" tIns="45720" rIns="91440" bIns="45720" rtlCol="0" anchor="ctr"/>
          <a:lstStyle>
            <a:lvl1pPr algn="l" eaLnBrk="1" fontAlgn="auto" hangingPunct="1">
              <a:spcBef>
                <a:spcPts val="0"/>
              </a:spcBef>
              <a:spcAft>
                <a:spcPts val="0"/>
              </a:spcAft>
              <a:defRPr sz="800">
                <a:solidFill>
                  <a:prstClr val="white"/>
                </a:solidFill>
                <a:latin typeface="Arial"/>
              </a:defRPr>
            </a:lvl1pPr>
          </a:lstStyle>
          <a:p>
            <a:pPr>
              <a:defRPr/>
            </a:pPr>
            <a:endParaRPr lang="fr-FR" dirty="0"/>
          </a:p>
        </p:txBody>
      </p:sp>
      <p:sp>
        <p:nvSpPr>
          <p:cNvPr id="5" name="Espace réservé du pied de page 4"/>
          <p:cNvSpPr>
            <a:spLocks noGrp="1"/>
          </p:cNvSpPr>
          <p:nvPr>
            <p:ph type="ftr" sz="quarter" idx="3"/>
          </p:nvPr>
        </p:nvSpPr>
        <p:spPr>
          <a:xfrm>
            <a:off x="900113" y="6216650"/>
            <a:ext cx="5892800" cy="457200"/>
          </a:xfrm>
          <a:prstGeom prst="rect">
            <a:avLst/>
          </a:prstGeom>
        </p:spPr>
        <p:txBody>
          <a:bodyPr vert="horz" lIns="0" tIns="0" rIns="0" bIns="0" rtlCol="0" anchor="ctr"/>
          <a:lstStyle>
            <a:lvl1pPr algn="l" eaLnBrk="1" fontAlgn="auto" hangingPunct="1">
              <a:spcBef>
                <a:spcPts val="0"/>
              </a:spcBef>
              <a:spcAft>
                <a:spcPts val="0"/>
              </a:spcAft>
              <a:defRPr sz="700">
                <a:solidFill>
                  <a:prstClr val="black"/>
                </a:solidFill>
                <a:latin typeface="Arial"/>
              </a:defRPr>
            </a:lvl1pPr>
          </a:lstStyle>
          <a:p>
            <a:pPr>
              <a:defRPr/>
            </a:pPr>
            <a:r>
              <a:rPr lang="fr-FR"/>
              <a:t>CR2PA - Atelier N°8 -10 déc 2015_RTE       Bernard Ouillon, Yves Sarrazin</a:t>
            </a:r>
          </a:p>
        </p:txBody>
      </p:sp>
      <p:sp>
        <p:nvSpPr>
          <p:cNvPr id="6" name="Espace réservé du numéro de diapositive 5"/>
          <p:cNvSpPr>
            <a:spLocks noGrp="1"/>
          </p:cNvSpPr>
          <p:nvPr>
            <p:ph type="sldNum" sz="quarter" idx="4"/>
          </p:nvPr>
        </p:nvSpPr>
        <p:spPr>
          <a:xfrm>
            <a:off x="0" y="6216650"/>
            <a:ext cx="846138" cy="457200"/>
          </a:xfrm>
          <a:prstGeom prst="rect">
            <a:avLst/>
          </a:prstGeom>
        </p:spPr>
        <p:txBody>
          <a:bodyPr vert="horz" lIns="0" tIns="0" rIns="0" bIns="0" rtlCol="0" anchor="ctr"/>
          <a:lstStyle>
            <a:lvl1pPr algn="r" eaLnBrk="1" fontAlgn="auto" hangingPunct="1">
              <a:spcBef>
                <a:spcPts val="0"/>
              </a:spcBef>
              <a:spcAft>
                <a:spcPts val="0"/>
              </a:spcAft>
              <a:defRPr sz="1200" b="1">
                <a:solidFill>
                  <a:prstClr val="black"/>
                </a:solidFill>
                <a:latin typeface="Arial"/>
              </a:defRPr>
            </a:lvl1pPr>
          </a:lstStyle>
          <a:p>
            <a:pPr>
              <a:defRPr/>
            </a:pPr>
            <a:fld id="{4125654D-AE57-4C5A-9CE9-6D5FDF8B16FE}" type="slidenum">
              <a:rPr lang="fr-FR"/>
              <a:pPr>
                <a:defRPr/>
              </a:pPr>
              <a:t>‹N°›</a:t>
            </a:fld>
            <a:endParaRPr lang="fr-FR" dirty="0"/>
          </a:p>
        </p:txBody>
      </p:sp>
      <p:pic>
        <p:nvPicPr>
          <p:cNvPr id="6151" name="Picture 2" descr="logo_noir_peti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89838" y="6210300"/>
            <a:ext cx="1076325"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152" name="Group 3"/>
          <p:cNvGrpSpPr>
            <a:grpSpLocks/>
          </p:cNvGrpSpPr>
          <p:nvPr/>
        </p:nvGrpSpPr>
        <p:grpSpPr bwMode="auto">
          <a:xfrm>
            <a:off x="7524750" y="6092825"/>
            <a:ext cx="1619250" cy="765175"/>
            <a:chOff x="4740" y="3838"/>
            <a:chExt cx="1020" cy="482"/>
          </a:xfrm>
        </p:grpSpPr>
        <p:sp>
          <p:nvSpPr>
            <p:cNvPr id="6153" name="Rectangle 4"/>
            <p:cNvSpPr>
              <a:spLocks noChangeArrowheads="1"/>
            </p:cNvSpPr>
            <p:nvPr userDrawn="1"/>
          </p:nvSpPr>
          <p:spPr bwMode="hidden">
            <a:xfrm>
              <a:off x="4740" y="3838"/>
              <a:ext cx="1020"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endParaRPr lang="fr-FR" altLang="fr-FR" sz="1800">
                <a:solidFill>
                  <a:srgbClr val="000000"/>
                </a:solidFill>
              </a:endParaRPr>
            </a:p>
          </p:txBody>
        </p:sp>
        <p:pic>
          <p:nvPicPr>
            <p:cNvPr id="6154" name="Picture 5" descr="logo_couleur_petit"/>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hidden">
            <a:xfrm>
              <a:off x="4781" y="3912"/>
              <a:ext cx="678"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70348133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p:hf hdr="0" dt="0"/>
  <p:txStyles>
    <p:titleStyle>
      <a:lvl1pPr algn="l" rtl="0" eaLnBrk="0" fontAlgn="base" hangingPunct="0">
        <a:spcBef>
          <a:spcPct val="0"/>
        </a:spcBef>
        <a:spcAft>
          <a:spcPct val="0"/>
        </a:spcAft>
        <a:defRPr sz="2400" b="1" kern="1200">
          <a:solidFill>
            <a:schemeClr val="bg1"/>
          </a:solidFill>
          <a:latin typeface="+mj-lt"/>
          <a:ea typeface="+mj-ea"/>
          <a:cs typeface="+mj-cs"/>
        </a:defRPr>
      </a:lvl1pPr>
      <a:lvl2pPr algn="l" rtl="0" eaLnBrk="0" fontAlgn="base" hangingPunct="0">
        <a:spcBef>
          <a:spcPct val="0"/>
        </a:spcBef>
        <a:spcAft>
          <a:spcPct val="0"/>
        </a:spcAft>
        <a:defRPr sz="2400" b="1">
          <a:solidFill>
            <a:schemeClr val="bg1"/>
          </a:solidFill>
          <a:latin typeface="Arial" charset="0"/>
        </a:defRPr>
      </a:lvl2pPr>
      <a:lvl3pPr algn="l" rtl="0" eaLnBrk="0" fontAlgn="base" hangingPunct="0">
        <a:spcBef>
          <a:spcPct val="0"/>
        </a:spcBef>
        <a:spcAft>
          <a:spcPct val="0"/>
        </a:spcAft>
        <a:defRPr sz="2400" b="1">
          <a:solidFill>
            <a:schemeClr val="bg1"/>
          </a:solidFill>
          <a:latin typeface="Arial" charset="0"/>
        </a:defRPr>
      </a:lvl3pPr>
      <a:lvl4pPr algn="l" rtl="0" eaLnBrk="0" fontAlgn="base" hangingPunct="0">
        <a:spcBef>
          <a:spcPct val="0"/>
        </a:spcBef>
        <a:spcAft>
          <a:spcPct val="0"/>
        </a:spcAft>
        <a:defRPr sz="2400" b="1">
          <a:solidFill>
            <a:schemeClr val="bg1"/>
          </a:solidFill>
          <a:latin typeface="Arial" charset="0"/>
        </a:defRPr>
      </a:lvl4pPr>
      <a:lvl5pPr algn="l" rtl="0" eaLnBrk="0" fontAlgn="base" hangingPunct="0">
        <a:spcBef>
          <a:spcPct val="0"/>
        </a:spcBef>
        <a:spcAft>
          <a:spcPct val="0"/>
        </a:spcAft>
        <a:defRPr sz="2400" b="1">
          <a:solidFill>
            <a:schemeClr val="bg1"/>
          </a:solidFill>
          <a:latin typeface="Arial" charset="0"/>
        </a:defRPr>
      </a:lvl5pPr>
      <a:lvl6pPr marL="457200" algn="l" rtl="0" fontAlgn="base">
        <a:spcBef>
          <a:spcPct val="0"/>
        </a:spcBef>
        <a:spcAft>
          <a:spcPct val="0"/>
        </a:spcAft>
        <a:defRPr sz="2400" b="1">
          <a:solidFill>
            <a:schemeClr val="bg1"/>
          </a:solidFill>
          <a:latin typeface="Arial" charset="0"/>
        </a:defRPr>
      </a:lvl6pPr>
      <a:lvl7pPr marL="914400" algn="l" rtl="0" fontAlgn="base">
        <a:spcBef>
          <a:spcPct val="0"/>
        </a:spcBef>
        <a:spcAft>
          <a:spcPct val="0"/>
        </a:spcAft>
        <a:defRPr sz="2400" b="1">
          <a:solidFill>
            <a:schemeClr val="bg1"/>
          </a:solidFill>
          <a:latin typeface="Arial" charset="0"/>
        </a:defRPr>
      </a:lvl7pPr>
      <a:lvl8pPr marL="1371600" algn="l" rtl="0" fontAlgn="base">
        <a:spcBef>
          <a:spcPct val="0"/>
        </a:spcBef>
        <a:spcAft>
          <a:spcPct val="0"/>
        </a:spcAft>
        <a:defRPr sz="2400" b="1">
          <a:solidFill>
            <a:schemeClr val="bg1"/>
          </a:solidFill>
          <a:latin typeface="Arial" charset="0"/>
        </a:defRPr>
      </a:lvl8pPr>
      <a:lvl9pPr marL="1828800" algn="l" rtl="0" fontAlgn="base">
        <a:spcBef>
          <a:spcPct val="0"/>
        </a:spcBef>
        <a:spcAft>
          <a:spcPct val="0"/>
        </a:spcAft>
        <a:defRPr sz="2400" b="1">
          <a:solidFill>
            <a:schemeClr val="bg1"/>
          </a:solidFill>
          <a:latin typeface="Arial" charset="0"/>
        </a:defRPr>
      </a:lvl9pPr>
    </p:titleStyle>
    <p:bodyStyle>
      <a:lvl1pPr marL="342900" indent="-342900" algn="l" rtl="0" eaLnBrk="0" fontAlgn="base" hangingPunct="0">
        <a:lnSpc>
          <a:spcPts val="2300"/>
        </a:lnSpc>
        <a:spcBef>
          <a:spcPts val="500"/>
        </a:spcBef>
        <a:spcAft>
          <a:spcPts val="800"/>
        </a:spcAft>
        <a:buFont typeface="Arial" pitchFamily="34" charset="0"/>
        <a:defRPr sz="1900" b="1" kern="1200">
          <a:solidFill>
            <a:schemeClr val="accent2"/>
          </a:solidFill>
          <a:latin typeface="+mn-lt"/>
          <a:ea typeface="+mn-ea"/>
          <a:cs typeface="+mn-cs"/>
        </a:defRPr>
      </a:lvl1pPr>
      <a:lvl2pPr marL="536575" indent="-263525" algn="l" rtl="0" eaLnBrk="0" fontAlgn="base" hangingPunct="0">
        <a:lnSpc>
          <a:spcPts val="1900"/>
        </a:lnSpc>
        <a:spcBef>
          <a:spcPts val="1000"/>
        </a:spcBef>
        <a:spcAft>
          <a:spcPts val="200"/>
        </a:spcAft>
        <a:buClr>
          <a:schemeClr val="accent2"/>
        </a:buClr>
        <a:buSzPct val="90000"/>
        <a:buFont typeface="Wingdings" pitchFamily="2" charset="2"/>
        <a:buChar char=""/>
        <a:defRPr sz="1700" kern="1200">
          <a:solidFill>
            <a:schemeClr val="tx1"/>
          </a:solidFill>
          <a:latin typeface="+mn-lt"/>
          <a:ea typeface="+mn-ea"/>
          <a:cs typeface="+mn-cs"/>
        </a:defRPr>
      </a:lvl2pPr>
      <a:lvl3pPr marL="1076325" indent="-266700" algn="l" rtl="0" eaLnBrk="0" fontAlgn="base" hangingPunct="0">
        <a:lnSpc>
          <a:spcPts val="1900"/>
        </a:lnSpc>
        <a:spcBef>
          <a:spcPts val="600"/>
        </a:spcBef>
        <a:spcAft>
          <a:spcPct val="0"/>
        </a:spcAft>
        <a:buFont typeface="Symbol" pitchFamily="18" charset="2"/>
        <a:buChar char=""/>
        <a:defRPr sz="1600" kern="1200">
          <a:solidFill>
            <a:schemeClr val="tx1"/>
          </a:solidFill>
          <a:latin typeface="+mn-lt"/>
          <a:ea typeface="+mn-ea"/>
          <a:cs typeface="+mn-cs"/>
        </a:defRPr>
      </a:lvl3pPr>
      <a:lvl4pPr marL="1076325" indent="295275" algn="l" rtl="0" eaLnBrk="0" fontAlgn="base" hangingPunct="0">
        <a:lnSpc>
          <a:spcPts val="1900"/>
        </a:lnSpc>
        <a:spcBef>
          <a:spcPts val="400"/>
        </a:spcBef>
        <a:spcAft>
          <a:spcPct val="0"/>
        </a:spcAft>
        <a:buFont typeface="Arial" pitchFamily="34" charset="0"/>
        <a:defRPr sz="1600" kern="1200">
          <a:solidFill>
            <a:schemeClr val="tx1"/>
          </a:solidFill>
          <a:latin typeface="+mn-lt"/>
          <a:ea typeface="+mn-ea"/>
          <a:cs typeface="+mn-cs"/>
        </a:defRPr>
      </a:lvl4pPr>
      <a:lvl5pPr marL="1076325" indent="752475" algn="l" rtl="0" eaLnBrk="0" fontAlgn="base" hangingPunct="0">
        <a:lnSpc>
          <a:spcPts val="1900"/>
        </a:lnSpc>
        <a:spcBef>
          <a:spcPts val="400"/>
        </a:spcBef>
        <a:spcAft>
          <a:spcPct val="0"/>
        </a:spcAft>
        <a:buFont typeface="Arial" pitchFamily="34" charset="0"/>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 name="Rectangle 6"/>
          <p:cNvSpPr>
            <a:spLocks noChangeArrowheads="1"/>
          </p:cNvSpPr>
          <p:nvPr/>
        </p:nvSpPr>
        <p:spPr bwMode="auto">
          <a:xfrm>
            <a:off x="7075257" y="6359438"/>
            <a:ext cx="266735" cy="147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fld id="{78210625-ECA7-4862-B00E-5DC0AA3A3D4E}" type="slidenum">
              <a:rPr sz="500" b="0" noProof="1">
                <a:solidFill>
                  <a:schemeClr val="tx1"/>
                </a:solidFill>
              </a:rPr>
              <a:pPr/>
              <a:t>‹N°›</a:t>
            </a:fld>
            <a:endParaRPr lang="fr-FR" sz="300" b="0" noProof="1">
              <a:solidFill>
                <a:schemeClr val="tx1"/>
              </a:solidFill>
            </a:endParaRPr>
          </a:p>
        </p:txBody>
      </p:sp>
      <p:grpSp>
        <p:nvGrpSpPr>
          <p:cNvPr id="13" name="Groupe 12"/>
          <p:cNvGrpSpPr>
            <a:grpSpLocks noChangeAspect="1"/>
          </p:cNvGrpSpPr>
          <p:nvPr/>
        </p:nvGrpSpPr>
        <p:grpSpPr>
          <a:xfrm>
            <a:off x="7883819" y="6342402"/>
            <a:ext cx="1080000" cy="150589"/>
            <a:chOff x="7712075" y="4803775"/>
            <a:chExt cx="1214438" cy="127001"/>
          </a:xfrm>
        </p:grpSpPr>
        <p:sp>
          <p:nvSpPr>
            <p:cNvPr id="15" name="Freeform 5"/>
            <p:cNvSpPr>
              <a:spLocks/>
            </p:cNvSpPr>
            <p:nvPr userDrawn="1"/>
          </p:nvSpPr>
          <p:spPr bwMode="auto">
            <a:xfrm>
              <a:off x="7712075" y="4803775"/>
              <a:ext cx="80963" cy="127000"/>
            </a:xfrm>
            <a:custGeom>
              <a:avLst/>
              <a:gdLst>
                <a:gd name="T0" fmla="*/ 105 w 153"/>
                <a:gd name="T1" fmla="*/ 73 h 240"/>
                <a:gd name="T2" fmla="*/ 103 w 153"/>
                <a:gd name="T3" fmla="*/ 60 h 240"/>
                <a:gd name="T4" fmla="*/ 99 w 153"/>
                <a:gd name="T5" fmla="*/ 48 h 240"/>
                <a:gd name="T6" fmla="*/ 90 w 153"/>
                <a:gd name="T7" fmla="*/ 37 h 240"/>
                <a:gd name="T8" fmla="*/ 78 w 153"/>
                <a:gd name="T9" fmla="*/ 34 h 240"/>
                <a:gd name="T10" fmla="*/ 71 w 153"/>
                <a:gd name="T11" fmla="*/ 35 h 240"/>
                <a:gd name="T12" fmla="*/ 64 w 153"/>
                <a:gd name="T13" fmla="*/ 38 h 240"/>
                <a:gd name="T14" fmla="*/ 59 w 153"/>
                <a:gd name="T15" fmla="*/ 45 h 240"/>
                <a:gd name="T16" fmla="*/ 51 w 153"/>
                <a:gd name="T17" fmla="*/ 64 h 240"/>
                <a:gd name="T18" fmla="*/ 47 w 153"/>
                <a:gd name="T19" fmla="*/ 95 h 240"/>
                <a:gd name="T20" fmla="*/ 47 w 153"/>
                <a:gd name="T21" fmla="*/ 115 h 240"/>
                <a:gd name="T22" fmla="*/ 48 w 153"/>
                <a:gd name="T23" fmla="*/ 153 h 240"/>
                <a:gd name="T24" fmla="*/ 53 w 153"/>
                <a:gd name="T25" fmla="*/ 181 h 240"/>
                <a:gd name="T26" fmla="*/ 60 w 153"/>
                <a:gd name="T27" fmla="*/ 196 h 240"/>
                <a:gd name="T28" fmla="*/ 66 w 153"/>
                <a:gd name="T29" fmla="*/ 203 h 240"/>
                <a:gd name="T30" fmla="*/ 74 w 153"/>
                <a:gd name="T31" fmla="*/ 206 h 240"/>
                <a:gd name="T32" fmla="*/ 79 w 153"/>
                <a:gd name="T33" fmla="*/ 206 h 240"/>
                <a:gd name="T34" fmla="*/ 88 w 153"/>
                <a:gd name="T35" fmla="*/ 204 h 240"/>
                <a:gd name="T36" fmla="*/ 97 w 153"/>
                <a:gd name="T37" fmla="*/ 196 h 240"/>
                <a:gd name="T38" fmla="*/ 104 w 153"/>
                <a:gd name="T39" fmla="*/ 185 h 240"/>
                <a:gd name="T40" fmla="*/ 107 w 153"/>
                <a:gd name="T41" fmla="*/ 169 h 240"/>
                <a:gd name="T42" fmla="*/ 77 w 153"/>
                <a:gd name="T43" fmla="*/ 146 h 240"/>
                <a:gd name="T44" fmla="*/ 153 w 153"/>
                <a:gd name="T45" fmla="*/ 111 h 240"/>
                <a:gd name="T46" fmla="*/ 118 w 153"/>
                <a:gd name="T47" fmla="*/ 236 h 240"/>
                <a:gd name="T48" fmla="*/ 117 w 153"/>
                <a:gd name="T49" fmla="*/ 215 h 240"/>
                <a:gd name="T50" fmla="*/ 113 w 153"/>
                <a:gd name="T51" fmla="*/ 221 h 240"/>
                <a:gd name="T52" fmla="*/ 103 w 153"/>
                <a:gd name="T53" fmla="*/ 231 h 240"/>
                <a:gd name="T54" fmla="*/ 91 w 153"/>
                <a:gd name="T55" fmla="*/ 237 h 240"/>
                <a:gd name="T56" fmla="*/ 77 w 153"/>
                <a:gd name="T57" fmla="*/ 240 h 240"/>
                <a:gd name="T58" fmla="*/ 69 w 153"/>
                <a:gd name="T59" fmla="*/ 240 h 240"/>
                <a:gd name="T60" fmla="*/ 50 w 153"/>
                <a:gd name="T61" fmla="*/ 238 h 240"/>
                <a:gd name="T62" fmla="*/ 33 w 153"/>
                <a:gd name="T63" fmla="*/ 233 h 240"/>
                <a:gd name="T64" fmla="*/ 21 w 153"/>
                <a:gd name="T65" fmla="*/ 223 h 240"/>
                <a:gd name="T66" fmla="*/ 13 w 153"/>
                <a:gd name="T67" fmla="*/ 209 h 240"/>
                <a:gd name="T68" fmla="*/ 6 w 153"/>
                <a:gd name="T69" fmla="*/ 191 h 240"/>
                <a:gd name="T70" fmla="*/ 3 w 153"/>
                <a:gd name="T71" fmla="*/ 170 h 240"/>
                <a:gd name="T72" fmla="*/ 0 w 153"/>
                <a:gd name="T73" fmla="*/ 117 h 240"/>
                <a:gd name="T74" fmla="*/ 1 w 153"/>
                <a:gd name="T75" fmla="*/ 90 h 240"/>
                <a:gd name="T76" fmla="*/ 4 w 153"/>
                <a:gd name="T77" fmla="*/ 66 h 240"/>
                <a:gd name="T78" fmla="*/ 9 w 153"/>
                <a:gd name="T79" fmla="*/ 46 h 240"/>
                <a:gd name="T80" fmla="*/ 16 w 153"/>
                <a:gd name="T81" fmla="*/ 29 h 240"/>
                <a:gd name="T82" fmla="*/ 27 w 153"/>
                <a:gd name="T83" fmla="*/ 16 h 240"/>
                <a:gd name="T84" fmla="*/ 40 w 153"/>
                <a:gd name="T85" fmla="*/ 7 h 240"/>
                <a:gd name="T86" fmla="*/ 58 w 153"/>
                <a:gd name="T87" fmla="*/ 2 h 240"/>
                <a:gd name="T88" fmla="*/ 78 w 153"/>
                <a:gd name="T89" fmla="*/ 0 h 240"/>
                <a:gd name="T90" fmla="*/ 87 w 153"/>
                <a:gd name="T91" fmla="*/ 0 h 240"/>
                <a:gd name="T92" fmla="*/ 103 w 153"/>
                <a:gd name="T93" fmla="*/ 2 h 240"/>
                <a:gd name="T94" fmla="*/ 117 w 153"/>
                <a:gd name="T95" fmla="*/ 7 h 240"/>
                <a:gd name="T96" fmla="*/ 129 w 153"/>
                <a:gd name="T97" fmla="*/ 14 h 240"/>
                <a:gd name="T98" fmla="*/ 137 w 153"/>
                <a:gd name="T99" fmla="*/ 23 h 240"/>
                <a:gd name="T100" fmla="*/ 144 w 153"/>
                <a:gd name="T101" fmla="*/ 35 h 240"/>
                <a:gd name="T102" fmla="*/ 148 w 153"/>
                <a:gd name="T103" fmla="*/ 49 h 240"/>
                <a:gd name="T104" fmla="*/ 150 w 153"/>
                <a:gd name="T105" fmla="*/ 7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3" h="240">
                  <a:moveTo>
                    <a:pt x="105" y="73"/>
                  </a:moveTo>
                  <a:lnTo>
                    <a:pt x="105" y="73"/>
                  </a:lnTo>
                  <a:lnTo>
                    <a:pt x="104" y="67"/>
                  </a:lnTo>
                  <a:lnTo>
                    <a:pt x="103" y="60"/>
                  </a:lnTo>
                  <a:lnTo>
                    <a:pt x="101" y="53"/>
                  </a:lnTo>
                  <a:lnTo>
                    <a:pt x="99" y="48"/>
                  </a:lnTo>
                  <a:lnTo>
                    <a:pt x="95" y="42"/>
                  </a:lnTo>
                  <a:lnTo>
                    <a:pt x="90" y="37"/>
                  </a:lnTo>
                  <a:lnTo>
                    <a:pt x="85" y="35"/>
                  </a:lnTo>
                  <a:lnTo>
                    <a:pt x="78" y="34"/>
                  </a:lnTo>
                  <a:lnTo>
                    <a:pt x="78" y="34"/>
                  </a:lnTo>
                  <a:lnTo>
                    <a:pt x="71" y="35"/>
                  </a:lnTo>
                  <a:lnTo>
                    <a:pt x="67" y="36"/>
                  </a:lnTo>
                  <a:lnTo>
                    <a:pt x="64" y="38"/>
                  </a:lnTo>
                  <a:lnTo>
                    <a:pt x="61" y="42"/>
                  </a:lnTo>
                  <a:lnTo>
                    <a:pt x="59" y="45"/>
                  </a:lnTo>
                  <a:lnTo>
                    <a:pt x="54" y="53"/>
                  </a:lnTo>
                  <a:lnTo>
                    <a:pt x="51" y="64"/>
                  </a:lnTo>
                  <a:lnTo>
                    <a:pt x="49" y="78"/>
                  </a:lnTo>
                  <a:lnTo>
                    <a:pt x="47" y="95"/>
                  </a:lnTo>
                  <a:lnTo>
                    <a:pt x="47" y="115"/>
                  </a:lnTo>
                  <a:lnTo>
                    <a:pt x="47" y="115"/>
                  </a:lnTo>
                  <a:lnTo>
                    <a:pt x="47" y="135"/>
                  </a:lnTo>
                  <a:lnTo>
                    <a:pt x="48" y="153"/>
                  </a:lnTo>
                  <a:lnTo>
                    <a:pt x="50" y="168"/>
                  </a:lnTo>
                  <a:lnTo>
                    <a:pt x="53" y="181"/>
                  </a:lnTo>
                  <a:lnTo>
                    <a:pt x="57" y="192"/>
                  </a:lnTo>
                  <a:lnTo>
                    <a:pt x="60" y="196"/>
                  </a:lnTo>
                  <a:lnTo>
                    <a:pt x="63" y="199"/>
                  </a:lnTo>
                  <a:lnTo>
                    <a:pt x="66" y="203"/>
                  </a:lnTo>
                  <a:lnTo>
                    <a:pt x="70" y="205"/>
                  </a:lnTo>
                  <a:lnTo>
                    <a:pt x="74" y="206"/>
                  </a:lnTo>
                  <a:lnTo>
                    <a:pt x="79" y="206"/>
                  </a:lnTo>
                  <a:lnTo>
                    <a:pt x="79" y="206"/>
                  </a:lnTo>
                  <a:lnTo>
                    <a:pt x="83" y="206"/>
                  </a:lnTo>
                  <a:lnTo>
                    <a:pt x="88" y="204"/>
                  </a:lnTo>
                  <a:lnTo>
                    <a:pt x="93" y="201"/>
                  </a:lnTo>
                  <a:lnTo>
                    <a:pt x="97" y="196"/>
                  </a:lnTo>
                  <a:lnTo>
                    <a:pt x="101" y="191"/>
                  </a:lnTo>
                  <a:lnTo>
                    <a:pt x="104" y="185"/>
                  </a:lnTo>
                  <a:lnTo>
                    <a:pt x="107" y="178"/>
                  </a:lnTo>
                  <a:lnTo>
                    <a:pt x="107" y="169"/>
                  </a:lnTo>
                  <a:lnTo>
                    <a:pt x="107" y="146"/>
                  </a:lnTo>
                  <a:lnTo>
                    <a:pt x="77" y="146"/>
                  </a:lnTo>
                  <a:lnTo>
                    <a:pt x="77" y="111"/>
                  </a:lnTo>
                  <a:lnTo>
                    <a:pt x="153" y="111"/>
                  </a:lnTo>
                  <a:lnTo>
                    <a:pt x="153" y="236"/>
                  </a:lnTo>
                  <a:lnTo>
                    <a:pt x="118" y="236"/>
                  </a:lnTo>
                  <a:lnTo>
                    <a:pt x="118" y="215"/>
                  </a:lnTo>
                  <a:lnTo>
                    <a:pt x="117" y="215"/>
                  </a:lnTo>
                  <a:lnTo>
                    <a:pt x="117" y="215"/>
                  </a:lnTo>
                  <a:lnTo>
                    <a:pt x="113" y="221"/>
                  </a:lnTo>
                  <a:lnTo>
                    <a:pt x="108" y="226"/>
                  </a:lnTo>
                  <a:lnTo>
                    <a:pt x="103" y="231"/>
                  </a:lnTo>
                  <a:lnTo>
                    <a:pt x="97" y="234"/>
                  </a:lnTo>
                  <a:lnTo>
                    <a:pt x="91" y="237"/>
                  </a:lnTo>
                  <a:lnTo>
                    <a:pt x="84" y="239"/>
                  </a:lnTo>
                  <a:lnTo>
                    <a:pt x="77" y="240"/>
                  </a:lnTo>
                  <a:lnTo>
                    <a:pt x="69" y="240"/>
                  </a:lnTo>
                  <a:lnTo>
                    <a:pt x="69" y="240"/>
                  </a:lnTo>
                  <a:lnTo>
                    <a:pt x="59" y="240"/>
                  </a:lnTo>
                  <a:lnTo>
                    <a:pt x="50" y="238"/>
                  </a:lnTo>
                  <a:lnTo>
                    <a:pt x="41" y="236"/>
                  </a:lnTo>
                  <a:lnTo>
                    <a:pt x="33" y="233"/>
                  </a:lnTo>
                  <a:lnTo>
                    <a:pt x="27" y="228"/>
                  </a:lnTo>
                  <a:lnTo>
                    <a:pt x="21" y="223"/>
                  </a:lnTo>
                  <a:lnTo>
                    <a:pt x="17" y="217"/>
                  </a:lnTo>
                  <a:lnTo>
                    <a:pt x="13" y="209"/>
                  </a:lnTo>
                  <a:lnTo>
                    <a:pt x="9" y="201"/>
                  </a:lnTo>
                  <a:lnTo>
                    <a:pt x="6" y="191"/>
                  </a:lnTo>
                  <a:lnTo>
                    <a:pt x="4" y="181"/>
                  </a:lnTo>
                  <a:lnTo>
                    <a:pt x="3" y="170"/>
                  </a:lnTo>
                  <a:lnTo>
                    <a:pt x="1" y="146"/>
                  </a:lnTo>
                  <a:lnTo>
                    <a:pt x="0" y="117"/>
                  </a:lnTo>
                  <a:lnTo>
                    <a:pt x="0" y="117"/>
                  </a:lnTo>
                  <a:lnTo>
                    <a:pt x="1" y="90"/>
                  </a:lnTo>
                  <a:lnTo>
                    <a:pt x="2" y="78"/>
                  </a:lnTo>
                  <a:lnTo>
                    <a:pt x="4" y="66"/>
                  </a:lnTo>
                  <a:lnTo>
                    <a:pt x="6" y="56"/>
                  </a:lnTo>
                  <a:lnTo>
                    <a:pt x="9" y="46"/>
                  </a:lnTo>
                  <a:lnTo>
                    <a:pt x="12" y="37"/>
                  </a:lnTo>
                  <a:lnTo>
                    <a:pt x="16" y="29"/>
                  </a:lnTo>
                  <a:lnTo>
                    <a:pt x="21" y="22"/>
                  </a:lnTo>
                  <a:lnTo>
                    <a:pt x="27" y="16"/>
                  </a:lnTo>
                  <a:lnTo>
                    <a:pt x="33" y="11"/>
                  </a:lnTo>
                  <a:lnTo>
                    <a:pt x="40" y="7"/>
                  </a:lnTo>
                  <a:lnTo>
                    <a:pt x="49" y="4"/>
                  </a:lnTo>
                  <a:lnTo>
                    <a:pt x="58" y="2"/>
                  </a:lnTo>
                  <a:lnTo>
                    <a:pt x="67" y="0"/>
                  </a:lnTo>
                  <a:lnTo>
                    <a:pt x="78" y="0"/>
                  </a:lnTo>
                  <a:lnTo>
                    <a:pt x="78" y="0"/>
                  </a:lnTo>
                  <a:lnTo>
                    <a:pt x="87" y="0"/>
                  </a:lnTo>
                  <a:lnTo>
                    <a:pt x="95" y="1"/>
                  </a:lnTo>
                  <a:lnTo>
                    <a:pt x="103" y="2"/>
                  </a:lnTo>
                  <a:lnTo>
                    <a:pt x="110" y="4"/>
                  </a:lnTo>
                  <a:lnTo>
                    <a:pt x="117" y="7"/>
                  </a:lnTo>
                  <a:lnTo>
                    <a:pt x="123" y="10"/>
                  </a:lnTo>
                  <a:lnTo>
                    <a:pt x="129" y="14"/>
                  </a:lnTo>
                  <a:lnTo>
                    <a:pt x="133" y="18"/>
                  </a:lnTo>
                  <a:lnTo>
                    <a:pt x="137" y="23"/>
                  </a:lnTo>
                  <a:lnTo>
                    <a:pt x="141" y="29"/>
                  </a:lnTo>
                  <a:lnTo>
                    <a:pt x="144" y="35"/>
                  </a:lnTo>
                  <a:lnTo>
                    <a:pt x="146" y="42"/>
                  </a:lnTo>
                  <a:lnTo>
                    <a:pt x="148" y="49"/>
                  </a:lnTo>
                  <a:lnTo>
                    <a:pt x="149" y="57"/>
                  </a:lnTo>
                  <a:lnTo>
                    <a:pt x="150" y="73"/>
                  </a:lnTo>
                  <a:lnTo>
                    <a:pt x="105" y="73"/>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16" name="Freeform 6"/>
            <p:cNvSpPr>
              <a:spLocks noEditPoints="1"/>
            </p:cNvSpPr>
            <p:nvPr userDrawn="1"/>
          </p:nvSpPr>
          <p:spPr bwMode="auto">
            <a:xfrm>
              <a:off x="7810500" y="4805363"/>
              <a:ext cx="82550" cy="123825"/>
            </a:xfrm>
            <a:custGeom>
              <a:avLst/>
              <a:gdLst>
                <a:gd name="T0" fmla="*/ 86 w 157"/>
                <a:gd name="T1" fmla="*/ 0 h 232"/>
                <a:gd name="T2" fmla="*/ 99 w 157"/>
                <a:gd name="T3" fmla="*/ 1 h 232"/>
                <a:gd name="T4" fmla="*/ 123 w 157"/>
                <a:gd name="T5" fmla="*/ 9 h 232"/>
                <a:gd name="T6" fmla="*/ 131 w 157"/>
                <a:gd name="T7" fmla="*/ 15 h 232"/>
                <a:gd name="T8" fmla="*/ 138 w 157"/>
                <a:gd name="T9" fmla="*/ 23 h 232"/>
                <a:gd name="T10" fmla="*/ 143 w 157"/>
                <a:gd name="T11" fmla="*/ 33 h 232"/>
                <a:gd name="T12" fmla="*/ 147 w 157"/>
                <a:gd name="T13" fmla="*/ 46 h 232"/>
                <a:gd name="T14" fmla="*/ 148 w 157"/>
                <a:gd name="T15" fmla="*/ 60 h 232"/>
                <a:gd name="T16" fmla="*/ 145 w 157"/>
                <a:gd name="T17" fmla="*/ 81 h 232"/>
                <a:gd name="T18" fmla="*/ 138 w 157"/>
                <a:gd name="T19" fmla="*/ 98 h 232"/>
                <a:gd name="T20" fmla="*/ 126 w 157"/>
                <a:gd name="T21" fmla="*/ 110 h 232"/>
                <a:gd name="T22" fmla="*/ 108 w 157"/>
                <a:gd name="T23" fmla="*/ 118 h 232"/>
                <a:gd name="T24" fmla="*/ 108 w 157"/>
                <a:gd name="T25" fmla="*/ 118 h 232"/>
                <a:gd name="T26" fmla="*/ 128 w 157"/>
                <a:gd name="T27" fmla="*/ 124 h 232"/>
                <a:gd name="T28" fmla="*/ 135 w 157"/>
                <a:gd name="T29" fmla="*/ 129 h 232"/>
                <a:gd name="T30" fmla="*/ 139 w 157"/>
                <a:gd name="T31" fmla="*/ 137 h 232"/>
                <a:gd name="T32" fmla="*/ 145 w 157"/>
                <a:gd name="T33" fmla="*/ 157 h 232"/>
                <a:gd name="T34" fmla="*/ 146 w 157"/>
                <a:gd name="T35" fmla="*/ 188 h 232"/>
                <a:gd name="T36" fmla="*/ 147 w 157"/>
                <a:gd name="T37" fmla="*/ 205 h 232"/>
                <a:gd name="T38" fmla="*/ 150 w 157"/>
                <a:gd name="T39" fmla="*/ 221 h 232"/>
                <a:gd name="T40" fmla="*/ 154 w 157"/>
                <a:gd name="T41" fmla="*/ 228 h 232"/>
                <a:gd name="T42" fmla="*/ 157 w 157"/>
                <a:gd name="T43" fmla="*/ 232 h 232"/>
                <a:gd name="T44" fmla="*/ 106 w 157"/>
                <a:gd name="T45" fmla="*/ 232 h 232"/>
                <a:gd name="T46" fmla="*/ 101 w 157"/>
                <a:gd name="T47" fmla="*/ 221 h 232"/>
                <a:gd name="T48" fmla="*/ 100 w 157"/>
                <a:gd name="T49" fmla="*/ 208 h 232"/>
                <a:gd name="T50" fmla="*/ 99 w 157"/>
                <a:gd name="T51" fmla="*/ 163 h 232"/>
                <a:gd name="T52" fmla="*/ 97 w 157"/>
                <a:gd name="T53" fmla="*/ 151 h 232"/>
                <a:gd name="T54" fmla="*/ 92 w 157"/>
                <a:gd name="T55" fmla="*/ 142 h 232"/>
                <a:gd name="T56" fmla="*/ 83 w 157"/>
                <a:gd name="T57" fmla="*/ 136 h 232"/>
                <a:gd name="T58" fmla="*/ 71 w 157"/>
                <a:gd name="T59" fmla="*/ 134 h 232"/>
                <a:gd name="T60" fmla="*/ 47 w 157"/>
                <a:gd name="T61" fmla="*/ 232 h 232"/>
                <a:gd name="T62" fmla="*/ 0 w 157"/>
                <a:gd name="T63" fmla="*/ 0 h 232"/>
                <a:gd name="T64" fmla="*/ 66 w 157"/>
                <a:gd name="T65" fmla="*/ 101 h 232"/>
                <a:gd name="T66" fmla="*/ 74 w 157"/>
                <a:gd name="T67" fmla="*/ 101 h 232"/>
                <a:gd name="T68" fmla="*/ 87 w 157"/>
                <a:gd name="T69" fmla="*/ 97 h 232"/>
                <a:gd name="T70" fmla="*/ 95 w 157"/>
                <a:gd name="T71" fmla="*/ 89 h 232"/>
                <a:gd name="T72" fmla="*/ 100 w 157"/>
                <a:gd name="T73" fmla="*/ 75 h 232"/>
                <a:gd name="T74" fmla="*/ 100 w 157"/>
                <a:gd name="T75" fmla="*/ 67 h 232"/>
                <a:gd name="T76" fmla="*/ 98 w 157"/>
                <a:gd name="T77" fmla="*/ 53 h 232"/>
                <a:gd name="T78" fmla="*/ 92 w 157"/>
                <a:gd name="T79" fmla="*/ 43 h 232"/>
                <a:gd name="T80" fmla="*/ 82 w 157"/>
                <a:gd name="T81" fmla="*/ 37 h 232"/>
                <a:gd name="T82" fmla="*/ 68 w 157"/>
                <a:gd name="T83" fmla="*/ 34 h 232"/>
                <a:gd name="T84" fmla="*/ 47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6" y="0"/>
                  </a:lnTo>
                  <a:lnTo>
                    <a:pt x="86" y="0"/>
                  </a:lnTo>
                  <a:lnTo>
                    <a:pt x="99" y="1"/>
                  </a:lnTo>
                  <a:lnTo>
                    <a:pt x="112" y="4"/>
                  </a:lnTo>
                  <a:lnTo>
                    <a:pt x="123" y="9"/>
                  </a:lnTo>
                  <a:lnTo>
                    <a:pt x="127" y="12"/>
                  </a:lnTo>
                  <a:lnTo>
                    <a:pt x="131" y="15"/>
                  </a:lnTo>
                  <a:lnTo>
                    <a:pt x="135" y="19"/>
                  </a:lnTo>
                  <a:lnTo>
                    <a:pt x="138" y="23"/>
                  </a:lnTo>
                  <a:lnTo>
                    <a:pt x="141" y="28"/>
                  </a:lnTo>
                  <a:lnTo>
                    <a:pt x="143" y="33"/>
                  </a:lnTo>
                  <a:lnTo>
                    <a:pt x="145" y="40"/>
                  </a:lnTo>
                  <a:lnTo>
                    <a:pt x="147" y="46"/>
                  </a:lnTo>
                  <a:lnTo>
                    <a:pt x="148" y="60"/>
                  </a:lnTo>
                  <a:lnTo>
                    <a:pt x="148" y="60"/>
                  </a:lnTo>
                  <a:lnTo>
                    <a:pt x="147" y="71"/>
                  </a:lnTo>
                  <a:lnTo>
                    <a:pt x="145" y="81"/>
                  </a:lnTo>
                  <a:lnTo>
                    <a:pt x="142" y="90"/>
                  </a:lnTo>
                  <a:lnTo>
                    <a:pt x="138" y="98"/>
                  </a:lnTo>
                  <a:lnTo>
                    <a:pt x="133" y="104"/>
                  </a:lnTo>
                  <a:lnTo>
                    <a:pt x="126" y="110"/>
                  </a:lnTo>
                  <a:lnTo>
                    <a:pt x="119" y="114"/>
                  </a:lnTo>
                  <a:lnTo>
                    <a:pt x="108" y="118"/>
                  </a:lnTo>
                  <a:lnTo>
                    <a:pt x="108" y="118"/>
                  </a:lnTo>
                  <a:lnTo>
                    <a:pt x="108" y="118"/>
                  </a:lnTo>
                  <a:lnTo>
                    <a:pt x="120" y="120"/>
                  </a:lnTo>
                  <a:lnTo>
                    <a:pt x="128" y="124"/>
                  </a:lnTo>
                  <a:lnTo>
                    <a:pt x="132" y="126"/>
                  </a:lnTo>
                  <a:lnTo>
                    <a:pt x="135" y="129"/>
                  </a:lnTo>
                  <a:lnTo>
                    <a:pt x="137" y="133"/>
                  </a:lnTo>
                  <a:lnTo>
                    <a:pt x="139" y="137"/>
                  </a:lnTo>
                  <a:lnTo>
                    <a:pt x="143" y="146"/>
                  </a:lnTo>
                  <a:lnTo>
                    <a:pt x="145" y="157"/>
                  </a:lnTo>
                  <a:lnTo>
                    <a:pt x="146" y="171"/>
                  </a:lnTo>
                  <a:lnTo>
                    <a:pt x="146" y="188"/>
                  </a:lnTo>
                  <a:lnTo>
                    <a:pt x="146" y="188"/>
                  </a:lnTo>
                  <a:lnTo>
                    <a:pt x="147" y="205"/>
                  </a:lnTo>
                  <a:lnTo>
                    <a:pt x="148" y="217"/>
                  </a:lnTo>
                  <a:lnTo>
                    <a:pt x="150" y="221"/>
                  </a:lnTo>
                  <a:lnTo>
                    <a:pt x="151" y="225"/>
                  </a:lnTo>
                  <a:lnTo>
                    <a:pt x="154" y="228"/>
                  </a:lnTo>
                  <a:lnTo>
                    <a:pt x="157" y="230"/>
                  </a:lnTo>
                  <a:lnTo>
                    <a:pt x="157" y="232"/>
                  </a:lnTo>
                  <a:lnTo>
                    <a:pt x="106" y="232"/>
                  </a:lnTo>
                  <a:lnTo>
                    <a:pt x="106" y="232"/>
                  </a:lnTo>
                  <a:lnTo>
                    <a:pt x="103" y="227"/>
                  </a:lnTo>
                  <a:lnTo>
                    <a:pt x="101" y="221"/>
                  </a:lnTo>
                  <a:lnTo>
                    <a:pt x="100" y="215"/>
                  </a:lnTo>
                  <a:lnTo>
                    <a:pt x="100" y="208"/>
                  </a:lnTo>
                  <a:lnTo>
                    <a:pt x="99" y="163"/>
                  </a:lnTo>
                  <a:lnTo>
                    <a:pt x="99" y="163"/>
                  </a:lnTo>
                  <a:lnTo>
                    <a:pt x="98" y="157"/>
                  </a:lnTo>
                  <a:lnTo>
                    <a:pt x="97" y="151"/>
                  </a:lnTo>
                  <a:lnTo>
                    <a:pt x="95" y="146"/>
                  </a:lnTo>
                  <a:lnTo>
                    <a:pt x="92" y="142"/>
                  </a:lnTo>
                  <a:lnTo>
                    <a:pt x="88" y="139"/>
                  </a:lnTo>
                  <a:lnTo>
                    <a:pt x="83" y="136"/>
                  </a:lnTo>
                  <a:lnTo>
                    <a:pt x="78" y="135"/>
                  </a:lnTo>
                  <a:lnTo>
                    <a:pt x="71" y="134"/>
                  </a:lnTo>
                  <a:lnTo>
                    <a:pt x="47" y="134"/>
                  </a:lnTo>
                  <a:lnTo>
                    <a:pt x="47" y="232"/>
                  </a:lnTo>
                  <a:lnTo>
                    <a:pt x="0" y="232"/>
                  </a:lnTo>
                  <a:lnTo>
                    <a:pt x="0" y="0"/>
                  </a:lnTo>
                  <a:close/>
                  <a:moveTo>
                    <a:pt x="47" y="101"/>
                  </a:moveTo>
                  <a:lnTo>
                    <a:pt x="66" y="101"/>
                  </a:lnTo>
                  <a:lnTo>
                    <a:pt x="66" y="101"/>
                  </a:lnTo>
                  <a:lnTo>
                    <a:pt x="74" y="101"/>
                  </a:lnTo>
                  <a:lnTo>
                    <a:pt x="81" y="99"/>
                  </a:lnTo>
                  <a:lnTo>
                    <a:pt x="87" y="97"/>
                  </a:lnTo>
                  <a:lnTo>
                    <a:pt x="91" y="93"/>
                  </a:lnTo>
                  <a:lnTo>
                    <a:pt x="95" y="89"/>
                  </a:lnTo>
                  <a:lnTo>
                    <a:pt x="98" y="83"/>
                  </a:lnTo>
                  <a:lnTo>
                    <a:pt x="100" y="75"/>
                  </a:lnTo>
                  <a:lnTo>
                    <a:pt x="100" y="67"/>
                  </a:lnTo>
                  <a:lnTo>
                    <a:pt x="100" y="67"/>
                  </a:lnTo>
                  <a:lnTo>
                    <a:pt x="100" y="59"/>
                  </a:lnTo>
                  <a:lnTo>
                    <a:pt x="98" y="53"/>
                  </a:lnTo>
                  <a:lnTo>
                    <a:pt x="96" y="48"/>
                  </a:lnTo>
                  <a:lnTo>
                    <a:pt x="92" y="43"/>
                  </a:lnTo>
                  <a:lnTo>
                    <a:pt x="88" y="40"/>
                  </a:lnTo>
                  <a:lnTo>
                    <a:pt x="82" y="37"/>
                  </a:lnTo>
                  <a:lnTo>
                    <a:pt x="76" y="35"/>
                  </a:lnTo>
                  <a:lnTo>
                    <a:pt x="68" y="34"/>
                  </a:lnTo>
                  <a:lnTo>
                    <a:pt x="47" y="34"/>
                  </a:lnTo>
                  <a:lnTo>
                    <a:pt x="47" y="101"/>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17" name="Freeform 7"/>
            <p:cNvSpPr>
              <a:spLocks noEditPoints="1"/>
            </p:cNvSpPr>
            <p:nvPr userDrawn="1"/>
          </p:nvSpPr>
          <p:spPr bwMode="auto">
            <a:xfrm>
              <a:off x="7904163" y="4803775"/>
              <a:ext cx="84138" cy="127000"/>
            </a:xfrm>
            <a:custGeom>
              <a:avLst/>
              <a:gdLst>
                <a:gd name="T0" fmla="*/ 79 w 158"/>
                <a:gd name="T1" fmla="*/ 0 h 240"/>
                <a:gd name="T2" fmla="*/ 102 w 158"/>
                <a:gd name="T3" fmla="*/ 2 h 240"/>
                <a:gd name="T4" fmla="*/ 122 w 158"/>
                <a:gd name="T5" fmla="*/ 8 h 240"/>
                <a:gd name="T6" fmla="*/ 135 w 158"/>
                <a:gd name="T7" fmla="*/ 19 h 240"/>
                <a:gd name="T8" fmla="*/ 145 w 158"/>
                <a:gd name="T9" fmla="*/ 33 h 240"/>
                <a:gd name="T10" fmla="*/ 152 w 158"/>
                <a:gd name="T11" fmla="*/ 51 h 240"/>
                <a:gd name="T12" fmla="*/ 156 w 158"/>
                <a:gd name="T13" fmla="*/ 72 h 240"/>
                <a:gd name="T14" fmla="*/ 158 w 158"/>
                <a:gd name="T15" fmla="*/ 121 h 240"/>
                <a:gd name="T16" fmla="*/ 158 w 158"/>
                <a:gd name="T17" fmla="*/ 146 h 240"/>
                <a:gd name="T18" fmla="*/ 154 w 158"/>
                <a:gd name="T19" fmla="*/ 179 h 240"/>
                <a:gd name="T20" fmla="*/ 149 w 158"/>
                <a:gd name="T21" fmla="*/ 198 h 240"/>
                <a:gd name="T22" fmla="*/ 141 w 158"/>
                <a:gd name="T23" fmla="*/ 215 h 240"/>
                <a:gd name="T24" fmla="*/ 129 w 158"/>
                <a:gd name="T25" fmla="*/ 227 h 240"/>
                <a:gd name="T26" fmla="*/ 113 w 158"/>
                <a:gd name="T27" fmla="*/ 235 h 240"/>
                <a:gd name="T28" fmla="*/ 92 w 158"/>
                <a:gd name="T29" fmla="*/ 240 h 240"/>
                <a:gd name="T30" fmla="*/ 79 w 158"/>
                <a:gd name="T31" fmla="*/ 240 h 240"/>
                <a:gd name="T32" fmla="*/ 56 w 158"/>
                <a:gd name="T33" fmla="*/ 238 h 240"/>
                <a:gd name="T34" fmla="*/ 38 w 158"/>
                <a:gd name="T35" fmla="*/ 232 h 240"/>
                <a:gd name="T36" fmla="*/ 24 w 158"/>
                <a:gd name="T37" fmla="*/ 221 h 240"/>
                <a:gd name="T38" fmla="*/ 13 w 158"/>
                <a:gd name="T39" fmla="*/ 207 h 240"/>
                <a:gd name="T40" fmla="*/ 7 w 158"/>
                <a:gd name="T41" fmla="*/ 189 h 240"/>
                <a:gd name="T42" fmla="*/ 3 w 158"/>
                <a:gd name="T43" fmla="*/ 168 h 240"/>
                <a:gd name="T44" fmla="*/ 0 w 158"/>
                <a:gd name="T45" fmla="*/ 121 h 240"/>
                <a:gd name="T46" fmla="*/ 1 w 158"/>
                <a:gd name="T47" fmla="*/ 94 h 240"/>
                <a:gd name="T48" fmla="*/ 5 w 158"/>
                <a:gd name="T49" fmla="*/ 61 h 240"/>
                <a:gd name="T50" fmla="*/ 10 w 158"/>
                <a:gd name="T51" fmla="*/ 42 h 240"/>
                <a:gd name="T52" fmla="*/ 18 w 158"/>
                <a:gd name="T53" fmla="*/ 26 h 240"/>
                <a:gd name="T54" fmla="*/ 31 w 158"/>
                <a:gd name="T55" fmla="*/ 13 h 240"/>
                <a:gd name="T56" fmla="*/ 46 w 158"/>
                <a:gd name="T57" fmla="*/ 5 h 240"/>
                <a:gd name="T58" fmla="*/ 67 w 158"/>
                <a:gd name="T59" fmla="*/ 0 h 240"/>
                <a:gd name="T60" fmla="*/ 79 w 158"/>
                <a:gd name="T61" fmla="*/ 0 h 240"/>
                <a:gd name="T62" fmla="*/ 79 w 158"/>
                <a:gd name="T63" fmla="*/ 206 h 240"/>
                <a:gd name="T64" fmla="*/ 88 w 158"/>
                <a:gd name="T65" fmla="*/ 205 h 240"/>
                <a:gd name="T66" fmla="*/ 96 w 158"/>
                <a:gd name="T67" fmla="*/ 202 h 240"/>
                <a:gd name="T68" fmla="*/ 101 w 158"/>
                <a:gd name="T69" fmla="*/ 195 h 240"/>
                <a:gd name="T70" fmla="*/ 106 w 158"/>
                <a:gd name="T71" fmla="*/ 186 h 240"/>
                <a:gd name="T72" fmla="*/ 111 w 158"/>
                <a:gd name="T73" fmla="*/ 160 h 240"/>
                <a:gd name="T74" fmla="*/ 112 w 158"/>
                <a:gd name="T75" fmla="*/ 121 h 240"/>
                <a:gd name="T76" fmla="*/ 112 w 158"/>
                <a:gd name="T77" fmla="*/ 98 h 240"/>
                <a:gd name="T78" fmla="*/ 109 w 158"/>
                <a:gd name="T79" fmla="*/ 66 h 240"/>
                <a:gd name="T80" fmla="*/ 103 w 158"/>
                <a:gd name="T81" fmla="*/ 49 h 240"/>
                <a:gd name="T82" fmla="*/ 99 w 158"/>
                <a:gd name="T83" fmla="*/ 42 h 240"/>
                <a:gd name="T84" fmla="*/ 92 w 158"/>
                <a:gd name="T85" fmla="*/ 36 h 240"/>
                <a:gd name="T86" fmla="*/ 84 w 158"/>
                <a:gd name="T87" fmla="*/ 34 h 240"/>
                <a:gd name="T88" fmla="*/ 79 w 158"/>
                <a:gd name="T89" fmla="*/ 34 h 240"/>
                <a:gd name="T90" fmla="*/ 70 w 158"/>
                <a:gd name="T91" fmla="*/ 35 h 240"/>
                <a:gd name="T92" fmla="*/ 63 w 158"/>
                <a:gd name="T93" fmla="*/ 38 h 240"/>
                <a:gd name="T94" fmla="*/ 57 w 158"/>
                <a:gd name="T95" fmla="*/ 45 h 240"/>
                <a:gd name="T96" fmla="*/ 53 w 158"/>
                <a:gd name="T97" fmla="*/ 54 h 240"/>
                <a:gd name="T98" fmla="*/ 49 w 158"/>
                <a:gd name="T99" fmla="*/ 80 h 240"/>
                <a:gd name="T100" fmla="*/ 48 w 158"/>
                <a:gd name="T101" fmla="*/ 121 h 240"/>
                <a:gd name="T102" fmla="*/ 48 w 158"/>
                <a:gd name="T103" fmla="*/ 142 h 240"/>
                <a:gd name="T104" fmla="*/ 50 w 158"/>
                <a:gd name="T105" fmla="*/ 174 h 240"/>
                <a:gd name="T106" fmla="*/ 55 w 158"/>
                <a:gd name="T107" fmla="*/ 191 h 240"/>
                <a:gd name="T108" fmla="*/ 60 w 158"/>
                <a:gd name="T109" fmla="*/ 198 h 240"/>
                <a:gd name="T110" fmla="*/ 66 w 158"/>
                <a:gd name="T111" fmla="*/ 204 h 240"/>
                <a:gd name="T112" fmla="*/ 74 w 158"/>
                <a:gd name="T113" fmla="*/ 206 h 240"/>
                <a:gd name="T114" fmla="*/ 79 w 158"/>
                <a:gd name="T115" fmla="*/ 2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240">
                  <a:moveTo>
                    <a:pt x="79" y="0"/>
                  </a:moveTo>
                  <a:lnTo>
                    <a:pt x="79" y="0"/>
                  </a:lnTo>
                  <a:lnTo>
                    <a:pt x="92" y="0"/>
                  </a:lnTo>
                  <a:lnTo>
                    <a:pt x="102" y="2"/>
                  </a:lnTo>
                  <a:lnTo>
                    <a:pt x="113" y="5"/>
                  </a:lnTo>
                  <a:lnTo>
                    <a:pt x="122" y="8"/>
                  </a:lnTo>
                  <a:lnTo>
                    <a:pt x="129" y="13"/>
                  </a:lnTo>
                  <a:lnTo>
                    <a:pt x="135" y="19"/>
                  </a:lnTo>
                  <a:lnTo>
                    <a:pt x="141" y="26"/>
                  </a:lnTo>
                  <a:lnTo>
                    <a:pt x="145" y="33"/>
                  </a:lnTo>
                  <a:lnTo>
                    <a:pt x="149" y="42"/>
                  </a:lnTo>
                  <a:lnTo>
                    <a:pt x="152" y="51"/>
                  </a:lnTo>
                  <a:lnTo>
                    <a:pt x="154" y="61"/>
                  </a:lnTo>
                  <a:lnTo>
                    <a:pt x="156" y="72"/>
                  </a:lnTo>
                  <a:lnTo>
                    <a:pt x="158" y="94"/>
                  </a:lnTo>
                  <a:lnTo>
                    <a:pt x="158" y="121"/>
                  </a:lnTo>
                  <a:lnTo>
                    <a:pt x="158" y="121"/>
                  </a:lnTo>
                  <a:lnTo>
                    <a:pt x="158" y="146"/>
                  </a:lnTo>
                  <a:lnTo>
                    <a:pt x="156" y="168"/>
                  </a:lnTo>
                  <a:lnTo>
                    <a:pt x="154" y="179"/>
                  </a:lnTo>
                  <a:lnTo>
                    <a:pt x="152" y="189"/>
                  </a:lnTo>
                  <a:lnTo>
                    <a:pt x="149" y="198"/>
                  </a:lnTo>
                  <a:lnTo>
                    <a:pt x="145" y="207"/>
                  </a:lnTo>
                  <a:lnTo>
                    <a:pt x="141" y="215"/>
                  </a:lnTo>
                  <a:lnTo>
                    <a:pt x="135" y="221"/>
                  </a:lnTo>
                  <a:lnTo>
                    <a:pt x="129" y="227"/>
                  </a:lnTo>
                  <a:lnTo>
                    <a:pt x="122" y="232"/>
                  </a:lnTo>
                  <a:lnTo>
                    <a:pt x="113" y="235"/>
                  </a:lnTo>
                  <a:lnTo>
                    <a:pt x="102" y="238"/>
                  </a:lnTo>
                  <a:lnTo>
                    <a:pt x="92" y="240"/>
                  </a:lnTo>
                  <a:lnTo>
                    <a:pt x="79" y="240"/>
                  </a:lnTo>
                  <a:lnTo>
                    <a:pt x="79" y="240"/>
                  </a:lnTo>
                  <a:lnTo>
                    <a:pt x="67" y="240"/>
                  </a:lnTo>
                  <a:lnTo>
                    <a:pt x="56" y="238"/>
                  </a:lnTo>
                  <a:lnTo>
                    <a:pt x="46" y="235"/>
                  </a:lnTo>
                  <a:lnTo>
                    <a:pt x="38" y="232"/>
                  </a:lnTo>
                  <a:lnTo>
                    <a:pt x="31" y="227"/>
                  </a:lnTo>
                  <a:lnTo>
                    <a:pt x="24" y="221"/>
                  </a:lnTo>
                  <a:lnTo>
                    <a:pt x="18" y="215"/>
                  </a:lnTo>
                  <a:lnTo>
                    <a:pt x="13" y="207"/>
                  </a:lnTo>
                  <a:lnTo>
                    <a:pt x="10" y="198"/>
                  </a:lnTo>
                  <a:lnTo>
                    <a:pt x="7" y="189"/>
                  </a:lnTo>
                  <a:lnTo>
                    <a:pt x="5" y="179"/>
                  </a:lnTo>
                  <a:lnTo>
                    <a:pt x="3" y="168"/>
                  </a:lnTo>
                  <a:lnTo>
                    <a:pt x="1" y="146"/>
                  </a:lnTo>
                  <a:lnTo>
                    <a:pt x="0" y="121"/>
                  </a:lnTo>
                  <a:lnTo>
                    <a:pt x="0" y="121"/>
                  </a:lnTo>
                  <a:lnTo>
                    <a:pt x="1" y="94"/>
                  </a:lnTo>
                  <a:lnTo>
                    <a:pt x="3" y="72"/>
                  </a:lnTo>
                  <a:lnTo>
                    <a:pt x="5" y="61"/>
                  </a:lnTo>
                  <a:lnTo>
                    <a:pt x="7" y="51"/>
                  </a:lnTo>
                  <a:lnTo>
                    <a:pt x="10" y="42"/>
                  </a:lnTo>
                  <a:lnTo>
                    <a:pt x="13" y="33"/>
                  </a:lnTo>
                  <a:lnTo>
                    <a:pt x="18" y="26"/>
                  </a:lnTo>
                  <a:lnTo>
                    <a:pt x="24" y="19"/>
                  </a:lnTo>
                  <a:lnTo>
                    <a:pt x="31" y="13"/>
                  </a:lnTo>
                  <a:lnTo>
                    <a:pt x="38" y="8"/>
                  </a:lnTo>
                  <a:lnTo>
                    <a:pt x="46" y="5"/>
                  </a:lnTo>
                  <a:lnTo>
                    <a:pt x="56" y="2"/>
                  </a:lnTo>
                  <a:lnTo>
                    <a:pt x="67" y="0"/>
                  </a:lnTo>
                  <a:lnTo>
                    <a:pt x="79" y="0"/>
                  </a:lnTo>
                  <a:lnTo>
                    <a:pt x="79" y="0"/>
                  </a:lnTo>
                  <a:close/>
                  <a:moveTo>
                    <a:pt x="79" y="206"/>
                  </a:moveTo>
                  <a:lnTo>
                    <a:pt x="79" y="206"/>
                  </a:lnTo>
                  <a:lnTo>
                    <a:pt x="84" y="206"/>
                  </a:lnTo>
                  <a:lnTo>
                    <a:pt x="88" y="205"/>
                  </a:lnTo>
                  <a:lnTo>
                    <a:pt x="92" y="204"/>
                  </a:lnTo>
                  <a:lnTo>
                    <a:pt x="96" y="202"/>
                  </a:lnTo>
                  <a:lnTo>
                    <a:pt x="99" y="198"/>
                  </a:lnTo>
                  <a:lnTo>
                    <a:pt x="101" y="195"/>
                  </a:lnTo>
                  <a:lnTo>
                    <a:pt x="103" y="191"/>
                  </a:lnTo>
                  <a:lnTo>
                    <a:pt x="106" y="186"/>
                  </a:lnTo>
                  <a:lnTo>
                    <a:pt x="109" y="174"/>
                  </a:lnTo>
                  <a:lnTo>
                    <a:pt x="111" y="160"/>
                  </a:lnTo>
                  <a:lnTo>
                    <a:pt x="112" y="142"/>
                  </a:lnTo>
                  <a:lnTo>
                    <a:pt x="112" y="121"/>
                  </a:lnTo>
                  <a:lnTo>
                    <a:pt x="112" y="121"/>
                  </a:lnTo>
                  <a:lnTo>
                    <a:pt x="112" y="98"/>
                  </a:lnTo>
                  <a:lnTo>
                    <a:pt x="111" y="80"/>
                  </a:lnTo>
                  <a:lnTo>
                    <a:pt x="109" y="66"/>
                  </a:lnTo>
                  <a:lnTo>
                    <a:pt x="106" y="54"/>
                  </a:lnTo>
                  <a:lnTo>
                    <a:pt x="103" y="49"/>
                  </a:lnTo>
                  <a:lnTo>
                    <a:pt x="101" y="45"/>
                  </a:lnTo>
                  <a:lnTo>
                    <a:pt x="99" y="42"/>
                  </a:lnTo>
                  <a:lnTo>
                    <a:pt x="96" y="38"/>
                  </a:lnTo>
                  <a:lnTo>
                    <a:pt x="92" y="36"/>
                  </a:lnTo>
                  <a:lnTo>
                    <a:pt x="88" y="35"/>
                  </a:lnTo>
                  <a:lnTo>
                    <a:pt x="84" y="34"/>
                  </a:lnTo>
                  <a:lnTo>
                    <a:pt x="79" y="34"/>
                  </a:lnTo>
                  <a:lnTo>
                    <a:pt x="79" y="34"/>
                  </a:lnTo>
                  <a:lnTo>
                    <a:pt x="74" y="34"/>
                  </a:lnTo>
                  <a:lnTo>
                    <a:pt x="70" y="35"/>
                  </a:lnTo>
                  <a:lnTo>
                    <a:pt x="66" y="36"/>
                  </a:lnTo>
                  <a:lnTo>
                    <a:pt x="63" y="38"/>
                  </a:lnTo>
                  <a:lnTo>
                    <a:pt x="60" y="42"/>
                  </a:lnTo>
                  <a:lnTo>
                    <a:pt x="57" y="45"/>
                  </a:lnTo>
                  <a:lnTo>
                    <a:pt x="55" y="49"/>
                  </a:lnTo>
                  <a:lnTo>
                    <a:pt x="53" y="54"/>
                  </a:lnTo>
                  <a:lnTo>
                    <a:pt x="50" y="66"/>
                  </a:lnTo>
                  <a:lnTo>
                    <a:pt x="49" y="80"/>
                  </a:lnTo>
                  <a:lnTo>
                    <a:pt x="48" y="98"/>
                  </a:lnTo>
                  <a:lnTo>
                    <a:pt x="48" y="121"/>
                  </a:lnTo>
                  <a:lnTo>
                    <a:pt x="48" y="121"/>
                  </a:lnTo>
                  <a:lnTo>
                    <a:pt x="48" y="142"/>
                  </a:lnTo>
                  <a:lnTo>
                    <a:pt x="49" y="160"/>
                  </a:lnTo>
                  <a:lnTo>
                    <a:pt x="50" y="174"/>
                  </a:lnTo>
                  <a:lnTo>
                    <a:pt x="53" y="186"/>
                  </a:lnTo>
                  <a:lnTo>
                    <a:pt x="55" y="191"/>
                  </a:lnTo>
                  <a:lnTo>
                    <a:pt x="57" y="195"/>
                  </a:lnTo>
                  <a:lnTo>
                    <a:pt x="60" y="198"/>
                  </a:lnTo>
                  <a:lnTo>
                    <a:pt x="63" y="202"/>
                  </a:lnTo>
                  <a:lnTo>
                    <a:pt x="66" y="204"/>
                  </a:lnTo>
                  <a:lnTo>
                    <a:pt x="70" y="205"/>
                  </a:lnTo>
                  <a:lnTo>
                    <a:pt x="74" y="206"/>
                  </a:lnTo>
                  <a:lnTo>
                    <a:pt x="79" y="206"/>
                  </a:lnTo>
                  <a:lnTo>
                    <a:pt x="79" y="206"/>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18" name="Freeform 8"/>
            <p:cNvSpPr>
              <a:spLocks/>
            </p:cNvSpPr>
            <p:nvPr userDrawn="1"/>
          </p:nvSpPr>
          <p:spPr bwMode="auto">
            <a:xfrm>
              <a:off x="8002588" y="4805363"/>
              <a:ext cx="77788" cy="125413"/>
            </a:xfrm>
            <a:custGeom>
              <a:avLst/>
              <a:gdLst>
                <a:gd name="T0" fmla="*/ 47 w 148"/>
                <a:gd name="T1" fmla="*/ 0 h 236"/>
                <a:gd name="T2" fmla="*/ 47 w 148"/>
                <a:gd name="T3" fmla="*/ 162 h 236"/>
                <a:gd name="T4" fmla="*/ 47 w 148"/>
                <a:gd name="T5" fmla="*/ 162 h 236"/>
                <a:gd name="T6" fmla="*/ 47 w 148"/>
                <a:gd name="T7" fmla="*/ 170 h 236"/>
                <a:gd name="T8" fmla="*/ 48 w 148"/>
                <a:gd name="T9" fmla="*/ 178 h 236"/>
                <a:gd name="T10" fmla="*/ 50 w 148"/>
                <a:gd name="T11" fmla="*/ 184 h 236"/>
                <a:gd name="T12" fmla="*/ 52 w 148"/>
                <a:gd name="T13" fmla="*/ 190 h 236"/>
                <a:gd name="T14" fmla="*/ 56 w 148"/>
                <a:gd name="T15" fmla="*/ 195 h 236"/>
                <a:gd name="T16" fmla="*/ 60 w 148"/>
                <a:gd name="T17" fmla="*/ 199 h 236"/>
                <a:gd name="T18" fmla="*/ 66 w 148"/>
                <a:gd name="T19" fmla="*/ 202 h 236"/>
                <a:gd name="T20" fmla="*/ 74 w 148"/>
                <a:gd name="T21" fmla="*/ 202 h 236"/>
                <a:gd name="T22" fmla="*/ 74 w 148"/>
                <a:gd name="T23" fmla="*/ 202 h 236"/>
                <a:gd name="T24" fmla="*/ 81 w 148"/>
                <a:gd name="T25" fmla="*/ 202 h 236"/>
                <a:gd name="T26" fmla="*/ 87 w 148"/>
                <a:gd name="T27" fmla="*/ 199 h 236"/>
                <a:gd name="T28" fmla="*/ 93 w 148"/>
                <a:gd name="T29" fmla="*/ 195 h 236"/>
                <a:gd name="T30" fmla="*/ 96 w 148"/>
                <a:gd name="T31" fmla="*/ 190 h 236"/>
                <a:gd name="T32" fmla="*/ 99 w 148"/>
                <a:gd name="T33" fmla="*/ 184 h 236"/>
                <a:gd name="T34" fmla="*/ 100 w 148"/>
                <a:gd name="T35" fmla="*/ 178 h 236"/>
                <a:gd name="T36" fmla="*/ 101 w 148"/>
                <a:gd name="T37" fmla="*/ 170 h 236"/>
                <a:gd name="T38" fmla="*/ 102 w 148"/>
                <a:gd name="T39" fmla="*/ 162 h 236"/>
                <a:gd name="T40" fmla="*/ 102 w 148"/>
                <a:gd name="T41" fmla="*/ 0 h 236"/>
                <a:gd name="T42" fmla="*/ 148 w 148"/>
                <a:gd name="T43" fmla="*/ 0 h 236"/>
                <a:gd name="T44" fmla="*/ 148 w 148"/>
                <a:gd name="T45" fmla="*/ 162 h 236"/>
                <a:gd name="T46" fmla="*/ 148 w 148"/>
                <a:gd name="T47" fmla="*/ 162 h 236"/>
                <a:gd name="T48" fmla="*/ 147 w 148"/>
                <a:gd name="T49" fmla="*/ 172 h 236"/>
                <a:gd name="T50" fmla="*/ 146 w 148"/>
                <a:gd name="T51" fmla="*/ 182 h 236"/>
                <a:gd name="T52" fmla="*/ 144 w 148"/>
                <a:gd name="T53" fmla="*/ 190 h 236"/>
                <a:gd name="T54" fmla="*/ 142 w 148"/>
                <a:gd name="T55" fmla="*/ 199 h 236"/>
                <a:gd name="T56" fmla="*/ 138 w 148"/>
                <a:gd name="T57" fmla="*/ 206 h 236"/>
                <a:gd name="T58" fmla="*/ 135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9 w 148"/>
                <a:gd name="T73" fmla="*/ 236 h 236"/>
                <a:gd name="T74" fmla="*/ 74 w 148"/>
                <a:gd name="T75" fmla="*/ 236 h 236"/>
                <a:gd name="T76" fmla="*/ 74 w 148"/>
                <a:gd name="T77" fmla="*/ 236 h 236"/>
                <a:gd name="T78" fmla="*/ 60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7 w 148"/>
                <a:gd name="T97" fmla="*/ 200 h 236"/>
                <a:gd name="T98" fmla="*/ 4 w 148"/>
                <a:gd name="T99" fmla="*/ 191 h 236"/>
                <a:gd name="T100" fmla="*/ 1 w 148"/>
                <a:gd name="T101" fmla="*/ 182 h 236"/>
                <a:gd name="T102" fmla="*/ 0 w 148"/>
                <a:gd name="T103" fmla="*/ 173 h 236"/>
                <a:gd name="T104" fmla="*/ 0 w 148"/>
                <a:gd name="T105" fmla="*/ 162 h 236"/>
                <a:gd name="T106" fmla="*/ 0 w 148"/>
                <a:gd name="T107" fmla="*/ 0 h 236"/>
                <a:gd name="T108" fmla="*/ 47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7" y="0"/>
                  </a:moveTo>
                  <a:lnTo>
                    <a:pt x="47" y="162"/>
                  </a:lnTo>
                  <a:lnTo>
                    <a:pt x="47" y="162"/>
                  </a:lnTo>
                  <a:lnTo>
                    <a:pt x="47" y="170"/>
                  </a:lnTo>
                  <a:lnTo>
                    <a:pt x="48" y="178"/>
                  </a:lnTo>
                  <a:lnTo>
                    <a:pt x="50" y="184"/>
                  </a:lnTo>
                  <a:lnTo>
                    <a:pt x="52" y="190"/>
                  </a:lnTo>
                  <a:lnTo>
                    <a:pt x="56" y="195"/>
                  </a:lnTo>
                  <a:lnTo>
                    <a:pt x="60" y="199"/>
                  </a:lnTo>
                  <a:lnTo>
                    <a:pt x="66" y="202"/>
                  </a:lnTo>
                  <a:lnTo>
                    <a:pt x="74" y="202"/>
                  </a:lnTo>
                  <a:lnTo>
                    <a:pt x="74" y="202"/>
                  </a:lnTo>
                  <a:lnTo>
                    <a:pt x="81" y="202"/>
                  </a:lnTo>
                  <a:lnTo>
                    <a:pt x="87" y="199"/>
                  </a:lnTo>
                  <a:lnTo>
                    <a:pt x="93" y="195"/>
                  </a:lnTo>
                  <a:lnTo>
                    <a:pt x="96" y="190"/>
                  </a:lnTo>
                  <a:lnTo>
                    <a:pt x="99" y="184"/>
                  </a:lnTo>
                  <a:lnTo>
                    <a:pt x="100" y="178"/>
                  </a:lnTo>
                  <a:lnTo>
                    <a:pt x="101" y="170"/>
                  </a:lnTo>
                  <a:lnTo>
                    <a:pt x="102" y="162"/>
                  </a:lnTo>
                  <a:lnTo>
                    <a:pt x="102" y="0"/>
                  </a:lnTo>
                  <a:lnTo>
                    <a:pt x="148" y="0"/>
                  </a:lnTo>
                  <a:lnTo>
                    <a:pt x="148" y="162"/>
                  </a:lnTo>
                  <a:lnTo>
                    <a:pt x="148" y="162"/>
                  </a:lnTo>
                  <a:lnTo>
                    <a:pt x="147" y="172"/>
                  </a:lnTo>
                  <a:lnTo>
                    <a:pt x="146" y="182"/>
                  </a:lnTo>
                  <a:lnTo>
                    <a:pt x="144" y="190"/>
                  </a:lnTo>
                  <a:lnTo>
                    <a:pt x="142" y="199"/>
                  </a:lnTo>
                  <a:lnTo>
                    <a:pt x="138" y="206"/>
                  </a:lnTo>
                  <a:lnTo>
                    <a:pt x="135" y="212"/>
                  </a:lnTo>
                  <a:lnTo>
                    <a:pt x="130" y="217"/>
                  </a:lnTo>
                  <a:lnTo>
                    <a:pt x="125" y="221"/>
                  </a:lnTo>
                  <a:lnTo>
                    <a:pt x="120" y="225"/>
                  </a:lnTo>
                  <a:lnTo>
                    <a:pt x="114" y="228"/>
                  </a:lnTo>
                  <a:lnTo>
                    <a:pt x="108" y="231"/>
                  </a:lnTo>
                  <a:lnTo>
                    <a:pt x="102" y="233"/>
                  </a:lnTo>
                  <a:lnTo>
                    <a:pt x="89" y="236"/>
                  </a:lnTo>
                  <a:lnTo>
                    <a:pt x="74" y="236"/>
                  </a:lnTo>
                  <a:lnTo>
                    <a:pt x="74" y="236"/>
                  </a:lnTo>
                  <a:lnTo>
                    <a:pt x="60" y="236"/>
                  </a:lnTo>
                  <a:lnTo>
                    <a:pt x="46" y="234"/>
                  </a:lnTo>
                  <a:lnTo>
                    <a:pt x="40" y="232"/>
                  </a:lnTo>
                  <a:lnTo>
                    <a:pt x="34" y="229"/>
                  </a:lnTo>
                  <a:lnTo>
                    <a:pt x="28" y="226"/>
                  </a:lnTo>
                  <a:lnTo>
                    <a:pt x="23" y="223"/>
                  </a:lnTo>
                  <a:lnTo>
                    <a:pt x="18" y="218"/>
                  </a:lnTo>
                  <a:lnTo>
                    <a:pt x="14" y="213"/>
                  </a:lnTo>
                  <a:lnTo>
                    <a:pt x="10" y="207"/>
                  </a:lnTo>
                  <a:lnTo>
                    <a:pt x="7" y="200"/>
                  </a:lnTo>
                  <a:lnTo>
                    <a:pt x="4" y="191"/>
                  </a:lnTo>
                  <a:lnTo>
                    <a:pt x="1" y="182"/>
                  </a:lnTo>
                  <a:lnTo>
                    <a:pt x="0" y="173"/>
                  </a:lnTo>
                  <a:lnTo>
                    <a:pt x="0" y="162"/>
                  </a:lnTo>
                  <a:lnTo>
                    <a:pt x="0" y="0"/>
                  </a:lnTo>
                  <a:lnTo>
                    <a:pt x="4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26" name="Freeform 9"/>
            <p:cNvSpPr>
              <a:spLocks noEditPoints="1"/>
            </p:cNvSpPr>
            <p:nvPr userDrawn="1"/>
          </p:nvSpPr>
          <p:spPr bwMode="auto">
            <a:xfrm>
              <a:off x="8101013" y="4805363"/>
              <a:ext cx="76200" cy="123825"/>
            </a:xfrm>
            <a:custGeom>
              <a:avLst/>
              <a:gdLst>
                <a:gd name="T0" fmla="*/ 0 w 144"/>
                <a:gd name="T1" fmla="*/ 0 h 232"/>
                <a:gd name="T2" fmla="*/ 82 w 144"/>
                <a:gd name="T3" fmla="*/ 0 h 232"/>
                <a:gd name="T4" fmla="*/ 82 w 144"/>
                <a:gd name="T5" fmla="*/ 0 h 232"/>
                <a:gd name="T6" fmla="*/ 90 w 144"/>
                <a:gd name="T7" fmla="*/ 1 h 232"/>
                <a:gd name="T8" fmla="*/ 98 w 144"/>
                <a:gd name="T9" fmla="*/ 2 h 232"/>
                <a:gd name="T10" fmla="*/ 105 w 144"/>
                <a:gd name="T11" fmla="*/ 4 h 232"/>
                <a:gd name="T12" fmla="*/ 111 w 144"/>
                <a:gd name="T13" fmla="*/ 6 h 232"/>
                <a:gd name="T14" fmla="*/ 117 w 144"/>
                <a:gd name="T15" fmla="*/ 9 h 232"/>
                <a:gd name="T16" fmla="*/ 122 w 144"/>
                <a:gd name="T17" fmla="*/ 13 h 232"/>
                <a:gd name="T18" fmla="*/ 127 w 144"/>
                <a:gd name="T19" fmla="*/ 17 h 232"/>
                <a:gd name="T20" fmla="*/ 131 w 144"/>
                <a:gd name="T21" fmla="*/ 22 h 232"/>
                <a:gd name="T22" fmla="*/ 134 w 144"/>
                <a:gd name="T23" fmla="*/ 27 h 232"/>
                <a:gd name="T24" fmla="*/ 137 w 144"/>
                <a:gd name="T25" fmla="*/ 32 h 232"/>
                <a:gd name="T26" fmla="*/ 141 w 144"/>
                <a:gd name="T27" fmla="*/ 45 h 232"/>
                <a:gd name="T28" fmla="*/ 144 w 144"/>
                <a:gd name="T29" fmla="*/ 57 h 232"/>
                <a:gd name="T30" fmla="*/ 144 w 144"/>
                <a:gd name="T31" fmla="*/ 70 h 232"/>
                <a:gd name="T32" fmla="*/ 144 w 144"/>
                <a:gd name="T33" fmla="*/ 70 h 232"/>
                <a:gd name="T34" fmla="*/ 144 w 144"/>
                <a:gd name="T35" fmla="*/ 78 h 232"/>
                <a:gd name="T36" fmla="*/ 143 w 144"/>
                <a:gd name="T37" fmla="*/ 86 h 232"/>
                <a:gd name="T38" fmla="*/ 141 w 144"/>
                <a:gd name="T39" fmla="*/ 94 h 232"/>
                <a:gd name="T40" fmla="*/ 139 w 144"/>
                <a:gd name="T41" fmla="*/ 101 h 232"/>
                <a:gd name="T42" fmla="*/ 136 w 144"/>
                <a:gd name="T43" fmla="*/ 107 h 232"/>
                <a:gd name="T44" fmla="*/ 133 w 144"/>
                <a:gd name="T45" fmla="*/ 112 h 232"/>
                <a:gd name="T46" fmla="*/ 129 w 144"/>
                <a:gd name="T47" fmla="*/ 118 h 232"/>
                <a:gd name="T48" fmla="*/ 124 w 144"/>
                <a:gd name="T49" fmla="*/ 123 h 232"/>
                <a:gd name="T50" fmla="*/ 119 w 144"/>
                <a:gd name="T51" fmla="*/ 127 h 232"/>
                <a:gd name="T52" fmla="*/ 114 w 144"/>
                <a:gd name="T53" fmla="*/ 130 h 232"/>
                <a:gd name="T54" fmla="*/ 108 w 144"/>
                <a:gd name="T55" fmla="*/ 133 h 232"/>
                <a:gd name="T56" fmla="*/ 101 w 144"/>
                <a:gd name="T57" fmla="*/ 136 h 232"/>
                <a:gd name="T58" fmla="*/ 95 w 144"/>
                <a:gd name="T59" fmla="*/ 137 h 232"/>
                <a:gd name="T60" fmla="*/ 87 w 144"/>
                <a:gd name="T61" fmla="*/ 139 h 232"/>
                <a:gd name="T62" fmla="*/ 71 w 144"/>
                <a:gd name="T63" fmla="*/ 140 h 232"/>
                <a:gd name="T64" fmla="*/ 46 w 144"/>
                <a:gd name="T65" fmla="*/ 140 h 232"/>
                <a:gd name="T66" fmla="*/ 46 w 144"/>
                <a:gd name="T67" fmla="*/ 232 h 232"/>
                <a:gd name="T68" fmla="*/ 0 w 144"/>
                <a:gd name="T69" fmla="*/ 232 h 232"/>
                <a:gd name="T70" fmla="*/ 0 w 144"/>
                <a:gd name="T71" fmla="*/ 0 h 232"/>
                <a:gd name="T72" fmla="*/ 46 w 144"/>
                <a:gd name="T73" fmla="*/ 105 h 232"/>
                <a:gd name="T74" fmla="*/ 67 w 144"/>
                <a:gd name="T75" fmla="*/ 105 h 232"/>
                <a:gd name="T76" fmla="*/ 67 w 144"/>
                <a:gd name="T77" fmla="*/ 105 h 232"/>
                <a:gd name="T78" fmla="*/ 74 w 144"/>
                <a:gd name="T79" fmla="*/ 104 h 232"/>
                <a:gd name="T80" fmla="*/ 80 w 144"/>
                <a:gd name="T81" fmla="*/ 103 h 232"/>
                <a:gd name="T82" fmla="*/ 85 w 144"/>
                <a:gd name="T83" fmla="*/ 100 h 232"/>
                <a:gd name="T84" fmla="*/ 90 w 144"/>
                <a:gd name="T85" fmla="*/ 96 h 232"/>
                <a:gd name="T86" fmla="*/ 93 w 144"/>
                <a:gd name="T87" fmla="*/ 92 h 232"/>
                <a:gd name="T88" fmla="*/ 96 w 144"/>
                <a:gd name="T89" fmla="*/ 86 h 232"/>
                <a:gd name="T90" fmla="*/ 98 w 144"/>
                <a:gd name="T91" fmla="*/ 79 h 232"/>
                <a:gd name="T92" fmla="*/ 98 w 144"/>
                <a:gd name="T93" fmla="*/ 70 h 232"/>
                <a:gd name="T94" fmla="*/ 98 w 144"/>
                <a:gd name="T95" fmla="*/ 70 h 232"/>
                <a:gd name="T96" fmla="*/ 98 w 144"/>
                <a:gd name="T97" fmla="*/ 62 h 232"/>
                <a:gd name="T98" fmla="*/ 97 w 144"/>
                <a:gd name="T99" fmla="*/ 55 h 232"/>
                <a:gd name="T100" fmla="*/ 94 w 144"/>
                <a:gd name="T101" fmla="*/ 49 h 232"/>
                <a:gd name="T102" fmla="*/ 91 w 144"/>
                <a:gd name="T103" fmla="*/ 44 h 232"/>
                <a:gd name="T104" fmla="*/ 87 w 144"/>
                <a:gd name="T105" fmla="*/ 40 h 232"/>
                <a:gd name="T106" fmla="*/ 81 w 144"/>
                <a:gd name="T107" fmla="*/ 37 h 232"/>
                <a:gd name="T108" fmla="*/ 74 w 144"/>
                <a:gd name="T109" fmla="*/ 35 h 232"/>
                <a:gd name="T110" fmla="*/ 65 w 144"/>
                <a:gd name="T111" fmla="*/ 34 h 232"/>
                <a:gd name="T112" fmla="*/ 46 w 144"/>
                <a:gd name="T113" fmla="*/ 34 h 232"/>
                <a:gd name="T114" fmla="*/ 46 w 144"/>
                <a:gd name="T115" fmla="*/ 10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32">
                  <a:moveTo>
                    <a:pt x="0" y="0"/>
                  </a:moveTo>
                  <a:lnTo>
                    <a:pt x="82" y="0"/>
                  </a:lnTo>
                  <a:lnTo>
                    <a:pt x="82" y="0"/>
                  </a:lnTo>
                  <a:lnTo>
                    <a:pt x="90" y="1"/>
                  </a:lnTo>
                  <a:lnTo>
                    <a:pt x="98" y="2"/>
                  </a:lnTo>
                  <a:lnTo>
                    <a:pt x="105" y="4"/>
                  </a:lnTo>
                  <a:lnTo>
                    <a:pt x="111" y="6"/>
                  </a:lnTo>
                  <a:lnTo>
                    <a:pt x="117" y="9"/>
                  </a:lnTo>
                  <a:lnTo>
                    <a:pt x="122" y="13"/>
                  </a:lnTo>
                  <a:lnTo>
                    <a:pt x="127" y="17"/>
                  </a:lnTo>
                  <a:lnTo>
                    <a:pt x="131" y="22"/>
                  </a:lnTo>
                  <a:lnTo>
                    <a:pt x="134" y="27"/>
                  </a:lnTo>
                  <a:lnTo>
                    <a:pt x="137" y="32"/>
                  </a:lnTo>
                  <a:lnTo>
                    <a:pt x="141" y="45"/>
                  </a:lnTo>
                  <a:lnTo>
                    <a:pt x="144" y="57"/>
                  </a:lnTo>
                  <a:lnTo>
                    <a:pt x="144" y="70"/>
                  </a:lnTo>
                  <a:lnTo>
                    <a:pt x="144" y="70"/>
                  </a:lnTo>
                  <a:lnTo>
                    <a:pt x="144" y="78"/>
                  </a:lnTo>
                  <a:lnTo>
                    <a:pt x="143" y="86"/>
                  </a:lnTo>
                  <a:lnTo>
                    <a:pt x="141" y="94"/>
                  </a:lnTo>
                  <a:lnTo>
                    <a:pt x="139" y="101"/>
                  </a:lnTo>
                  <a:lnTo>
                    <a:pt x="136" y="107"/>
                  </a:lnTo>
                  <a:lnTo>
                    <a:pt x="133" y="112"/>
                  </a:lnTo>
                  <a:lnTo>
                    <a:pt x="129" y="118"/>
                  </a:lnTo>
                  <a:lnTo>
                    <a:pt x="124" y="123"/>
                  </a:lnTo>
                  <a:lnTo>
                    <a:pt x="119" y="127"/>
                  </a:lnTo>
                  <a:lnTo>
                    <a:pt x="114" y="130"/>
                  </a:lnTo>
                  <a:lnTo>
                    <a:pt x="108" y="133"/>
                  </a:lnTo>
                  <a:lnTo>
                    <a:pt x="101" y="136"/>
                  </a:lnTo>
                  <a:lnTo>
                    <a:pt x="95" y="137"/>
                  </a:lnTo>
                  <a:lnTo>
                    <a:pt x="87" y="139"/>
                  </a:lnTo>
                  <a:lnTo>
                    <a:pt x="71" y="140"/>
                  </a:lnTo>
                  <a:lnTo>
                    <a:pt x="46" y="140"/>
                  </a:lnTo>
                  <a:lnTo>
                    <a:pt x="46" y="232"/>
                  </a:lnTo>
                  <a:lnTo>
                    <a:pt x="0" y="232"/>
                  </a:lnTo>
                  <a:lnTo>
                    <a:pt x="0" y="0"/>
                  </a:lnTo>
                  <a:close/>
                  <a:moveTo>
                    <a:pt x="46" y="105"/>
                  </a:moveTo>
                  <a:lnTo>
                    <a:pt x="67" y="105"/>
                  </a:lnTo>
                  <a:lnTo>
                    <a:pt x="67" y="105"/>
                  </a:lnTo>
                  <a:lnTo>
                    <a:pt x="74" y="104"/>
                  </a:lnTo>
                  <a:lnTo>
                    <a:pt x="80" y="103"/>
                  </a:lnTo>
                  <a:lnTo>
                    <a:pt x="85" y="100"/>
                  </a:lnTo>
                  <a:lnTo>
                    <a:pt x="90" y="96"/>
                  </a:lnTo>
                  <a:lnTo>
                    <a:pt x="93" y="92"/>
                  </a:lnTo>
                  <a:lnTo>
                    <a:pt x="96" y="86"/>
                  </a:lnTo>
                  <a:lnTo>
                    <a:pt x="98" y="79"/>
                  </a:lnTo>
                  <a:lnTo>
                    <a:pt x="98" y="70"/>
                  </a:lnTo>
                  <a:lnTo>
                    <a:pt x="98" y="70"/>
                  </a:lnTo>
                  <a:lnTo>
                    <a:pt x="98" y="62"/>
                  </a:lnTo>
                  <a:lnTo>
                    <a:pt x="97" y="55"/>
                  </a:lnTo>
                  <a:lnTo>
                    <a:pt x="94" y="49"/>
                  </a:lnTo>
                  <a:lnTo>
                    <a:pt x="91" y="44"/>
                  </a:lnTo>
                  <a:lnTo>
                    <a:pt x="87" y="40"/>
                  </a:lnTo>
                  <a:lnTo>
                    <a:pt x="81" y="37"/>
                  </a:lnTo>
                  <a:lnTo>
                    <a:pt x="74" y="35"/>
                  </a:lnTo>
                  <a:lnTo>
                    <a:pt x="65" y="34"/>
                  </a:lnTo>
                  <a:lnTo>
                    <a:pt x="46" y="34"/>
                  </a:lnTo>
                  <a:lnTo>
                    <a:pt x="46" y="105"/>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28" name="Freeform 10"/>
            <p:cNvSpPr>
              <a:spLocks/>
            </p:cNvSpPr>
            <p:nvPr userDrawn="1"/>
          </p:nvSpPr>
          <p:spPr bwMode="auto">
            <a:xfrm>
              <a:off x="8188325"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29" name="Freeform 11"/>
            <p:cNvSpPr>
              <a:spLocks noEditPoints="1"/>
            </p:cNvSpPr>
            <p:nvPr userDrawn="1"/>
          </p:nvSpPr>
          <p:spPr bwMode="auto">
            <a:xfrm>
              <a:off x="8315325" y="4805363"/>
              <a:ext cx="82550" cy="123825"/>
            </a:xfrm>
            <a:custGeom>
              <a:avLst/>
              <a:gdLst>
                <a:gd name="T0" fmla="*/ 87 w 157"/>
                <a:gd name="T1" fmla="*/ 0 h 232"/>
                <a:gd name="T2" fmla="*/ 101 w 157"/>
                <a:gd name="T3" fmla="*/ 1 h 232"/>
                <a:gd name="T4" fmla="*/ 124 w 157"/>
                <a:gd name="T5" fmla="*/ 9 h 232"/>
                <a:gd name="T6" fmla="*/ 132 w 157"/>
                <a:gd name="T7" fmla="*/ 15 h 232"/>
                <a:gd name="T8" fmla="*/ 139 w 157"/>
                <a:gd name="T9" fmla="*/ 23 h 232"/>
                <a:gd name="T10" fmla="*/ 144 w 157"/>
                <a:gd name="T11" fmla="*/ 33 h 232"/>
                <a:gd name="T12" fmla="*/ 147 w 157"/>
                <a:gd name="T13" fmla="*/ 46 h 232"/>
                <a:gd name="T14" fmla="*/ 149 w 157"/>
                <a:gd name="T15" fmla="*/ 60 h 232"/>
                <a:gd name="T16" fmla="*/ 146 w 157"/>
                <a:gd name="T17" fmla="*/ 81 h 232"/>
                <a:gd name="T18" fmla="*/ 139 w 157"/>
                <a:gd name="T19" fmla="*/ 98 h 232"/>
                <a:gd name="T20" fmla="*/ 127 w 157"/>
                <a:gd name="T21" fmla="*/ 110 h 232"/>
                <a:gd name="T22" fmla="*/ 110 w 157"/>
                <a:gd name="T23" fmla="*/ 118 h 232"/>
                <a:gd name="T24" fmla="*/ 110 w 157"/>
                <a:gd name="T25" fmla="*/ 118 h 232"/>
                <a:gd name="T26" fmla="*/ 129 w 157"/>
                <a:gd name="T27" fmla="*/ 124 h 232"/>
                <a:gd name="T28" fmla="*/ 136 w 157"/>
                <a:gd name="T29" fmla="*/ 129 h 232"/>
                <a:gd name="T30" fmla="*/ 140 w 157"/>
                <a:gd name="T31" fmla="*/ 137 h 232"/>
                <a:gd name="T32" fmla="*/ 146 w 157"/>
                <a:gd name="T33" fmla="*/ 157 h 232"/>
                <a:gd name="T34" fmla="*/ 147 w 157"/>
                <a:gd name="T35" fmla="*/ 188 h 232"/>
                <a:gd name="T36" fmla="*/ 148 w 157"/>
                <a:gd name="T37" fmla="*/ 205 h 232"/>
                <a:gd name="T38" fmla="*/ 151 w 157"/>
                <a:gd name="T39" fmla="*/ 221 h 232"/>
                <a:gd name="T40" fmla="*/ 155 w 157"/>
                <a:gd name="T41" fmla="*/ 228 h 232"/>
                <a:gd name="T42" fmla="*/ 157 w 157"/>
                <a:gd name="T43" fmla="*/ 232 h 232"/>
                <a:gd name="T44" fmla="*/ 108 w 157"/>
                <a:gd name="T45" fmla="*/ 232 h 232"/>
                <a:gd name="T46" fmla="*/ 103 w 157"/>
                <a:gd name="T47" fmla="*/ 221 h 232"/>
                <a:gd name="T48" fmla="*/ 102 w 157"/>
                <a:gd name="T49" fmla="*/ 208 h 232"/>
                <a:gd name="T50" fmla="*/ 100 w 157"/>
                <a:gd name="T51" fmla="*/ 163 h 232"/>
                <a:gd name="T52" fmla="*/ 99 w 157"/>
                <a:gd name="T53" fmla="*/ 151 h 232"/>
                <a:gd name="T54" fmla="*/ 94 w 157"/>
                <a:gd name="T55" fmla="*/ 142 h 232"/>
                <a:gd name="T56" fmla="*/ 84 w 157"/>
                <a:gd name="T57" fmla="*/ 136 h 232"/>
                <a:gd name="T58" fmla="*/ 72 w 157"/>
                <a:gd name="T59" fmla="*/ 134 h 232"/>
                <a:gd name="T60" fmla="*/ 48 w 157"/>
                <a:gd name="T61" fmla="*/ 232 h 232"/>
                <a:gd name="T62" fmla="*/ 0 w 157"/>
                <a:gd name="T63" fmla="*/ 0 h 232"/>
                <a:gd name="T64" fmla="*/ 67 w 157"/>
                <a:gd name="T65" fmla="*/ 101 h 232"/>
                <a:gd name="T66" fmla="*/ 75 w 157"/>
                <a:gd name="T67" fmla="*/ 101 h 232"/>
                <a:gd name="T68" fmla="*/ 87 w 157"/>
                <a:gd name="T69" fmla="*/ 97 h 232"/>
                <a:gd name="T70" fmla="*/ 97 w 157"/>
                <a:gd name="T71" fmla="*/ 89 h 232"/>
                <a:gd name="T72" fmla="*/ 102 w 157"/>
                <a:gd name="T73" fmla="*/ 75 h 232"/>
                <a:gd name="T74" fmla="*/ 102 w 157"/>
                <a:gd name="T75" fmla="*/ 67 h 232"/>
                <a:gd name="T76" fmla="*/ 100 w 157"/>
                <a:gd name="T77" fmla="*/ 53 h 232"/>
                <a:gd name="T78" fmla="*/ 94 w 157"/>
                <a:gd name="T79" fmla="*/ 43 h 232"/>
                <a:gd name="T80" fmla="*/ 83 w 157"/>
                <a:gd name="T81" fmla="*/ 37 h 232"/>
                <a:gd name="T82" fmla="*/ 69 w 157"/>
                <a:gd name="T83" fmla="*/ 34 h 232"/>
                <a:gd name="T84" fmla="*/ 48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7" y="0"/>
                  </a:lnTo>
                  <a:lnTo>
                    <a:pt x="87" y="0"/>
                  </a:lnTo>
                  <a:lnTo>
                    <a:pt x="101" y="1"/>
                  </a:lnTo>
                  <a:lnTo>
                    <a:pt x="113" y="4"/>
                  </a:lnTo>
                  <a:lnTo>
                    <a:pt x="124" y="9"/>
                  </a:lnTo>
                  <a:lnTo>
                    <a:pt x="128" y="12"/>
                  </a:lnTo>
                  <a:lnTo>
                    <a:pt x="132" y="15"/>
                  </a:lnTo>
                  <a:lnTo>
                    <a:pt x="136" y="19"/>
                  </a:lnTo>
                  <a:lnTo>
                    <a:pt x="139" y="23"/>
                  </a:lnTo>
                  <a:lnTo>
                    <a:pt x="142" y="28"/>
                  </a:lnTo>
                  <a:lnTo>
                    <a:pt x="144" y="33"/>
                  </a:lnTo>
                  <a:lnTo>
                    <a:pt x="146" y="40"/>
                  </a:lnTo>
                  <a:lnTo>
                    <a:pt x="147" y="46"/>
                  </a:lnTo>
                  <a:lnTo>
                    <a:pt x="149" y="60"/>
                  </a:lnTo>
                  <a:lnTo>
                    <a:pt x="149" y="60"/>
                  </a:lnTo>
                  <a:lnTo>
                    <a:pt x="148" y="71"/>
                  </a:lnTo>
                  <a:lnTo>
                    <a:pt x="146" y="81"/>
                  </a:lnTo>
                  <a:lnTo>
                    <a:pt x="143" y="90"/>
                  </a:lnTo>
                  <a:lnTo>
                    <a:pt x="139" y="98"/>
                  </a:lnTo>
                  <a:lnTo>
                    <a:pt x="134" y="104"/>
                  </a:lnTo>
                  <a:lnTo>
                    <a:pt x="127" y="110"/>
                  </a:lnTo>
                  <a:lnTo>
                    <a:pt x="119" y="114"/>
                  </a:lnTo>
                  <a:lnTo>
                    <a:pt x="110" y="118"/>
                  </a:lnTo>
                  <a:lnTo>
                    <a:pt x="110" y="118"/>
                  </a:lnTo>
                  <a:lnTo>
                    <a:pt x="110" y="118"/>
                  </a:lnTo>
                  <a:lnTo>
                    <a:pt x="121" y="120"/>
                  </a:lnTo>
                  <a:lnTo>
                    <a:pt x="129" y="124"/>
                  </a:lnTo>
                  <a:lnTo>
                    <a:pt x="133" y="126"/>
                  </a:lnTo>
                  <a:lnTo>
                    <a:pt x="136" y="129"/>
                  </a:lnTo>
                  <a:lnTo>
                    <a:pt x="138" y="133"/>
                  </a:lnTo>
                  <a:lnTo>
                    <a:pt x="140" y="137"/>
                  </a:lnTo>
                  <a:lnTo>
                    <a:pt x="144" y="146"/>
                  </a:lnTo>
                  <a:lnTo>
                    <a:pt x="146" y="157"/>
                  </a:lnTo>
                  <a:lnTo>
                    <a:pt x="147" y="171"/>
                  </a:lnTo>
                  <a:lnTo>
                    <a:pt x="147" y="188"/>
                  </a:lnTo>
                  <a:lnTo>
                    <a:pt x="147" y="188"/>
                  </a:lnTo>
                  <a:lnTo>
                    <a:pt x="148" y="205"/>
                  </a:lnTo>
                  <a:lnTo>
                    <a:pt x="149" y="217"/>
                  </a:lnTo>
                  <a:lnTo>
                    <a:pt x="151" y="221"/>
                  </a:lnTo>
                  <a:lnTo>
                    <a:pt x="152" y="225"/>
                  </a:lnTo>
                  <a:lnTo>
                    <a:pt x="155" y="228"/>
                  </a:lnTo>
                  <a:lnTo>
                    <a:pt x="157" y="230"/>
                  </a:lnTo>
                  <a:lnTo>
                    <a:pt x="157" y="232"/>
                  </a:lnTo>
                  <a:lnTo>
                    <a:pt x="108" y="232"/>
                  </a:lnTo>
                  <a:lnTo>
                    <a:pt x="108" y="232"/>
                  </a:lnTo>
                  <a:lnTo>
                    <a:pt x="105" y="227"/>
                  </a:lnTo>
                  <a:lnTo>
                    <a:pt x="103" y="221"/>
                  </a:lnTo>
                  <a:lnTo>
                    <a:pt x="102" y="215"/>
                  </a:lnTo>
                  <a:lnTo>
                    <a:pt x="102" y="208"/>
                  </a:lnTo>
                  <a:lnTo>
                    <a:pt x="100" y="163"/>
                  </a:lnTo>
                  <a:lnTo>
                    <a:pt x="100" y="163"/>
                  </a:lnTo>
                  <a:lnTo>
                    <a:pt x="100" y="157"/>
                  </a:lnTo>
                  <a:lnTo>
                    <a:pt x="99" y="151"/>
                  </a:lnTo>
                  <a:lnTo>
                    <a:pt x="96" y="146"/>
                  </a:lnTo>
                  <a:lnTo>
                    <a:pt x="94" y="142"/>
                  </a:lnTo>
                  <a:lnTo>
                    <a:pt x="89" y="139"/>
                  </a:lnTo>
                  <a:lnTo>
                    <a:pt x="84" y="136"/>
                  </a:lnTo>
                  <a:lnTo>
                    <a:pt x="79" y="135"/>
                  </a:lnTo>
                  <a:lnTo>
                    <a:pt x="72" y="134"/>
                  </a:lnTo>
                  <a:lnTo>
                    <a:pt x="48" y="134"/>
                  </a:lnTo>
                  <a:lnTo>
                    <a:pt x="48" y="232"/>
                  </a:lnTo>
                  <a:lnTo>
                    <a:pt x="0" y="232"/>
                  </a:lnTo>
                  <a:lnTo>
                    <a:pt x="0" y="0"/>
                  </a:lnTo>
                  <a:close/>
                  <a:moveTo>
                    <a:pt x="48" y="101"/>
                  </a:moveTo>
                  <a:lnTo>
                    <a:pt x="67" y="101"/>
                  </a:lnTo>
                  <a:lnTo>
                    <a:pt x="67" y="101"/>
                  </a:lnTo>
                  <a:lnTo>
                    <a:pt x="75" y="101"/>
                  </a:lnTo>
                  <a:lnTo>
                    <a:pt x="82" y="99"/>
                  </a:lnTo>
                  <a:lnTo>
                    <a:pt x="87" y="97"/>
                  </a:lnTo>
                  <a:lnTo>
                    <a:pt x="92" y="93"/>
                  </a:lnTo>
                  <a:lnTo>
                    <a:pt x="97" y="89"/>
                  </a:lnTo>
                  <a:lnTo>
                    <a:pt x="100" y="83"/>
                  </a:lnTo>
                  <a:lnTo>
                    <a:pt x="102" y="75"/>
                  </a:lnTo>
                  <a:lnTo>
                    <a:pt x="102" y="67"/>
                  </a:lnTo>
                  <a:lnTo>
                    <a:pt x="102" y="67"/>
                  </a:lnTo>
                  <a:lnTo>
                    <a:pt x="102" y="59"/>
                  </a:lnTo>
                  <a:lnTo>
                    <a:pt x="100" y="53"/>
                  </a:lnTo>
                  <a:lnTo>
                    <a:pt x="98" y="48"/>
                  </a:lnTo>
                  <a:lnTo>
                    <a:pt x="94" y="43"/>
                  </a:lnTo>
                  <a:lnTo>
                    <a:pt x="89" y="40"/>
                  </a:lnTo>
                  <a:lnTo>
                    <a:pt x="83" y="37"/>
                  </a:lnTo>
                  <a:lnTo>
                    <a:pt x="77" y="35"/>
                  </a:lnTo>
                  <a:lnTo>
                    <a:pt x="69" y="34"/>
                  </a:lnTo>
                  <a:lnTo>
                    <a:pt x="48" y="34"/>
                  </a:lnTo>
                  <a:lnTo>
                    <a:pt x="4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0" name="Freeform 12"/>
            <p:cNvSpPr>
              <a:spLocks/>
            </p:cNvSpPr>
            <p:nvPr userDrawn="1"/>
          </p:nvSpPr>
          <p:spPr bwMode="auto">
            <a:xfrm>
              <a:off x="8413750"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1" name="Freeform 13"/>
            <p:cNvSpPr>
              <a:spLocks/>
            </p:cNvSpPr>
            <p:nvPr userDrawn="1"/>
          </p:nvSpPr>
          <p:spPr bwMode="auto">
            <a:xfrm>
              <a:off x="8497888" y="4805363"/>
              <a:ext cx="80963" cy="123825"/>
            </a:xfrm>
            <a:custGeom>
              <a:avLst/>
              <a:gdLst>
                <a:gd name="T0" fmla="*/ 54 w 154"/>
                <a:gd name="T1" fmla="*/ 0 h 232"/>
                <a:gd name="T2" fmla="*/ 111 w 154"/>
                <a:gd name="T3" fmla="*/ 159 h 232"/>
                <a:gd name="T4" fmla="*/ 112 w 154"/>
                <a:gd name="T5" fmla="*/ 159 h 232"/>
                <a:gd name="T6" fmla="*/ 112 w 154"/>
                <a:gd name="T7" fmla="*/ 0 h 232"/>
                <a:gd name="T8" fmla="*/ 154 w 154"/>
                <a:gd name="T9" fmla="*/ 0 h 232"/>
                <a:gd name="T10" fmla="*/ 154 w 154"/>
                <a:gd name="T11" fmla="*/ 232 h 232"/>
                <a:gd name="T12" fmla="*/ 102 w 154"/>
                <a:gd name="T13" fmla="*/ 232 h 232"/>
                <a:gd name="T14" fmla="*/ 44 w 154"/>
                <a:gd name="T15" fmla="*/ 70 h 232"/>
                <a:gd name="T16" fmla="*/ 44 w 154"/>
                <a:gd name="T17" fmla="*/ 70 h 232"/>
                <a:gd name="T18" fmla="*/ 44 w 154"/>
                <a:gd name="T19" fmla="*/ 232 h 232"/>
                <a:gd name="T20" fmla="*/ 0 w 154"/>
                <a:gd name="T21" fmla="*/ 232 h 232"/>
                <a:gd name="T22" fmla="*/ 0 w 154"/>
                <a:gd name="T23" fmla="*/ 0 h 232"/>
                <a:gd name="T24" fmla="*/ 54 w 154"/>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232">
                  <a:moveTo>
                    <a:pt x="54" y="0"/>
                  </a:moveTo>
                  <a:lnTo>
                    <a:pt x="111" y="159"/>
                  </a:lnTo>
                  <a:lnTo>
                    <a:pt x="112" y="159"/>
                  </a:lnTo>
                  <a:lnTo>
                    <a:pt x="112" y="0"/>
                  </a:lnTo>
                  <a:lnTo>
                    <a:pt x="154" y="0"/>
                  </a:lnTo>
                  <a:lnTo>
                    <a:pt x="154" y="232"/>
                  </a:lnTo>
                  <a:lnTo>
                    <a:pt x="102" y="232"/>
                  </a:lnTo>
                  <a:lnTo>
                    <a:pt x="44" y="70"/>
                  </a:lnTo>
                  <a:lnTo>
                    <a:pt x="44" y="70"/>
                  </a:lnTo>
                  <a:lnTo>
                    <a:pt x="44" y="232"/>
                  </a:lnTo>
                  <a:lnTo>
                    <a:pt x="0" y="232"/>
                  </a:lnTo>
                  <a:lnTo>
                    <a:pt x="0"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2" name="Freeform 14"/>
            <p:cNvSpPr>
              <a:spLocks noEditPoints="1"/>
            </p:cNvSpPr>
            <p:nvPr userDrawn="1"/>
          </p:nvSpPr>
          <p:spPr bwMode="auto">
            <a:xfrm>
              <a:off x="8589963" y="4805363"/>
              <a:ext cx="95250" cy="123825"/>
            </a:xfrm>
            <a:custGeom>
              <a:avLst/>
              <a:gdLst>
                <a:gd name="T0" fmla="*/ 61 w 180"/>
                <a:gd name="T1" fmla="*/ 0 h 232"/>
                <a:gd name="T2" fmla="*/ 119 w 180"/>
                <a:gd name="T3" fmla="*/ 0 h 232"/>
                <a:gd name="T4" fmla="*/ 180 w 180"/>
                <a:gd name="T5" fmla="*/ 232 h 232"/>
                <a:gd name="T6" fmla="*/ 131 w 180"/>
                <a:gd name="T7" fmla="*/ 232 h 232"/>
                <a:gd name="T8" fmla="*/ 121 w 180"/>
                <a:gd name="T9" fmla="*/ 183 h 232"/>
                <a:gd name="T10" fmla="*/ 59 w 180"/>
                <a:gd name="T11" fmla="*/ 183 h 232"/>
                <a:gd name="T12" fmla="*/ 48 w 180"/>
                <a:gd name="T13" fmla="*/ 232 h 232"/>
                <a:gd name="T14" fmla="*/ 0 w 180"/>
                <a:gd name="T15" fmla="*/ 232 h 232"/>
                <a:gd name="T16" fmla="*/ 61 w 180"/>
                <a:gd name="T17" fmla="*/ 0 h 232"/>
                <a:gd name="T18" fmla="*/ 67 w 180"/>
                <a:gd name="T19" fmla="*/ 145 h 232"/>
                <a:gd name="T20" fmla="*/ 113 w 180"/>
                <a:gd name="T21" fmla="*/ 145 h 232"/>
                <a:gd name="T22" fmla="*/ 90 w 180"/>
                <a:gd name="T23" fmla="*/ 41 h 232"/>
                <a:gd name="T24" fmla="*/ 90 w 180"/>
                <a:gd name="T25" fmla="*/ 41 h 232"/>
                <a:gd name="T26" fmla="*/ 67 w 180"/>
                <a:gd name="T27" fmla="*/ 14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232">
                  <a:moveTo>
                    <a:pt x="61" y="0"/>
                  </a:moveTo>
                  <a:lnTo>
                    <a:pt x="119" y="0"/>
                  </a:lnTo>
                  <a:lnTo>
                    <a:pt x="180" y="232"/>
                  </a:lnTo>
                  <a:lnTo>
                    <a:pt x="131" y="232"/>
                  </a:lnTo>
                  <a:lnTo>
                    <a:pt x="121" y="183"/>
                  </a:lnTo>
                  <a:lnTo>
                    <a:pt x="59" y="183"/>
                  </a:lnTo>
                  <a:lnTo>
                    <a:pt x="48" y="232"/>
                  </a:lnTo>
                  <a:lnTo>
                    <a:pt x="0" y="232"/>
                  </a:lnTo>
                  <a:lnTo>
                    <a:pt x="61" y="0"/>
                  </a:lnTo>
                  <a:close/>
                  <a:moveTo>
                    <a:pt x="67" y="145"/>
                  </a:moveTo>
                  <a:lnTo>
                    <a:pt x="113" y="145"/>
                  </a:lnTo>
                  <a:lnTo>
                    <a:pt x="90" y="41"/>
                  </a:lnTo>
                  <a:lnTo>
                    <a:pt x="90" y="41"/>
                  </a:lnTo>
                  <a:lnTo>
                    <a:pt x="67"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3" name="Freeform 15"/>
            <p:cNvSpPr>
              <a:spLocks/>
            </p:cNvSpPr>
            <p:nvPr userDrawn="1"/>
          </p:nvSpPr>
          <p:spPr bwMode="auto">
            <a:xfrm>
              <a:off x="8691563" y="4805363"/>
              <a:ext cx="77788" cy="125413"/>
            </a:xfrm>
            <a:custGeom>
              <a:avLst/>
              <a:gdLst>
                <a:gd name="T0" fmla="*/ 46 w 148"/>
                <a:gd name="T1" fmla="*/ 0 h 236"/>
                <a:gd name="T2" fmla="*/ 46 w 148"/>
                <a:gd name="T3" fmla="*/ 162 h 236"/>
                <a:gd name="T4" fmla="*/ 46 w 148"/>
                <a:gd name="T5" fmla="*/ 162 h 236"/>
                <a:gd name="T6" fmla="*/ 47 w 148"/>
                <a:gd name="T7" fmla="*/ 170 h 236"/>
                <a:gd name="T8" fmla="*/ 48 w 148"/>
                <a:gd name="T9" fmla="*/ 178 h 236"/>
                <a:gd name="T10" fmla="*/ 49 w 148"/>
                <a:gd name="T11" fmla="*/ 184 h 236"/>
                <a:gd name="T12" fmla="*/ 52 w 148"/>
                <a:gd name="T13" fmla="*/ 190 h 236"/>
                <a:gd name="T14" fmla="*/ 55 w 148"/>
                <a:gd name="T15" fmla="*/ 195 h 236"/>
                <a:gd name="T16" fmla="*/ 60 w 148"/>
                <a:gd name="T17" fmla="*/ 199 h 236"/>
                <a:gd name="T18" fmla="*/ 67 w 148"/>
                <a:gd name="T19" fmla="*/ 202 h 236"/>
                <a:gd name="T20" fmla="*/ 74 w 148"/>
                <a:gd name="T21" fmla="*/ 202 h 236"/>
                <a:gd name="T22" fmla="*/ 74 w 148"/>
                <a:gd name="T23" fmla="*/ 202 h 236"/>
                <a:gd name="T24" fmla="*/ 82 w 148"/>
                <a:gd name="T25" fmla="*/ 202 h 236"/>
                <a:gd name="T26" fmla="*/ 88 w 148"/>
                <a:gd name="T27" fmla="*/ 199 h 236"/>
                <a:gd name="T28" fmla="*/ 92 w 148"/>
                <a:gd name="T29" fmla="*/ 195 h 236"/>
                <a:gd name="T30" fmla="*/ 96 w 148"/>
                <a:gd name="T31" fmla="*/ 190 h 236"/>
                <a:gd name="T32" fmla="*/ 98 w 148"/>
                <a:gd name="T33" fmla="*/ 184 h 236"/>
                <a:gd name="T34" fmla="*/ 100 w 148"/>
                <a:gd name="T35" fmla="*/ 178 h 236"/>
                <a:gd name="T36" fmla="*/ 101 w 148"/>
                <a:gd name="T37" fmla="*/ 170 h 236"/>
                <a:gd name="T38" fmla="*/ 101 w 148"/>
                <a:gd name="T39" fmla="*/ 162 h 236"/>
                <a:gd name="T40" fmla="*/ 101 w 148"/>
                <a:gd name="T41" fmla="*/ 0 h 236"/>
                <a:gd name="T42" fmla="*/ 148 w 148"/>
                <a:gd name="T43" fmla="*/ 0 h 236"/>
                <a:gd name="T44" fmla="*/ 148 w 148"/>
                <a:gd name="T45" fmla="*/ 162 h 236"/>
                <a:gd name="T46" fmla="*/ 148 w 148"/>
                <a:gd name="T47" fmla="*/ 162 h 236"/>
                <a:gd name="T48" fmla="*/ 148 w 148"/>
                <a:gd name="T49" fmla="*/ 172 h 236"/>
                <a:gd name="T50" fmla="*/ 147 w 148"/>
                <a:gd name="T51" fmla="*/ 182 h 236"/>
                <a:gd name="T52" fmla="*/ 144 w 148"/>
                <a:gd name="T53" fmla="*/ 190 h 236"/>
                <a:gd name="T54" fmla="*/ 141 w 148"/>
                <a:gd name="T55" fmla="*/ 199 h 236"/>
                <a:gd name="T56" fmla="*/ 138 w 148"/>
                <a:gd name="T57" fmla="*/ 206 h 236"/>
                <a:gd name="T58" fmla="*/ 134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8 w 148"/>
                <a:gd name="T73" fmla="*/ 236 h 236"/>
                <a:gd name="T74" fmla="*/ 74 w 148"/>
                <a:gd name="T75" fmla="*/ 236 h 236"/>
                <a:gd name="T76" fmla="*/ 74 w 148"/>
                <a:gd name="T77" fmla="*/ 236 h 236"/>
                <a:gd name="T78" fmla="*/ 59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6 w 148"/>
                <a:gd name="T97" fmla="*/ 200 h 236"/>
                <a:gd name="T98" fmla="*/ 4 w 148"/>
                <a:gd name="T99" fmla="*/ 191 h 236"/>
                <a:gd name="T100" fmla="*/ 2 w 148"/>
                <a:gd name="T101" fmla="*/ 182 h 236"/>
                <a:gd name="T102" fmla="*/ 1 w 148"/>
                <a:gd name="T103" fmla="*/ 173 h 236"/>
                <a:gd name="T104" fmla="*/ 0 w 148"/>
                <a:gd name="T105" fmla="*/ 162 h 236"/>
                <a:gd name="T106" fmla="*/ 0 w 148"/>
                <a:gd name="T107" fmla="*/ 0 h 236"/>
                <a:gd name="T108" fmla="*/ 46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6" y="0"/>
                  </a:moveTo>
                  <a:lnTo>
                    <a:pt x="46" y="162"/>
                  </a:lnTo>
                  <a:lnTo>
                    <a:pt x="46" y="162"/>
                  </a:lnTo>
                  <a:lnTo>
                    <a:pt x="47" y="170"/>
                  </a:lnTo>
                  <a:lnTo>
                    <a:pt x="48" y="178"/>
                  </a:lnTo>
                  <a:lnTo>
                    <a:pt x="49" y="184"/>
                  </a:lnTo>
                  <a:lnTo>
                    <a:pt x="52" y="190"/>
                  </a:lnTo>
                  <a:lnTo>
                    <a:pt x="55" y="195"/>
                  </a:lnTo>
                  <a:lnTo>
                    <a:pt x="60" y="199"/>
                  </a:lnTo>
                  <a:lnTo>
                    <a:pt x="67" y="202"/>
                  </a:lnTo>
                  <a:lnTo>
                    <a:pt x="74" y="202"/>
                  </a:lnTo>
                  <a:lnTo>
                    <a:pt x="74" y="202"/>
                  </a:lnTo>
                  <a:lnTo>
                    <a:pt x="82" y="202"/>
                  </a:lnTo>
                  <a:lnTo>
                    <a:pt x="88" y="199"/>
                  </a:lnTo>
                  <a:lnTo>
                    <a:pt x="92" y="195"/>
                  </a:lnTo>
                  <a:lnTo>
                    <a:pt x="96" y="190"/>
                  </a:lnTo>
                  <a:lnTo>
                    <a:pt x="98" y="184"/>
                  </a:lnTo>
                  <a:lnTo>
                    <a:pt x="100" y="178"/>
                  </a:lnTo>
                  <a:lnTo>
                    <a:pt x="101" y="170"/>
                  </a:lnTo>
                  <a:lnTo>
                    <a:pt x="101" y="162"/>
                  </a:lnTo>
                  <a:lnTo>
                    <a:pt x="101" y="0"/>
                  </a:lnTo>
                  <a:lnTo>
                    <a:pt x="148" y="0"/>
                  </a:lnTo>
                  <a:lnTo>
                    <a:pt x="148" y="162"/>
                  </a:lnTo>
                  <a:lnTo>
                    <a:pt x="148" y="162"/>
                  </a:lnTo>
                  <a:lnTo>
                    <a:pt x="148" y="172"/>
                  </a:lnTo>
                  <a:lnTo>
                    <a:pt x="147" y="182"/>
                  </a:lnTo>
                  <a:lnTo>
                    <a:pt x="144" y="190"/>
                  </a:lnTo>
                  <a:lnTo>
                    <a:pt x="141" y="199"/>
                  </a:lnTo>
                  <a:lnTo>
                    <a:pt x="138" y="206"/>
                  </a:lnTo>
                  <a:lnTo>
                    <a:pt x="134" y="212"/>
                  </a:lnTo>
                  <a:lnTo>
                    <a:pt x="130" y="217"/>
                  </a:lnTo>
                  <a:lnTo>
                    <a:pt x="125" y="221"/>
                  </a:lnTo>
                  <a:lnTo>
                    <a:pt x="120" y="225"/>
                  </a:lnTo>
                  <a:lnTo>
                    <a:pt x="114" y="228"/>
                  </a:lnTo>
                  <a:lnTo>
                    <a:pt x="108" y="231"/>
                  </a:lnTo>
                  <a:lnTo>
                    <a:pt x="102" y="233"/>
                  </a:lnTo>
                  <a:lnTo>
                    <a:pt x="88" y="236"/>
                  </a:lnTo>
                  <a:lnTo>
                    <a:pt x="74" y="236"/>
                  </a:lnTo>
                  <a:lnTo>
                    <a:pt x="74" y="236"/>
                  </a:lnTo>
                  <a:lnTo>
                    <a:pt x="59" y="236"/>
                  </a:lnTo>
                  <a:lnTo>
                    <a:pt x="46" y="234"/>
                  </a:lnTo>
                  <a:lnTo>
                    <a:pt x="40" y="232"/>
                  </a:lnTo>
                  <a:lnTo>
                    <a:pt x="34" y="229"/>
                  </a:lnTo>
                  <a:lnTo>
                    <a:pt x="28" y="226"/>
                  </a:lnTo>
                  <a:lnTo>
                    <a:pt x="23" y="223"/>
                  </a:lnTo>
                  <a:lnTo>
                    <a:pt x="18" y="218"/>
                  </a:lnTo>
                  <a:lnTo>
                    <a:pt x="14" y="213"/>
                  </a:lnTo>
                  <a:lnTo>
                    <a:pt x="10" y="207"/>
                  </a:lnTo>
                  <a:lnTo>
                    <a:pt x="6" y="200"/>
                  </a:lnTo>
                  <a:lnTo>
                    <a:pt x="4" y="191"/>
                  </a:lnTo>
                  <a:lnTo>
                    <a:pt x="2" y="182"/>
                  </a:lnTo>
                  <a:lnTo>
                    <a:pt x="1" y="173"/>
                  </a:lnTo>
                  <a:lnTo>
                    <a:pt x="0" y="162"/>
                  </a:lnTo>
                  <a:lnTo>
                    <a:pt x="0" y="0"/>
                  </a:lnTo>
                  <a:lnTo>
                    <a:pt x="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4" name="Freeform 16"/>
            <p:cNvSpPr>
              <a:spLocks/>
            </p:cNvSpPr>
            <p:nvPr userDrawn="1"/>
          </p:nvSpPr>
          <p:spPr bwMode="auto">
            <a:xfrm>
              <a:off x="8789988" y="4805363"/>
              <a:ext cx="69850" cy="123825"/>
            </a:xfrm>
            <a:custGeom>
              <a:avLst/>
              <a:gdLst>
                <a:gd name="T0" fmla="*/ 0 w 130"/>
                <a:gd name="T1" fmla="*/ 232 h 232"/>
                <a:gd name="T2" fmla="*/ 0 w 130"/>
                <a:gd name="T3" fmla="*/ 0 h 232"/>
                <a:gd name="T4" fmla="*/ 47 w 130"/>
                <a:gd name="T5" fmla="*/ 0 h 232"/>
                <a:gd name="T6" fmla="*/ 47 w 130"/>
                <a:gd name="T7" fmla="*/ 193 h 232"/>
                <a:gd name="T8" fmla="*/ 130 w 130"/>
                <a:gd name="T9" fmla="*/ 193 h 232"/>
                <a:gd name="T10" fmla="*/ 130 w 130"/>
                <a:gd name="T11" fmla="*/ 232 h 232"/>
                <a:gd name="T12" fmla="*/ 0 w 130"/>
                <a:gd name="T13" fmla="*/ 232 h 232"/>
              </a:gdLst>
              <a:ahLst/>
              <a:cxnLst>
                <a:cxn ang="0">
                  <a:pos x="T0" y="T1"/>
                </a:cxn>
                <a:cxn ang="0">
                  <a:pos x="T2" y="T3"/>
                </a:cxn>
                <a:cxn ang="0">
                  <a:pos x="T4" y="T5"/>
                </a:cxn>
                <a:cxn ang="0">
                  <a:pos x="T6" y="T7"/>
                </a:cxn>
                <a:cxn ang="0">
                  <a:pos x="T8" y="T9"/>
                </a:cxn>
                <a:cxn ang="0">
                  <a:pos x="T10" y="T11"/>
                </a:cxn>
                <a:cxn ang="0">
                  <a:pos x="T12" y="T13"/>
                </a:cxn>
              </a:cxnLst>
              <a:rect l="0" t="0" r="r" b="b"/>
              <a:pathLst>
                <a:path w="130" h="232">
                  <a:moveTo>
                    <a:pt x="0" y="232"/>
                  </a:moveTo>
                  <a:lnTo>
                    <a:pt x="0" y="0"/>
                  </a:lnTo>
                  <a:lnTo>
                    <a:pt x="47" y="0"/>
                  </a:lnTo>
                  <a:lnTo>
                    <a:pt x="47" y="193"/>
                  </a:lnTo>
                  <a:lnTo>
                    <a:pt x="130" y="193"/>
                  </a:lnTo>
                  <a:lnTo>
                    <a:pt x="130" y="232"/>
                  </a:lnTo>
                  <a:lnTo>
                    <a:pt x="0"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5" name="Freeform 17"/>
            <p:cNvSpPr>
              <a:spLocks/>
            </p:cNvSpPr>
            <p:nvPr userDrawn="1"/>
          </p:nvSpPr>
          <p:spPr bwMode="auto">
            <a:xfrm>
              <a:off x="8848725" y="4805363"/>
              <a:ext cx="77788" cy="123825"/>
            </a:xfrm>
            <a:custGeom>
              <a:avLst/>
              <a:gdLst>
                <a:gd name="T0" fmla="*/ 148 w 148"/>
                <a:gd name="T1" fmla="*/ 0 h 232"/>
                <a:gd name="T2" fmla="*/ 148 w 148"/>
                <a:gd name="T3" fmla="*/ 39 h 232"/>
                <a:gd name="T4" fmla="*/ 97 w 148"/>
                <a:gd name="T5" fmla="*/ 39 h 232"/>
                <a:gd name="T6" fmla="*/ 97 w 148"/>
                <a:gd name="T7" fmla="*/ 232 h 232"/>
                <a:gd name="T8" fmla="*/ 51 w 148"/>
                <a:gd name="T9" fmla="*/ 232 h 232"/>
                <a:gd name="T10" fmla="*/ 51 w 148"/>
                <a:gd name="T11" fmla="*/ 39 h 232"/>
                <a:gd name="T12" fmla="*/ 0 w 148"/>
                <a:gd name="T13" fmla="*/ 39 h 232"/>
                <a:gd name="T14" fmla="*/ 0 w 148"/>
                <a:gd name="T15" fmla="*/ 0 h 232"/>
                <a:gd name="T16" fmla="*/ 148 w 148"/>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32">
                  <a:moveTo>
                    <a:pt x="148" y="0"/>
                  </a:moveTo>
                  <a:lnTo>
                    <a:pt x="148" y="39"/>
                  </a:lnTo>
                  <a:lnTo>
                    <a:pt x="97" y="39"/>
                  </a:lnTo>
                  <a:lnTo>
                    <a:pt x="97" y="232"/>
                  </a:lnTo>
                  <a:lnTo>
                    <a:pt x="51" y="232"/>
                  </a:lnTo>
                  <a:lnTo>
                    <a:pt x="51" y="39"/>
                  </a:lnTo>
                  <a:lnTo>
                    <a:pt x="0" y="39"/>
                  </a:lnTo>
                  <a:lnTo>
                    <a:pt x="0" y="0"/>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grpSp>
      <p:pic>
        <p:nvPicPr>
          <p:cNvPr id="36" name="Picture 18" descr="C:\Users\ARNAUD~1\AppData\Local\Temp\VMwareDnD\933dad87\3_brands_logotypes_bis.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0975" y="6298223"/>
            <a:ext cx="594000" cy="191071"/>
          </a:xfrm>
          <a:prstGeom prst="rect">
            <a:avLst/>
          </a:prstGeom>
          <a:noFill/>
          <a:extLst>
            <a:ext uri="{909E8E84-426E-40DD-AFC4-6F175D3DCCD1}">
              <a14:hiddenFill xmlns:a14="http://schemas.microsoft.com/office/drawing/2010/main">
                <a:solidFill>
                  <a:srgbClr val="FFFFFF"/>
                </a:solidFill>
              </a14:hiddenFill>
            </a:ext>
          </a:extLst>
        </p:spPr>
      </p:pic>
      <p:sp>
        <p:nvSpPr>
          <p:cNvPr id="37" name="Text Box 23"/>
          <p:cNvSpPr txBox="1">
            <a:spLocks noChangeArrowheads="1"/>
          </p:cNvSpPr>
          <p:nvPr/>
        </p:nvSpPr>
        <p:spPr bwMode="auto">
          <a:xfrm>
            <a:off x="1331120" y="6290985"/>
            <a:ext cx="252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err="1">
                <a:latin typeface="Arial" panose="020B0604020202020204" pitchFamily="34" charset="0"/>
                <a:cs typeface="Arial" panose="020B0604020202020204" pitchFamily="34" charset="0"/>
              </a:rPr>
              <a:t>Investor</a:t>
            </a:r>
            <a:r>
              <a:rPr lang="fr-FR" sz="600" b="0" cap="all" baseline="0" dirty="0">
                <a:latin typeface="Arial" panose="020B0604020202020204" pitchFamily="34" charset="0"/>
                <a:cs typeface="Arial" panose="020B0604020202020204" pitchFamily="34" charset="0"/>
              </a:rPr>
              <a:t> Relations</a:t>
            </a:r>
          </a:p>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PRESENTATION RESULTATS 2016 – GROUPE RENAULT </a:t>
            </a:r>
          </a:p>
        </p:txBody>
      </p:sp>
      <p:cxnSp>
        <p:nvCxnSpPr>
          <p:cNvPr id="39" name="Connecteur droit 38"/>
          <p:cNvCxnSpPr/>
          <p:nvPr/>
        </p:nvCxnSpPr>
        <p:spPr>
          <a:xfrm>
            <a:off x="3858263"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 Box 23"/>
          <p:cNvSpPr txBox="1">
            <a:spLocks noChangeArrowheads="1"/>
          </p:cNvSpPr>
          <p:nvPr/>
        </p:nvSpPr>
        <p:spPr bwMode="auto">
          <a:xfrm>
            <a:off x="3929857" y="6290985"/>
            <a:ext cx="90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10 février 2017</a:t>
            </a:r>
          </a:p>
        </p:txBody>
      </p:sp>
      <p:cxnSp>
        <p:nvCxnSpPr>
          <p:cNvPr id="123" name="Connecteur droit 122"/>
          <p:cNvCxnSpPr/>
          <p:nvPr/>
        </p:nvCxnSpPr>
        <p:spPr>
          <a:xfrm>
            <a:off x="1266825"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p:nvCxnSpPr>
        <p:spPr>
          <a:xfrm>
            <a:off x="6998700" y="6272560"/>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Connecteur droit 26"/>
          <p:cNvCxnSpPr/>
          <p:nvPr/>
        </p:nvCxnSpPr>
        <p:spPr>
          <a:xfrm>
            <a:off x="4844143"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 Box 23"/>
          <p:cNvSpPr txBox="1">
            <a:spLocks noChangeArrowheads="1"/>
          </p:cNvSpPr>
          <p:nvPr/>
        </p:nvSpPr>
        <p:spPr bwMode="auto">
          <a:xfrm>
            <a:off x="4915737" y="6290985"/>
            <a:ext cx="1497095"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solidFill>
                  <a:schemeClr val="tx1"/>
                </a:solidFill>
                <a:latin typeface="Arial" panose="020B0604020202020204" pitchFamily="34" charset="0"/>
                <a:cs typeface="Arial" panose="020B0604020202020204" pitchFamily="34" charset="0"/>
              </a:rPr>
              <a:t>PROPRIETE DU GROUPE RENAULT</a:t>
            </a:r>
          </a:p>
        </p:txBody>
      </p:sp>
    </p:spTree>
    <p:extLst>
      <p:ext uri="{BB962C8B-B14F-4D97-AF65-F5344CB8AC3E}">
        <p14:creationId xmlns:p14="http://schemas.microsoft.com/office/powerpoint/2010/main" val="409932248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hf hdr="0" ftr="0" dt="0"/>
  <p:txStyles>
    <p:titleStyle>
      <a:lvl1pPr algn="l" rtl="0" eaLnBrk="0" fontAlgn="base" hangingPunct="0">
        <a:spcBef>
          <a:spcPct val="0"/>
        </a:spcBef>
        <a:spcAft>
          <a:spcPct val="0"/>
        </a:spcAft>
        <a:defRPr sz="1800" b="1">
          <a:solidFill>
            <a:schemeClr val="tx1"/>
          </a:solidFill>
          <a:latin typeface="+mj-lt"/>
          <a:ea typeface="+mj-ea"/>
          <a:cs typeface="+mj-cs"/>
        </a:defRPr>
      </a:lvl1pPr>
      <a:lvl2pPr algn="l" rtl="0" eaLnBrk="0" fontAlgn="base" hangingPunct="0">
        <a:spcBef>
          <a:spcPct val="0"/>
        </a:spcBef>
        <a:spcAft>
          <a:spcPct val="0"/>
        </a:spcAft>
        <a:defRPr sz="1800" b="1">
          <a:solidFill>
            <a:schemeClr val="tx1"/>
          </a:solidFill>
          <a:latin typeface="Arial Narrow" pitchFamily="34" charset="0"/>
          <a:ea typeface="MS PGothic" pitchFamily="34" charset="-128"/>
        </a:defRPr>
      </a:lvl2pPr>
      <a:lvl3pPr algn="l" rtl="0" eaLnBrk="0" fontAlgn="base" hangingPunct="0">
        <a:spcBef>
          <a:spcPct val="0"/>
        </a:spcBef>
        <a:spcAft>
          <a:spcPct val="0"/>
        </a:spcAft>
        <a:defRPr sz="1800" b="1">
          <a:solidFill>
            <a:schemeClr val="tx1"/>
          </a:solidFill>
          <a:latin typeface="Arial Narrow" pitchFamily="34" charset="0"/>
          <a:ea typeface="MS PGothic" pitchFamily="34" charset="-128"/>
        </a:defRPr>
      </a:lvl3pPr>
      <a:lvl4pPr algn="l" rtl="0" eaLnBrk="0" fontAlgn="base" hangingPunct="0">
        <a:spcBef>
          <a:spcPct val="0"/>
        </a:spcBef>
        <a:spcAft>
          <a:spcPct val="0"/>
        </a:spcAft>
        <a:defRPr sz="1800" b="1">
          <a:solidFill>
            <a:schemeClr val="tx1"/>
          </a:solidFill>
          <a:latin typeface="Arial Narrow" pitchFamily="34" charset="0"/>
          <a:ea typeface="MS PGothic" pitchFamily="34" charset="-128"/>
        </a:defRPr>
      </a:lvl4pPr>
      <a:lvl5pPr algn="l" rtl="0" eaLnBrk="0" fontAlgn="base" hangingPunct="0">
        <a:spcBef>
          <a:spcPct val="0"/>
        </a:spcBef>
        <a:spcAft>
          <a:spcPct val="0"/>
        </a:spcAft>
        <a:defRPr sz="1800" b="1">
          <a:solidFill>
            <a:schemeClr val="tx1"/>
          </a:solidFill>
          <a:latin typeface="Arial Narrow" pitchFamily="34" charset="0"/>
          <a:ea typeface="MS PGothic" pitchFamily="34" charset="-128"/>
        </a:defRPr>
      </a:lvl5pPr>
      <a:lvl6pPr marL="342900" algn="l" rtl="0" eaLnBrk="1" fontAlgn="base" hangingPunct="1">
        <a:spcBef>
          <a:spcPct val="0"/>
        </a:spcBef>
        <a:spcAft>
          <a:spcPct val="0"/>
        </a:spcAft>
        <a:defRPr sz="1800" b="1">
          <a:solidFill>
            <a:schemeClr val="tx1"/>
          </a:solidFill>
          <a:latin typeface="Arial Narrow" pitchFamily="34" charset="0"/>
          <a:ea typeface="MS PGothic" pitchFamily="34" charset="-128"/>
        </a:defRPr>
      </a:lvl6pPr>
      <a:lvl7pPr marL="685800" algn="l" rtl="0" eaLnBrk="1" fontAlgn="base" hangingPunct="1">
        <a:spcBef>
          <a:spcPct val="0"/>
        </a:spcBef>
        <a:spcAft>
          <a:spcPct val="0"/>
        </a:spcAft>
        <a:defRPr sz="1800" b="1">
          <a:solidFill>
            <a:schemeClr val="tx1"/>
          </a:solidFill>
          <a:latin typeface="Arial Narrow" pitchFamily="34" charset="0"/>
          <a:ea typeface="MS PGothic" pitchFamily="34" charset="-128"/>
        </a:defRPr>
      </a:lvl7pPr>
      <a:lvl8pPr marL="1028700" algn="l" rtl="0" eaLnBrk="1" fontAlgn="base" hangingPunct="1">
        <a:spcBef>
          <a:spcPct val="0"/>
        </a:spcBef>
        <a:spcAft>
          <a:spcPct val="0"/>
        </a:spcAft>
        <a:defRPr sz="1800" b="1">
          <a:solidFill>
            <a:schemeClr val="tx1"/>
          </a:solidFill>
          <a:latin typeface="Arial Narrow" pitchFamily="34" charset="0"/>
          <a:ea typeface="MS PGothic" pitchFamily="34" charset="-128"/>
        </a:defRPr>
      </a:lvl8pPr>
      <a:lvl9pPr marL="1371600" algn="l" rtl="0" eaLnBrk="1" fontAlgn="base" hangingPunct="1">
        <a:spcBef>
          <a:spcPct val="0"/>
        </a:spcBef>
        <a:spcAft>
          <a:spcPct val="0"/>
        </a:spcAft>
        <a:defRPr sz="1800" b="1">
          <a:solidFill>
            <a:schemeClr val="tx1"/>
          </a:solidFill>
          <a:latin typeface="Arial Narrow" pitchFamily="34" charset="0"/>
          <a:ea typeface="MS PGothic" pitchFamily="34" charset="-128"/>
        </a:defRPr>
      </a:lvl9pPr>
    </p:titleStyle>
    <p:bodyStyle>
      <a:lvl1pPr marL="257175" indent="-257175" algn="l" rtl="0" eaLnBrk="0" fontAlgn="base" hangingPunct="0">
        <a:spcBef>
          <a:spcPct val="35000"/>
        </a:spcBef>
        <a:spcAft>
          <a:spcPct val="0"/>
        </a:spcAft>
        <a:buClr>
          <a:srgbClr val="F7B100"/>
        </a:buClr>
        <a:buFont typeface="Wingdings" pitchFamily="2" charset="2"/>
        <a:buChar char="§"/>
        <a:defRPr sz="1500" b="1">
          <a:solidFill>
            <a:schemeClr val="tx1"/>
          </a:solidFill>
          <a:latin typeface="+mn-lt"/>
          <a:ea typeface="+mn-ea"/>
          <a:cs typeface="+mn-cs"/>
        </a:defRPr>
      </a:lvl1pPr>
      <a:lvl2pPr marL="557213" indent="-214313" algn="l" rtl="0" eaLnBrk="0" fontAlgn="base" hangingPunct="0">
        <a:spcBef>
          <a:spcPct val="30000"/>
        </a:spcBef>
        <a:spcAft>
          <a:spcPct val="0"/>
        </a:spcAft>
        <a:buClr>
          <a:srgbClr val="F7B100"/>
        </a:buClr>
        <a:buFont typeface="Wingdings" pitchFamily="2" charset="2"/>
        <a:buChar char="§"/>
        <a:defRPr sz="1200">
          <a:solidFill>
            <a:schemeClr val="tx1"/>
          </a:solidFill>
          <a:latin typeface="+mn-lt"/>
          <a:ea typeface="+mn-ea"/>
        </a:defRPr>
      </a:lvl2pPr>
      <a:lvl3pPr marL="857250" indent="-171450" algn="l" rtl="0" eaLnBrk="0" fontAlgn="base" hangingPunct="0">
        <a:spcBef>
          <a:spcPct val="35000"/>
        </a:spcBef>
        <a:spcAft>
          <a:spcPct val="0"/>
        </a:spcAft>
        <a:buFont typeface="Wingdings" pitchFamily="2" charset="2"/>
        <a:buChar char="§"/>
        <a:defRPr sz="1100">
          <a:solidFill>
            <a:schemeClr val="tx1"/>
          </a:solidFill>
          <a:latin typeface="+mn-lt"/>
          <a:ea typeface="+mn-ea"/>
        </a:defRPr>
      </a:lvl3pPr>
      <a:lvl4pPr marL="1200150" indent="-171450" algn="l" rtl="0" eaLnBrk="0" fontAlgn="base" hangingPunct="0">
        <a:spcBef>
          <a:spcPct val="40000"/>
        </a:spcBef>
        <a:spcAft>
          <a:spcPct val="0"/>
        </a:spcAft>
        <a:buFont typeface="Wingdings" pitchFamily="2" charset="2"/>
        <a:buChar char="§"/>
        <a:defRPr sz="800">
          <a:solidFill>
            <a:schemeClr val="tx1"/>
          </a:solidFill>
          <a:latin typeface="+mn-lt"/>
          <a:ea typeface="+mn-ea"/>
        </a:defRPr>
      </a:lvl4pPr>
      <a:lvl5pPr marL="1543050" indent="-171450" algn="l" rtl="0" eaLnBrk="0" fontAlgn="base" hangingPunct="0">
        <a:spcBef>
          <a:spcPct val="20000"/>
        </a:spcBef>
        <a:spcAft>
          <a:spcPct val="0"/>
        </a:spcAft>
        <a:buChar char="»"/>
        <a:defRPr sz="800">
          <a:solidFill>
            <a:schemeClr val="tx1"/>
          </a:solidFill>
          <a:latin typeface="+mn-lt"/>
          <a:ea typeface="+mn-ea"/>
        </a:defRPr>
      </a:lvl5pPr>
      <a:lvl6pPr marL="1885950" indent="-171450" algn="l" rtl="0" eaLnBrk="1" fontAlgn="base" hangingPunct="1">
        <a:spcBef>
          <a:spcPct val="20000"/>
        </a:spcBef>
        <a:spcAft>
          <a:spcPct val="0"/>
        </a:spcAft>
        <a:buChar char="»"/>
        <a:defRPr sz="800">
          <a:solidFill>
            <a:schemeClr val="tx1"/>
          </a:solidFill>
          <a:latin typeface="+mn-lt"/>
          <a:ea typeface="+mn-ea"/>
        </a:defRPr>
      </a:lvl6pPr>
      <a:lvl7pPr marL="2228850" indent="-171450" algn="l" rtl="0" eaLnBrk="1" fontAlgn="base" hangingPunct="1">
        <a:spcBef>
          <a:spcPct val="20000"/>
        </a:spcBef>
        <a:spcAft>
          <a:spcPct val="0"/>
        </a:spcAft>
        <a:buChar char="»"/>
        <a:defRPr sz="800">
          <a:solidFill>
            <a:schemeClr val="tx1"/>
          </a:solidFill>
          <a:latin typeface="+mn-lt"/>
          <a:ea typeface="+mn-ea"/>
        </a:defRPr>
      </a:lvl7pPr>
      <a:lvl8pPr marL="2571750" indent="-171450" algn="l" rtl="0" eaLnBrk="1" fontAlgn="base" hangingPunct="1">
        <a:spcBef>
          <a:spcPct val="20000"/>
        </a:spcBef>
        <a:spcAft>
          <a:spcPct val="0"/>
        </a:spcAft>
        <a:buChar char="»"/>
        <a:defRPr sz="800">
          <a:solidFill>
            <a:schemeClr val="tx1"/>
          </a:solidFill>
          <a:latin typeface="+mn-lt"/>
          <a:ea typeface="+mn-ea"/>
        </a:defRPr>
      </a:lvl8pPr>
      <a:lvl9pPr marL="2914650" indent="-171450" algn="l" rtl="0" eaLnBrk="1" fontAlgn="base" hangingPunct="1">
        <a:spcBef>
          <a:spcPct val="20000"/>
        </a:spcBef>
        <a:spcAft>
          <a:spcPct val="0"/>
        </a:spcAft>
        <a:buChar char="»"/>
        <a:defRPr sz="800">
          <a:solidFill>
            <a:schemeClr val="tx1"/>
          </a:solidFill>
          <a:latin typeface="+mn-lt"/>
          <a:ea typeface="+mn-ea"/>
        </a:defRPr>
      </a:lvl9pPr>
    </p:bodyStyle>
    <p:otherStyle>
      <a:defPPr>
        <a:defRPr lang="fr-FR"/>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709">
          <p15:clr>
            <a:srgbClr val="F26B43"/>
          </p15:clr>
        </p15:guide>
        <p15:guide id="2" pos="5420">
          <p15:clr>
            <a:srgbClr val="F26B43"/>
          </p15:clr>
        </p15:guide>
        <p15:guide id="3" pos="5647">
          <p15:clr>
            <a:srgbClr val="F26B43"/>
          </p15:clr>
        </p15:guide>
        <p15:guide id="5" orient="horz" pos="114">
          <p15:clr>
            <a:srgbClr val="F26B43"/>
          </p15:clr>
        </p15:guide>
        <p15:guide id="6" orient="horz" pos="228">
          <p15:clr>
            <a:srgbClr val="F26B43"/>
          </p15:clr>
        </p15:guide>
        <p15:guide id="7" orient="horz" pos="2787">
          <p15:clr>
            <a:srgbClr val="F26B43"/>
          </p15:clr>
        </p15:guide>
        <p15:guide id="8" pos="2909">
          <p15:clr>
            <a:srgbClr val="F26B43"/>
          </p15:clr>
        </p15:guide>
        <p15:guide id="9" pos="2850">
          <p15:clr>
            <a:srgbClr val="F26B43"/>
          </p15:clr>
        </p15:guide>
        <p15:guide id="10" pos="113">
          <p15:clr>
            <a:srgbClr val="F26B43"/>
          </p15:clr>
        </p15:guide>
        <p15:guide id="11" pos="340">
          <p15:clr>
            <a:srgbClr val="F26B43"/>
          </p15:clr>
        </p15:guide>
        <p15:guide id="12" pos="1457">
          <p15:clr>
            <a:srgbClr val="F26B43"/>
          </p15:clr>
        </p15:guide>
        <p15:guide id="13" pos="1511">
          <p15:clr>
            <a:srgbClr val="F26B43"/>
          </p15:clr>
        </p15:guide>
        <p15:guide id="14" pos="4250">
          <p15:clr>
            <a:srgbClr val="F26B43"/>
          </p15:clr>
        </p15:guide>
        <p15:guide id="15" pos="4304">
          <p15:clr>
            <a:srgbClr val="F26B43"/>
          </p15:clr>
        </p15:guide>
        <p15:guide id="16" orient="horz" pos="342">
          <p15:clr>
            <a:srgbClr val="F26B43"/>
          </p15:clr>
        </p15:guide>
        <p15:guide id="18" orient="horz" pos="456">
          <p15:clr>
            <a:srgbClr val="F26B43"/>
          </p15:clr>
        </p15:guide>
        <p15:guide id="19" orient="horz" pos="569">
          <p15:clr>
            <a:srgbClr val="F26B43"/>
          </p15:clr>
        </p15:guide>
        <p15:guide id="20" pos="1919">
          <p15:clr>
            <a:srgbClr val="F26B43"/>
          </p15:clr>
        </p15:guide>
        <p15:guide id="21" pos="1976">
          <p15:clr>
            <a:srgbClr val="F26B43"/>
          </p15:clr>
        </p15:guide>
        <p15:guide id="22" pos="3783">
          <p15:clr>
            <a:srgbClr val="F26B43"/>
          </p15:clr>
        </p15:guide>
        <p15:guide id="23" pos="3840">
          <p15:clr>
            <a:srgbClr val="F26B43"/>
          </p15:clr>
        </p15:guide>
        <p15:guide id="24" orient="horz" pos="165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 name="Rectangle 6"/>
          <p:cNvSpPr>
            <a:spLocks noChangeArrowheads="1"/>
          </p:cNvSpPr>
          <p:nvPr/>
        </p:nvSpPr>
        <p:spPr bwMode="auto">
          <a:xfrm>
            <a:off x="7075257" y="6359438"/>
            <a:ext cx="266735" cy="147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fld id="{78210625-ECA7-4862-B00E-5DC0AA3A3D4E}" type="slidenum">
              <a:rPr sz="500" b="0" noProof="1">
                <a:solidFill>
                  <a:schemeClr val="tx1"/>
                </a:solidFill>
              </a:rPr>
              <a:pPr/>
              <a:t>‹N°›</a:t>
            </a:fld>
            <a:endParaRPr lang="fr-FR" sz="300" b="0" noProof="1">
              <a:solidFill>
                <a:schemeClr val="tx1"/>
              </a:solidFill>
            </a:endParaRPr>
          </a:p>
        </p:txBody>
      </p:sp>
      <p:grpSp>
        <p:nvGrpSpPr>
          <p:cNvPr id="13" name="Groupe 12"/>
          <p:cNvGrpSpPr>
            <a:grpSpLocks noChangeAspect="1"/>
          </p:cNvGrpSpPr>
          <p:nvPr userDrawn="1"/>
        </p:nvGrpSpPr>
        <p:grpSpPr>
          <a:xfrm>
            <a:off x="7883819" y="6342402"/>
            <a:ext cx="1080000" cy="150589"/>
            <a:chOff x="7712075" y="4803775"/>
            <a:chExt cx="1214438" cy="127001"/>
          </a:xfrm>
        </p:grpSpPr>
        <p:sp>
          <p:nvSpPr>
            <p:cNvPr id="15" name="Freeform 5"/>
            <p:cNvSpPr>
              <a:spLocks/>
            </p:cNvSpPr>
            <p:nvPr userDrawn="1"/>
          </p:nvSpPr>
          <p:spPr bwMode="auto">
            <a:xfrm>
              <a:off x="7712075" y="4803775"/>
              <a:ext cx="80963" cy="127000"/>
            </a:xfrm>
            <a:custGeom>
              <a:avLst/>
              <a:gdLst>
                <a:gd name="T0" fmla="*/ 105 w 153"/>
                <a:gd name="T1" fmla="*/ 73 h 240"/>
                <a:gd name="T2" fmla="*/ 103 w 153"/>
                <a:gd name="T3" fmla="*/ 60 h 240"/>
                <a:gd name="T4" fmla="*/ 99 w 153"/>
                <a:gd name="T5" fmla="*/ 48 h 240"/>
                <a:gd name="T6" fmla="*/ 90 w 153"/>
                <a:gd name="T7" fmla="*/ 37 h 240"/>
                <a:gd name="T8" fmla="*/ 78 w 153"/>
                <a:gd name="T9" fmla="*/ 34 h 240"/>
                <a:gd name="T10" fmla="*/ 71 w 153"/>
                <a:gd name="T11" fmla="*/ 35 h 240"/>
                <a:gd name="T12" fmla="*/ 64 w 153"/>
                <a:gd name="T13" fmla="*/ 38 h 240"/>
                <a:gd name="T14" fmla="*/ 59 w 153"/>
                <a:gd name="T15" fmla="*/ 45 h 240"/>
                <a:gd name="T16" fmla="*/ 51 w 153"/>
                <a:gd name="T17" fmla="*/ 64 h 240"/>
                <a:gd name="T18" fmla="*/ 47 w 153"/>
                <a:gd name="T19" fmla="*/ 95 h 240"/>
                <a:gd name="T20" fmla="*/ 47 w 153"/>
                <a:gd name="T21" fmla="*/ 115 h 240"/>
                <a:gd name="T22" fmla="*/ 48 w 153"/>
                <a:gd name="T23" fmla="*/ 153 h 240"/>
                <a:gd name="T24" fmla="*/ 53 w 153"/>
                <a:gd name="T25" fmla="*/ 181 h 240"/>
                <a:gd name="T26" fmla="*/ 60 w 153"/>
                <a:gd name="T27" fmla="*/ 196 h 240"/>
                <a:gd name="T28" fmla="*/ 66 w 153"/>
                <a:gd name="T29" fmla="*/ 203 h 240"/>
                <a:gd name="T30" fmla="*/ 74 w 153"/>
                <a:gd name="T31" fmla="*/ 206 h 240"/>
                <a:gd name="T32" fmla="*/ 79 w 153"/>
                <a:gd name="T33" fmla="*/ 206 h 240"/>
                <a:gd name="T34" fmla="*/ 88 w 153"/>
                <a:gd name="T35" fmla="*/ 204 h 240"/>
                <a:gd name="T36" fmla="*/ 97 w 153"/>
                <a:gd name="T37" fmla="*/ 196 h 240"/>
                <a:gd name="T38" fmla="*/ 104 w 153"/>
                <a:gd name="T39" fmla="*/ 185 h 240"/>
                <a:gd name="T40" fmla="*/ 107 w 153"/>
                <a:gd name="T41" fmla="*/ 169 h 240"/>
                <a:gd name="T42" fmla="*/ 77 w 153"/>
                <a:gd name="T43" fmla="*/ 146 h 240"/>
                <a:gd name="T44" fmla="*/ 153 w 153"/>
                <a:gd name="T45" fmla="*/ 111 h 240"/>
                <a:gd name="T46" fmla="*/ 118 w 153"/>
                <a:gd name="T47" fmla="*/ 236 h 240"/>
                <a:gd name="T48" fmla="*/ 117 w 153"/>
                <a:gd name="T49" fmla="*/ 215 h 240"/>
                <a:gd name="T50" fmla="*/ 113 w 153"/>
                <a:gd name="T51" fmla="*/ 221 h 240"/>
                <a:gd name="T52" fmla="*/ 103 w 153"/>
                <a:gd name="T53" fmla="*/ 231 h 240"/>
                <a:gd name="T54" fmla="*/ 91 w 153"/>
                <a:gd name="T55" fmla="*/ 237 h 240"/>
                <a:gd name="T56" fmla="*/ 77 w 153"/>
                <a:gd name="T57" fmla="*/ 240 h 240"/>
                <a:gd name="T58" fmla="*/ 69 w 153"/>
                <a:gd name="T59" fmla="*/ 240 h 240"/>
                <a:gd name="T60" fmla="*/ 50 w 153"/>
                <a:gd name="T61" fmla="*/ 238 h 240"/>
                <a:gd name="T62" fmla="*/ 33 w 153"/>
                <a:gd name="T63" fmla="*/ 233 h 240"/>
                <a:gd name="T64" fmla="*/ 21 w 153"/>
                <a:gd name="T65" fmla="*/ 223 h 240"/>
                <a:gd name="T66" fmla="*/ 13 w 153"/>
                <a:gd name="T67" fmla="*/ 209 h 240"/>
                <a:gd name="T68" fmla="*/ 6 w 153"/>
                <a:gd name="T69" fmla="*/ 191 h 240"/>
                <a:gd name="T70" fmla="*/ 3 w 153"/>
                <a:gd name="T71" fmla="*/ 170 h 240"/>
                <a:gd name="T72" fmla="*/ 0 w 153"/>
                <a:gd name="T73" fmla="*/ 117 h 240"/>
                <a:gd name="T74" fmla="*/ 1 w 153"/>
                <a:gd name="T75" fmla="*/ 90 h 240"/>
                <a:gd name="T76" fmla="*/ 4 w 153"/>
                <a:gd name="T77" fmla="*/ 66 h 240"/>
                <a:gd name="T78" fmla="*/ 9 w 153"/>
                <a:gd name="T79" fmla="*/ 46 h 240"/>
                <a:gd name="T80" fmla="*/ 16 w 153"/>
                <a:gd name="T81" fmla="*/ 29 h 240"/>
                <a:gd name="T82" fmla="*/ 27 w 153"/>
                <a:gd name="T83" fmla="*/ 16 h 240"/>
                <a:gd name="T84" fmla="*/ 40 w 153"/>
                <a:gd name="T85" fmla="*/ 7 h 240"/>
                <a:gd name="T86" fmla="*/ 58 w 153"/>
                <a:gd name="T87" fmla="*/ 2 h 240"/>
                <a:gd name="T88" fmla="*/ 78 w 153"/>
                <a:gd name="T89" fmla="*/ 0 h 240"/>
                <a:gd name="T90" fmla="*/ 87 w 153"/>
                <a:gd name="T91" fmla="*/ 0 h 240"/>
                <a:gd name="T92" fmla="*/ 103 w 153"/>
                <a:gd name="T93" fmla="*/ 2 h 240"/>
                <a:gd name="T94" fmla="*/ 117 w 153"/>
                <a:gd name="T95" fmla="*/ 7 h 240"/>
                <a:gd name="T96" fmla="*/ 129 w 153"/>
                <a:gd name="T97" fmla="*/ 14 h 240"/>
                <a:gd name="T98" fmla="*/ 137 w 153"/>
                <a:gd name="T99" fmla="*/ 23 h 240"/>
                <a:gd name="T100" fmla="*/ 144 w 153"/>
                <a:gd name="T101" fmla="*/ 35 h 240"/>
                <a:gd name="T102" fmla="*/ 148 w 153"/>
                <a:gd name="T103" fmla="*/ 49 h 240"/>
                <a:gd name="T104" fmla="*/ 150 w 153"/>
                <a:gd name="T105" fmla="*/ 7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3" h="240">
                  <a:moveTo>
                    <a:pt x="105" y="73"/>
                  </a:moveTo>
                  <a:lnTo>
                    <a:pt x="105" y="73"/>
                  </a:lnTo>
                  <a:lnTo>
                    <a:pt x="104" y="67"/>
                  </a:lnTo>
                  <a:lnTo>
                    <a:pt x="103" y="60"/>
                  </a:lnTo>
                  <a:lnTo>
                    <a:pt x="101" y="53"/>
                  </a:lnTo>
                  <a:lnTo>
                    <a:pt x="99" y="48"/>
                  </a:lnTo>
                  <a:lnTo>
                    <a:pt x="95" y="42"/>
                  </a:lnTo>
                  <a:lnTo>
                    <a:pt x="90" y="37"/>
                  </a:lnTo>
                  <a:lnTo>
                    <a:pt x="85" y="35"/>
                  </a:lnTo>
                  <a:lnTo>
                    <a:pt x="78" y="34"/>
                  </a:lnTo>
                  <a:lnTo>
                    <a:pt x="78" y="34"/>
                  </a:lnTo>
                  <a:lnTo>
                    <a:pt x="71" y="35"/>
                  </a:lnTo>
                  <a:lnTo>
                    <a:pt x="67" y="36"/>
                  </a:lnTo>
                  <a:lnTo>
                    <a:pt x="64" y="38"/>
                  </a:lnTo>
                  <a:lnTo>
                    <a:pt x="61" y="42"/>
                  </a:lnTo>
                  <a:lnTo>
                    <a:pt x="59" y="45"/>
                  </a:lnTo>
                  <a:lnTo>
                    <a:pt x="54" y="53"/>
                  </a:lnTo>
                  <a:lnTo>
                    <a:pt x="51" y="64"/>
                  </a:lnTo>
                  <a:lnTo>
                    <a:pt x="49" y="78"/>
                  </a:lnTo>
                  <a:lnTo>
                    <a:pt x="47" y="95"/>
                  </a:lnTo>
                  <a:lnTo>
                    <a:pt x="47" y="115"/>
                  </a:lnTo>
                  <a:lnTo>
                    <a:pt x="47" y="115"/>
                  </a:lnTo>
                  <a:lnTo>
                    <a:pt x="47" y="135"/>
                  </a:lnTo>
                  <a:lnTo>
                    <a:pt x="48" y="153"/>
                  </a:lnTo>
                  <a:lnTo>
                    <a:pt x="50" y="168"/>
                  </a:lnTo>
                  <a:lnTo>
                    <a:pt x="53" y="181"/>
                  </a:lnTo>
                  <a:lnTo>
                    <a:pt x="57" y="192"/>
                  </a:lnTo>
                  <a:lnTo>
                    <a:pt x="60" y="196"/>
                  </a:lnTo>
                  <a:lnTo>
                    <a:pt x="63" y="199"/>
                  </a:lnTo>
                  <a:lnTo>
                    <a:pt x="66" y="203"/>
                  </a:lnTo>
                  <a:lnTo>
                    <a:pt x="70" y="205"/>
                  </a:lnTo>
                  <a:lnTo>
                    <a:pt x="74" y="206"/>
                  </a:lnTo>
                  <a:lnTo>
                    <a:pt x="79" y="206"/>
                  </a:lnTo>
                  <a:lnTo>
                    <a:pt x="79" y="206"/>
                  </a:lnTo>
                  <a:lnTo>
                    <a:pt x="83" y="206"/>
                  </a:lnTo>
                  <a:lnTo>
                    <a:pt x="88" y="204"/>
                  </a:lnTo>
                  <a:lnTo>
                    <a:pt x="93" y="201"/>
                  </a:lnTo>
                  <a:lnTo>
                    <a:pt x="97" y="196"/>
                  </a:lnTo>
                  <a:lnTo>
                    <a:pt x="101" y="191"/>
                  </a:lnTo>
                  <a:lnTo>
                    <a:pt x="104" y="185"/>
                  </a:lnTo>
                  <a:lnTo>
                    <a:pt x="107" y="178"/>
                  </a:lnTo>
                  <a:lnTo>
                    <a:pt x="107" y="169"/>
                  </a:lnTo>
                  <a:lnTo>
                    <a:pt x="107" y="146"/>
                  </a:lnTo>
                  <a:lnTo>
                    <a:pt x="77" y="146"/>
                  </a:lnTo>
                  <a:lnTo>
                    <a:pt x="77" y="111"/>
                  </a:lnTo>
                  <a:lnTo>
                    <a:pt x="153" y="111"/>
                  </a:lnTo>
                  <a:lnTo>
                    <a:pt x="153" y="236"/>
                  </a:lnTo>
                  <a:lnTo>
                    <a:pt x="118" y="236"/>
                  </a:lnTo>
                  <a:lnTo>
                    <a:pt x="118" y="215"/>
                  </a:lnTo>
                  <a:lnTo>
                    <a:pt x="117" y="215"/>
                  </a:lnTo>
                  <a:lnTo>
                    <a:pt x="117" y="215"/>
                  </a:lnTo>
                  <a:lnTo>
                    <a:pt x="113" y="221"/>
                  </a:lnTo>
                  <a:lnTo>
                    <a:pt x="108" y="226"/>
                  </a:lnTo>
                  <a:lnTo>
                    <a:pt x="103" y="231"/>
                  </a:lnTo>
                  <a:lnTo>
                    <a:pt x="97" y="234"/>
                  </a:lnTo>
                  <a:lnTo>
                    <a:pt x="91" y="237"/>
                  </a:lnTo>
                  <a:lnTo>
                    <a:pt x="84" y="239"/>
                  </a:lnTo>
                  <a:lnTo>
                    <a:pt x="77" y="240"/>
                  </a:lnTo>
                  <a:lnTo>
                    <a:pt x="69" y="240"/>
                  </a:lnTo>
                  <a:lnTo>
                    <a:pt x="69" y="240"/>
                  </a:lnTo>
                  <a:lnTo>
                    <a:pt x="59" y="240"/>
                  </a:lnTo>
                  <a:lnTo>
                    <a:pt x="50" y="238"/>
                  </a:lnTo>
                  <a:lnTo>
                    <a:pt x="41" y="236"/>
                  </a:lnTo>
                  <a:lnTo>
                    <a:pt x="33" y="233"/>
                  </a:lnTo>
                  <a:lnTo>
                    <a:pt x="27" y="228"/>
                  </a:lnTo>
                  <a:lnTo>
                    <a:pt x="21" y="223"/>
                  </a:lnTo>
                  <a:lnTo>
                    <a:pt x="17" y="217"/>
                  </a:lnTo>
                  <a:lnTo>
                    <a:pt x="13" y="209"/>
                  </a:lnTo>
                  <a:lnTo>
                    <a:pt x="9" y="201"/>
                  </a:lnTo>
                  <a:lnTo>
                    <a:pt x="6" y="191"/>
                  </a:lnTo>
                  <a:lnTo>
                    <a:pt x="4" y="181"/>
                  </a:lnTo>
                  <a:lnTo>
                    <a:pt x="3" y="170"/>
                  </a:lnTo>
                  <a:lnTo>
                    <a:pt x="1" y="146"/>
                  </a:lnTo>
                  <a:lnTo>
                    <a:pt x="0" y="117"/>
                  </a:lnTo>
                  <a:lnTo>
                    <a:pt x="0" y="117"/>
                  </a:lnTo>
                  <a:lnTo>
                    <a:pt x="1" y="90"/>
                  </a:lnTo>
                  <a:lnTo>
                    <a:pt x="2" y="78"/>
                  </a:lnTo>
                  <a:lnTo>
                    <a:pt x="4" y="66"/>
                  </a:lnTo>
                  <a:lnTo>
                    <a:pt x="6" y="56"/>
                  </a:lnTo>
                  <a:lnTo>
                    <a:pt x="9" y="46"/>
                  </a:lnTo>
                  <a:lnTo>
                    <a:pt x="12" y="37"/>
                  </a:lnTo>
                  <a:lnTo>
                    <a:pt x="16" y="29"/>
                  </a:lnTo>
                  <a:lnTo>
                    <a:pt x="21" y="22"/>
                  </a:lnTo>
                  <a:lnTo>
                    <a:pt x="27" y="16"/>
                  </a:lnTo>
                  <a:lnTo>
                    <a:pt x="33" y="11"/>
                  </a:lnTo>
                  <a:lnTo>
                    <a:pt x="40" y="7"/>
                  </a:lnTo>
                  <a:lnTo>
                    <a:pt x="49" y="4"/>
                  </a:lnTo>
                  <a:lnTo>
                    <a:pt x="58" y="2"/>
                  </a:lnTo>
                  <a:lnTo>
                    <a:pt x="67" y="0"/>
                  </a:lnTo>
                  <a:lnTo>
                    <a:pt x="78" y="0"/>
                  </a:lnTo>
                  <a:lnTo>
                    <a:pt x="78" y="0"/>
                  </a:lnTo>
                  <a:lnTo>
                    <a:pt x="87" y="0"/>
                  </a:lnTo>
                  <a:lnTo>
                    <a:pt x="95" y="1"/>
                  </a:lnTo>
                  <a:lnTo>
                    <a:pt x="103" y="2"/>
                  </a:lnTo>
                  <a:lnTo>
                    <a:pt x="110" y="4"/>
                  </a:lnTo>
                  <a:lnTo>
                    <a:pt x="117" y="7"/>
                  </a:lnTo>
                  <a:lnTo>
                    <a:pt x="123" y="10"/>
                  </a:lnTo>
                  <a:lnTo>
                    <a:pt x="129" y="14"/>
                  </a:lnTo>
                  <a:lnTo>
                    <a:pt x="133" y="18"/>
                  </a:lnTo>
                  <a:lnTo>
                    <a:pt x="137" y="23"/>
                  </a:lnTo>
                  <a:lnTo>
                    <a:pt x="141" y="29"/>
                  </a:lnTo>
                  <a:lnTo>
                    <a:pt x="144" y="35"/>
                  </a:lnTo>
                  <a:lnTo>
                    <a:pt x="146" y="42"/>
                  </a:lnTo>
                  <a:lnTo>
                    <a:pt x="148" y="49"/>
                  </a:lnTo>
                  <a:lnTo>
                    <a:pt x="149" y="57"/>
                  </a:lnTo>
                  <a:lnTo>
                    <a:pt x="150" y="73"/>
                  </a:lnTo>
                  <a:lnTo>
                    <a:pt x="105" y="73"/>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16" name="Freeform 6"/>
            <p:cNvSpPr>
              <a:spLocks noEditPoints="1"/>
            </p:cNvSpPr>
            <p:nvPr userDrawn="1"/>
          </p:nvSpPr>
          <p:spPr bwMode="auto">
            <a:xfrm>
              <a:off x="7810500" y="4805363"/>
              <a:ext cx="82550" cy="123825"/>
            </a:xfrm>
            <a:custGeom>
              <a:avLst/>
              <a:gdLst>
                <a:gd name="T0" fmla="*/ 86 w 157"/>
                <a:gd name="T1" fmla="*/ 0 h 232"/>
                <a:gd name="T2" fmla="*/ 99 w 157"/>
                <a:gd name="T3" fmla="*/ 1 h 232"/>
                <a:gd name="T4" fmla="*/ 123 w 157"/>
                <a:gd name="T5" fmla="*/ 9 h 232"/>
                <a:gd name="T6" fmla="*/ 131 w 157"/>
                <a:gd name="T7" fmla="*/ 15 h 232"/>
                <a:gd name="T8" fmla="*/ 138 w 157"/>
                <a:gd name="T9" fmla="*/ 23 h 232"/>
                <a:gd name="T10" fmla="*/ 143 w 157"/>
                <a:gd name="T11" fmla="*/ 33 h 232"/>
                <a:gd name="T12" fmla="*/ 147 w 157"/>
                <a:gd name="T13" fmla="*/ 46 h 232"/>
                <a:gd name="T14" fmla="*/ 148 w 157"/>
                <a:gd name="T15" fmla="*/ 60 h 232"/>
                <a:gd name="T16" fmla="*/ 145 w 157"/>
                <a:gd name="T17" fmla="*/ 81 h 232"/>
                <a:gd name="T18" fmla="*/ 138 w 157"/>
                <a:gd name="T19" fmla="*/ 98 h 232"/>
                <a:gd name="T20" fmla="*/ 126 w 157"/>
                <a:gd name="T21" fmla="*/ 110 h 232"/>
                <a:gd name="T22" fmla="*/ 108 w 157"/>
                <a:gd name="T23" fmla="*/ 118 h 232"/>
                <a:gd name="T24" fmla="*/ 108 w 157"/>
                <a:gd name="T25" fmla="*/ 118 h 232"/>
                <a:gd name="T26" fmla="*/ 128 w 157"/>
                <a:gd name="T27" fmla="*/ 124 h 232"/>
                <a:gd name="T28" fmla="*/ 135 w 157"/>
                <a:gd name="T29" fmla="*/ 129 h 232"/>
                <a:gd name="T30" fmla="*/ 139 w 157"/>
                <a:gd name="T31" fmla="*/ 137 h 232"/>
                <a:gd name="T32" fmla="*/ 145 w 157"/>
                <a:gd name="T33" fmla="*/ 157 h 232"/>
                <a:gd name="T34" fmla="*/ 146 w 157"/>
                <a:gd name="T35" fmla="*/ 188 h 232"/>
                <a:gd name="T36" fmla="*/ 147 w 157"/>
                <a:gd name="T37" fmla="*/ 205 h 232"/>
                <a:gd name="T38" fmla="*/ 150 w 157"/>
                <a:gd name="T39" fmla="*/ 221 h 232"/>
                <a:gd name="T40" fmla="*/ 154 w 157"/>
                <a:gd name="T41" fmla="*/ 228 h 232"/>
                <a:gd name="T42" fmla="*/ 157 w 157"/>
                <a:gd name="T43" fmla="*/ 232 h 232"/>
                <a:gd name="T44" fmla="*/ 106 w 157"/>
                <a:gd name="T45" fmla="*/ 232 h 232"/>
                <a:gd name="T46" fmla="*/ 101 w 157"/>
                <a:gd name="T47" fmla="*/ 221 h 232"/>
                <a:gd name="T48" fmla="*/ 100 w 157"/>
                <a:gd name="T49" fmla="*/ 208 h 232"/>
                <a:gd name="T50" fmla="*/ 99 w 157"/>
                <a:gd name="T51" fmla="*/ 163 h 232"/>
                <a:gd name="T52" fmla="*/ 97 w 157"/>
                <a:gd name="T53" fmla="*/ 151 h 232"/>
                <a:gd name="T54" fmla="*/ 92 w 157"/>
                <a:gd name="T55" fmla="*/ 142 h 232"/>
                <a:gd name="T56" fmla="*/ 83 w 157"/>
                <a:gd name="T57" fmla="*/ 136 h 232"/>
                <a:gd name="T58" fmla="*/ 71 w 157"/>
                <a:gd name="T59" fmla="*/ 134 h 232"/>
                <a:gd name="T60" fmla="*/ 47 w 157"/>
                <a:gd name="T61" fmla="*/ 232 h 232"/>
                <a:gd name="T62" fmla="*/ 0 w 157"/>
                <a:gd name="T63" fmla="*/ 0 h 232"/>
                <a:gd name="T64" fmla="*/ 66 w 157"/>
                <a:gd name="T65" fmla="*/ 101 h 232"/>
                <a:gd name="T66" fmla="*/ 74 w 157"/>
                <a:gd name="T67" fmla="*/ 101 h 232"/>
                <a:gd name="T68" fmla="*/ 87 w 157"/>
                <a:gd name="T69" fmla="*/ 97 h 232"/>
                <a:gd name="T70" fmla="*/ 95 w 157"/>
                <a:gd name="T71" fmla="*/ 89 h 232"/>
                <a:gd name="T72" fmla="*/ 100 w 157"/>
                <a:gd name="T73" fmla="*/ 75 h 232"/>
                <a:gd name="T74" fmla="*/ 100 w 157"/>
                <a:gd name="T75" fmla="*/ 67 h 232"/>
                <a:gd name="T76" fmla="*/ 98 w 157"/>
                <a:gd name="T77" fmla="*/ 53 h 232"/>
                <a:gd name="T78" fmla="*/ 92 w 157"/>
                <a:gd name="T79" fmla="*/ 43 h 232"/>
                <a:gd name="T80" fmla="*/ 82 w 157"/>
                <a:gd name="T81" fmla="*/ 37 h 232"/>
                <a:gd name="T82" fmla="*/ 68 w 157"/>
                <a:gd name="T83" fmla="*/ 34 h 232"/>
                <a:gd name="T84" fmla="*/ 47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6" y="0"/>
                  </a:lnTo>
                  <a:lnTo>
                    <a:pt x="86" y="0"/>
                  </a:lnTo>
                  <a:lnTo>
                    <a:pt x="99" y="1"/>
                  </a:lnTo>
                  <a:lnTo>
                    <a:pt x="112" y="4"/>
                  </a:lnTo>
                  <a:lnTo>
                    <a:pt x="123" y="9"/>
                  </a:lnTo>
                  <a:lnTo>
                    <a:pt x="127" y="12"/>
                  </a:lnTo>
                  <a:lnTo>
                    <a:pt x="131" y="15"/>
                  </a:lnTo>
                  <a:lnTo>
                    <a:pt x="135" y="19"/>
                  </a:lnTo>
                  <a:lnTo>
                    <a:pt x="138" y="23"/>
                  </a:lnTo>
                  <a:lnTo>
                    <a:pt x="141" y="28"/>
                  </a:lnTo>
                  <a:lnTo>
                    <a:pt x="143" y="33"/>
                  </a:lnTo>
                  <a:lnTo>
                    <a:pt x="145" y="40"/>
                  </a:lnTo>
                  <a:lnTo>
                    <a:pt x="147" y="46"/>
                  </a:lnTo>
                  <a:lnTo>
                    <a:pt x="148" y="60"/>
                  </a:lnTo>
                  <a:lnTo>
                    <a:pt x="148" y="60"/>
                  </a:lnTo>
                  <a:lnTo>
                    <a:pt x="147" y="71"/>
                  </a:lnTo>
                  <a:lnTo>
                    <a:pt x="145" y="81"/>
                  </a:lnTo>
                  <a:lnTo>
                    <a:pt x="142" y="90"/>
                  </a:lnTo>
                  <a:lnTo>
                    <a:pt x="138" y="98"/>
                  </a:lnTo>
                  <a:lnTo>
                    <a:pt x="133" y="104"/>
                  </a:lnTo>
                  <a:lnTo>
                    <a:pt x="126" y="110"/>
                  </a:lnTo>
                  <a:lnTo>
                    <a:pt x="119" y="114"/>
                  </a:lnTo>
                  <a:lnTo>
                    <a:pt x="108" y="118"/>
                  </a:lnTo>
                  <a:lnTo>
                    <a:pt x="108" y="118"/>
                  </a:lnTo>
                  <a:lnTo>
                    <a:pt x="108" y="118"/>
                  </a:lnTo>
                  <a:lnTo>
                    <a:pt x="120" y="120"/>
                  </a:lnTo>
                  <a:lnTo>
                    <a:pt x="128" y="124"/>
                  </a:lnTo>
                  <a:lnTo>
                    <a:pt x="132" y="126"/>
                  </a:lnTo>
                  <a:lnTo>
                    <a:pt x="135" y="129"/>
                  </a:lnTo>
                  <a:lnTo>
                    <a:pt x="137" y="133"/>
                  </a:lnTo>
                  <a:lnTo>
                    <a:pt x="139" y="137"/>
                  </a:lnTo>
                  <a:lnTo>
                    <a:pt x="143" y="146"/>
                  </a:lnTo>
                  <a:lnTo>
                    <a:pt x="145" y="157"/>
                  </a:lnTo>
                  <a:lnTo>
                    <a:pt x="146" y="171"/>
                  </a:lnTo>
                  <a:lnTo>
                    <a:pt x="146" y="188"/>
                  </a:lnTo>
                  <a:lnTo>
                    <a:pt x="146" y="188"/>
                  </a:lnTo>
                  <a:lnTo>
                    <a:pt x="147" y="205"/>
                  </a:lnTo>
                  <a:lnTo>
                    <a:pt x="148" y="217"/>
                  </a:lnTo>
                  <a:lnTo>
                    <a:pt x="150" y="221"/>
                  </a:lnTo>
                  <a:lnTo>
                    <a:pt x="151" y="225"/>
                  </a:lnTo>
                  <a:lnTo>
                    <a:pt x="154" y="228"/>
                  </a:lnTo>
                  <a:lnTo>
                    <a:pt x="157" y="230"/>
                  </a:lnTo>
                  <a:lnTo>
                    <a:pt x="157" y="232"/>
                  </a:lnTo>
                  <a:lnTo>
                    <a:pt x="106" y="232"/>
                  </a:lnTo>
                  <a:lnTo>
                    <a:pt x="106" y="232"/>
                  </a:lnTo>
                  <a:lnTo>
                    <a:pt x="103" y="227"/>
                  </a:lnTo>
                  <a:lnTo>
                    <a:pt x="101" y="221"/>
                  </a:lnTo>
                  <a:lnTo>
                    <a:pt x="100" y="215"/>
                  </a:lnTo>
                  <a:lnTo>
                    <a:pt x="100" y="208"/>
                  </a:lnTo>
                  <a:lnTo>
                    <a:pt x="99" y="163"/>
                  </a:lnTo>
                  <a:lnTo>
                    <a:pt x="99" y="163"/>
                  </a:lnTo>
                  <a:lnTo>
                    <a:pt x="98" y="157"/>
                  </a:lnTo>
                  <a:lnTo>
                    <a:pt x="97" y="151"/>
                  </a:lnTo>
                  <a:lnTo>
                    <a:pt x="95" y="146"/>
                  </a:lnTo>
                  <a:lnTo>
                    <a:pt x="92" y="142"/>
                  </a:lnTo>
                  <a:lnTo>
                    <a:pt x="88" y="139"/>
                  </a:lnTo>
                  <a:lnTo>
                    <a:pt x="83" y="136"/>
                  </a:lnTo>
                  <a:lnTo>
                    <a:pt x="78" y="135"/>
                  </a:lnTo>
                  <a:lnTo>
                    <a:pt x="71" y="134"/>
                  </a:lnTo>
                  <a:lnTo>
                    <a:pt x="47" y="134"/>
                  </a:lnTo>
                  <a:lnTo>
                    <a:pt x="47" y="232"/>
                  </a:lnTo>
                  <a:lnTo>
                    <a:pt x="0" y="232"/>
                  </a:lnTo>
                  <a:lnTo>
                    <a:pt x="0" y="0"/>
                  </a:lnTo>
                  <a:close/>
                  <a:moveTo>
                    <a:pt x="47" y="101"/>
                  </a:moveTo>
                  <a:lnTo>
                    <a:pt x="66" y="101"/>
                  </a:lnTo>
                  <a:lnTo>
                    <a:pt x="66" y="101"/>
                  </a:lnTo>
                  <a:lnTo>
                    <a:pt x="74" y="101"/>
                  </a:lnTo>
                  <a:lnTo>
                    <a:pt x="81" y="99"/>
                  </a:lnTo>
                  <a:lnTo>
                    <a:pt x="87" y="97"/>
                  </a:lnTo>
                  <a:lnTo>
                    <a:pt x="91" y="93"/>
                  </a:lnTo>
                  <a:lnTo>
                    <a:pt x="95" y="89"/>
                  </a:lnTo>
                  <a:lnTo>
                    <a:pt x="98" y="83"/>
                  </a:lnTo>
                  <a:lnTo>
                    <a:pt x="100" y="75"/>
                  </a:lnTo>
                  <a:lnTo>
                    <a:pt x="100" y="67"/>
                  </a:lnTo>
                  <a:lnTo>
                    <a:pt x="100" y="67"/>
                  </a:lnTo>
                  <a:lnTo>
                    <a:pt x="100" y="59"/>
                  </a:lnTo>
                  <a:lnTo>
                    <a:pt x="98" y="53"/>
                  </a:lnTo>
                  <a:lnTo>
                    <a:pt x="96" y="48"/>
                  </a:lnTo>
                  <a:lnTo>
                    <a:pt x="92" y="43"/>
                  </a:lnTo>
                  <a:lnTo>
                    <a:pt x="88" y="40"/>
                  </a:lnTo>
                  <a:lnTo>
                    <a:pt x="82" y="37"/>
                  </a:lnTo>
                  <a:lnTo>
                    <a:pt x="76" y="35"/>
                  </a:lnTo>
                  <a:lnTo>
                    <a:pt x="68" y="34"/>
                  </a:lnTo>
                  <a:lnTo>
                    <a:pt x="47" y="34"/>
                  </a:lnTo>
                  <a:lnTo>
                    <a:pt x="47" y="101"/>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17" name="Freeform 7"/>
            <p:cNvSpPr>
              <a:spLocks noEditPoints="1"/>
            </p:cNvSpPr>
            <p:nvPr userDrawn="1"/>
          </p:nvSpPr>
          <p:spPr bwMode="auto">
            <a:xfrm>
              <a:off x="7904163" y="4803775"/>
              <a:ext cx="84138" cy="127000"/>
            </a:xfrm>
            <a:custGeom>
              <a:avLst/>
              <a:gdLst>
                <a:gd name="T0" fmla="*/ 79 w 158"/>
                <a:gd name="T1" fmla="*/ 0 h 240"/>
                <a:gd name="T2" fmla="*/ 102 w 158"/>
                <a:gd name="T3" fmla="*/ 2 h 240"/>
                <a:gd name="T4" fmla="*/ 122 w 158"/>
                <a:gd name="T5" fmla="*/ 8 h 240"/>
                <a:gd name="T6" fmla="*/ 135 w 158"/>
                <a:gd name="T7" fmla="*/ 19 h 240"/>
                <a:gd name="T8" fmla="*/ 145 w 158"/>
                <a:gd name="T9" fmla="*/ 33 h 240"/>
                <a:gd name="T10" fmla="*/ 152 w 158"/>
                <a:gd name="T11" fmla="*/ 51 h 240"/>
                <a:gd name="T12" fmla="*/ 156 w 158"/>
                <a:gd name="T13" fmla="*/ 72 h 240"/>
                <a:gd name="T14" fmla="*/ 158 w 158"/>
                <a:gd name="T15" fmla="*/ 121 h 240"/>
                <a:gd name="T16" fmla="*/ 158 w 158"/>
                <a:gd name="T17" fmla="*/ 146 h 240"/>
                <a:gd name="T18" fmla="*/ 154 w 158"/>
                <a:gd name="T19" fmla="*/ 179 h 240"/>
                <a:gd name="T20" fmla="*/ 149 w 158"/>
                <a:gd name="T21" fmla="*/ 198 h 240"/>
                <a:gd name="T22" fmla="*/ 141 w 158"/>
                <a:gd name="T23" fmla="*/ 215 h 240"/>
                <a:gd name="T24" fmla="*/ 129 w 158"/>
                <a:gd name="T25" fmla="*/ 227 h 240"/>
                <a:gd name="T26" fmla="*/ 113 w 158"/>
                <a:gd name="T27" fmla="*/ 235 h 240"/>
                <a:gd name="T28" fmla="*/ 92 w 158"/>
                <a:gd name="T29" fmla="*/ 240 h 240"/>
                <a:gd name="T30" fmla="*/ 79 w 158"/>
                <a:gd name="T31" fmla="*/ 240 h 240"/>
                <a:gd name="T32" fmla="*/ 56 w 158"/>
                <a:gd name="T33" fmla="*/ 238 h 240"/>
                <a:gd name="T34" fmla="*/ 38 w 158"/>
                <a:gd name="T35" fmla="*/ 232 h 240"/>
                <a:gd name="T36" fmla="*/ 24 w 158"/>
                <a:gd name="T37" fmla="*/ 221 h 240"/>
                <a:gd name="T38" fmla="*/ 13 w 158"/>
                <a:gd name="T39" fmla="*/ 207 h 240"/>
                <a:gd name="T40" fmla="*/ 7 w 158"/>
                <a:gd name="T41" fmla="*/ 189 h 240"/>
                <a:gd name="T42" fmla="*/ 3 w 158"/>
                <a:gd name="T43" fmla="*/ 168 h 240"/>
                <a:gd name="T44" fmla="*/ 0 w 158"/>
                <a:gd name="T45" fmla="*/ 121 h 240"/>
                <a:gd name="T46" fmla="*/ 1 w 158"/>
                <a:gd name="T47" fmla="*/ 94 h 240"/>
                <a:gd name="T48" fmla="*/ 5 w 158"/>
                <a:gd name="T49" fmla="*/ 61 h 240"/>
                <a:gd name="T50" fmla="*/ 10 w 158"/>
                <a:gd name="T51" fmla="*/ 42 h 240"/>
                <a:gd name="T52" fmla="*/ 18 w 158"/>
                <a:gd name="T53" fmla="*/ 26 h 240"/>
                <a:gd name="T54" fmla="*/ 31 w 158"/>
                <a:gd name="T55" fmla="*/ 13 h 240"/>
                <a:gd name="T56" fmla="*/ 46 w 158"/>
                <a:gd name="T57" fmla="*/ 5 h 240"/>
                <a:gd name="T58" fmla="*/ 67 w 158"/>
                <a:gd name="T59" fmla="*/ 0 h 240"/>
                <a:gd name="T60" fmla="*/ 79 w 158"/>
                <a:gd name="T61" fmla="*/ 0 h 240"/>
                <a:gd name="T62" fmla="*/ 79 w 158"/>
                <a:gd name="T63" fmla="*/ 206 h 240"/>
                <a:gd name="T64" fmla="*/ 88 w 158"/>
                <a:gd name="T65" fmla="*/ 205 h 240"/>
                <a:gd name="T66" fmla="*/ 96 w 158"/>
                <a:gd name="T67" fmla="*/ 202 h 240"/>
                <a:gd name="T68" fmla="*/ 101 w 158"/>
                <a:gd name="T69" fmla="*/ 195 h 240"/>
                <a:gd name="T70" fmla="*/ 106 w 158"/>
                <a:gd name="T71" fmla="*/ 186 h 240"/>
                <a:gd name="T72" fmla="*/ 111 w 158"/>
                <a:gd name="T73" fmla="*/ 160 h 240"/>
                <a:gd name="T74" fmla="*/ 112 w 158"/>
                <a:gd name="T75" fmla="*/ 121 h 240"/>
                <a:gd name="T76" fmla="*/ 112 w 158"/>
                <a:gd name="T77" fmla="*/ 98 h 240"/>
                <a:gd name="T78" fmla="*/ 109 w 158"/>
                <a:gd name="T79" fmla="*/ 66 h 240"/>
                <a:gd name="T80" fmla="*/ 103 w 158"/>
                <a:gd name="T81" fmla="*/ 49 h 240"/>
                <a:gd name="T82" fmla="*/ 99 w 158"/>
                <a:gd name="T83" fmla="*/ 42 h 240"/>
                <a:gd name="T84" fmla="*/ 92 w 158"/>
                <a:gd name="T85" fmla="*/ 36 h 240"/>
                <a:gd name="T86" fmla="*/ 84 w 158"/>
                <a:gd name="T87" fmla="*/ 34 h 240"/>
                <a:gd name="T88" fmla="*/ 79 w 158"/>
                <a:gd name="T89" fmla="*/ 34 h 240"/>
                <a:gd name="T90" fmla="*/ 70 w 158"/>
                <a:gd name="T91" fmla="*/ 35 h 240"/>
                <a:gd name="T92" fmla="*/ 63 w 158"/>
                <a:gd name="T93" fmla="*/ 38 h 240"/>
                <a:gd name="T94" fmla="*/ 57 w 158"/>
                <a:gd name="T95" fmla="*/ 45 h 240"/>
                <a:gd name="T96" fmla="*/ 53 w 158"/>
                <a:gd name="T97" fmla="*/ 54 h 240"/>
                <a:gd name="T98" fmla="*/ 49 w 158"/>
                <a:gd name="T99" fmla="*/ 80 h 240"/>
                <a:gd name="T100" fmla="*/ 48 w 158"/>
                <a:gd name="T101" fmla="*/ 121 h 240"/>
                <a:gd name="T102" fmla="*/ 48 w 158"/>
                <a:gd name="T103" fmla="*/ 142 h 240"/>
                <a:gd name="T104" fmla="*/ 50 w 158"/>
                <a:gd name="T105" fmla="*/ 174 h 240"/>
                <a:gd name="T106" fmla="*/ 55 w 158"/>
                <a:gd name="T107" fmla="*/ 191 h 240"/>
                <a:gd name="T108" fmla="*/ 60 w 158"/>
                <a:gd name="T109" fmla="*/ 198 h 240"/>
                <a:gd name="T110" fmla="*/ 66 w 158"/>
                <a:gd name="T111" fmla="*/ 204 h 240"/>
                <a:gd name="T112" fmla="*/ 74 w 158"/>
                <a:gd name="T113" fmla="*/ 206 h 240"/>
                <a:gd name="T114" fmla="*/ 79 w 158"/>
                <a:gd name="T115" fmla="*/ 2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240">
                  <a:moveTo>
                    <a:pt x="79" y="0"/>
                  </a:moveTo>
                  <a:lnTo>
                    <a:pt x="79" y="0"/>
                  </a:lnTo>
                  <a:lnTo>
                    <a:pt x="92" y="0"/>
                  </a:lnTo>
                  <a:lnTo>
                    <a:pt x="102" y="2"/>
                  </a:lnTo>
                  <a:lnTo>
                    <a:pt x="113" y="5"/>
                  </a:lnTo>
                  <a:lnTo>
                    <a:pt x="122" y="8"/>
                  </a:lnTo>
                  <a:lnTo>
                    <a:pt x="129" y="13"/>
                  </a:lnTo>
                  <a:lnTo>
                    <a:pt x="135" y="19"/>
                  </a:lnTo>
                  <a:lnTo>
                    <a:pt x="141" y="26"/>
                  </a:lnTo>
                  <a:lnTo>
                    <a:pt x="145" y="33"/>
                  </a:lnTo>
                  <a:lnTo>
                    <a:pt x="149" y="42"/>
                  </a:lnTo>
                  <a:lnTo>
                    <a:pt x="152" y="51"/>
                  </a:lnTo>
                  <a:lnTo>
                    <a:pt x="154" y="61"/>
                  </a:lnTo>
                  <a:lnTo>
                    <a:pt x="156" y="72"/>
                  </a:lnTo>
                  <a:lnTo>
                    <a:pt x="158" y="94"/>
                  </a:lnTo>
                  <a:lnTo>
                    <a:pt x="158" y="121"/>
                  </a:lnTo>
                  <a:lnTo>
                    <a:pt x="158" y="121"/>
                  </a:lnTo>
                  <a:lnTo>
                    <a:pt x="158" y="146"/>
                  </a:lnTo>
                  <a:lnTo>
                    <a:pt x="156" y="168"/>
                  </a:lnTo>
                  <a:lnTo>
                    <a:pt x="154" y="179"/>
                  </a:lnTo>
                  <a:lnTo>
                    <a:pt x="152" y="189"/>
                  </a:lnTo>
                  <a:lnTo>
                    <a:pt x="149" y="198"/>
                  </a:lnTo>
                  <a:lnTo>
                    <a:pt x="145" y="207"/>
                  </a:lnTo>
                  <a:lnTo>
                    <a:pt x="141" y="215"/>
                  </a:lnTo>
                  <a:lnTo>
                    <a:pt x="135" y="221"/>
                  </a:lnTo>
                  <a:lnTo>
                    <a:pt x="129" y="227"/>
                  </a:lnTo>
                  <a:lnTo>
                    <a:pt x="122" y="232"/>
                  </a:lnTo>
                  <a:lnTo>
                    <a:pt x="113" y="235"/>
                  </a:lnTo>
                  <a:lnTo>
                    <a:pt x="102" y="238"/>
                  </a:lnTo>
                  <a:lnTo>
                    <a:pt x="92" y="240"/>
                  </a:lnTo>
                  <a:lnTo>
                    <a:pt x="79" y="240"/>
                  </a:lnTo>
                  <a:lnTo>
                    <a:pt x="79" y="240"/>
                  </a:lnTo>
                  <a:lnTo>
                    <a:pt x="67" y="240"/>
                  </a:lnTo>
                  <a:lnTo>
                    <a:pt x="56" y="238"/>
                  </a:lnTo>
                  <a:lnTo>
                    <a:pt x="46" y="235"/>
                  </a:lnTo>
                  <a:lnTo>
                    <a:pt x="38" y="232"/>
                  </a:lnTo>
                  <a:lnTo>
                    <a:pt x="31" y="227"/>
                  </a:lnTo>
                  <a:lnTo>
                    <a:pt x="24" y="221"/>
                  </a:lnTo>
                  <a:lnTo>
                    <a:pt x="18" y="215"/>
                  </a:lnTo>
                  <a:lnTo>
                    <a:pt x="13" y="207"/>
                  </a:lnTo>
                  <a:lnTo>
                    <a:pt x="10" y="198"/>
                  </a:lnTo>
                  <a:lnTo>
                    <a:pt x="7" y="189"/>
                  </a:lnTo>
                  <a:lnTo>
                    <a:pt x="5" y="179"/>
                  </a:lnTo>
                  <a:lnTo>
                    <a:pt x="3" y="168"/>
                  </a:lnTo>
                  <a:lnTo>
                    <a:pt x="1" y="146"/>
                  </a:lnTo>
                  <a:lnTo>
                    <a:pt x="0" y="121"/>
                  </a:lnTo>
                  <a:lnTo>
                    <a:pt x="0" y="121"/>
                  </a:lnTo>
                  <a:lnTo>
                    <a:pt x="1" y="94"/>
                  </a:lnTo>
                  <a:lnTo>
                    <a:pt x="3" y="72"/>
                  </a:lnTo>
                  <a:lnTo>
                    <a:pt x="5" y="61"/>
                  </a:lnTo>
                  <a:lnTo>
                    <a:pt x="7" y="51"/>
                  </a:lnTo>
                  <a:lnTo>
                    <a:pt x="10" y="42"/>
                  </a:lnTo>
                  <a:lnTo>
                    <a:pt x="13" y="33"/>
                  </a:lnTo>
                  <a:lnTo>
                    <a:pt x="18" y="26"/>
                  </a:lnTo>
                  <a:lnTo>
                    <a:pt x="24" y="19"/>
                  </a:lnTo>
                  <a:lnTo>
                    <a:pt x="31" y="13"/>
                  </a:lnTo>
                  <a:lnTo>
                    <a:pt x="38" y="8"/>
                  </a:lnTo>
                  <a:lnTo>
                    <a:pt x="46" y="5"/>
                  </a:lnTo>
                  <a:lnTo>
                    <a:pt x="56" y="2"/>
                  </a:lnTo>
                  <a:lnTo>
                    <a:pt x="67" y="0"/>
                  </a:lnTo>
                  <a:lnTo>
                    <a:pt x="79" y="0"/>
                  </a:lnTo>
                  <a:lnTo>
                    <a:pt x="79" y="0"/>
                  </a:lnTo>
                  <a:close/>
                  <a:moveTo>
                    <a:pt x="79" y="206"/>
                  </a:moveTo>
                  <a:lnTo>
                    <a:pt x="79" y="206"/>
                  </a:lnTo>
                  <a:lnTo>
                    <a:pt x="84" y="206"/>
                  </a:lnTo>
                  <a:lnTo>
                    <a:pt x="88" y="205"/>
                  </a:lnTo>
                  <a:lnTo>
                    <a:pt x="92" y="204"/>
                  </a:lnTo>
                  <a:lnTo>
                    <a:pt x="96" y="202"/>
                  </a:lnTo>
                  <a:lnTo>
                    <a:pt x="99" y="198"/>
                  </a:lnTo>
                  <a:lnTo>
                    <a:pt x="101" y="195"/>
                  </a:lnTo>
                  <a:lnTo>
                    <a:pt x="103" y="191"/>
                  </a:lnTo>
                  <a:lnTo>
                    <a:pt x="106" y="186"/>
                  </a:lnTo>
                  <a:lnTo>
                    <a:pt x="109" y="174"/>
                  </a:lnTo>
                  <a:lnTo>
                    <a:pt x="111" y="160"/>
                  </a:lnTo>
                  <a:lnTo>
                    <a:pt x="112" y="142"/>
                  </a:lnTo>
                  <a:lnTo>
                    <a:pt x="112" y="121"/>
                  </a:lnTo>
                  <a:lnTo>
                    <a:pt x="112" y="121"/>
                  </a:lnTo>
                  <a:lnTo>
                    <a:pt x="112" y="98"/>
                  </a:lnTo>
                  <a:lnTo>
                    <a:pt x="111" y="80"/>
                  </a:lnTo>
                  <a:lnTo>
                    <a:pt x="109" y="66"/>
                  </a:lnTo>
                  <a:lnTo>
                    <a:pt x="106" y="54"/>
                  </a:lnTo>
                  <a:lnTo>
                    <a:pt x="103" y="49"/>
                  </a:lnTo>
                  <a:lnTo>
                    <a:pt x="101" y="45"/>
                  </a:lnTo>
                  <a:lnTo>
                    <a:pt x="99" y="42"/>
                  </a:lnTo>
                  <a:lnTo>
                    <a:pt x="96" y="38"/>
                  </a:lnTo>
                  <a:lnTo>
                    <a:pt x="92" y="36"/>
                  </a:lnTo>
                  <a:lnTo>
                    <a:pt x="88" y="35"/>
                  </a:lnTo>
                  <a:lnTo>
                    <a:pt x="84" y="34"/>
                  </a:lnTo>
                  <a:lnTo>
                    <a:pt x="79" y="34"/>
                  </a:lnTo>
                  <a:lnTo>
                    <a:pt x="79" y="34"/>
                  </a:lnTo>
                  <a:lnTo>
                    <a:pt x="74" y="34"/>
                  </a:lnTo>
                  <a:lnTo>
                    <a:pt x="70" y="35"/>
                  </a:lnTo>
                  <a:lnTo>
                    <a:pt x="66" y="36"/>
                  </a:lnTo>
                  <a:lnTo>
                    <a:pt x="63" y="38"/>
                  </a:lnTo>
                  <a:lnTo>
                    <a:pt x="60" y="42"/>
                  </a:lnTo>
                  <a:lnTo>
                    <a:pt x="57" y="45"/>
                  </a:lnTo>
                  <a:lnTo>
                    <a:pt x="55" y="49"/>
                  </a:lnTo>
                  <a:lnTo>
                    <a:pt x="53" y="54"/>
                  </a:lnTo>
                  <a:lnTo>
                    <a:pt x="50" y="66"/>
                  </a:lnTo>
                  <a:lnTo>
                    <a:pt x="49" y="80"/>
                  </a:lnTo>
                  <a:lnTo>
                    <a:pt x="48" y="98"/>
                  </a:lnTo>
                  <a:lnTo>
                    <a:pt x="48" y="121"/>
                  </a:lnTo>
                  <a:lnTo>
                    <a:pt x="48" y="121"/>
                  </a:lnTo>
                  <a:lnTo>
                    <a:pt x="48" y="142"/>
                  </a:lnTo>
                  <a:lnTo>
                    <a:pt x="49" y="160"/>
                  </a:lnTo>
                  <a:lnTo>
                    <a:pt x="50" y="174"/>
                  </a:lnTo>
                  <a:lnTo>
                    <a:pt x="53" y="186"/>
                  </a:lnTo>
                  <a:lnTo>
                    <a:pt x="55" y="191"/>
                  </a:lnTo>
                  <a:lnTo>
                    <a:pt x="57" y="195"/>
                  </a:lnTo>
                  <a:lnTo>
                    <a:pt x="60" y="198"/>
                  </a:lnTo>
                  <a:lnTo>
                    <a:pt x="63" y="202"/>
                  </a:lnTo>
                  <a:lnTo>
                    <a:pt x="66" y="204"/>
                  </a:lnTo>
                  <a:lnTo>
                    <a:pt x="70" y="205"/>
                  </a:lnTo>
                  <a:lnTo>
                    <a:pt x="74" y="206"/>
                  </a:lnTo>
                  <a:lnTo>
                    <a:pt x="79" y="206"/>
                  </a:lnTo>
                  <a:lnTo>
                    <a:pt x="79" y="206"/>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18" name="Freeform 8"/>
            <p:cNvSpPr>
              <a:spLocks/>
            </p:cNvSpPr>
            <p:nvPr userDrawn="1"/>
          </p:nvSpPr>
          <p:spPr bwMode="auto">
            <a:xfrm>
              <a:off x="8002588" y="4805363"/>
              <a:ext cx="77788" cy="125413"/>
            </a:xfrm>
            <a:custGeom>
              <a:avLst/>
              <a:gdLst>
                <a:gd name="T0" fmla="*/ 47 w 148"/>
                <a:gd name="T1" fmla="*/ 0 h 236"/>
                <a:gd name="T2" fmla="*/ 47 w 148"/>
                <a:gd name="T3" fmla="*/ 162 h 236"/>
                <a:gd name="T4" fmla="*/ 47 w 148"/>
                <a:gd name="T5" fmla="*/ 162 h 236"/>
                <a:gd name="T6" fmla="*/ 47 w 148"/>
                <a:gd name="T7" fmla="*/ 170 h 236"/>
                <a:gd name="T8" fmla="*/ 48 w 148"/>
                <a:gd name="T9" fmla="*/ 178 h 236"/>
                <a:gd name="T10" fmla="*/ 50 w 148"/>
                <a:gd name="T11" fmla="*/ 184 h 236"/>
                <a:gd name="T12" fmla="*/ 52 w 148"/>
                <a:gd name="T13" fmla="*/ 190 h 236"/>
                <a:gd name="T14" fmla="*/ 56 w 148"/>
                <a:gd name="T15" fmla="*/ 195 h 236"/>
                <a:gd name="T16" fmla="*/ 60 w 148"/>
                <a:gd name="T17" fmla="*/ 199 h 236"/>
                <a:gd name="T18" fmla="*/ 66 w 148"/>
                <a:gd name="T19" fmla="*/ 202 h 236"/>
                <a:gd name="T20" fmla="*/ 74 w 148"/>
                <a:gd name="T21" fmla="*/ 202 h 236"/>
                <a:gd name="T22" fmla="*/ 74 w 148"/>
                <a:gd name="T23" fmla="*/ 202 h 236"/>
                <a:gd name="T24" fmla="*/ 81 w 148"/>
                <a:gd name="T25" fmla="*/ 202 h 236"/>
                <a:gd name="T26" fmla="*/ 87 w 148"/>
                <a:gd name="T27" fmla="*/ 199 h 236"/>
                <a:gd name="T28" fmla="*/ 93 w 148"/>
                <a:gd name="T29" fmla="*/ 195 h 236"/>
                <a:gd name="T30" fmla="*/ 96 w 148"/>
                <a:gd name="T31" fmla="*/ 190 h 236"/>
                <a:gd name="T32" fmla="*/ 99 w 148"/>
                <a:gd name="T33" fmla="*/ 184 h 236"/>
                <a:gd name="T34" fmla="*/ 100 w 148"/>
                <a:gd name="T35" fmla="*/ 178 h 236"/>
                <a:gd name="T36" fmla="*/ 101 w 148"/>
                <a:gd name="T37" fmla="*/ 170 h 236"/>
                <a:gd name="T38" fmla="*/ 102 w 148"/>
                <a:gd name="T39" fmla="*/ 162 h 236"/>
                <a:gd name="T40" fmla="*/ 102 w 148"/>
                <a:gd name="T41" fmla="*/ 0 h 236"/>
                <a:gd name="T42" fmla="*/ 148 w 148"/>
                <a:gd name="T43" fmla="*/ 0 h 236"/>
                <a:gd name="T44" fmla="*/ 148 w 148"/>
                <a:gd name="T45" fmla="*/ 162 h 236"/>
                <a:gd name="T46" fmla="*/ 148 w 148"/>
                <a:gd name="T47" fmla="*/ 162 h 236"/>
                <a:gd name="T48" fmla="*/ 147 w 148"/>
                <a:gd name="T49" fmla="*/ 172 h 236"/>
                <a:gd name="T50" fmla="*/ 146 w 148"/>
                <a:gd name="T51" fmla="*/ 182 h 236"/>
                <a:gd name="T52" fmla="*/ 144 w 148"/>
                <a:gd name="T53" fmla="*/ 190 h 236"/>
                <a:gd name="T54" fmla="*/ 142 w 148"/>
                <a:gd name="T55" fmla="*/ 199 h 236"/>
                <a:gd name="T56" fmla="*/ 138 w 148"/>
                <a:gd name="T57" fmla="*/ 206 h 236"/>
                <a:gd name="T58" fmla="*/ 135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9 w 148"/>
                <a:gd name="T73" fmla="*/ 236 h 236"/>
                <a:gd name="T74" fmla="*/ 74 w 148"/>
                <a:gd name="T75" fmla="*/ 236 h 236"/>
                <a:gd name="T76" fmla="*/ 74 w 148"/>
                <a:gd name="T77" fmla="*/ 236 h 236"/>
                <a:gd name="T78" fmla="*/ 60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7 w 148"/>
                <a:gd name="T97" fmla="*/ 200 h 236"/>
                <a:gd name="T98" fmla="*/ 4 w 148"/>
                <a:gd name="T99" fmla="*/ 191 h 236"/>
                <a:gd name="T100" fmla="*/ 1 w 148"/>
                <a:gd name="T101" fmla="*/ 182 h 236"/>
                <a:gd name="T102" fmla="*/ 0 w 148"/>
                <a:gd name="T103" fmla="*/ 173 h 236"/>
                <a:gd name="T104" fmla="*/ 0 w 148"/>
                <a:gd name="T105" fmla="*/ 162 h 236"/>
                <a:gd name="T106" fmla="*/ 0 w 148"/>
                <a:gd name="T107" fmla="*/ 0 h 236"/>
                <a:gd name="T108" fmla="*/ 47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7" y="0"/>
                  </a:moveTo>
                  <a:lnTo>
                    <a:pt x="47" y="162"/>
                  </a:lnTo>
                  <a:lnTo>
                    <a:pt x="47" y="162"/>
                  </a:lnTo>
                  <a:lnTo>
                    <a:pt x="47" y="170"/>
                  </a:lnTo>
                  <a:lnTo>
                    <a:pt x="48" y="178"/>
                  </a:lnTo>
                  <a:lnTo>
                    <a:pt x="50" y="184"/>
                  </a:lnTo>
                  <a:lnTo>
                    <a:pt x="52" y="190"/>
                  </a:lnTo>
                  <a:lnTo>
                    <a:pt x="56" y="195"/>
                  </a:lnTo>
                  <a:lnTo>
                    <a:pt x="60" y="199"/>
                  </a:lnTo>
                  <a:lnTo>
                    <a:pt x="66" y="202"/>
                  </a:lnTo>
                  <a:lnTo>
                    <a:pt x="74" y="202"/>
                  </a:lnTo>
                  <a:lnTo>
                    <a:pt x="74" y="202"/>
                  </a:lnTo>
                  <a:lnTo>
                    <a:pt x="81" y="202"/>
                  </a:lnTo>
                  <a:lnTo>
                    <a:pt x="87" y="199"/>
                  </a:lnTo>
                  <a:lnTo>
                    <a:pt x="93" y="195"/>
                  </a:lnTo>
                  <a:lnTo>
                    <a:pt x="96" y="190"/>
                  </a:lnTo>
                  <a:lnTo>
                    <a:pt x="99" y="184"/>
                  </a:lnTo>
                  <a:lnTo>
                    <a:pt x="100" y="178"/>
                  </a:lnTo>
                  <a:lnTo>
                    <a:pt x="101" y="170"/>
                  </a:lnTo>
                  <a:lnTo>
                    <a:pt x="102" y="162"/>
                  </a:lnTo>
                  <a:lnTo>
                    <a:pt x="102" y="0"/>
                  </a:lnTo>
                  <a:lnTo>
                    <a:pt x="148" y="0"/>
                  </a:lnTo>
                  <a:lnTo>
                    <a:pt x="148" y="162"/>
                  </a:lnTo>
                  <a:lnTo>
                    <a:pt x="148" y="162"/>
                  </a:lnTo>
                  <a:lnTo>
                    <a:pt x="147" y="172"/>
                  </a:lnTo>
                  <a:lnTo>
                    <a:pt x="146" y="182"/>
                  </a:lnTo>
                  <a:lnTo>
                    <a:pt x="144" y="190"/>
                  </a:lnTo>
                  <a:lnTo>
                    <a:pt x="142" y="199"/>
                  </a:lnTo>
                  <a:lnTo>
                    <a:pt x="138" y="206"/>
                  </a:lnTo>
                  <a:lnTo>
                    <a:pt x="135" y="212"/>
                  </a:lnTo>
                  <a:lnTo>
                    <a:pt x="130" y="217"/>
                  </a:lnTo>
                  <a:lnTo>
                    <a:pt x="125" y="221"/>
                  </a:lnTo>
                  <a:lnTo>
                    <a:pt x="120" y="225"/>
                  </a:lnTo>
                  <a:lnTo>
                    <a:pt x="114" y="228"/>
                  </a:lnTo>
                  <a:lnTo>
                    <a:pt x="108" y="231"/>
                  </a:lnTo>
                  <a:lnTo>
                    <a:pt x="102" y="233"/>
                  </a:lnTo>
                  <a:lnTo>
                    <a:pt x="89" y="236"/>
                  </a:lnTo>
                  <a:lnTo>
                    <a:pt x="74" y="236"/>
                  </a:lnTo>
                  <a:lnTo>
                    <a:pt x="74" y="236"/>
                  </a:lnTo>
                  <a:lnTo>
                    <a:pt x="60" y="236"/>
                  </a:lnTo>
                  <a:lnTo>
                    <a:pt x="46" y="234"/>
                  </a:lnTo>
                  <a:lnTo>
                    <a:pt x="40" y="232"/>
                  </a:lnTo>
                  <a:lnTo>
                    <a:pt x="34" y="229"/>
                  </a:lnTo>
                  <a:lnTo>
                    <a:pt x="28" y="226"/>
                  </a:lnTo>
                  <a:lnTo>
                    <a:pt x="23" y="223"/>
                  </a:lnTo>
                  <a:lnTo>
                    <a:pt x="18" y="218"/>
                  </a:lnTo>
                  <a:lnTo>
                    <a:pt x="14" y="213"/>
                  </a:lnTo>
                  <a:lnTo>
                    <a:pt x="10" y="207"/>
                  </a:lnTo>
                  <a:lnTo>
                    <a:pt x="7" y="200"/>
                  </a:lnTo>
                  <a:lnTo>
                    <a:pt x="4" y="191"/>
                  </a:lnTo>
                  <a:lnTo>
                    <a:pt x="1" y="182"/>
                  </a:lnTo>
                  <a:lnTo>
                    <a:pt x="0" y="173"/>
                  </a:lnTo>
                  <a:lnTo>
                    <a:pt x="0" y="162"/>
                  </a:lnTo>
                  <a:lnTo>
                    <a:pt x="0" y="0"/>
                  </a:lnTo>
                  <a:lnTo>
                    <a:pt x="4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26" name="Freeform 9"/>
            <p:cNvSpPr>
              <a:spLocks noEditPoints="1"/>
            </p:cNvSpPr>
            <p:nvPr userDrawn="1"/>
          </p:nvSpPr>
          <p:spPr bwMode="auto">
            <a:xfrm>
              <a:off x="8101013" y="4805363"/>
              <a:ext cx="76200" cy="123825"/>
            </a:xfrm>
            <a:custGeom>
              <a:avLst/>
              <a:gdLst>
                <a:gd name="T0" fmla="*/ 0 w 144"/>
                <a:gd name="T1" fmla="*/ 0 h 232"/>
                <a:gd name="T2" fmla="*/ 82 w 144"/>
                <a:gd name="T3" fmla="*/ 0 h 232"/>
                <a:gd name="T4" fmla="*/ 82 w 144"/>
                <a:gd name="T5" fmla="*/ 0 h 232"/>
                <a:gd name="T6" fmla="*/ 90 w 144"/>
                <a:gd name="T7" fmla="*/ 1 h 232"/>
                <a:gd name="T8" fmla="*/ 98 w 144"/>
                <a:gd name="T9" fmla="*/ 2 h 232"/>
                <a:gd name="T10" fmla="*/ 105 w 144"/>
                <a:gd name="T11" fmla="*/ 4 h 232"/>
                <a:gd name="T12" fmla="*/ 111 w 144"/>
                <a:gd name="T13" fmla="*/ 6 h 232"/>
                <a:gd name="T14" fmla="*/ 117 w 144"/>
                <a:gd name="T15" fmla="*/ 9 h 232"/>
                <a:gd name="T16" fmla="*/ 122 w 144"/>
                <a:gd name="T17" fmla="*/ 13 h 232"/>
                <a:gd name="T18" fmla="*/ 127 w 144"/>
                <a:gd name="T19" fmla="*/ 17 h 232"/>
                <a:gd name="T20" fmla="*/ 131 w 144"/>
                <a:gd name="T21" fmla="*/ 22 h 232"/>
                <a:gd name="T22" fmla="*/ 134 w 144"/>
                <a:gd name="T23" fmla="*/ 27 h 232"/>
                <a:gd name="T24" fmla="*/ 137 w 144"/>
                <a:gd name="T25" fmla="*/ 32 h 232"/>
                <a:gd name="T26" fmla="*/ 141 w 144"/>
                <a:gd name="T27" fmla="*/ 45 h 232"/>
                <a:gd name="T28" fmla="*/ 144 w 144"/>
                <a:gd name="T29" fmla="*/ 57 h 232"/>
                <a:gd name="T30" fmla="*/ 144 w 144"/>
                <a:gd name="T31" fmla="*/ 70 h 232"/>
                <a:gd name="T32" fmla="*/ 144 w 144"/>
                <a:gd name="T33" fmla="*/ 70 h 232"/>
                <a:gd name="T34" fmla="*/ 144 w 144"/>
                <a:gd name="T35" fmla="*/ 78 h 232"/>
                <a:gd name="T36" fmla="*/ 143 w 144"/>
                <a:gd name="T37" fmla="*/ 86 h 232"/>
                <a:gd name="T38" fmla="*/ 141 w 144"/>
                <a:gd name="T39" fmla="*/ 94 h 232"/>
                <a:gd name="T40" fmla="*/ 139 w 144"/>
                <a:gd name="T41" fmla="*/ 101 h 232"/>
                <a:gd name="T42" fmla="*/ 136 w 144"/>
                <a:gd name="T43" fmla="*/ 107 h 232"/>
                <a:gd name="T44" fmla="*/ 133 w 144"/>
                <a:gd name="T45" fmla="*/ 112 h 232"/>
                <a:gd name="T46" fmla="*/ 129 w 144"/>
                <a:gd name="T47" fmla="*/ 118 h 232"/>
                <a:gd name="T48" fmla="*/ 124 w 144"/>
                <a:gd name="T49" fmla="*/ 123 h 232"/>
                <a:gd name="T50" fmla="*/ 119 w 144"/>
                <a:gd name="T51" fmla="*/ 127 h 232"/>
                <a:gd name="T52" fmla="*/ 114 w 144"/>
                <a:gd name="T53" fmla="*/ 130 h 232"/>
                <a:gd name="T54" fmla="*/ 108 w 144"/>
                <a:gd name="T55" fmla="*/ 133 h 232"/>
                <a:gd name="T56" fmla="*/ 101 w 144"/>
                <a:gd name="T57" fmla="*/ 136 h 232"/>
                <a:gd name="T58" fmla="*/ 95 w 144"/>
                <a:gd name="T59" fmla="*/ 137 h 232"/>
                <a:gd name="T60" fmla="*/ 87 w 144"/>
                <a:gd name="T61" fmla="*/ 139 h 232"/>
                <a:gd name="T62" fmla="*/ 71 w 144"/>
                <a:gd name="T63" fmla="*/ 140 h 232"/>
                <a:gd name="T64" fmla="*/ 46 w 144"/>
                <a:gd name="T65" fmla="*/ 140 h 232"/>
                <a:gd name="T66" fmla="*/ 46 w 144"/>
                <a:gd name="T67" fmla="*/ 232 h 232"/>
                <a:gd name="T68" fmla="*/ 0 w 144"/>
                <a:gd name="T69" fmla="*/ 232 h 232"/>
                <a:gd name="T70" fmla="*/ 0 w 144"/>
                <a:gd name="T71" fmla="*/ 0 h 232"/>
                <a:gd name="T72" fmla="*/ 46 w 144"/>
                <a:gd name="T73" fmla="*/ 105 h 232"/>
                <a:gd name="T74" fmla="*/ 67 w 144"/>
                <a:gd name="T75" fmla="*/ 105 h 232"/>
                <a:gd name="T76" fmla="*/ 67 w 144"/>
                <a:gd name="T77" fmla="*/ 105 h 232"/>
                <a:gd name="T78" fmla="*/ 74 w 144"/>
                <a:gd name="T79" fmla="*/ 104 h 232"/>
                <a:gd name="T80" fmla="*/ 80 w 144"/>
                <a:gd name="T81" fmla="*/ 103 h 232"/>
                <a:gd name="T82" fmla="*/ 85 w 144"/>
                <a:gd name="T83" fmla="*/ 100 h 232"/>
                <a:gd name="T84" fmla="*/ 90 w 144"/>
                <a:gd name="T85" fmla="*/ 96 h 232"/>
                <a:gd name="T86" fmla="*/ 93 w 144"/>
                <a:gd name="T87" fmla="*/ 92 h 232"/>
                <a:gd name="T88" fmla="*/ 96 w 144"/>
                <a:gd name="T89" fmla="*/ 86 h 232"/>
                <a:gd name="T90" fmla="*/ 98 w 144"/>
                <a:gd name="T91" fmla="*/ 79 h 232"/>
                <a:gd name="T92" fmla="*/ 98 w 144"/>
                <a:gd name="T93" fmla="*/ 70 h 232"/>
                <a:gd name="T94" fmla="*/ 98 w 144"/>
                <a:gd name="T95" fmla="*/ 70 h 232"/>
                <a:gd name="T96" fmla="*/ 98 w 144"/>
                <a:gd name="T97" fmla="*/ 62 h 232"/>
                <a:gd name="T98" fmla="*/ 97 w 144"/>
                <a:gd name="T99" fmla="*/ 55 h 232"/>
                <a:gd name="T100" fmla="*/ 94 w 144"/>
                <a:gd name="T101" fmla="*/ 49 h 232"/>
                <a:gd name="T102" fmla="*/ 91 w 144"/>
                <a:gd name="T103" fmla="*/ 44 h 232"/>
                <a:gd name="T104" fmla="*/ 87 w 144"/>
                <a:gd name="T105" fmla="*/ 40 h 232"/>
                <a:gd name="T106" fmla="*/ 81 w 144"/>
                <a:gd name="T107" fmla="*/ 37 h 232"/>
                <a:gd name="T108" fmla="*/ 74 w 144"/>
                <a:gd name="T109" fmla="*/ 35 h 232"/>
                <a:gd name="T110" fmla="*/ 65 w 144"/>
                <a:gd name="T111" fmla="*/ 34 h 232"/>
                <a:gd name="T112" fmla="*/ 46 w 144"/>
                <a:gd name="T113" fmla="*/ 34 h 232"/>
                <a:gd name="T114" fmla="*/ 46 w 144"/>
                <a:gd name="T115" fmla="*/ 10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32">
                  <a:moveTo>
                    <a:pt x="0" y="0"/>
                  </a:moveTo>
                  <a:lnTo>
                    <a:pt x="82" y="0"/>
                  </a:lnTo>
                  <a:lnTo>
                    <a:pt x="82" y="0"/>
                  </a:lnTo>
                  <a:lnTo>
                    <a:pt x="90" y="1"/>
                  </a:lnTo>
                  <a:lnTo>
                    <a:pt x="98" y="2"/>
                  </a:lnTo>
                  <a:lnTo>
                    <a:pt x="105" y="4"/>
                  </a:lnTo>
                  <a:lnTo>
                    <a:pt x="111" y="6"/>
                  </a:lnTo>
                  <a:lnTo>
                    <a:pt x="117" y="9"/>
                  </a:lnTo>
                  <a:lnTo>
                    <a:pt x="122" y="13"/>
                  </a:lnTo>
                  <a:lnTo>
                    <a:pt x="127" y="17"/>
                  </a:lnTo>
                  <a:lnTo>
                    <a:pt x="131" y="22"/>
                  </a:lnTo>
                  <a:lnTo>
                    <a:pt x="134" y="27"/>
                  </a:lnTo>
                  <a:lnTo>
                    <a:pt x="137" y="32"/>
                  </a:lnTo>
                  <a:lnTo>
                    <a:pt x="141" y="45"/>
                  </a:lnTo>
                  <a:lnTo>
                    <a:pt x="144" y="57"/>
                  </a:lnTo>
                  <a:lnTo>
                    <a:pt x="144" y="70"/>
                  </a:lnTo>
                  <a:lnTo>
                    <a:pt x="144" y="70"/>
                  </a:lnTo>
                  <a:lnTo>
                    <a:pt x="144" y="78"/>
                  </a:lnTo>
                  <a:lnTo>
                    <a:pt x="143" y="86"/>
                  </a:lnTo>
                  <a:lnTo>
                    <a:pt x="141" y="94"/>
                  </a:lnTo>
                  <a:lnTo>
                    <a:pt x="139" y="101"/>
                  </a:lnTo>
                  <a:lnTo>
                    <a:pt x="136" y="107"/>
                  </a:lnTo>
                  <a:lnTo>
                    <a:pt x="133" y="112"/>
                  </a:lnTo>
                  <a:lnTo>
                    <a:pt x="129" y="118"/>
                  </a:lnTo>
                  <a:lnTo>
                    <a:pt x="124" y="123"/>
                  </a:lnTo>
                  <a:lnTo>
                    <a:pt x="119" y="127"/>
                  </a:lnTo>
                  <a:lnTo>
                    <a:pt x="114" y="130"/>
                  </a:lnTo>
                  <a:lnTo>
                    <a:pt x="108" y="133"/>
                  </a:lnTo>
                  <a:lnTo>
                    <a:pt x="101" y="136"/>
                  </a:lnTo>
                  <a:lnTo>
                    <a:pt x="95" y="137"/>
                  </a:lnTo>
                  <a:lnTo>
                    <a:pt x="87" y="139"/>
                  </a:lnTo>
                  <a:lnTo>
                    <a:pt x="71" y="140"/>
                  </a:lnTo>
                  <a:lnTo>
                    <a:pt x="46" y="140"/>
                  </a:lnTo>
                  <a:lnTo>
                    <a:pt x="46" y="232"/>
                  </a:lnTo>
                  <a:lnTo>
                    <a:pt x="0" y="232"/>
                  </a:lnTo>
                  <a:lnTo>
                    <a:pt x="0" y="0"/>
                  </a:lnTo>
                  <a:close/>
                  <a:moveTo>
                    <a:pt x="46" y="105"/>
                  </a:moveTo>
                  <a:lnTo>
                    <a:pt x="67" y="105"/>
                  </a:lnTo>
                  <a:lnTo>
                    <a:pt x="67" y="105"/>
                  </a:lnTo>
                  <a:lnTo>
                    <a:pt x="74" y="104"/>
                  </a:lnTo>
                  <a:lnTo>
                    <a:pt x="80" y="103"/>
                  </a:lnTo>
                  <a:lnTo>
                    <a:pt x="85" y="100"/>
                  </a:lnTo>
                  <a:lnTo>
                    <a:pt x="90" y="96"/>
                  </a:lnTo>
                  <a:lnTo>
                    <a:pt x="93" y="92"/>
                  </a:lnTo>
                  <a:lnTo>
                    <a:pt x="96" y="86"/>
                  </a:lnTo>
                  <a:lnTo>
                    <a:pt x="98" y="79"/>
                  </a:lnTo>
                  <a:lnTo>
                    <a:pt x="98" y="70"/>
                  </a:lnTo>
                  <a:lnTo>
                    <a:pt x="98" y="70"/>
                  </a:lnTo>
                  <a:lnTo>
                    <a:pt x="98" y="62"/>
                  </a:lnTo>
                  <a:lnTo>
                    <a:pt x="97" y="55"/>
                  </a:lnTo>
                  <a:lnTo>
                    <a:pt x="94" y="49"/>
                  </a:lnTo>
                  <a:lnTo>
                    <a:pt x="91" y="44"/>
                  </a:lnTo>
                  <a:lnTo>
                    <a:pt x="87" y="40"/>
                  </a:lnTo>
                  <a:lnTo>
                    <a:pt x="81" y="37"/>
                  </a:lnTo>
                  <a:lnTo>
                    <a:pt x="74" y="35"/>
                  </a:lnTo>
                  <a:lnTo>
                    <a:pt x="65" y="34"/>
                  </a:lnTo>
                  <a:lnTo>
                    <a:pt x="46" y="34"/>
                  </a:lnTo>
                  <a:lnTo>
                    <a:pt x="46" y="105"/>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28" name="Freeform 10"/>
            <p:cNvSpPr>
              <a:spLocks/>
            </p:cNvSpPr>
            <p:nvPr userDrawn="1"/>
          </p:nvSpPr>
          <p:spPr bwMode="auto">
            <a:xfrm>
              <a:off x="8188325"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29" name="Freeform 11"/>
            <p:cNvSpPr>
              <a:spLocks noEditPoints="1"/>
            </p:cNvSpPr>
            <p:nvPr userDrawn="1"/>
          </p:nvSpPr>
          <p:spPr bwMode="auto">
            <a:xfrm>
              <a:off x="8315325" y="4805363"/>
              <a:ext cx="82550" cy="123825"/>
            </a:xfrm>
            <a:custGeom>
              <a:avLst/>
              <a:gdLst>
                <a:gd name="T0" fmla="*/ 87 w 157"/>
                <a:gd name="T1" fmla="*/ 0 h 232"/>
                <a:gd name="T2" fmla="*/ 101 w 157"/>
                <a:gd name="T3" fmla="*/ 1 h 232"/>
                <a:gd name="T4" fmla="*/ 124 w 157"/>
                <a:gd name="T5" fmla="*/ 9 h 232"/>
                <a:gd name="T6" fmla="*/ 132 w 157"/>
                <a:gd name="T7" fmla="*/ 15 h 232"/>
                <a:gd name="T8" fmla="*/ 139 w 157"/>
                <a:gd name="T9" fmla="*/ 23 h 232"/>
                <a:gd name="T10" fmla="*/ 144 w 157"/>
                <a:gd name="T11" fmla="*/ 33 h 232"/>
                <a:gd name="T12" fmla="*/ 147 w 157"/>
                <a:gd name="T13" fmla="*/ 46 h 232"/>
                <a:gd name="T14" fmla="*/ 149 w 157"/>
                <a:gd name="T15" fmla="*/ 60 h 232"/>
                <a:gd name="T16" fmla="*/ 146 w 157"/>
                <a:gd name="T17" fmla="*/ 81 h 232"/>
                <a:gd name="T18" fmla="*/ 139 w 157"/>
                <a:gd name="T19" fmla="*/ 98 h 232"/>
                <a:gd name="T20" fmla="*/ 127 w 157"/>
                <a:gd name="T21" fmla="*/ 110 h 232"/>
                <a:gd name="T22" fmla="*/ 110 w 157"/>
                <a:gd name="T23" fmla="*/ 118 h 232"/>
                <a:gd name="T24" fmla="*/ 110 w 157"/>
                <a:gd name="T25" fmla="*/ 118 h 232"/>
                <a:gd name="T26" fmla="*/ 129 w 157"/>
                <a:gd name="T27" fmla="*/ 124 h 232"/>
                <a:gd name="T28" fmla="*/ 136 w 157"/>
                <a:gd name="T29" fmla="*/ 129 h 232"/>
                <a:gd name="T30" fmla="*/ 140 w 157"/>
                <a:gd name="T31" fmla="*/ 137 h 232"/>
                <a:gd name="T32" fmla="*/ 146 w 157"/>
                <a:gd name="T33" fmla="*/ 157 h 232"/>
                <a:gd name="T34" fmla="*/ 147 w 157"/>
                <a:gd name="T35" fmla="*/ 188 h 232"/>
                <a:gd name="T36" fmla="*/ 148 w 157"/>
                <a:gd name="T37" fmla="*/ 205 h 232"/>
                <a:gd name="T38" fmla="*/ 151 w 157"/>
                <a:gd name="T39" fmla="*/ 221 h 232"/>
                <a:gd name="T40" fmla="*/ 155 w 157"/>
                <a:gd name="T41" fmla="*/ 228 h 232"/>
                <a:gd name="T42" fmla="*/ 157 w 157"/>
                <a:gd name="T43" fmla="*/ 232 h 232"/>
                <a:gd name="T44" fmla="*/ 108 w 157"/>
                <a:gd name="T45" fmla="*/ 232 h 232"/>
                <a:gd name="T46" fmla="*/ 103 w 157"/>
                <a:gd name="T47" fmla="*/ 221 h 232"/>
                <a:gd name="T48" fmla="*/ 102 w 157"/>
                <a:gd name="T49" fmla="*/ 208 h 232"/>
                <a:gd name="T50" fmla="*/ 100 w 157"/>
                <a:gd name="T51" fmla="*/ 163 h 232"/>
                <a:gd name="T52" fmla="*/ 99 w 157"/>
                <a:gd name="T53" fmla="*/ 151 h 232"/>
                <a:gd name="T54" fmla="*/ 94 w 157"/>
                <a:gd name="T55" fmla="*/ 142 h 232"/>
                <a:gd name="T56" fmla="*/ 84 w 157"/>
                <a:gd name="T57" fmla="*/ 136 h 232"/>
                <a:gd name="T58" fmla="*/ 72 w 157"/>
                <a:gd name="T59" fmla="*/ 134 h 232"/>
                <a:gd name="T60" fmla="*/ 48 w 157"/>
                <a:gd name="T61" fmla="*/ 232 h 232"/>
                <a:gd name="T62" fmla="*/ 0 w 157"/>
                <a:gd name="T63" fmla="*/ 0 h 232"/>
                <a:gd name="T64" fmla="*/ 67 w 157"/>
                <a:gd name="T65" fmla="*/ 101 h 232"/>
                <a:gd name="T66" fmla="*/ 75 w 157"/>
                <a:gd name="T67" fmla="*/ 101 h 232"/>
                <a:gd name="T68" fmla="*/ 87 w 157"/>
                <a:gd name="T69" fmla="*/ 97 h 232"/>
                <a:gd name="T70" fmla="*/ 97 w 157"/>
                <a:gd name="T71" fmla="*/ 89 h 232"/>
                <a:gd name="T72" fmla="*/ 102 w 157"/>
                <a:gd name="T73" fmla="*/ 75 h 232"/>
                <a:gd name="T74" fmla="*/ 102 w 157"/>
                <a:gd name="T75" fmla="*/ 67 h 232"/>
                <a:gd name="T76" fmla="*/ 100 w 157"/>
                <a:gd name="T77" fmla="*/ 53 h 232"/>
                <a:gd name="T78" fmla="*/ 94 w 157"/>
                <a:gd name="T79" fmla="*/ 43 h 232"/>
                <a:gd name="T80" fmla="*/ 83 w 157"/>
                <a:gd name="T81" fmla="*/ 37 h 232"/>
                <a:gd name="T82" fmla="*/ 69 w 157"/>
                <a:gd name="T83" fmla="*/ 34 h 232"/>
                <a:gd name="T84" fmla="*/ 48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7" y="0"/>
                  </a:lnTo>
                  <a:lnTo>
                    <a:pt x="87" y="0"/>
                  </a:lnTo>
                  <a:lnTo>
                    <a:pt x="101" y="1"/>
                  </a:lnTo>
                  <a:lnTo>
                    <a:pt x="113" y="4"/>
                  </a:lnTo>
                  <a:lnTo>
                    <a:pt x="124" y="9"/>
                  </a:lnTo>
                  <a:lnTo>
                    <a:pt x="128" y="12"/>
                  </a:lnTo>
                  <a:lnTo>
                    <a:pt x="132" y="15"/>
                  </a:lnTo>
                  <a:lnTo>
                    <a:pt x="136" y="19"/>
                  </a:lnTo>
                  <a:lnTo>
                    <a:pt x="139" y="23"/>
                  </a:lnTo>
                  <a:lnTo>
                    <a:pt x="142" y="28"/>
                  </a:lnTo>
                  <a:lnTo>
                    <a:pt x="144" y="33"/>
                  </a:lnTo>
                  <a:lnTo>
                    <a:pt x="146" y="40"/>
                  </a:lnTo>
                  <a:lnTo>
                    <a:pt x="147" y="46"/>
                  </a:lnTo>
                  <a:lnTo>
                    <a:pt x="149" y="60"/>
                  </a:lnTo>
                  <a:lnTo>
                    <a:pt x="149" y="60"/>
                  </a:lnTo>
                  <a:lnTo>
                    <a:pt x="148" y="71"/>
                  </a:lnTo>
                  <a:lnTo>
                    <a:pt x="146" y="81"/>
                  </a:lnTo>
                  <a:lnTo>
                    <a:pt x="143" y="90"/>
                  </a:lnTo>
                  <a:lnTo>
                    <a:pt x="139" y="98"/>
                  </a:lnTo>
                  <a:lnTo>
                    <a:pt x="134" y="104"/>
                  </a:lnTo>
                  <a:lnTo>
                    <a:pt x="127" y="110"/>
                  </a:lnTo>
                  <a:lnTo>
                    <a:pt x="119" y="114"/>
                  </a:lnTo>
                  <a:lnTo>
                    <a:pt x="110" y="118"/>
                  </a:lnTo>
                  <a:lnTo>
                    <a:pt x="110" y="118"/>
                  </a:lnTo>
                  <a:lnTo>
                    <a:pt x="110" y="118"/>
                  </a:lnTo>
                  <a:lnTo>
                    <a:pt x="121" y="120"/>
                  </a:lnTo>
                  <a:lnTo>
                    <a:pt x="129" y="124"/>
                  </a:lnTo>
                  <a:lnTo>
                    <a:pt x="133" y="126"/>
                  </a:lnTo>
                  <a:lnTo>
                    <a:pt x="136" y="129"/>
                  </a:lnTo>
                  <a:lnTo>
                    <a:pt x="138" y="133"/>
                  </a:lnTo>
                  <a:lnTo>
                    <a:pt x="140" y="137"/>
                  </a:lnTo>
                  <a:lnTo>
                    <a:pt x="144" y="146"/>
                  </a:lnTo>
                  <a:lnTo>
                    <a:pt x="146" y="157"/>
                  </a:lnTo>
                  <a:lnTo>
                    <a:pt x="147" y="171"/>
                  </a:lnTo>
                  <a:lnTo>
                    <a:pt x="147" y="188"/>
                  </a:lnTo>
                  <a:lnTo>
                    <a:pt x="147" y="188"/>
                  </a:lnTo>
                  <a:lnTo>
                    <a:pt x="148" y="205"/>
                  </a:lnTo>
                  <a:lnTo>
                    <a:pt x="149" y="217"/>
                  </a:lnTo>
                  <a:lnTo>
                    <a:pt x="151" y="221"/>
                  </a:lnTo>
                  <a:lnTo>
                    <a:pt x="152" y="225"/>
                  </a:lnTo>
                  <a:lnTo>
                    <a:pt x="155" y="228"/>
                  </a:lnTo>
                  <a:lnTo>
                    <a:pt x="157" y="230"/>
                  </a:lnTo>
                  <a:lnTo>
                    <a:pt x="157" y="232"/>
                  </a:lnTo>
                  <a:lnTo>
                    <a:pt x="108" y="232"/>
                  </a:lnTo>
                  <a:lnTo>
                    <a:pt x="108" y="232"/>
                  </a:lnTo>
                  <a:lnTo>
                    <a:pt x="105" y="227"/>
                  </a:lnTo>
                  <a:lnTo>
                    <a:pt x="103" y="221"/>
                  </a:lnTo>
                  <a:lnTo>
                    <a:pt x="102" y="215"/>
                  </a:lnTo>
                  <a:lnTo>
                    <a:pt x="102" y="208"/>
                  </a:lnTo>
                  <a:lnTo>
                    <a:pt x="100" y="163"/>
                  </a:lnTo>
                  <a:lnTo>
                    <a:pt x="100" y="163"/>
                  </a:lnTo>
                  <a:lnTo>
                    <a:pt x="100" y="157"/>
                  </a:lnTo>
                  <a:lnTo>
                    <a:pt x="99" y="151"/>
                  </a:lnTo>
                  <a:lnTo>
                    <a:pt x="96" y="146"/>
                  </a:lnTo>
                  <a:lnTo>
                    <a:pt x="94" y="142"/>
                  </a:lnTo>
                  <a:lnTo>
                    <a:pt x="89" y="139"/>
                  </a:lnTo>
                  <a:lnTo>
                    <a:pt x="84" y="136"/>
                  </a:lnTo>
                  <a:lnTo>
                    <a:pt x="79" y="135"/>
                  </a:lnTo>
                  <a:lnTo>
                    <a:pt x="72" y="134"/>
                  </a:lnTo>
                  <a:lnTo>
                    <a:pt x="48" y="134"/>
                  </a:lnTo>
                  <a:lnTo>
                    <a:pt x="48" y="232"/>
                  </a:lnTo>
                  <a:lnTo>
                    <a:pt x="0" y="232"/>
                  </a:lnTo>
                  <a:lnTo>
                    <a:pt x="0" y="0"/>
                  </a:lnTo>
                  <a:close/>
                  <a:moveTo>
                    <a:pt x="48" y="101"/>
                  </a:moveTo>
                  <a:lnTo>
                    <a:pt x="67" y="101"/>
                  </a:lnTo>
                  <a:lnTo>
                    <a:pt x="67" y="101"/>
                  </a:lnTo>
                  <a:lnTo>
                    <a:pt x="75" y="101"/>
                  </a:lnTo>
                  <a:lnTo>
                    <a:pt x="82" y="99"/>
                  </a:lnTo>
                  <a:lnTo>
                    <a:pt x="87" y="97"/>
                  </a:lnTo>
                  <a:lnTo>
                    <a:pt x="92" y="93"/>
                  </a:lnTo>
                  <a:lnTo>
                    <a:pt x="97" y="89"/>
                  </a:lnTo>
                  <a:lnTo>
                    <a:pt x="100" y="83"/>
                  </a:lnTo>
                  <a:lnTo>
                    <a:pt x="102" y="75"/>
                  </a:lnTo>
                  <a:lnTo>
                    <a:pt x="102" y="67"/>
                  </a:lnTo>
                  <a:lnTo>
                    <a:pt x="102" y="67"/>
                  </a:lnTo>
                  <a:lnTo>
                    <a:pt x="102" y="59"/>
                  </a:lnTo>
                  <a:lnTo>
                    <a:pt x="100" y="53"/>
                  </a:lnTo>
                  <a:lnTo>
                    <a:pt x="98" y="48"/>
                  </a:lnTo>
                  <a:lnTo>
                    <a:pt x="94" y="43"/>
                  </a:lnTo>
                  <a:lnTo>
                    <a:pt x="89" y="40"/>
                  </a:lnTo>
                  <a:lnTo>
                    <a:pt x="83" y="37"/>
                  </a:lnTo>
                  <a:lnTo>
                    <a:pt x="77" y="35"/>
                  </a:lnTo>
                  <a:lnTo>
                    <a:pt x="69" y="34"/>
                  </a:lnTo>
                  <a:lnTo>
                    <a:pt x="48" y="34"/>
                  </a:lnTo>
                  <a:lnTo>
                    <a:pt x="4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0" name="Freeform 12"/>
            <p:cNvSpPr>
              <a:spLocks/>
            </p:cNvSpPr>
            <p:nvPr userDrawn="1"/>
          </p:nvSpPr>
          <p:spPr bwMode="auto">
            <a:xfrm>
              <a:off x="8413750"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1" name="Freeform 13"/>
            <p:cNvSpPr>
              <a:spLocks/>
            </p:cNvSpPr>
            <p:nvPr userDrawn="1"/>
          </p:nvSpPr>
          <p:spPr bwMode="auto">
            <a:xfrm>
              <a:off x="8497888" y="4805363"/>
              <a:ext cx="80963" cy="123825"/>
            </a:xfrm>
            <a:custGeom>
              <a:avLst/>
              <a:gdLst>
                <a:gd name="T0" fmla="*/ 54 w 154"/>
                <a:gd name="T1" fmla="*/ 0 h 232"/>
                <a:gd name="T2" fmla="*/ 111 w 154"/>
                <a:gd name="T3" fmla="*/ 159 h 232"/>
                <a:gd name="T4" fmla="*/ 112 w 154"/>
                <a:gd name="T5" fmla="*/ 159 h 232"/>
                <a:gd name="T6" fmla="*/ 112 w 154"/>
                <a:gd name="T7" fmla="*/ 0 h 232"/>
                <a:gd name="T8" fmla="*/ 154 w 154"/>
                <a:gd name="T9" fmla="*/ 0 h 232"/>
                <a:gd name="T10" fmla="*/ 154 w 154"/>
                <a:gd name="T11" fmla="*/ 232 h 232"/>
                <a:gd name="T12" fmla="*/ 102 w 154"/>
                <a:gd name="T13" fmla="*/ 232 h 232"/>
                <a:gd name="T14" fmla="*/ 44 w 154"/>
                <a:gd name="T15" fmla="*/ 70 h 232"/>
                <a:gd name="T16" fmla="*/ 44 w 154"/>
                <a:gd name="T17" fmla="*/ 70 h 232"/>
                <a:gd name="T18" fmla="*/ 44 w 154"/>
                <a:gd name="T19" fmla="*/ 232 h 232"/>
                <a:gd name="T20" fmla="*/ 0 w 154"/>
                <a:gd name="T21" fmla="*/ 232 h 232"/>
                <a:gd name="T22" fmla="*/ 0 w 154"/>
                <a:gd name="T23" fmla="*/ 0 h 232"/>
                <a:gd name="T24" fmla="*/ 54 w 154"/>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232">
                  <a:moveTo>
                    <a:pt x="54" y="0"/>
                  </a:moveTo>
                  <a:lnTo>
                    <a:pt x="111" y="159"/>
                  </a:lnTo>
                  <a:lnTo>
                    <a:pt x="112" y="159"/>
                  </a:lnTo>
                  <a:lnTo>
                    <a:pt x="112" y="0"/>
                  </a:lnTo>
                  <a:lnTo>
                    <a:pt x="154" y="0"/>
                  </a:lnTo>
                  <a:lnTo>
                    <a:pt x="154" y="232"/>
                  </a:lnTo>
                  <a:lnTo>
                    <a:pt x="102" y="232"/>
                  </a:lnTo>
                  <a:lnTo>
                    <a:pt x="44" y="70"/>
                  </a:lnTo>
                  <a:lnTo>
                    <a:pt x="44" y="70"/>
                  </a:lnTo>
                  <a:lnTo>
                    <a:pt x="44" y="232"/>
                  </a:lnTo>
                  <a:lnTo>
                    <a:pt x="0" y="232"/>
                  </a:lnTo>
                  <a:lnTo>
                    <a:pt x="0"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2" name="Freeform 14"/>
            <p:cNvSpPr>
              <a:spLocks noEditPoints="1"/>
            </p:cNvSpPr>
            <p:nvPr userDrawn="1"/>
          </p:nvSpPr>
          <p:spPr bwMode="auto">
            <a:xfrm>
              <a:off x="8589963" y="4805363"/>
              <a:ext cx="95250" cy="123825"/>
            </a:xfrm>
            <a:custGeom>
              <a:avLst/>
              <a:gdLst>
                <a:gd name="T0" fmla="*/ 61 w 180"/>
                <a:gd name="T1" fmla="*/ 0 h 232"/>
                <a:gd name="T2" fmla="*/ 119 w 180"/>
                <a:gd name="T3" fmla="*/ 0 h 232"/>
                <a:gd name="T4" fmla="*/ 180 w 180"/>
                <a:gd name="T5" fmla="*/ 232 h 232"/>
                <a:gd name="T6" fmla="*/ 131 w 180"/>
                <a:gd name="T7" fmla="*/ 232 h 232"/>
                <a:gd name="T8" fmla="*/ 121 w 180"/>
                <a:gd name="T9" fmla="*/ 183 h 232"/>
                <a:gd name="T10" fmla="*/ 59 w 180"/>
                <a:gd name="T11" fmla="*/ 183 h 232"/>
                <a:gd name="T12" fmla="*/ 48 w 180"/>
                <a:gd name="T13" fmla="*/ 232 h 232"/>
                <a:gd name="T14" fmla="*/ 0 w 180"/>
                <a:gd name="T15" fmla="*/ 232 h 232"/>
                <a:gd name="T16" fmla="*/ 61 w 180"/>
                <a:gd name="T17" fmla="*/ 0 h 232"/>
                <a:gd name="T18" fmla="*/ 67 w 180"/>
                <a:gd name="T19" fmla="*/ 145 h 232"/>
                <a:gd name="T20" fmla="*/ 113 w 180"/>
                <a:gd name="T21" fmla="*/ 145 h 232"/>
                <a:gd name="T22" fmla="*/ 90 w 180"/>
                <a:gd name="T23" fmla="*/ 41 h 232"/>
                <a:gd name="T24" fmla="*/ 90 w 180"/>
                <a:gd name="T25" fmla="*/ 41 h 232"/>
                <a:gd name="T26" fmla="*/ 67 w 180"/>
                <a:gd name="T27" fmla="*/ 14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232">
                  <a:moveTo>
                    <a:pt x="61" y="0"/>
                  </a:moveTo>
                  <a:lnTo>
                    <a:pt x="119" y="0"/>
                  </a:lnTo>
                  <a:lnTo>
                    <a:pt x="180" y="232"/>
                  </a:lnTo>
                  <a:lnTo>
                    <a:pt x="131" y="232"/>
                  </a:lnTo>
                  <a:lnTo>
                    <a:pt x="121" y="183"/>
                  </a:lnTo>
                  <a:lnTo>
                    <a:pt x="59" y="183"/>
                  </a:lnTo>
                  <a:lnTo>
                    <a:pt x="48" y="232"/>
                  </a:lnTo>
                  <a:lnTo>
                    <a:pt x="0" y="232"/>
                  </a:lnTo>
                  <a:lnTo>
                    <a:pt x="61" y="0"/>
                  </a:lnTo>
                  <a:close/>
                  <a:moveTo>
                    <a:pt x="67" y="145"/>
                  </a:moveTo>
                  <a:lnTo>
                    <a:pt x="113" y="145"/>
                  </a:lnTo>
                  <a:lnTo>
                    <a:pt x="90" y="41"/>
                  </a:lnTo>
                  <a:lnTo>
                    <a:pt x="90" y="41"/>
                  </a:lnTo>
                  <a:lnTo>
                    <a:pt x="67"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3" name="Freeform 15"/>
            <p:cNvSpPr>
              <a:spLocks/>
            </p:cNvSpPr>
            <p:nvPr userDrawn="1"/>
          </p:nvSpPr>
          <p:spPr bwMode="auto">
            <a:xfrm>
              <a:off x="8691563" y="4805363"/>
              <a:ext cx="77788" cy="125413"/>
            </a:xfrm>
            <a:custGeom>
              <a:avLst/>
              <a:gdLst>
                <a:gd name="T0" fmla="*/ 46 w 148"/>
                <a:gd name="T1" fmla="*/ 0 h 236"/>
                <a:gd name="T2" fmla="*/ 46 w 148"/>
                <a:gd name="T3" fmla="*/ 162 h 236"/>
                <a:gd name="T4" fmla="*/ 46 w 148"/>
                <a:gd name="T5" fmla="*/ 162 h 236"/>
                <a:gd name="T6" fmla="*/ 47 w 148"/>
                <a:gd name="T7" fmla="*/ 170 h 236"/>
                <a:gd name="T8" fmla="*/ 48 w 148"/>
                <a:gd name="T9" fmla="*/ 178 h 236"/>
                <a:gd name="T10" fmla="*/ 49 w 148"/>
                <a:gd name="T11" fmla="*/ 184 h 236"/>
                <a:gd name="T12" fmla="*/ 52 w 148"/>
                <a:gd name="T13" fmla="*/ 190 h 236"/>
                <a:gd name="T14" fmla="*/ 55 w 148"/>
                <a:gd name="T15" fmla="*/ 195 h 236"/>
                <a:gd name="T16" fmla="*/ 60 w 148"/>
                <a:gd name="T17" fmla="*/ 199 h 236"/>
                <a:gd name="T18" fmla="*/ 67 w 148"/>
                <a:gd name="T19" fmla="*/ 202 h 236"/>
                <a:gd name="T20" fmla="*/ 74 w 148"/>
                <a:gd name="T21" fmla="*/ 202 h 236"/>
                <a:gd name="T22" fmla="*/ 74 w 148"/>
                <a:gd name="T23" fmla="*/ 202 h 236"/>
                <a:gd name="T24" fmla="*/ 82 w 148"/>
                <a:gd name="T25" fmla="*/ 202 h 236"/>
                <a:gd name="T26" fmla="*/ 88 w 148"/>
                <a:gd name="T27" fmla="*/ 199 h 236"/>
                <a:gd name="T28" fmla="*/ 92 w 148"/>
                <a:gd name="T29" fmla="*/ 195 h 236"/>
                <a:gd name="T30" fmla="*/ 96 w 148"/>
                <a:gd name="T31" fmla="*/ 190 h 236"/>
                <a:gd name="T32" fmla="*/ 98 w 148"/>
                <a:gd name="T33" fmla="*/ 184 h 236"/>
                <a:gd name="T34" fmla="*/ 100 w 148"/>
                <a:gd name="T35" fmla="*/ 178 h 236"/>
                <a:gd name="T36" fmla="*/ 101 w 148"/>
                <a:gd name="T37" fmla="*/ 170 h 236"/>
                <a:gd name="T38" fmla="*/ 101 w 148"/>
                <a:gd name="T39" fmla="*/ 162 h 236"/>
                <a:gd name="T40" fmla="*/ 101 w 148"/>
                <a:gd name="T41" fmla="*/ 0 h 236"/>
                <a:gd name="T42" fmla="*/ 148 w 148"/>
                <a:gd name="T43" fmla="*/ 0 h 236"/>
                <a:gd name="T44" fmla="*/ 148 w 148"/>
                <a:gd name="T45" fmla="*/ 162 h 236"/>
                <a:gd name="T46" fmla="*/ 148 w 148"/>
                <a:gd name="T47" fmla="*/ 162 h 236"/>
                <a:gd name="T48" fmla="*/ 148 w 148"/>
                <a:gd name="T49" fmla="*/ 172 h 236"/>
                <a:gd name="T50" fmla="*/ 147 w 148"/>
                <a:gd name="T51" fmla="*/ 182 h 236"/>
                <a:gd name="T52" fmla="*/ 144 w 148"/>
                <a:gd name="T53" fmla="*/ 190 h 236"/>
                <a:gd name="T54" fmla="*/ 141 w 148"/>
                <a:gd name="T55" fmla="*/ 199 h 236"/>
                <a:gd name="T56" fmla="*/ 138 w 148"/>
                <a:gd name="T57" fmla="*/ 206 h 236"/>
                <a:gd name="T58" fmla="*/ 134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8 w 148"/>
                <a:gd name="T73" fmla="*/ 236 h 236"/>
                <a:gd name="T74" fmla="*/ 74 w 148"/>
                <a:gd name="T75" fmla="*/ 236 h 236"/>
                <a:gd name="T76" fmla="*/ 74 w 148"/>
                <a:gd name="T77" fmla="*/ 236 h 236"/>
                <a:gd name="T78" fmla="*/ 59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6 w 148"/>
                <a:gd name="T97" fmla="*/ 200 h 236"/>
                <a:gd name="T98" fmla="*/ 4 w 148"/>
                <a:gd name="T99" fmla="*/ 191 h 236"/>
                <a:gd name="T100" fmla="*/ 2 w 148"/>
                <a:gd name="T101" fmla="*/ 182 h 236"/>
                <a:gd name="T102" fmla="*/ 1 w 148"/>
                <a:gd name="T103" fmla="*/ 173 h 236"/>
                <a:gd name="T104" fmla="*/ 0 w 148"/>
                <a:gd name="T105" fmla="*/ 162 h 236"/>
                <a:gd name="T106" fmla="*/ 0 w 148"/>
                <a:gd name="T107" fmla="*/ 0 h 236"/>
                <a:gd name="T108" fmla="*/ 46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6" y="0"/>
                  </a:moveTo>
                  <a:lnTo>
                    <a:pt x="46" y="162"/>
                  </a:lnTo>
                  <a:lnTo>
                    <a:pt x="46" y="162"/>
                  </a:lnTo>
                  <a:lnTo>
                    <a:pt x="47" y="170"/>
                  </a:lnTo>
                  <a:lnTo>
                    <a:pt x="48" y="178"/>
                  </a:lnTo>
                  <a:lnTo>
                    <a:pt x="49" y="184"/>
                  </a:lnTo>
                  <a:lnTo>
                    <a:pt x="52" y="190"/>
                  </a:lnTo>
                  <a:lnTo>
                    <a:pt x="55" y="195"/>
                  </a:lnTo>
                  <a:lnTo>
                    <a:pt x="60" y="199"/>
                  </a:lnTo>
                  <a:lnTo>
                    <a:pt x="67" y="202"/>
                  </a:lnTo>
                  <a:lnTo>
                    <a:pt x="74" y="202"/>
                  </a:lnTo>
                  <a:lnTo>
                    <a:pt x="74" y="202"/>
                  </a:lnTo>
                  <a:lnTo>
                    <a:pt x="82" y="202"/>
                  </a:lnTo>
                  <a:lnTo>
                    <a:pt x="88" y="199"/>
                  </a:lnTo>
                  <a:lnTo>
                    <a:pt x="92" y="195"/>
                  </a:lnTo>
                  <a:lnTo>
                    <a:pt x="96" y="190"/>
                  </a:lnTo>
                  <a:lnTo>
                    <a:pt x="98" y="184"/>
                  </a:lnTo>
                  <a:lnTo>
                    <a:pt x="100" y="178"/>
                  </a:lnTo>
                  <a:lnTo>
                    <a:pt x="101" y="170"/>
                  </a:lnTo>
                  <a:lnTo>
                    <a:pt x="101" y="162"/>
                  </a:lnTo>
                  <a:lnTo>
                    <a:pt x="101" y="0"/>
                  </a:lnTo>
                  <a:lnTo>
                    <a:pt x="148" y="0"/>
                  </a:lnTo>
                  <a:lnTo>
                    <a:pt x="148" y="162"/>
                  </a:lnTo>
                  <a:lnTo>
                    <a:pt x="148" y="162"/>
                  </a:lnTo>
                  <a:lnTo>
                    <a:pt x="148" y="172"/>
                  </a:lnTo>
                  <a:lnTo>
                    <a:pt x="147" y="182"/>
                  </a:lnTo>
                  <a:lnTo>
                    <a:pt x="144" y="190"/>
                  </a:lnTo>
                  <a:lnTo>
                    <a:pt x="141" y="199"/>
                  </a:lnTo>
                  <a:lnTo>
                    <a:pt x="138" y="206"/>
                  </a:lnTo>
                  <a:lnTo>
                    <a:pt x="134" y="212"/>
                  </a:lnTo>
                  <a:lnTo>
                    <a:pt x="130" y="217"/>
                  </a:lnTo>
                  <a:lnTo>
                    <a:pt x="125" y="221"/>
                  </a:lnTo>
                  <a:lnTo>
                    <a:pt x="120" y="225"/>
                  </a:lnTo>
                  <a:lnTo>
                    <a:pt x="114" y="228"/>
                  </a:lnTo>
                  <a:lnTo>
                    <a:pt x="108" y="231"/>
                  </a:lnTo>
                  <a:lnTo>
                    <a:pt x="102" y="233"/>
                  </a:lnTo>
                  <a:lnTo>
                    <a:pt x="88" y="236"/>
                  </a:lnTo>
                  <a:lnTo>
                    <a:pt x="74" y="236"/>
                  </a:lnTo>
                  <a:lnTo>
                    <a:pt x="74" y="236"/>
                  </a:lnTo>
                  <a:lnTo>
                    <a:pt x="59" y="236"/>
                  </a:lnTo>
                  <a:lnTo>
                    <a:pt x="46" y="234"/>
                  </a:lnTo>
                  <a:lnTo>
                    <a:pt x="40" y="232"/>
                  </a:lnTo>
                  <a:lnTo>
                    <a:pt x="34" y="229"/>
                  </a:lnTo>
                  <a:lnTo>
                    <a:pt x="28" y="226"/>
                  </a:lnTo>
                  <a:lnTo>
                    <a:pt x="23" y="223"/>
                  </a:lnTo>
                  <a:lnTo>
                    <a:pt x="18" y="218"/>
                  </a:lnTo>
                  <a:lnTo>
                    <a:pt x="14" y="213"/>
                  </a:lnTo>
                  <a:lnTo>
                    <a:pt x="10" y="207"/>
                  </a:lnTo>
                  <a:lnTo>
                    <a:pt x="6" y="200"/>
                  </a:lnTo>
                  <a:lnTo>
                    <a:pt x="4" y="191"/>
                  </a:lnTo>
                  <a:lnTo>
                    <a:pt x="2" y="182"/>
                  </a:lnTo>
                  <a:lnTo>
                    <a:pt x="1" y="173"/>
                  </a:lnTo>
                  <a:lnTo>
                    <a:pt x="0" y="162"/>
                  </a:lnTo>
                  <a:lnTo>
                    <a:pt x="0" y="0"/>
                  </a:lnTo>
                  <a:lnTo>
                    <a:pt x="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4" name="Freeform 16"/>
            <p:cNvSpPr>
              <a:spLocks/>
            </p:cNvSpPr>
            <p:nvPr userDrawn="1"/>
          </p:nvSpPr>
          <p:spPr bwMode="auto">
            <a:xfrm>
              <a:off x="8789988" y="4805363"/>
              <a:ext cx="69850" cy="123825"/>
            </a:xfrm>
            <a:custGeom>
              <a:avLst/>
              <a:gdLst>
                <a:gd name="T0" fmla="*/ 0 w 130"/>
                <a:gd name="T1" fmla="*/ 232 h 232"/>
                <a:gd name="T2" fmla="*/ 0 w 130"/>
                <a:gd name="T3" fmla="*/ 0 h 232"/>
                <a:gd name="T4" fmla="*/ 47 w 130"/>
                <a:gd name="T5" fmla="*/ 0 h 232"/>
                <a:gd name="T6" fmla="*/ 47 w 130"/>
                <a:gd name="T7" fmla="*/ 193 h 232"/>
                <a:gd name="T8" fmla="*/ 130 w 130"/>
                <a:gd name="T9" fmla="*/ 193 h 232"/>
                <a:gd name="T10" fmla="*/ 130 w 130"/>
                <a:gd name="T11" fmla="*/ 232 h 232"/>
                <a:gd name="T12" fmla="*/ 0 w 130"/>
                <a:gd name="T13" fmla="*/ 232 h 232"/>
              </a:gdLst>
              <a:ahLst/>
              <a:cxnLst>
                <a:cxn ang="0">
                  <a:pos x="T0" y="T1"/>
                </a:cxn>
                <a:cxn ang="0">
                  <a:pos x="T2" y="T3"/>
                </a:cxn>
                <a:cxn ang="0">
                  <a:pos x="T4" y="T5"/>
                </a:cxn>
                <a:cxn ang="0">
                  <a:pos x="T6" y="T7"/>
                </a:cxn>
                <a:cxn ang="0">
                  <a:pos x="T8" y="T9"/>
                </a:cxn>
                <a:cxn ang="0">
                  <a:pos x="T10" y="T11"/>
                </a:cxn>
                <a:cxn ang="0">
                  <a:pos x="T12" y="T13"/>
                </a:cxn>
              </a:cxnLst>
              <a:rect l="0" t="0" r="r" b="b"/>
              <a:pathLst>
                <a:path w="130" h="232">
                  <a:moveTo>
                    <a:pt x="0" y="232"/>
                  </a:moveTo>
                  <a:lnTo>
                    <a:pt x="0" y="0"/>
                  </a:lnTo>
                  <a:lnTo>
                    <a:pt x="47" y="0"/>
                  </a:lnTo>
                  <a:lnTo>
                    <a:pt x="47" y="193"/>
                  </a:lnTo>
                  <a:lnTo>
                    <a:pt x="130" y="193"/>
                  </a:lnTo>
                  <a:lnTo>
                    <a:pt x="130" y="232"/>
                  </a:lnTo>
                  <a:lnTo>
                    <a:pt x="0"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35" name="Freeform 17"/>
            <p:cNvSpPr>
              <a:spLocks/>
            </p:cNvSpPr>
            <p:nvPr userDrawn="1"/>
          </p:nvSpPr>
          <p:spPr bwMode="auto">
            <a:xfrm>
              <a:off x="8848725" y="4805363"/>
              <a:ext cx="77788" cy="123825"/>
            </a:xfrm>
            <a:custGeom>
              <a:avLst/>
              <a:gdLst>
                <a:gd name="T0" fmla="*/ 148 w 148"/>
                <a:gd name="T1" fmla="*/ 0 h 232"/>
                <a:gd name="T2" fmla="*/ 148 w 148"/>
                <a:gd name="T3" fmla="*/ 39 h 232"/>
                <a:gd name="T4" fmla="*/ 97 w 148"/>
                <a:gd name="T5" fmla="*/ 39 h 232"/>
                <a:gd name="T6" fmla="*/ 97 w 148"/>
                <a:gd name="T7" fmla="*/ 232 h 232"/>
                <a:gd name="T8" fmla="*/ 51 w 148"/>
                <a:gd name="T9" fmla="*/ 232 h 232"/>
                <a:gd name="T10" fmla="*/ 51 w 148"/>
                <a:gd name="T11" fmla="*/ 39 h 232"/>
                <a:gd name="T12" fmla="*/ 0 w 148"/>
                <a:gd name="T13" fmla="*/ 39 h 232"/>
                <a:gd name="T14" fmla="*/ 0 w 148"/>
                <a:gd name="T15" fmla="*/ 0 h 232"/>
                <a:gd name="T16" fmla="*/ 148 w 148"/>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32">
                  <a:moveTo>
                    <a:pt x="148" y="0"/>
                  </a:moveTo>
                  <a:lnTo>
                    <a:pt x="148" y="39"/>
                  </a:lnTo>
                  <a:lnTo>
                    <a:pt x="97" y="39"/>
                  </a:lnTo>
                  <a:lnTo>
                    <a:pt x="97" y="232"/>
                  </a:lnTo>
                  <a:lnTo>
                    <a:pt x="51" y="232"/>
                  </a:lnTo>
                  <a:lnTo>
                    <a:pt x="51" y="39"/>
                  </a:lnTo>
                  <a:lnTo>
                    <a:pt x="0" y="39"/>
                  </a:lnTo>
                  <a:lnTo>
                    <a:pt x="0" y="0"/>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grpSp>
      <p:pic>
        <p:nvPicPr>
          <p:cNvPr id="36" name="Picture 18" descr="C:\Users\ARNAUD~1\AppData\Local\Temp\VMwareDnD\933dad87\3_brands_logotypes_bis.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80975" y="6298223"/>
            <a:ext cx="594000" cy="191071"/>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Connecteur droit 38"/>
          <p:cNvCxnSpPr/>
          <p:nvPr userDrawn="1"/>
        </p:nvCxnSpPr>
        <p:spPr>
          <a:xfrm>
            <a:off x="3858263"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 Box 23"/>
          <p:cNvSpPr txBox="1">
            <a:spLocks noChangeArrowheads="1"/>
          </p:cNvSpPr>
          <p:nvPr userDrawn="1"/>
        </p:nvSpPr>
        <p:spPr bwMode="auto">
          <a:xfrm>
            <a:off x="3929857" y="6290985"/>
            <a:ext cx="90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22 juin 2017</a:t>
            </a:r>
          </a:p>
        </p:txBody>
      </p:sp>
      <p:cxnSp>
        <p:nvCxnSpPr>
          <p:cNvPr id="123" name="Connecteur droit 122"/>
          <p:cNvCxnSpPr/>
          <p:nvPr userDrawn="1"/>
        </p:nvCxnSpPr>
        <p:spPr>
          <a:xfrm>
            <a:off x="1266825"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Connecteur droit 123"/>
          <p:cNvCxnSpPr/>
          <p:nvPr userDrawn="1"/>
        </p:nvCxnSpPr>
        <p:spPr>
          <a:xfrm>
            <a:off x="6998700" y="6272560"/>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cteur droit 60"/>
          <p:cNvCxnSpPr/>
          <p:nvPr userDrawn="1"/>
        </p:nvCxnSpPr>
        <p:spPr>
          <a:xfrm>
            <a:off x="4837000"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 Box 23"/>
          <p:cNvSpPr txBox="1">
            <a:spLocks noChangeArrowheads="1"/>
          </p:cNvSpPr>
          <p:nvPr userDrawn="1"/>
        </p:nvSpPr>
        <p:spPr bwMode="auto">
          <a:xfrm>
            <a:off x="1331120" y="6290985"/>
            <a:ext cx="252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D2P – DIRECTION PREVENTION &amp; PROTECTION GROUPE</a:t>
            </a:r>
          </a:p>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EXPERTISE MAITRISE DE L’INFORMATION</a:t>
            </a:r>
          </a:p>
        </p:txBody>
      </p:sp>
      <p:sp>
        <p:nvSpPr>
          <p:cNvPr id="2" name="ZoneTexte 1"/>
          <p:cNvSpPr txBox="1"/>
          <p:nvPr userDrawn="1"/>
        </p:nvSpPr>
        <p:spPr>
          <a:xfrm>
            <a:off x="5033924" y="6342401"/>
            <a:ext cx="1662980" cy="144608"/>
          </a:xfrm>
          <a:prstGeom prst="rect">
            <a:avLst/>
          </a:prstGeom>
          <a:noFill/>
        </p:spPr>
        <p:txBody>
          <a:bodyPr wrap="none" lIns="0" tIns="0" rIns="0" bIns="0" rtlCol="0">
            <a:noAutofit/>
          </a:bodyPr>
          <a:lstStyle/>
          <a:p>
            <a:r>
              <a:rPr lang="fr-FR" sz="800" b="0" dirty="0">
                <a:solidFill>
                  <a:schemeClr val="tx1"/>
                </a:solidFill>
              </a:rPr>
              <a:t>PROPRIETE GROUPE</a:t>
            </a:r>
            <a:r>
              <a:rPr lang="fr-FR" sz="800" b="0" baseline="0" dirty="0">
                <a:solidFill>
                  <a:schemeClr val="tx1"/>
                </a:solidFill>
              </a:rPr>
              <a:t> RENAULT</a:t>
            </a:r>
            <a:endParaRPr lang="fr-FR" sz="800" b="0" dirty="0">
              <a:solidFill>
                <a:schemeClr val="tx1"/>
              </a:solidFill>
            </a:endParaRPr>
          </a:p>
        </p:txBody>
      </p:sp>
    </p:spTree>
    <p:extLst>
      <p:ext uri="{BB962C8B-B14F-4D97-AF65-F5344CB8AC3E}">
        <p14:creationId xmlns:p14="http://schemas.microsoft.com/office/powerpoint/2010/main" val="54800395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Lst>
  <p:hf hdr="0" ftr="0" dt="0"/>
  <p:txStyles>
    <p:titleStyle>
      <a:lvl1pPr algn="l" rtl="0" eaLnBrk="0" fontAlgn="base" hangingPunct="0">
        <a:spcBef>
          <a:spcPct val="0"/>
        </a:spcBef>
        <a:spcAft>
          <a:spcPct val="0"/>
        </a:spcAft>
        <a:defRPr sz="1800" b="1">
          <a:solidFill>
            <a:schemeClr val="tx1"/>
          </a:solidFill>
          <a:latin typeface="+mj-lt"/>
          <a:ea typeface="+mj-ea"/>
          <a:cs typeface="+mj-cs"/>
        </a:defRPr>
      </a:lvl1pPr>
      <a:lvl2pPr algn="l" rtl="0" eaLnBrk="0" fontAlgn="base" hangingPunct="0">
        <a:spcBef>
          <a:spcPct val="0"/>
        </a:spcBef>
        <a:spcAft>
          <a:spcPct val="0"/>
        </a:spcAft>
        <a:defRPr sz="1800" b="1">
          <a:solidFill>
            <a:schemeClr val="tx1"/>
          </a:solidFill>
          <a:latin typeface="Arial Narrow" pitchFamily="34" charset="0"/>
          <a:ea typeface="MS PGothic" pitchFamily="34" charset="-128"/>
        </a:defRPr>
      </a:lvl2pPr>
      <a:lvl3pPr algn="l" rtl="0" eaLnBrk="0" fontAlgn="base" hangingPunct="0">
        <a:spcBef>
          <a:spcPct val="0"/>
        </a:spcBef>
        <a:spcAft>
          <a:spcPct val="0"/>
        </a:spcAft>
        <a:defRPr sz="1800" b="1">
          <a:solidFill>
            <a:schemeClr val="tx1"/>
          </a:solidFill>
          <a:latin typeface="Arial Narrow" pitchFamily="34" charset="0"/>
          <a:ea typeface="MS PGothic" pitchFamily="34" charset="-128"/>
        </a:defRPr>
      </a:lvl3pPr>
      <a:lvl4pPr algn="l" rtl="0" eaLnBrk="0" fontAlgn="base" hangingPunct="0">
        <a:spcBef>
          <a:spcPct val="0"/>
        </a:spcBef>
        <a:spcAft>
          <a:spcPct val="0"/>
        </a:spcAft>
        <a:defRPr sz="1800" b="1">
          <a:solidFill>
            <a:schemeClr val="tx1"/>
          </a:solidFill>
          <a:latin typeface="Arial Narrow" pitchFamily="34" charset="0"/>
          <a:ea typeface="MS PGothic" pitchFamily="34" charset="-128"/>
        </a:defRPr>
      </a:lvl4pPr>
      <a:lvl5pPr algn="l" rtl="0" eaLnBrk="0" fontAlgn="base" hangingPunct="0">
        <a:spcBef>
          <a:spcPct val="0"/>
        </a:spcBef>
        <a:spcAft>
          <a:spcPct val="0"/>
        </a:spcAft>
        <a:defRPr sz="1800" b="1">
          <a:solidFill>
            <a:schemeClr val="tx1"/>
          </a:solidFill>
          <a:latin typeface="Arial Narrow" pitchFamily="34" charset="0"/>
          <a:ea typeface="MS PGothic" pitchFamily="34" charset="-128"/>
        </a:defRPr>
      </a:lvl5pPr>
      <a:lvl6pPr marL="342900" algn="l" rtl="0" eaLnBrk="1" fontAlgn="base" hangingPunct="1">
        <a:spcBef>
          <a:spcPct val="0"/>
        </a:spcBef>
        <a:spcAft>
          <a:spcPct val="0"/>
        </a:spcAft>
        <a:defRPr sz="1800" b="1">
          <a:solidFill>
            <a:schemeClr val="tx1"/>
          </a:solidFill>
          <a:latin typeface="Arial Narrow" pitchFamily="34" charset="0"/>
          <a:ea typeface="MS PGothic" pitchFamily="34" charset="-128"/>
        </a:defRPr>
      </a:lvl6pPr>
      <a:lvl7pPr marL="685800" algn="l" rtl="0" eaLnBrk="1" fontAlgn="base" hangingPunct="1">
        <a:spcBef>
          <a:spcPct val="0"/>
        </a:spcBef>
        <a:spcAft>
          <a:spcPct val="0"/>
        </a:spcAft>
        <a:defRPr sz="1800" b="1">
          <a:solidFill>
            <a:schemeClr val="tx1"/>
          </a:solidFill>
          <a:latin typeface="Arial Narrow" pitchFamily="34" charset="0"/>
          <a:ea typeface="MS PGothic" pitchFamily="34" charset="-128"/>
        </a:defRPr>
      </a:lvl7pPr>
      <a:lvl8pPr marL="1028700" algn="l" rtl="0" eaLnBrk="1" fontAlgn="base" hangingPunct="1">
        <a:spcBef>
          <a:spcPct val="0"/>
        </a:spcBef>
        <a:spcAft>
          <a:spcPct val="0"/>
        </a:spcAft>
        <a:defRPr sz="1800" b="1">
          <a:solidFill>
            <a:schemeClr val="tx1"/>
          </a:solidFill>
          <a:latin typeface="Arial Narrow" pitchFamily="34" charset="0"/>
          <a:ea typeface="MS PGothic" pitchFamily="34" charset="-128"/>
        </a:defRPr>
      </a:lvl8pPr>
      <a:lvl9pPr marL="1371600" algn="l" rtl="0" eaLnBrk="1" fontAlgn="base" hangingPunct="1">
        <a:spcBef>
          <a:spcPct val="0"/>
        </a:spcBef>
        <a:spcAft>
          <a:spcPct val="0"/>
        </a:spcAft>
        <a:defRPr sz="1800" b="1">
          <a:solidFill>
            <a:schemeClr val="tx1"/>
          </a:solidFill>
          <a:latin typeface="Arial Narrow" pitchFamily="34" charset="0"/>
          <a:ea typeface="MS PGothic" pitchFamily="34" charset="-128"/>
        </a:defRPr>
      </a:lvl9pPr>
    </p:titleStyle>
    <p:bodyStyle>
      <a:lvl1pPr marL="257175" indent="-257175" algn="l" rtl="0" eaLnBrk="0" fontAlgn="base" hangingPunct="0">
        <a:spcBef>
          <a:spcPct val="35000"/>
        </a:spcBef>
        <a:spcAft>
          <a:spcPct val="0"/>
        </a:spcAft>
        <a:buClr>
          <a:srgbClr val="F7B100"/>
        </a:buClr>
        <a:buFont typeface="Wingdings" pitchFamily="2" charset="2"/>
        <a:buChar char="§"/>
        <a:defRPr sz="1500" b="1">
          <a:solidFill>
            <a:schemeClr val="tx1"/>
          </a:solidFill>
          <a:latin typeface="+mn-lt"/>
          <a:ea typeface="+mn-ea"/>
          <a:cs typeface="+mn-cs"/>
        </a:defRPr>
      </a:lvl1pPr>
      <a:lvl2pPr marL="557213" indent="-214313" algn="l" rtl="0" eaLnBrk="0" fontAlgn="base" hangingPunct="0">
        <a:spcBef>
          <a:spcPct val="30000"/>
        </a:spcBef>
        <a:spcAft>
          <a:spcPct val="0"/>
        </a:spcAft>
        <a:buClr>
          <a:srgbClr val="F7B100"/>
        </a:buClr>
        <a:buFont typeface="Wingdings" pitchFamily="2" charset="2"/>
        <a:buChar char="§"/>
        <a:defRPr sz="1200">
          <a:solidFill>
            <a:schemeClr val="tx1"/>
          </a:solidFill>
          <a:latin typeface="+mn-lt"/>
          <a:ea typeface="+mn-ea"/>
        </a:defRPr>
      </a:lvl2pPr>
      <a:lvl3pPr marL="857250" indent="-171450" algn="l" rtl="0" eaLnBrk="0" fontAlgn="base" hangingPunct="0">
        <a:spcBef>
          <a:spcPct val="35000"/>
        </a:spcBef>
        <a:spcAft>
          <a:spcPct val="0"/>
        </a:spcAft>
        <a:buFont typeface="Wingdings" pitchFamily="2" charset="2"/>
        <a:buChar char="§"/>
        <a:defRPr sz="1100">
          <a:solidFill>
            <a:schemeClr val="tx1"/>
          </a:solidFill>
          <a:latin typeface="+mn-lt"/>
          <a:ea typeface="+mn-ea"/>
        </a:defRPr>
      </a:lvl3pPr>
      <a:lvl4pPr marL="1200150" indent="-171450" algn="l" rtl="0" eaLnBrk="0" fontAlgn="base" hangingPunct="0">
        <a:spcBef>
          <a:spcPct val="40000"/>
        </a:spcBef>
        <a:spcAft>
          <a:spcPct val="0"/>
        </a:spcAft>
        <a:buFont typeface="Wingdings" pitchFamily="2" charset="2"/>
        <a:buChar char="§"/>
        <a:defRPr sz="800">
          <a:solidFill>
            <a:schemeClr val="tx1"/>
          </a:solidFill>
          <a:latin typeface="+mn-lt"/>
          <a:ea typeface="+mn-ea"/>
        </a:defRPr>
      </a:lvl4pPr>
      <a:lvl5pPr marL="1543050" indent="-171450" algn="l" rtl="0" eaLnBrk="0" fontAlgn="base" hangingPunct="0">
        <a:spcBef>
          <a:spcPct val="20000"/>
        </a:spcBef>
        <a:spcAft>
          <a:spcPct val="0"/>
        </a:spcAft>
        <a:buChar char="»"/>
        <a:defRPr sz="800">
          <a:solidFill>
            <a:schemeClr val="tx1"/>
          </a:solidFill>
          <a:latin typeface="+mn-lt"/>
          <a:ea typeface="+mn-ea"/>
        </a:defRPr>
      </a:lvl5pPr>
      <a:lvl6pPr marL="1885950" indent="-171450" algn="l" rtl="0" eaLnBrk="1" fontAlgn="base" hangingPunct="1">
        <a:spcBef>
          <a:spcPct val="20000"/>
        </a:spcBef>
        <a:spcAft>
          <a:spcPct val="0"/>
        </a:spcAft>
        <a:buChar char="»"/>
        <a:defRPr sz="800">
          <a:solidFill>
            <a:schemeClr val="tx1"/>
          </a:solidFill>
          <a:latin typeface="+mn-lt"/>
          <a:ea typeface="+mn-ea"/>
        </a:defRPr>
      </a:lvl6pPr>
      <a:lvl7pPr marL="2228850" indent="-171450" algn="l" rtl="0" eaLnBrk="1" fontAlgn="base" hangingPunct="1">
        <a:spcBef>
          <a:spcPct val="20000"/>
        </a:spcBef>
        <a:spcAft>
          <a:spcPct val="0"/>
        </a:spcAft>
        <a:buChar char="»"/>
        <a:defRPr sz="800">
          <a:solidFill>
            <a:schemeClr val="tx1"/>
          </a:solidFill>
          <a:latin typeface="+mn-lt"/>
          <a:ea typeface="+mn-ea"/>
        </a:defRPr>
      </a:lvl7pPr>
      <a:lvl8pPr marL="2571750" indent="-171450" algn="l" rtl="0" eaLnBrk="1" fontAlgn="base" hangingPunct="1">
        <a:spcBef>
          <a:spcPct val="20000"/>
        </a:spcBef>
        <a:spcAft>
          <a:spcPct val="0"/>
        </a:spcAft>
        <a:buChar char="»"/>
        <a:defRPr sz="800">
          <a:solidFill>
            <a:schemeClr val="tx1"/>
          </a:solidFill>
          <a:latin typeface="+mn-lt"/>
          <a:ea typeface="+mn-ea"/>
        </a:defRPr>
      </a:lvl8pPr>
      <a:lvl9pPr marL="2914650" indent="-171450" algn="l" rtl="0" eaLnBrk="1" fontAlgn="base" hangingPunct="1">
        <a:spcBef>
          <a:spcPct val="20000"/>
        </a:spcBef>
        <a:spcAft>
          <a:spcPct val="0"/>
        </a:spcAft>
        <a:buChar char="»"/>
        <a:defRPr sz="800">
          <a:solidFill>
            <a:schemeClr val="tx1"/>
          </a:solidFill>
          <a:latin typeface="+mn-lt"/>
          <a:ea typeface="+mn-ea"/>
        </a:defRPr>
      </a:lvl9pPr>
    </p:bodyStyle>
    <p:otherStyle>
      <a:defPPr>
        <a:defRPr lang="fr-FR"/>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709">
          <p15:clr>
            <a:srgbClr val="F26B43"/>
          </p15:clr>
        </p15:guide>
        <p15:guide id="2" pos="5420">
          <p15:clr>
            <a:srgbClr val="F26B43"/>
          </p15:clr>
        </p15:guide>
        <p15:guide id="3" pos="5647">
          <p15:clr>
            <a:srgbClr val="F26B43"/>
          </p15:clr>
        </p15:guide>
        <p15:guide id="5" orient="horz" pos="114">
          <p15:clr>
            <a:srgbClr val="F26B43"/>
          </p15:clr>
        </p15:guide>
        <p15:guide id="6" orient="horz" pos="228">
          <p15:clr>
            <a:srgbClr val="F26B43"/>
          </p15:clr>
        </p15:guide>
        <p15:guide id="7" orient="horz" pos="2787">
          <p15:clr>
            <a:srgbClr val="F26B43"/>
          </p15:clr>
        </p15:guide>
        <p15:guide id="8" pos="2909">
          <p15:clr>
            <a:srgbClr val="F26B43"/>
          </p15:clr>
        </p15:guide>
        <p15:guide id="9" pos="2850">
          <p15:clr>
            <a:srgbClr val="F26B43"/>
          </p15:clr>
        </p15:guide>
        <p15:guide id="10" pos="113">
          <p15:clr>
            <a:srgbClr val="F26B43"/>
          </p15:clr>
        </p15:guide>
        <p15:guide id="11" pos="340">
          <p15:clr>
            <a:srgbClr val="F26B43"/>
          </p15:clr>
        </p15:guide>
        <p15:guide id="12" pos="1457">
          <p15:clr>
            <a:srgbClr val="F26B43"/>
          </p15:clr>
        </p15:guide>
        <p15:guide id="13" pos="1511">
          <p15:clr>
            <a:srgbClr val="F26B43"/>
          </p15:clr>
        </p15:guide>
        <p15:guide id="14" pos="4250">
          <p15:clr>
            <a:srgbClr val="F26B43"/>
          </p15:clr>
        </p15:guide>
        <p15:guide id="15" pos="4304">
          <p15:clr>
            <a:srgbClr val="F26B43"/>
          </p15:clr>
        </p15:guide>
        <p15:guide id="16" orient="horz" pos="342">
          <p15:clr>
            <a:srgbClr val="F26B43"/>
          </p15:clr>
        </p15:guide>
        <p15:guide id="18" orient="horz" pos="456">
          <p15:clr>
            <a:srgbClr val="F26B43"/>
          </p15:clr>
        </p15:guide>
        <p15:guide id="19" orient="horz" pos="569">
          <p15:clr>
            <a:srgbClr val="F26B43"/>
          </p15:clr>
        </p15:guide>
        <p15:guide id="20" pos="1919">
          <p15:clr>
            <a:srgbClr val="F26B43"/>
          </p15:clr>
        </p15:guide>
        <p15:guide id="21" pos="1976">
          <p15:clr>
            <a:srgbClr val="F26B43"/>
          </p15:clr>
        </p15:guide>
        <p15:guide id="22" pos="3783">
          <p15:clr>
            <a:srgbClr val="F26B43"/>
          </p15:clr>
        </p15:guide>
        <p15:guide id="23" pos="3840">
          <p15:clr>
            <a:srgbClr val="F26B43"/>
          </p15:clr>
        </p15:guide>
        <p15:guide id="24" orient="horz" pos="165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2" name="Groupe 21"/>
          <p:cNvGrpSpPr>
            <a:grpSpLocks noChangeAspect="1"/>
          </p:cNvGrpSpPr>
          <p:nvPr userDrawn="1"/>
        </p:nvGrpSpPr>
        <p:grpSpPr>
          <a:xfrm>
            <a:off x="7343775" y="6266213"/>
            <a:ext cx="1620000" cy="225884"/>
            <a:chOff x="7712075" y="4803775"/>
            <a:chExt cx="1214438" cy="127001"/>
          </a:xfrm>
        </p:grpSpPr>
        <p:sp>
          <p:nvSpPr>
            <p:cNvPr id="7" name="Freeform 5"/>
            <p:cNvSpPr>
              <a:spLocks/>
            </p:cNvSpPr>
            <p:nvPr userDrawn="1"/>
          </p:nvSpPr>
          <p:spPr bwMode="auto">
            <a:xfrm>
              <a:off x="7712075" y="4803775"/>
              <a:ext cx="80963" cy="127000"/>
            </a:xfrm>
            <a:custGeom>
              <a:avLst/>
              <a:gdLst>
                <a:gd name="T0" fmla="*/ 105 w 153"/>
                <a:gd name="T1" fmla="*/ 73 h 240"/>
                <a:gd name="T2" fmla="*/ 103 w 153"/>
                <a:gd name="T3" fmla="*/ 60 h 240"/>
                <a:gd name="T4" fmla="*/ 99 w 153"/>
                <a:gd name="T5" fmla="*/ 48 h 240"/>
                <a:gd name="T6" fmla="*/ 90 w 153"/>
                <a:gd name="T7" fmla="*/ 37 h 240"/>
                <a:gd name="T8" fmla="*/ 78 w 153"/>
                <a:gd name="T9" fmla="*/ 34 h 240"/>
                <a:gd name="T10" fmla="*/ 71 w 153"/>
                <a:gd name="T11" fmla="*/ 35 h 240"/>
                <a:gd name="T12" fmla="*/ 64 w 153"/>
                <a:gd name="T13" fmla="*/ 38 h 240"/>
                <a:gd name="T14" fmla="*/ 59 w 153"/>
                <a:gd name="T15" fmla="*/ 45 h 240"/>
                <a:gd name="T16" fmla="*/ 51 w 153"/>
                <a:gd name="T17" fmla="*/ 64 h 240"/>
                <a:gd name="T18" fmla="*/ 47 w 153"/>
                <a:gd name="T19" fmla="*/ 95 h 240"/>
                <a:gd name="T20" fmla="*/ 47 w 153"/>
                <a:gd name="T21" fmla="*/ 115 h 240"/>
                <a:gd name="T22" fmla="*/ 48 w 153"/>
                <a:gd name="T23" fmla="*/ 153 h 240"/>
                <a:gd name="T24" fmla="*/ 53 w 153"/>
                <a:gd name="T25" fmla="*/ 181 h 240"/>
                <a:gd name="T26" fmla="*/ 60 w 153"/>
                <a:gd name="T27" fmla="*/ 196 h 240"/>
                <a:gd name="T28" fmla="*/ 66 w 153"/>
                <a:gd name="T29" fmla="*/ 203 h 240"/>
                <a:gd name="T30" fmla="*/ 74 w 153"/>
                <a:gd name="T31" fmla="*/ 206 h 240"/>
                <a:gd name="T32" fmla="*/ 79 w 153"/>
                <a:gd name="T33" fmla="*/ 206 h 240"/>
                <a:gd name="T34" fmla="*/ 88 w 153"/>
                <a:gd name="T35" fmla="*/ 204 h 240"/>
                <a:gd name="T36" fmla="*/ 97 w 153"/>
                <a:gd name="T37" fmla="*/ 196 h 240"/>
                <a:gd name="T38" fmla="*/ 104 w 153"/>
                <a:gd name="T39" fmla="*/ 185 h 240"/>
                <a:gd name="T40" fmla="*/ 107 w 153"/>
                <a:gd name="T41" fmla="*/ 169 h 240"/>
                <a:gd name="T42" fmla="*/ 77 w 153"/>
                <a:gd name="T43" fmla="*/ 146 h 240"/>
                <a:gd name="T44" fmla="*/ 153 w 153"/>
                <a:gd name="T45" fmla="*/ 111 h 240"/>
                <a:gd name="T46" fmla="*/ 118 w 153"/>
                <a:gd name="T47" fmla="*/ 236 h 240"/>
                <a:gd name="T48" fmla="*/ 117 w 153"/>
                <a:gd name="T49" fmla="*/ 215 h 240"/>
                <a:gd name="T50" fmla="*/ 113 w 153"/>
                <a:gd name="T51" fmla="*/ 221 h 240"/>
                <a:gd name="T52" fmla="*/ 103 w 153"/>
                <a:gd name="T53" fmla="*/ 231 h 240"/>
                <a:gd name="T54" fmla="*/ 91 w 153"/>
                <a:gd name="T55" fmla="*/ 237 h 240"/>
                <a:gd name="T56" fmla="*/ 77 w 153"/>
                <a:gd name="T57" fmla="*/ 240 h 240"/>
                <a:gd name="T58" fmla="*/ 69 w 153"/>
                <a:gd name="T59" fmla="*/ 240 h 240"/>
                <a:gd name="T60" fmla="*/ 50 w 153"/>
                <a:gd name="T61" fmla="*/ 238 h 240"/>
                <a:gd name="T62" fmla="*/ 33 w 153"/>
                <a:gd name="T63" fmla="*/ 233 h 240"/>
                <a:gd name="T64" fmla="*/ 21 w 153"/>
                <a:gd name="T65" fmla="*/ 223 h 240"/>
                <a:gd name="T66" fmla="*/ 13 w 153"/>
                <a:gd name="T67" fmla="*/ 209 h 240"/>
                <a:gd name="T68" fmla="*/ 6 w 153"/>
                <a:gd name="T69" fmla="*/ 191 h 240"/>
                <a:gd name="T70" fmla="*/ 3 w 153"/>
                <a:gd name="T71" fmla="*/ 170 h 240"/>
                <a:gd name="T72" fmla="*/ 0 w 153"/>
                <a:gd name="T73" fmla="*/ 117 h 240"/>
                <a:gd name="T74" fmla="*/ 1 w 153"/>
                <a:gd name="T75" fmla="*/ 90 h 240"/>
                <a:gd name="T76" fmla="*/ 4 w 153"/>
                <a:gd name="T77" fmla="*/ 66 h 240"/>
                <a:gd name="T78" fmla="*/ 9 w 153"/>
                <a:gd name="T79" fmla="*/ 46 h 240"/>
                <a:gd name="T80" fmla="*/ 16 w 153"/>
                <a:gd name="T81" fmla="*/ 29 h 240"/>
                <a:gd name="T82" fmla="*/ 27 w 153"/>
                <a:gd name="T83" fmla="*/ 16 h 240"/>
                <a:gd name="T84" fmla="*/ 40 w 153"/>
                <a:gd name="T85" fmla="*/ 7 h 240"/>
                <a:gd name="T86" fmla="*/ 58 w 153"/>
                <a:gd name="T87" fmla="*/ 2 h 240"/>
                <a:gd name="T88" fmla="*/ 78 w 153"/>
                <a:gd name="T89" fmla="*/ 0 h 240"/>
                <a:gd name="T90" fmla="*/ 87 w 153"/>
                <a:gd name="T91" fmla="*/ 0 h 240"/>
                <a:gd name="T92" fmla="*/ 103 w 153"/>
                <a:gd name="T93" fmla="*/ 2 h 240"/>
                <a:gd name="T94" fmla="*/ 117 w 153"/>
                <a:gd name="T95" fmla="*/ 7 h 240"/>
                <a:gd name="T96" fmla="*/ 129 w 153"/>
                <a:gd name="T97" fmla="*/ 14 h 240"/>
                <a:gd name="T98" fmla="*/ 137 w 153"/>
                <a:gd name="T99" fmla="*/ 23 h 240"/>
                <a:gd name="T100" fmla="*/ 144 w 153"/>
                <a:gd name="T101" fmla="*/ 35 h 240"/>
                <a:gd name="T102" fmla="*/ 148 w 153"/>
                <a:gd name="T103" fmla="*/ 49 h 240"/>
                <a:gd name="T104" fmla="*/ 150 w 153"/>
                <a:gd name="T105" fmla="*/ 7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3" h="240">
                  <a:moveTo>
                    <a:pt x="105" y="73"/>
                  </a:moveTo>
                  <a:lnTo>
                    <a:pt x="105" y="73"/>
                  </a:lnTo>
                  <a:lnTo>
                    <a:pt x="104" y="67"/>
                  </a:lnTo>
                  <a:lnTo>
                    <a:pt x="103" y="60"/>
                  </a:lnTo>
                  <a:lnTo>
                    <a:pt x="101" y="53"/>
                  </a:lnTo>
                  <a:lnTo>
                    <a:pt x="99" y="48"/>
                  </a:lnTo>
                  <a:lnTo>
                    <a:pt x="95" y="42"/>
                  </a:lnTo>
                  <a:lnTo>
                    <a:pt x="90" y="37"/>
                  </a:lnTo>
                  <a:lnTo>
                    <a:pt x="85" y="35"/>
                  </a:lnTo>
                  <a:lnTo>
                    <a:pt x="78" y="34"/>
                  </a:lnTo>
                  <a:lnTo>
                    <a:pt x="78" y="34"/>
                  </a:lnTo>
                  <a:lnTo>
                    <a:pt x="71" y="35"/>
                  </a:lnTo>
                  <a:lnTo>
                    <a:pt x="67" y="36"/>
                  </a:lnTo>
                  <a:lnTo>
                    <a:pt x="64" y="38"/>
                  </a:lnTo>
                  <a:lnTo>
                    <a:pt x="61" y="42"/>
                  </a:lnTo>
                  <a:lnTo>
                    <a:pt x="59" y="45"/>
                  </a:lnTo>
                  <a:lnTo>
                    <a:pt x="54" y="53"/>
                  </a:lnTo>
                  <a:lnTo>
                    <a:pt x="51" y="64"/>
                  </a:lnTo>
                  <a:lnTo>
                    <a:pt x="49" y="78"/>
                  </a:lnTo>
                  <a:lnTo>
                    <a:pt x="47" y="95"/>
                  </a:lnTo>
                  <a:lnTo>
                    <a:pt x="47" y="115"/>
                  </a:lnTo>
                  <a:lnTo>
                    <a:pt x="47" y="115"/>
                  </a:lnTo>
                  <a:lnTo>
                    <a:pt x="47" y="135"/>
                  </a:lnTo>
                  <a:lnTo>
                    <a:pt x="48" y="153"/>
                  </a:lnTo>
                  <a:lnTo>
                    <a:pt x="50" y="168"/>
                  </a:lnTo>
                  <a:lnTo>
                    <a:pt x="53" y="181"/>
                  </a:lnTo>
                  <a:lnTo>
                    <a:pt x="57" y="192"/>
                  </a:lnTo>
                  <a:lnTo>
                    <a:pt x="60" y="196"/>
                  </a:lnTo>
                  <a:lnTo>
                    <a:pt x="63" y="199"/>
                  </a:lnTo>
                  <a:lnTo>
                    <a:pt x="66" y="203"/>
                  </a:lnTo>
                  <a:lnTo>
                    <a:pt x="70" y="205"/>
                  </a:lnTo>
                  <a:lnTo>
                    <a:pt x="74" y="206"/>
                  </a:lnTo>
                  <a:lnTo>
                    <a:pt x="79" y="206"/>
                  </a:lnTo>
                  <a:lnTo>
                    <a:pt x="79" y="206"/>
                  </a:lnTo>
                  <a:lnTo>
                    <a:pt x="83" y="206"/>
                  </a:lnTo>
                  <a:lnTo>
                    <a:pt x="88" y="204"/>
                  </a:lnTo>
                  <a:lnTo>
                    <a:pt x="93" y="201"/>
                  </a:lnTo>
                  <a:lnTo>
                    <a:pt x="97" y="196"/>
                  </a:lnTo>
                  <a:lnTo>
                    <a:pt x="101" y="191"/>
                  </a:lnTo>
                  <a:lnTo>
                    <a:pt x="104" y="185"/>
                  </a:lnTo>
                  <a:lnTo>
                    <a:pt x="107" y="178"/>
                  </a:lnTo>
                  <a:lnTo>
                    <a:pt x="107" y="169"/>
                  </a:lnTo>
                  <a:lnTo>
                    <a:pt x="107" y="146"/>
                  </a:lnTo>
                  <a:lnTo>
                    <a:pt x="77" y="146"/>
                  </a:lnTo>
                  <a:lnTo>
                    <a:pt x="77" y="111"/>
                  </a:lnTo>
                  <a:lnTo>
                    <a:pt x="153" y="111"/>
                  </a:lnTo>
                  <a:lnTo>
                    <a:pt x="153" y="236"/>
                  </a:lnTo>
                  <a:lnTo>
                    <a:pt x="118" y="236"/>
                  </a:lnTo>
                  <a:lnTo>
                    <a:pt x="118" y="215"/>
                  </a:lnTo>
                  <a:lnTo>
                    <a:pt x="117" y="215"/>
                  </a:lnTo>
                  <a:lnTo>
                    <a:pt x="117" y="215"/>
                  </a:lnTo>
                  <a:lnTo>
                    <a:pt x="113" y="221"/>
                  </a:lnTo>
                  <a:lnTo>
                    <a:pt x="108" y="226"/>
                  </a:lnTo>
                  <a:lnTo>
                    <a:pt x="103" y="231"/>
                  </a:lnTo>
                  <a:lnTo>
                    <a:pt x="97" y="234"/>
                  </a:lnTo>
                  <a:lnTo>
                    <a:pt x="91" y="237"/>
                  </a:lnTo>
                  <a:lnTo>
                    <a:pt x="84" y="239"/>
                  </a:lnTo>
                  <a:lnTo>
                    <a:pt x="77" y="240"/>
                  </a:lnTo>
                  <a:lnTo>
                    <a:pt x="69" y="240"/>
                  </a:lnTo>
                  <a:lnTo>
                    <a:pt x="69" y="240"/>
                  </a:lnTo>
                  <a:lnTo>
                    <a:pt x="59" y="240"/>
                  </a:lnTo>
                  <a:lnTo>
                    <a:pt x="50" y="238"/>
                  </a:lnTo>
                  <a:lnTo>
                    <a:pt x="41" y="236"/>
                  </a:lnTo>
                  <a:lnTo>
                    <a:pt x="33" y="233"/>
                  </a:lnTo>
                  <a:lnTo>
                    <a:pt x="27" y="228"/>
                  </a:lnTo>
                  <a:lnTo>
                    <a:pt x="21" y="223"/>
                  </a:lnTo>
                  <a:lnTo>
                    <a:pt x="17" y="217"/>
                  </a:lnTo>
                  <a:lnTo>
                    <a:pt x="13" y="209"/>
                  </a:lnTo>
                  <a:lnTo>
                    <a:pt x="9" y="201"/>
                  </a:lnTo>
                  <a:lnTo>
                    <a:pt x="6" y="191"/>
                  </a:lnTo>
                  <a:lnTo>
                    <a:pt x="4" y="181"/>
                  </a:lnTo>
                  <a:lnTo>
                    <a:pt x="3" y="170"/>
                  </a:lnTo>
                  <a:lnTo>
                    <a:pt x="1" y="146"/>
                  </a:lnTo>
                  <a:lnTo>
                    <a:pt x="0" y="117"/>
                  </a:lnTo>
                  <a:lnTo>
                    <a:pt x="0" y="117"/>
                  </a:lnTo>
                  <a:lnTo>
                    <a:pt x="1" y="90"/>
                  </a:lnTo>
                  <a:lnTo>
                    <a:pt x="2" y="78"/>
                  </a:lnTo>
                  <a:lnTo>
                    <a:pt x="4" y="66"/>
                  </a:lnTo>
                  <a:lnTo>
                    <a:pt x="6" y="56"/>
                  </a:lnTo>
                  <a:lnTo>
                    <a:pt x="9" y="46"/>
                  </a:lnTo>
                  <a:lnTo>
                    <a:pt x="12" y="37"/>
                  </a:lnTo>
                  <a:lnTo>
                    <a:pt x="16" y="29"/>
                  </a:lnTo>
                  <a:lnTo>
                    <a:pt x="21" y="22"/>
                  </a:lnTo>
                  <a:lnTo>
                    <a:pt x="27" y="16"/>
                  </a:lnTo>
                  <a:lnTo>
                    <a:pt x="33" y="11"/>
                  </a:lnTo>
                  <a:lnTo>
                    <a:pt x="40" y="7"/>
                  </a:lnTo>
                  <a:lnTo>
                    <a:pt x="49" y="4"/>
                  </a:lnTo>
                  <a:lnTo>
                    <a:pt x="58" y="2"/>
                  </a:lnTo>
                  <a:lnTo>
                    <a:pt x="67" y="0"/>
                  </a:lnTo>
                  <a:lnTo>
                    <a:pt x="78" y="0"/>
                  </a:lnTo>
                  <a:lnTo>
                    <a:pt x="78" y="0"/>
                  </a:lnTo>
                  <a:lnTo>
                    <a:pt x="87" y="0"/>
                  </a:lnTo>
                  <a:lnTo>
                    <a:pt x="95" y="1"/>
                  </a:lnTo>
                  <a:lnTo>
                    <a:pt x="103" y="2"/>
                  </a:lnTo>
                  <a:lnTo>
                    <a:pt x="110" y="4"/>
                  </a:lnTo>
                  <a:lnTo>
                    <a:pt x="117" y="7"/>
                  </a:lnTo>
                  <a:lnTo>
                    <a:pt x="123" y="10"/>
                  </a:lnTo>
                  <a:lnTo>
                    <a:pt x="129" y="14"/>
                  </a:lnTo>
                  <a:lnTo>
                    <a:pt x="133" y="18"/>
                  </a:lnTo>
                  <a:lnTo>
                    <a:pt x="137" y="23"/>
                  </a:lnTo>
                  <a:lnTo>
                    <a:pt x="141" y="29"/>
                  </a:lnTo>
                  <a:lnTo>
                    <a:pt x="144" y="35"/>
                  </a:lnTo>
                  <a:lnTo>
                    <a:pt x="146" y="42"/>
                  </a:lnTo>
                  <a:lnTo>
                    <a:pt x="148" y="49"/>
                  </a:lnTo>
                  <a:lnTo>
                    <a:pt x="149" y="57"/>
                  </a:lnTo>
                  <a:lnTo>
                    <a:pt x="150" y="73"/>
                  </a:lnTo>
                  <a:lnTo>
                    <a:pt x="105" y="73"/>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9" name="Freeform 6"/>
            <p:cNvSpPr>
              <a:spLocks noEditPoints="1"/>
            </p:cNvSpPr>
            <p:nvPr userDrawn="1"/>
          </p:nvSpPr>
          <p:spPr bwMode="auto">
            <a:xfrm>
              <a:off x="7810500" y="4805363"/>
              <a:ext cx="82550" cy="123825"/>
            </a:xfrm>
            <a:custGeom>
              <a:avLst/>
              <a:gdLst>
                <a:gd name="T0" fmla="*/ 86 w 157"/>
                <a:gd name="T1" fmla="*/ 0 h 232"/>
                <a:gd name="T2" fmla="*/ 99 w 157"/>
                <a:gd name="T3" fmla="*/ 1 h 232"/>
                <a:gd name="T4" fmla="*/ 123 w 157"/>
                <a:gd name="T5" fmla="*/ 9 h 232"/>
                <a:gd name="T6" fmla="*/ 131 w 157"/>
                <a:gd name="T7" fmla="*/ 15 h 232"/>
                <a:gd name="T8" fmla="*/ 138 w 157"/>
                <a:gd name="T9" fmla="*/ 23 h 232"/>
                <a:gd name="T10" fmla="*/ 143 w 157"/>
                <a:gd name="T11" fmla="*/ 33 h 232"/>
                <a:gd name="T12" fmla="*/ 147 w 157"/>
                <a:gd name="T13" fmla="*/ 46 h 232"/>
                <a:gd name="T14" fmla="*/ 148 w 157"/>
                <a:gd name="T15" fmla="*/ 60 h 232"/>
                <a:gd name="T16" fmla="*/ 145 w 157"/>
                <a:gd name="T17" fmla="*/ 81 h 232"/>
                <a:gd name="T18" fmla="*/ 138 w 157"/>
                <a:gd name="T19" fmla="*/ 98 h 232"/>
                <a:gd name="T20" fmla="*/ 126 w 157"/>
                <a:gd name="T21" fmla="*/ 110 h 232"/>
                <a:gd name="T22" fmla="*/ 108 w 157"/>
                <a:gd name="T23" fmla="*/ 118 h 232"/>
                <a:gd name="T24" fmla="*/ 108 w 157"/>
                <a:gd name="T25" fmla="*/ 118 h 232"/>
                <a:gd name="T26" fmla="*/ 128 w 157"/>
                <a:gd name="T27" fmla="*/ 124 h 232"/>
                <a:gd name="T28" fmla="*/ 135 w 157"/>
                <a:gd name="T29" fmla="*/ 129 h 232"/>
                <a:gd name="T30" fmla="*/ 139 w 157"/>
                <a:gd name="T31" fmla="*/ 137 h 232"/>
                <a:gd name="T32" fmla="*/ 145 w 157"/>
                <a:gd name="T33" fmla="*/ 157 h 232"/>
                <a:gd name="T34" fmla="*/ 146 w 157"/>
                <a:gd name="T35" fmla="*/ 188 h 232"/>
                <a:gd name="T36" fmla="*/ 147 w 157"/>
                <a:gd name="T37" fmla="*/ 205 h 232"/>
                <a:gd name="T38" fmla="*/ 150 w 157"/>
                <a:gd name="T39" fmla="*/ 221 h 232"/>
                <a:gd name="T40" fmla="*/ 154 w 157"/>
                <a:gd name="T41" fmla="*/ 228 h 232"/>
                <a:gd name="T42" fmla="*/ 157 w 157"/>
                <a:gd name="T43" fmla="*/ 232 h 232"/>
                <a:gd name="T44" fmla="*/ 106 w 157"/>
                <a:gd name="T45" fmla="*/ 232 h 232"/>
                <a:gd name="T46" fmla="*/ 101 w 157"/>
                <a:gd name="T47" fmla="*/ 221 h 232"/>
                <a:gd name="T48" fmla="*/ 100 w 157"/>
                <a:gd name="T49" fmla="*/ 208 h 232"/>
                <a:gd name="T50" fmla="*/ 99 w 157"/>
                <a:gd name="T51" fmla="*/ 163 h 232"/>
                <a:gd name="T52" fmla="*/ 97 w 157"/>
                <a:gd name="T53" fmla="*/ 151 h 232"/>
                <a:gd name="T54" fmla="*/ 92 w 157"/>
                <a:gd name="T55" fmla="*/ 142 h 232"/>
                <a:gd name="T56" fmla="*/ 83 w 157"/>
                <a:gd name="T57" fmla="*/ 136 h 232"/>
                <a:gd name="T58" fmla="*/ 71 w 157"/>
                <a:gd name="T59" fmla="*/ 134 h 232"/>
                <a:gd name="T60" fmla="*/ 47 w 157"/>
                <a:gd name="T61" fmla="*/ 232 h 232"/>
                <a:gd name="T62" fmla="*/ 0 w 157"/>
                <a:gd name="T63" fmla="*/ 0 h 232"/>
                <a:gd name="T64" fmla="*/ 66 w 157"/>
                <a:gd name="T65" fmla="*/ 101 h 232"/>
                <a:gd name="T66" fmla="*/ 74 w 157"/>
                <a:gd name="T67" fmla="*/ 101 h 232"/>
                <a:gd name="T68" fmla="*/ 87 w 157"/>
                <a:gd name="T69" fmla="*/ 97 h 232"/>
                <a:gd name="T70" fmla="*/ 95 w 157"/>
                <a:gd name="T71" fmla="*/ 89 h 232"/>
                <a:gd name="T72" fmla="*/ 100 w 157"/>
                <a:gd name="T73" fmla="*/ 75 h 232"/>
                <a:gd name="T74" fmla="*/ 100 w 157"/>
                <a:gd name="T75" fmla="*/ 67 h 232"/>
                <a:gd name="T76" fmla="*/ 98 w 157"/>
                <a:gd name="T77" fmla="*/ 53 h 232"/>
                <a:gd name="T78" fmla="*/ 92 w 157"/>
                <a:gd name="T79" fmla="*/ 43 h 232"/>
                <a:gd name="T80" fmla="*/ 82 w 157"/>
                <a:gd name="T81" fmla="*/ 37 h 232"/>
                <a:gd name="T82" fmla="*/ 68 w 157"/>
                <a:gd name="T83" fmla="*/ 34 h 232"/>
                <a:gd name="T84" fmla="*/ 47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6" y="0"/>
                  </a:lnTo>
                  <a:lnTo>
                    <a:pt x="86" y="0"/>
                  </a:lnTo>
                  <a:lnTo>
                    <a:pt x="99" y="1"/>
                  </a:lnTo>
                  <a:lnTo>
                    <a:pt x="112" y="4"/>
                  </a:lnTo>
                  <a:lnTo>
                    <a:pt x="123" y="9"/>
                  </a:lnTo>
                  <a:lnTo>
                    <a:pt x="127" y="12"/>
                  </a:lnTo>
                  <a:lnTo>
                    <a:pt x="131" y="15"/>
                  </a:lnTo>
                  <a:lnTo>
                    <a:pt x="135" y="19"/>
                  </a:lnTo>
                  <a:lnTo>
                    <a:pt x="138" y="23"/>
                  </a:lnTo>
                  <a:lnTo>
                    <a:pt x="141" y="28"/>
                  </a:lnTo>
                  <a:lnTo>
                    <a:pt x="143" y="33"/>
                  </a:lnTo>
                  <a:lnTo>
                    <a:pt x="145" y="40"/>
                  </a:lnTo>
                  <a:lnTo>
                    <a:pt x="147" y="46"/>
                  </a:lnTo>
                  <a:lnTo>
                    <a:pt x="148" y="60"/>
                  </a:lnTo>
                  <a:lnTo>
                    <a:pt x="148" y="60"/>
                  </a:lnTo>
                  <a:lnTo>
                    <a:pt x="147" y="71"/>
                  </a:lnTo>
                  <a:lnTo>
                    <a:pt x="145" y="81"/>
                  </a:lnTo>
                  <a:lnTo>
                    <a:pt x="142" y="90"/>
                  </a:lnTo>
                  <a:lnTo>
                    <a:pt x="138" y="98"/>
                  </a:lnTo>
                  <a:lnTo>
                    <a:pt x="133" y="104"/>
                  </a:lnTo>
                  <a:lnTo>
                    <a:pt x="126" y="110"/>
                  </a:lnTo>
                  <a:lnTo>
                    <a:pt x="119" y="114"/>
                  </a:lnTo>
                  <a:lnTo>
                    <a:pt x="108" y="118"/>
                  </a:lnTo>
                  <a:lnTo>
                    <a:pt x="108" y="118"/>
                  </a:lnTo>
                  <a:lnTo>
                    <a:pt x="108" y="118"/>
                  </a:lnTo>
                  <a:lnTo>
                    <a:pt x="120" y="120"/>
                  </a:lnTo>
                  <a:lnTo>
                    <a:pt x="128" y="124"/>
                  </a:lnTo>
                  <a:lnTo>
                    <a:pt x="132" y="126"/>
                  </a:lnTo>
                  <a:lnTo>
                    <a:pt x="135" y="129"/>
                  </a:lnTo>
                  <a:lnTo>
                    <a:pt x="137" y="133"/>
                  </a:lnTo>
                  <a:lnTo>
                    <a:pt x="139" y="137"/>
                  </a:lnTo>
                  <a:lnTo>
                    <a:pt x="143" y="146"/>
                  </a:lnTo>
                  <a:lnTo>
                    <a:pt x="145" y="157"/>
                  </a:lnTo>
                  <a:lnTo>
                    <a:pt x="146" y="171"/>
                  </a:lnTo>
                  <a:lnTo>
                    <a:pt x="146" y="188"/>
                  </a:lnTo>
                  <a:lnTo>
                    <a:pt x="146" y="188"/>
                  </a:lnTo>
                  <a:lnTo>
                    <a:pt x="147" y="205"/>
                  </a:lnTo>
                  <a:lnTo>
                    <a:pt x="148" y="217"/>
                  </a:lnTo>
                  <a:lnTo>
                    <a:pt x="150" y="221"/>
                  </a:lnTo>
                  <a:lnTo>
                    <a:pt x="151" y="225"/>
                  </a:lnTo>
                  <a:lnTo>
                    <a:pt x="154" y="228"/>
                  </a:lnTo>
                  <a:lnTo>
                    <a:pt x="157" y="230"/>
                  </a:lnTo>
                  <a:lnTo>
                    <a:pt x="157" y="232"/>
                  </a:lnTo>
                  <a:lnTo>
                    <a:pt x="106" y="232"/>
                  </a:lnTo>
                  <a:lnTo>
                    <a:pt x="106" y="232"/>
                  </a:lnTo>
                  <a:lnTo>
                    <a:pt x="103" y="227"/>
                  </a:lnTo>
                  <a:lnTo>
                    <a:pt x="101" y="221"/>
                  </a:lnTo>
                  <a:lnTo>
                    <a:pt x="100" y="215"/>
                  </a:lnTo>
                  <a:lnTo>
                    <a:pt x="100" y="208"/>
                  </a:lnTo>
                  <a:lnTo>
                    <a:pt x="99" y="163"/>
                  </a:lnTo>
                  <a:lnTo>
                    <a:pt x="99" y="163"/>
                  </a:lnTo>
                  <a:lnTo>
                    <a:pt x="98" y="157"/>
                  </a:lnTo>
                  <a:lnTo>
                    <a:pt x="97" y="151"/>
                  </a:lnTo>
                  <a:lnTo>
                    <a:pt x="95" y="146"/>
                  </a:lnTo>
                  <a:lnTo>
                    <a:pt x="92" y="142"/>
                  </a:lnTo>
                  <a:lnTo>
                    <a:pt x="88" y="139"/>
                  </a:lnTo>
                  <a:lnTo>
                    <a:pt x="83" y="136"/>
                  </a:lnTo>
                  <a:lnTo>
                    <a:pt x="78" y="135"/>
                  </a:lnTo>
                  <a:lnTo>
                    <a:pt x="71" y="134"/>
                  </a:lnTo>
                  <a:lnTo>
                    <a:pt x="47" y="134"/>
                  </a:lnTo>
                  <a:lnTo>
                    <a:pt x="47" y="232"/>
                  </a:lnTo>
                  <a:lnTo>
                    <a:pt x="0" y="232"/>
                  </a:lnTo>
                  <a:lnTo>
                    <a:pt x="0" y="0"/>
                  </a:lnTo>
                  <a:close/>
                  <a:moveTo>
                    <a:pt x="47" y="101"/>
                  </a:moveTo>
                  <a:lnTo>
                    <a:pt x="66" y="101"/>
                  </a:lnTo>
                  <a:lnTo>
                    <a:pt x="66" y="101"/>
                  </a:lnTo>
                  <a:lnTo>
                    <a:pt x="74" y="101"/>
                  </a:lnTo>
                  <a:lnTo>
                    <a:pt x="81" y="99"/>
                  </a:lnTo>
                  <a:lnTo>
                    <a:pt x="87" y="97"/>
                  </a:lnTo>
                  <a:lnTo>
                    <a:pt x="91" y="93"/>
                  </a:lnTo>
                  <a:lnTo>
                    <a:pt x="95" y="89"/>
                  </a:lnTo>
                  <a:lnTo>
                    <a:pt x="98" y="83"/>
                  </a:lnTo>
                  <a:lnTo>
                    <a:pt x="100" y="75"/>
                  </a:lnTo>
                  <a:lnTo>
                    <a:pt x="100" y="67"/>
                  </a:lnTo>
                  <a:lnTo>
                    <a:pt x="100" y="67"/>
                  </a:lnTo>
                  <a:lnTo>
                    <a:pt x="100" y="59"/>
                  </a:lnTo>
                  <a:lnTo>
                    <a:pt x="98" y="53"/>
                  </a:lnTo>
                  <a:lnTo>
                    <a:pt x="96" y="48"/>
                  </a:lnTo>
                  <a:lnTo>
                    <a:pt x="92" y="43"/>
                  </a:lnTo>
                  <a:lnTo>
                    <a:pt x="88" y="40"/>
                  </a:lnTo>
                  <a:lnTo>
                    <a:pt x="82" y="37"/>
                  </a:lnTo>
                  <a:lnTo>
                    <a:pt x="76" y="35"/>
                  </a:lnTo>
                  <a:lnTo>
                    <a:pt x="68" y="34"/>
                  </a:lnTo>
                  <a:lnTo>
                    <a:pt x="47" y="34"/>
                  </a:lnTo>
                  <a:lnTo>
                    <a:pt x="47" y="101"/>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0" name="Freeform 7"/>
            <p:cNvSpPr>
              <a:spLocks noEditPoints="1"/>
            </p:cNvSpPr>
            <p:nvPr userDrawn="1"/>
          </p:nvSpPr>
          <p:spPr bwMode="auto">
            <a:xfrm>
              <a:off x="7904163" y="4803775"/>
              <a:ext cx="84138" cy="127000"/>
            </a:xfrm>
            <a:custGeom>
              <a:avLst/>
              <a:gdLst>
                <a:gd name="T0" fmla="*/ 79 w 158"/>
                <a:gd name="T1" fmla="*/ 0 h 240"/>
                <a:gd name="T2" fmla="*/ 102 w 158"/>
                <a:gd name="T3" fmla="*/ 2 h 240"/>
                <a:gd name="T4" fmla="*/ 122 w 158"/>
                <a:gd name="T5" fmla="*/ 8 h 240"/>
                <a:gd name="T6" fmla="*/ 135 w 158"/>
                <a:gd name="T7" fmla="*/ 19 h 240"/>
                <a:gd name="T8" fmla="*/ 145 w 158"/>
                <a:gd name="T9" fmla="*/ 33 h 240"/>
                <a:gd name="T10" fmla="*/ 152 w 158"/>
                <a:gd name="T11" fmla="*/ 51 h 240"/>
                <a:gd name="T12" fmla="*/ 156 w 158"/>
                <a:gd name="T13" fmla="*/ 72 h 240"/>
                <a:gd name="T14" fmla="*/ 158 w 158"/>
                <a:gd name="T15" fmla="*/ 121 h 240"/>
                <a:gd name="T16" fmla="*/ 158 w 158"/>
                <a:gd name="T17" fmla="*/ 146 h 240"/>
                <a:gd name="T18" fmla="*/ 154 w 158"/>
                <a:gd name="T19" fmla="*/ 179 h 240"/>
                <a:gd name="T20" fmla="*/ 149 w 158"/>
                <a:gd name="T21" fmla="*/ 198 h 240"/>
                <a:gd name="T22" fmla="*/ 141 w 158"/>
                <a:gd name="T23" fmla="*/ 215 h 240"/>
                <a:gd name="T24" fmla="*/ 129 w 158"/>
                <a:gd name="T25" fmla="*/ 227 h 240"/>
                <a:gd name="T26" fmla="*/ 113 w 158"/>
                <a:gd name="T27" fmla="*/ 235 h 240"/>
                <a:gd name="T28" fmla="*/ 92 w 158"/>
                <a:gd name="T29" fmla="*/ 240 h 240"/>
                <a:gd name="T30" fmla="*/ 79 w 158"/>
                <a:gd name="T31" fmla="*/ 240 h 240"/>
                <a:gd name="T32" fmla="*/ 56 w 158"/>
                <a:gd name="T33" fmla="*/ 238 h 240"/>
                <a:gd name="T34" fmla="*/ 38 w 158"/>
                <a:gd name="T35" fmla="*/ 232 h 240"/>
                <a:gd name="T36" fmla="*/ 24 w 158"/>
                <a:gd name="T37" fmla="*/ 221 h 240"/>
                <a:gd name="T38" fmla="*/ 13 w 158"/>
                <a:gd name="T39" fmla="*/ 207 h 240"/>
                <a:gd name="T40" fmla="*/ 7 w 158"/>
                <a:gd name="T41" fmla="*/ 189 h 240"/>
                <a:gd name="T42" fmla="*/ 3 w 158"/>
                <a:gd name="T43" fmla="*/ 168 h 240"/>
                <a:gd name="T44" fmla="*/ 0 w 158"/>
                <a:gd name="T45" fmla="*/ 121 h 240"/>
                <a:gd name="T46" fmla="*/ 1 w 158"/>
                <a:gd name="T47" fmla="*/ 94 h 240"/>
                <a:gd name="T48" fmla="*/ 5 w 158"/>
                <a:gd name="T49" fmla="*/ 61 h 240"/>
                <a:gd name="T50" fmla="*/ 10 w 158"/>
                <a:gd name="T51" fmla="*/ 42 h 240"/>
                <a:gd name="T52" fmla="*/ 18 w 158"/>
                <a:gd name="T53" fmla="*/ 26 h 240"/>
                <a:gd name="T54" fmla="*/ 31 w 158"/>
                <a:gd name="T55" fmla="*/ 13 h 240"/>
                <a:gd name="T56" fmla="*/ 46 w 158"/>
                <a:gd name="T57" fmla="*/ 5 h 240"/>
                <a:gd name="T58" fmla="*/ 67 w 158"/>
                <a:gd name="T59" fmla="*/ 0 h 240"/>
                <a:gd name="T60" fmla="*/ 79 w 158"/>
                <a:gd name="T61" fmla="*/ 0 h 240"/>
                <a:gd name="T62" fmla="*/ 79 w 158"/>
                <a:gd name="T63" fmla="*/ 206 h 240"/>
                <a:gd name="T64" fmla="*/ 88 w 158"/>
                <a:gd name="T65" fmla="*/ 205 h 240"/>
                <a:gd name="T66" fmla="*/ 96 w 158"/>
                <a:gd name="T67" fmla="*/ 202 h 240"/>
                <a:gd name="T68" fmla="*/ 101 w 158"/>
                <a:gd name="T69" fmla="*/ 195 h 240"/>
                <a:gd name="T70" fmla="*/ 106 w 158"/>
                <a:gd name="T71" fmla="*/ 186 h 240"/>
                <a:gd name="T72" fmla="*/ 111 w 158"/>
                <a:gd name="T73" fmla="*/ 160 h 240"/>
                <a:gd name="T74" fmla="*/ 112 w 158"/>
                <a:gd name="T75" fmla="*/ 121 h 240"/>
                <a:gd name="T76" fmla="*/ 112 w 158"/>
                <a:gd name="T77" fmla="*/ 98 h 240"/>
                <a:gd name="T78" fmla="*/ 109 w 158"/>
                <a:gd name="T79" fmla="*/ 66 h 240"/>
                <a:gd name="T80" fmla="*/ 103 w 158"/>
                <a:gd name="T81" fmla="*/ 49 h 240"/>
                <a:gd name="T82" fmla="*/ 99 w 158"/>
                <a:gd name="T83" fmla="*/ 42 h 240"/>
                <a:gd name="T84" fmla="*/ 92 w 158"/>
                <a:gd name="T85" fmla="*/ 36 h 240"/>
                <a:gd name="T86" fmla="*/ 84 w 158"/>
                <a:gd name="T87" fmla="*/ 34 h 240"/>
                <a:gd name="T88" fmla="*/ 79 w 158"/>
                <a:gd name="T89" fmla="*/ 34 h 240"/>
                <a:gd name="T90" fmla="*/ 70 w 158"/>
                <a:gd name="T91" fmla="*/ 35 h 240"/>
                <a:gd name="T92" fmla="*/ 63 w 158"/>
                <a:gd name="T93" fmla="*/ 38 h 240"/>
                <a:gd name="T94" fmla="*/ 57 w 158"/>
                <a:gd name="T95" fmla="*/ 45 h 240"/>
                <a:gd name="T96" fmla="*/ 53 w 158"/>
                <a:gd name="T97" fmla="*/ 54 h 240"/>
                <a:gd name="T98" fmla="*/ 49 w 158"/>
                <a:gd name="T99" fmla="*/ 80 h 240"/>
                <a:gd name="T100" fmla="*/ 48 w 158"/>
                <a:gd name="T101" fmla="*/ 121 h 240"/>
                <a:gd name="T102" fmla="*/ 48 w 158"/>
                <a:gd name="T103" fmla="*/ 142 h 240"/>
                <a:gd name="T104" fmla="*/ 50 w 158"/>
                <a:gd name="T105" fmla="*/ 174 h 240"/>
                <a:gd name="T106" fmla="*/ 55 w 158"/>
                <a:gd name="T107" fmla="*/ 191 h 240"/>
                <a:gd name="T108" fmla="*/ 60 w 158"/>
                <a:gd name="T109" fmla="*/ 198 h 240"/>
                <a:gd name="T110" fmla="*/ 66 w 158"/>
                <a:gd name="T111" fmla="*/ 204 h 240"/>
                <a:gd name="T112" fmla="*/ 74 w 158"/>
                <a:gd name="T113" fmla="*/ 206 h 240"/>
                <a:gd name="T114" fmla="*/ 79 w 158"/>
                <a:gd name="T115" fmla="*/ 2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240">
                  <a:moveTo>
                    <a:pt x="79" y="0"/>
                  </a:moveTo>
                  <a:lnTo>
                    <a:pt x="79" y="0"/>
                  </a:lnTo>
                  <a:lnTo>
                    <a:pt x="92" y="0"/>
                  </a:lnTo>
                  <a:lnTo>
                    <a:pt x="102" y="2"/>
                  </a:lnTo>
                  <a:lnTo>
                    <a:pt x="113" y="5"/>
                  </a:lnTo>
                  <a:lnTo>
                    <a:pt x="122" y="8"/>
                  </a:lnTo>
                  <a:lnTo>
                    <a:pt x="129" y="13"/>
                  </a:lnTo>
                  <a:lnTo>
                    <a:pt x="135" y="19"/>
                  </a:lnTo>
                  <a:lnTo>
                    <a:pt x="141" y="26"/>
                  </a:lnTo>
                  <a:lnTo>
                    <a:pt x="145" y="33"/>
                  </a:lnTo>
                  <a:lnTo>
                    <a:pt x="149" y="42"/>
                  </a:lnTo>
                  <a:lnTo>
                    <a:pt x="152" y="51"/>
                  </a:lnTo>
                  <a:lnTo>
                    <a:pt x="154" y="61"/>
                  </a:lnTo>
                  <a:lnTo>
                    <a:pt x="156" y="72"/>
                  </a:lnTo>
                  <a:lnTo>
                    <a:pt x="158" y="94"/>
                  </a:lnTo>
                  <a:lnTo>
                    <a:pt x="158" y="121"/>
                  </a:lnTo>
                  <a:lnTo>
                    <a:pt x="158" y="121"/>
                  </a:lnTo>
                  <a:lnTo>
                    <a:pt x="158" y="146"/>
                  </a:lnTo>
                  <a:lnTo>
                    <a:pt x="156" y="168"/>
                  </a:lnTo>
                  <a:lnTo>
                    <a:pt x="154" y="179"/>
                  </a:lnTo>
                  <a:lnTo>
                    <a:pt x="152" y="189"/>
                  </a:lnTo>
                  <a:lnTo>
                    <a:pt x="149" y="198"/>
                  </a:lnTo>
                  <a:lnTo>
                    <a:pt x="145" y="207"/>
                  </a:lnTo>
                  <a:lnTo>
                    <a:pt x="141" y="215"/>
                  </a:lnTo>
                  <a:lnTo>
                    <a:pt x="135" y="221"/>
                  </a:lnTo>
                  <a:lnTo>
                    <a:pt x="129" y="227"/>
                  </a:lnTo>
                  <a:lnTo>
                    <a:pt x="122" y="232"/>
                  </a:lnTo>
                  <a:lnTo>
                    <a:pt x="113" y="235"/>
                  </a:lnTo>
                  <a:lnTo>
                    <a:pt x="102" y="238"/>
                  </a:lnTo>
                  <a:lnTo>
                    <a:pt x="92" y="240"/>
                  </a:lnTo>
                  <a:lnTo>
                    <a:pt x="79" y="240"/>
                  </a:lnTo>
                  <a:lnTo>
                    <a:pt x="79" y="240"/>
                  </a:lnTo>
                  <a:lnTo>
                    <a:pt x="67" y="240"/>
                  </a:lnTo>
                  <a:lnTo>
                    <a:pt x="56" y="238"/>
                  </a:lnTo>
                  <a:lnTo>
                    <a:pt x="46" y="235"/>
                  </a:lnTo>
                  <a:lnTo>
                    <a:pt x="38" y="232"/>
                  </a:lnTo>
                  <a:lnTo>
                    <a:pt x="31" y="227"/>
                  </a:lnTo>
                  <a:lnTo>
                    <a:pt x="24" y="221"/>
                  </a:lnTo>
                  <a:lnTo>
                    <a:pt x="18" y="215"/>
                  </a:lnTo>
                  <a:lnTo>
                    <a:pt x="13" y="207"/>
                  </a:lnTo>
                  <a:lnTo>
                    <a:pt x="10" y="198"/>
                  </a:lnTo>
                  <a:lnTo>
                    <a:pt x="7" y="189"/>
                  </a:lnTo>
                  <a:lnTo>
                    <a:pt x="5" y="179"/>
                  </a:lnTo>
                  <a:lnTo>
                    <a:pt x="3" y="168"/>
                  </a:lnTo>
                  <a:lnTo>
                    <a:pt x="1" y="146"/>
                  </a:lnTo>
                  <a:lnTo>
                    <a:pt x="0" y="121"/>
                  </a:lnTo>
                  <a:lnTo>
                    <a:pt x="0" y="121"/>
                  </a:lnTo>
                  <a:lnTo>
                    <a:pt x="1" y="94"/>
                  </a:lnTo>
                  <a:lnTo>
                    <a:pt x="3" y="72"/>
                  </a:lnTo>
                  <a:lnTo>
                    <a:pt x="5" y="61"/>
                  </a:lnTo>
                  <a:lnTo>
                    <a:pt x="7" y="51"/>
                  </a:lnTo>
                  <a:lnTo>
                    <a:pt x="10" y="42"/>
                  </a:lnTo>
                  <a:lnTo>
                    <a:pt x="13" y="33"/>
                  </a:lnTo>
                  <a:lnTo>
                    <a:pt x="18" y="26"/>
                  </a:lnTo>
                  <a:lnTo>
                    <a:pt x="24" y="19"/>
                  </a:lnTo>
                  <a:lnTo>
                    <a:pt x="31" y="13"/>
                  </a:lnTo>
                  <a:lnTo>
                    <a:pt x="38" y="8"/>
                  </a:lnTo>
                  <a:lnTo>
                    <a:pt x="46" y="5"/>
                  </a:lnTo>
                  <a:lnTo>
                    <a:pt x="56" y="2"/>
                  </a:lnTo>
                  <a:lnTo>
                    <a:pt x="67" y="0"/>
                  </a:lnTo>
                  <a:lnTo>
                    <a:pt x="79" y="0"/>
                  </a:lnTo>
                  <a:lnTo>
                    <a:pt x="79" y="0"/>
                  </a:lnTo>
                  <a:close/>
                  <a:moveTo>
                    <a:pt x="79" y="206"/>
                  </a:moveTo>
                  <a:lnTo>
                    <a:pt x="79" y="206"/>
                  </a:lnTo>
                  <a:lnTo>
                    <a:pt x="84" y="206"/>
                  </a:lnTo>
                  <a:lnTo>
                    <a:pt x="88" y="205"/>
                  </a:lnTo>
                  <a:lnTo>
                    <a:pt x="92" y="204"/>
                  </a:lnTo>
                  <a:lnTo>
                    <a:pt x="96" y="202"/>
                  </a:lnTo>
                  <a:lnTo>
                    <a:pt x="99" y="198"/>
                  </a:lnTo>
                  <a:lnTo>
                    <a:pt x="101" y="195"/>
                  </a:lnTo>
                  <a:lnTo>
                    <a:pt x="103" y="191"/>
                  </a:lnTo>
                  <a:lnTo>
                    <a:pt x="106" y="186"/>
                  </a:lnTo>
                  <a:lnTo>
                    <a:pt x="109" y="174"/>
                  </a:lnTo>
                  <a:lnTo>
                    <a:pt x="111" y="160"/>
                  </a:lnTo>
                  <a:lnTo>
                    <a:pt x="112" y="142"/>
                  </a:lnTo>
                  <a:lnTo>
                    <a:pt x="112" y="121"/>
                  </a:lnTo>
                  <a:lnTo>
                    <a:pt x="112" y="121"/>
                  </a:lnTo>
                  <a:lnTo>
                    <a:pt x="112" y="98"/>
                  </a:lnTo>
                  <a:lnTo>
                    <a:pt x="111" y="80"/>
                  </a:lnTo>
                  <a:lnTo>
                    <a:pt x="109" y="66"/>
                  </a:lnTo>
                  <a:lnTo>
                    <a:pt x="106" y="54"/>
                  </a:lnTo>
                  <a:lnTo>
                    <a:pt x="103" y="49"/>
                  </a:lnTo>
                  <a:lnTo>
                    <a:pt x="101" y="45"/>
                  </a:lnTo>
                  <a:lnTo>
                    <a:pt x="99" y="42"/>
                  </a:lnTo>
                  <a:lnTo>
                    <a:pt x="96" y="38"/>
                  </a:lnTo>
                  <a:lnTo>
                    <a:pt x="92" y="36"/>
                  </a:lnTo>
                  <a:lnTo>
                    <a:pt x="88" y="35"/>
                  </a:lnTo>
                  <a:lnTo>
                    <a:pt x="84" y="34"/>
                  </a:lnTo>
                  <a:lnTo>
                    <a:pt x="79" y="34"/>
                  </a:lnTo>
                  <a:lnTo>
                    <a:pt x="79" y="34"/>
                  </a:lnTo>
                  <a:lnTo>
                    <a:pt x="74" y="34"/>
                  </a:lnTo>
                  <a:lnTo>
                    <a:pt x="70" y="35"/>
                  </a:lnTo>
                  <a:lnTo>
                    <a:pt x="66" y="36"/>
                  </a:lnTo>
                  <a:lnTo>
                    <a:pt x="63" y="38"/>
                  </a:lnTo>
                  <a:lnTo>
                    <a:pt x="60" y="42"/>
                  </a:lnTo>
                  <a:lnTo>
                    <a:pt x="57" y="45"/>
                  </a:lnTo>
                  <a:lnTo>
                    <a:pt x="55" y="49"/>
                  </a:lnTo>
                  <a:lnTo>
                    <a:pt x="53" y="54"/>
                  </a:lnTo>
                  <a:lnTo>
                    <a:pt x="50" y="66"/>
                  </a:lnTo>
                  <a:lnTo>
                    <a:pt x="49" y="80"/>
                  </a:lnTo>
                  <a:lnTo>
                    <a:pt x="48" y="98"/>
                  </a:lnTo>
                  <a:lnTo>
                    <a:pt x="48" y="121"/>
                  </a:lnTo>
                  <a:lnTo>
                    <a:pt x="48" y="121"/>
                  </a:lnTo>
                  <a:lnTo>
                    <a:pt x="48" y="142"/>
                  </a:lnTo>
                  <a:lnTo>
                    <a:pt x="49" y="160"/>
                  </a:lnTo>
                  <a:lnTo>
                    <a:pt x="50" y="174"/>
                  </a:lnTo>
                  <a:lnTo>
                    <a:pt x="53" y="186"/>
                  </a:lnTo>
                  <a:lnTo>
                    <a:pt x="55" y="191"/>
                  </a:lnTo>
                  <a:lnTo>
                    <a:pt x="57" y="195"/>
                  </a:lnTo>
                  <a:lnTo>
                    <a:pt x="60" y="198"/>
                  </a:lnTo>
                  <a:lnTo>
                    <a:pt x="63" y="202"/>
                  </a:lnTo>
                  <a:lnTo>
                    <a:pt x="66" y="204"/>
                  </a:lnTo>
                  <a:lnTo>
                    <a:pt x="70" y="205"/>
                  </a:lnTo>
                  <a:lnTo>
                    <a:pt x="74" y="206"/>
                  </a:lnTo>
                  <a:lnTo>
                    <a:pt x="79" y="206"/>
                  </a:lnTo>
                  <a:lnTo>
                    <a:pt x="79" y="206"/>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1" name="Freeform 8"/>
            <p:cNvSpPr>
              <a:spLocks/>
            </p:cNvSpPr>
            <p:nvPr userDrawn="1"/>
          </p:nvSpPr>
          <p:spPr bwMode="auto">
            <a:xfrm>
              <a:off x="8002588" y="4805363"/>
              <a:ext cx="77788" cy="125413"/>
            </a:xfrm>
            <a:custGeom>
              <a:avLst/>
              <a:gdLst>
                <a:gd name="T0" fmla="*/ 47 w 148"/>
                <a:gd name="T1" fmla="*/ 0 h 236"/>
                <a:gd name="T2" fmla="*/ 47 w 148"/>
                <a:gd name="T3" fmla="*/ 162 h 236"/>
                <a:gd name="T4" fmla="*/ 47 w 148"/>
                <a:gd name="T5" fmla="*/ 162 h 236"/>
                <a:gd name="T6" fmla="*/ 47 w 148"/>
                <a:gd name="T7" fmla="*/ 170 h 236"/>
                <a:gd name="T8" fmla="*/ 48 w 148"/>
                <a:gd name="T9" fmla="*/ 178 h 236"/>
                <a:gd name="T10" fmla="*/ 50 w 148"/>
                <a:gd name="T11" fmla="*/ 184 h 236"/>
                <a:gd name="T12" fmla="*/ 52 w 148"/>
                <a:gd name="T13" fmla="*/ 190 h 236"/>
                <a:gd name="T14" fmla="*/ 56 w 148"/>
                <a:gd name="T15" fmla="*/ 195 h 236"/>
                <a:gd name="T16" fmla="*/ 60 w 148"/>
                <a:gd name="T17" fmla="*/ 199 h 236"/>
                <a:gd name="T18" fmla="*/ 66 w 148"/>
                <a:gd name="T19" fmla="*/ 202 h 236"/>
                <a:gd name="T20" fmla="*/ 74 w 148"/>
                <a:gd name="T21" fmla="*/ 202 h 236"/>
                <a:gd name="T22" fmla="*/ 74 w 148"/>
                <a:gd name="T23" fmla="*/ 202 h 236"/>
                <a:gd name="T24" fmla="*/ 81 w 148"/>
                <a:gd name="T25" fmla="*/ 202 h 236"/>
                <a:gd name="T26" fmla="*/ 87 w 148"/>
                <a:gd name="T27" fmla="*/ 199 h 236"/>
                <a:gd name="T28" fmla="*/ 93 w 148"/>
                <a:gd name="T29" fmla="*/ 195 h 236"/>
                <a:gd name="T30" fmla="*/ 96 w 148"/>
                <a:gd name="T31" fmla="*/ 190 h 236"/>
                <a:gd name="T32" fmla="*/ 99 w 148"/>
                <a:gd name="T33" fmla="*/ 184 h 236"/>
                <a:gd name="T34" fmla="*/ 100 w 148"/>
                <a:gd name="T35" fmla="*/ 178 h 236"/>
                <a:gd name="T36" fmla="*/ 101 w 148"/>
                <a:gd name="T37" fmla="*/ 170 h 236"/>
                <a:gd name="T38" fmla="*/ 102 w 148"/>
                <a:gd name="T39" fmla="*/ 162 h 236"/>
                <a:gd name="T40" fmla="*/ 102 w 148"/>
                <a:gd name="T41" fmla="*/ 0 h 236"/>
                <a:gd name="T42" fmla="*/ 148 w 148"/>
                <a:gd name="T43" fmla="*/ 0 h 236"/>
                <a:gd name="T44" fmla="*/ 148 w 148"/>
                <a:gd name="T45" fmla="*/ 162 h 236"/>
                <a:gd name="T46" fmla="*/ 148 w 148"/>
                <a:gd name="T47" fmla="*/ 162 h 236"/>
                <a:gd name="T48" fmla="*/ 147 w 148"/>
                <a:gd name="T49" fmla="*/ 172 h 236"/>
                <a:gd name="T50" fmla="*/ 146 w 148"/>
                <a:gd name="T51" fmla="*/ 182 h 236"/>
                <a:gd name="T52" fmla="*/ 144 w 148"/>
                <a:gd name="T53" fmla="*/ 190 h 236"/>
                <a:gd name="T54" fmla="*/ 142 w 148"/>
                <a:gd name="T55" fmla="*/ 199 h 236"/>
                <a:gd name="T56" fmla="*/ 138 w 148"/>
                <a:gd name="T57" fmla="*/ 206 h 236"/>
                <a:gd name="T58" fmla="*/ 135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9 w 148"/>
                <a:gd name="T73" fmla="*/ 236 h 236"/>
                <a:gd name="T74" fmla="*/ 74 w 148"/>
                <a:gd name="T75" fmla="*/ 236 h 236"/>
                <a:gd name="T76" fmla="*/ 74 w 148"/>
                <a:gd name="T77" fmla="*/ 236 h 236"/>
                <a:gd name="T78" fmla="*/ 60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7 w 148"/>
                <a:gd name="T97" fmla="*/ 200 h 236"/>
                <a:gd name="T98" fmla="*/ 4 w 148"/>
                <a:gd name="T99" fmla="*/ 191 h 236"/>
                <a:gd name="T100" fmla="*/ 1 w 148"/>
                <a:gd name="T101" fmla="*/ 182 h 236"/>
                <a:gd name="T102" fmla="*/ 0 w 148"/>
                <a:gd name="T103" fmla="*/ 173 h 236"/>
                <a:gd name="T104" fmla="*/ 0 w 148"/>
                <a:gd name="T105" fmla="*/ 162 h 236"/>
                <a:gd name="T106" fmla="*/ 0 w 148"/>
                <a:gd name="T107" fmla="*/ 0 h 236"/>
                <a:gd name="T108" fmla="*/ 47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7" y="0"/>
                  </a:moveTo>
                  <a:lnTo>
                    <a:pt x="47" y="162"/>
                  </a:lnTo>
                  <a:lnTo>
                    <a:pt x="47" y="162"/>
                  </a:lnTo>
                  <a:lnTo>
                    <a:pt x="47" y="170"/>
                  </a:lnTo>
                  <a:lnTo>
                    <a:pt x="48" y="178"/>
                  </a:lnTo>
                  <a:lnTo>
                    <a:pt x="50" y="184"/>
                  </a:lnTo>
                  <a:lnTo>
                    <a:pt x="52" y="190"/>
                  </a:lnTo>
                  <a:lnTo>
                    <a:pt x="56" y="195"/>
                  </a:lnTo>
                  <a:lnTo>
                    <a:pt x="60" y="199"/>
                  </a:lnTo>
                  <a:lnTo>
                    <a:pt x="66" y="202"/>
                  </a:lnTo>
                  <a:lnTo>
                    <a:pt x="74" y="202"/>
                  </a:lnTo>
                  <a:lnTo>
                    <a:pt x="74" y="202"/>
                  </a:lnTo>
                  <a:lnTo>
                    <a:pt x="81" y="202"/>
                  </a:lnTo>
                  <a:lnTo>
                    <a:pt x="87" y="199"/>
                  </a:lnTo>
                  <a:lnTo>
                    <a:pt x="93" y="195"/>
                  </a:lnTo>
                  <a:lnTo>
                    <a:pt x="96" y="190"/>
                  </a:lnTo>
                  <a:lnTo>
                    <a:pt x="99" y="184"/>
                  </a:lnTo>
                  <a:lnTo>
                    <a:pt x="100" y="178"/>
                  </a:lnTo>
                  <a:lnTo>
                    <a:pt x="101" y="170"/>
                  </a:lnTo>
                  <a:lnTo>
                    <a:pt x="102" y="162"/>
                  </a:lnTo>
                  <a:lnTo>
                    <a:pt x="102" y="0"/>
                  </a:lnTo>
                  <a:lnTo>
                    <a:pt x="148" y="0"/>
                  </a:lnTo>
                  <a:lnTo>
                    <a:pt x="148" y="162"/>
                  </a:lnTo>
                  <a:lnTo>
                    <a:pt x="148" y="162"/>
                  </a:lnTo>
                  <a:lnTo>
                    <a:pt x="147" y="172"/>
                  </a:lnTo>
                  <a:lnTo>
                    <a:pt x="146" y="182"/>
                  </a:lnTo>
                  <a:lnTo>
                    <a:pt x="144" y="190"/>
                  </a:lnTo>
                  <a:lnTo>
                    <a:pt x="142" y="199"/>
                  </a:lnTo>
                  <a:lnTo>
                    <a:pt x="138" y="206"/>
                  </a:lnTo>
                  <a:lnTo>
                    <a:pt x="135" y="212"/>
                  </a:lnTo>
                  <a:lnTo>
                    <a:pt x="130" y="217"/>
                  </a:lnTo>
                  <a:lnTo>
                    <a:pt x="125" y="221"/>
                  </a:lnTo>
                  <a:lnTo>
                    <a:pt x="120" y="225"/>
                  </a:lnTo>
                  <a:lnTo>
                    <a:pt x="114" y="228"/>
                  </a:lnTo>
                  <a:lnTo>
                    <a:pt x="108" y="231"/>
                  </a:lnTo>
                  <a:lnTo>
                    <a:pt x="102" y="233"/>
                  </a:lnTo>
                  <a:lnTo>
                    <a:pt x="89" y="236"/>
                  </a:lnTo>
                  <a:lnTo>
                    <a:pt x="74" y="236"/>
                  </a:lnTo>
                  <a:lnTo>
                    <a:pt x="74" y="236"/>
                  </a:lnTo>
                  <a:lnTo>
                    <a:pt x="60" y="236"/>
                  </a:lnTo>
                  <a:lnTo>
                    <a:pt x="46" y="234"/>
                  </a:lnTo>
                  <a:lnTo>
                    <a:pt x="40" y="232"/>
                  </a:lnTo>
                  <a:lnTo>
                    <a:pt x="34" y="229"/>
                  </a:lnTo>
                  <a:lnTo>
                    <a:pt x="28" y="226"/>
                  </a:lnTo>
                  <a:lnTo>
                    <a:pt x="23" y="223"/>
                  </a:lnTo>
                  <a:lnTo>
                    <a:pt x="18" y="218"/>
                  </a:lnTo>
                  <a:lnTo>
                    <a:pt x="14" y="213"/>
                  </a:lnTo>
                  <a:lnTo>
                    <a:pt x="10" y="207"/>
                  </a:lnTo>
                  <a:lnTo>
                    <a:pt x="7" y="200"/>
                  </a:lnTo>
                  <a:lnTo>
                    <a:pt x="4" y="191"/>
                  </a:lnTo>
                  <a:lnTo>
                    <a:pt x="1" y="182"/>
                  </a:lnTo>
                  <a:lnTo>
                    <a:pt x="0" y="173"/>
                  </a:lnTo>
                  <a:lnTo>
                    <a:pt x="0" y="162"/>
                  </a:lnTo>
                  <a:lnTo>
                    <a:pt x="0" y="0"/>
                  </a:lnTo>
                  <a:lnTo>
                    <a:pt x="4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2" name="Freeform 9"/>
            <p:cNvSpPr>
              <a:spLocks noEditPoints="1"/>
            </p:cNvSpPr>
            <p:nvPr userDrawn="1"/>
          </p:nvSpPr>
          <p:spPr bwMode="auto">
            <a:xfrm>
              <a:off x="8101013" y="4805363"/>
              <a:ext cx="76200" cy="123825"/>
            </a:xfrm>
            <a:custGeom>
              <a:avLst/>
              <a:gdLst>
                <a:gd name="T0" fmla="*/ 0 w 144"/>
                <a:gd name="T1" fmla="*/ 0 h 232"/>
                <a:gd name="T2" fmla="*/ 82 w 144"/>
                <a:gd name="T3" fmla="*/ 0 h 232"/>
                <a:gd name="T4" fmla="*/ 82 w 144"/>
                <a:gd name="T5" fmla="*/ 0 h 232"/>
                <a:gd name="T6" fmla="*/ 90 w 144"/>
                <a:gd name="T7" fmla="*/ 1 h 232"/>
                <a:gd name="T8" fmla="*/ 98 w 144"/>
                <a:gd name="T9" fmla="*/ 2 h 232"/>
                <a:gd name="T10" fmla="*/ 105 w 144"/>
                <a:gd name="T11" fmla="*/ 4 h 232"/>
                <a:gd name="T12" fmla="*/ 111 w 144"/>
                <a:gd name="T13" fmla="*/ 6 h 232"/>
                <a:gd name="T14" fmla="*/ 117 w 144"/>
                <a:gd name="T15" fmla="*/ 9 h 232"/>
                <a:gd name="T16" fmla="*/ 122 w 144"/>
                <a:gd name="T17" fmla="*/ 13 h 232"/>
                <a:gd name="T18" fmla="*/ 127 w 144"/>
                <a:gd name="T19" fmla="*/ 17 h 232"/>
                <a:gd name="T20" fmla="*/ 131 w 144"/>
                <a:gd name="T21" fmla="*/ 22 h 232"/>
                <a:gd name="T22" fmla="*/ 134 w 144"/>
                <a:gd name="T23" fmla="*/ 27 h 232"/>
                <a:gd name="T24" fmla="*/ 137 w 144"/>
                <a:gd name="T25" fmla="*/ 32 h 232"/>
                <a:gd name="T26" fmla="*/ 141 w 144"/>
                <a:gd name="T27" fmla="*/ 45 h 232"/>
                <a:gd name="T28" fmla="*/ 144 w 144"/>
                <a:gd name="T29" fmla="*/ 57 h 232"/>
                <a:gd name="T30" fmla="*/ 144 w 144"/>
                <a:gd name="T31" fmla="*/ 70 h 232"/>
                <a:gd name="T32" fmla="*/ 144 w 144"/>
                <a:gd name="T33" fmla="*/ 70 h 232"/>
                <a:gd name="T34" fmla="*/ 144 w 144"/>
                <a:gd name="T35" fmla="*/ 78 h 232"/>
                <a:gd name="T36" fmla="*/ 143 w 144"/>
                <a:gd name="T37" fmla="*/ 86 h 232"/>
                <a:gd name="T38" fmla="*/ 141 w 144"/>
                <a:gd name="T39" fmla="*/ 94 h 232"/>
                <a:gd name="T40" fmla="*/ 139 w 144"/>
                <a:gd name="T41" fmla="*/ 101 h 232"/>
                <a:gd name="T42" fmla="*/ 136 w 144"/>
                <a:gd name="T43" fmla="*/ 107 h 232"/>
                <a:gd name="T44" fmla="*/ 133 w 144"/>
                <a:gd name="T45" fmla="*/ 112 h 232"/>
                <a:gd name="T46" fmla="*/ 129 w 144"/>
                <a:gd name="T47" fmla="*/ 118 h 232"/>
                <a:gd name="T48" fmla="*/ 124 w 144"/>
                <a:gd name="T49" fmla="*/ 123 h 232"/>
                <a:gd name="T50" fmla="*/ 119 w 144"/>
                <a:gd name="T51" fmla="*/ 127 h 232"/>
                <a:gd name="T52" fmla="*/ 114 w 144"/>
                <a:gd name="T53" fmla="*/ 130 h 232"/>
                <a:gd name="T54" fmla="*/ 108 w 144"/>
                <a:gd name="T55" fmla="*/ 133 h 232"/>
                <a:gd name="T56" fmla="*/ 101 w 144"/>
                <a:gd name="T57" fmla="*/ 136 h 232"/>
                <a:gd name="T58" fmla="*/ 95 w 144"/>
                <a:gd name="T59" fmla="*/ 137 h 232"/>
                <a:gd name="T60" fmla="*/ 87 w 144"/>
                <a:gd name="T61" fmla="*/ 139 h 232"/>
                <a:gd name="T62" fmla="*/ 71 w 144"/>
                <a:gd name="T63" fmla="*/ 140 h 232"/>
                <a:gd name="T64" fmla="*/ 46 w 144"/>
                <a:gd name="T65" fmla="*/ 140 h 232"/>
                <a:gd name="T66" fmla="*/ 46 w 144"/>
                <a:gd name="T67" fmla="*/ 232 h 232"/>
                <a:gd name="T68" fmla="*/ 0 w 144"/>
                <a:gd name="T69" fmla="*/ 232 h 232"/>
                <a:gd name="T70" fmla="*/ 0 w 144"/>
                <a:gd name="T71" fmla="*/ 0 h 232"/>
                <a:gd name="T72" fmla="*/ 46 w 144"/>
                <a:gd name="T73" fmla="*/ 105 h 232"/>
                <a:gd name="T74" fmla="*/ 67 w 144"/>
                <a:gd name="T75" fmla="*/ 105 h 232"/>
                <a:gd name="T76" fmla="*/ 67 w 144"/>
                <a:gd name="T77" fmla="*/ 105 h 232"/>
                <a:gd name="T78" fmla="*/ 74 w 144"/>
                <a:gd name="T79" fmla="*/ 104 h 232"/>
                <a:gd name="T80" fmla="*/ 80 w 144"/>
                <a:gd name="T81" fmla="*/ 103 h 232"/>
                <a:gd name="T82" fmla="*/ 85 w 144"/>
                <a:gd name="T83" fmla="*/ 100 h 232"/>
                <a:gd name="T84" fmla="*/ 90 w 144"/>
                <a:gd name="T85" fmla="*/ 96 h 232"/>
                <a:gd name="T86" fmla="*/ 93 w 144"/>
                <a:gd name="T87" fmla="*/ 92 h 232"/>
                <a:gd name="T88" fmla="*/ 96 w 144"/>
                <a:gd name="T89" fmla="*/ 86 h 232"/>
                <a:gd name="T90" fmla="*/ 98 w 144"/>
                <a:gd name="T91" fmla="*/ 79 h 232"/>
                <a:gd name="T92" fmla="*/ 98 w 144"/>
                <a:gd name="T93" fmla="*/ 70 h 232"/>
                <a:gd name="T94" fmla="*/ 98 w 144"/>
                <a:gd name="T95" fmla="*/ 70 h 232"/>
                <a:gd name="T96" fmla="*/ 98 w 144"/>
                <a:gd name="T97" fmla="*/ 62 h 232"/>
                <a:gd name="T98" fmla="*/ 97 w 144"/>
                <a:gd name="T99" fmla="*/ 55 h 232"/>
                <a:gd name="T100" fmla="*/ 94 w 144"/>
                <a:gd name="T101" fmla="*/ 49 h 232"/>
                <a:gd name="T102" fmla="*/ 91 w 144"/>
                <a:gd name="T103" fmla="*/ 44 h 232"/>
                <a:gd name="T104" fmla="*/ 87 w 144"/>
                <a:gd name="T105" fmla="*/ 40 h 232"/>
                <a:gd name="T106" fmla="*/ 81 w 144"/>
                <a:gd name="T107" fmla="*/ 37 h 232"/>
                <a:gd name="T108" fmla="*/ 74 w 144"/>
                <a:gd name="T109" fmla="*/ 35 h 232"/>
                <a:gd name="T110" fmla="*/ 65 w 144"/>
                <a:gd name="T111" fmla="*/ 34 h 232"/>
                <a:gd name="T112" fmla="*/ 46 w 144"/>
                <a:gd name="T113" fmla="*/ 34 h 232"/>
                <a:gd name="T114" fmla="*/ 46 w 144"/>
                <a:gd name="T115" fmla="*/ 10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32">
                  <a:moveTo>
                    <a:pt x="0" y="0"/>
                  </a:moveTo>
                  <a:lnTo>
                    <a:pt x="82" y="0"/>
                  </a:lnTo>
                  <a:lnTo>
                    <a:pt x="82" y="0"/>
                  </a:lnTo>
                  <a:lnTo>
                    <a:pt x="90" y="1"/>
                  </a:lnTo>
                  <a:lnTo>
                    <a:pt x="98" y="2"/>
                  </a:lnTo>
                  <a:lnTo>
                    <a:pt x="105" y="4"/>
                  </a:lnTo>
                  <a:lnTo>
                    <a:pt x="111" y="6"/>
                  </a:lnTo>
                  <a:lnTo>
                    <a:pt x="117" y="9"/>
                  </a:lnTo>
                  <a:lnTo>
                    <a:pt x="122" y="13"/>
                  </a:lnTo>
                  <a:lnTo>
                    <a:pt x="127" y="17"/>
                  </a:lnTo>
                  <a:lnTo>
                    <a:pt x="131" y="22"/>
                  </a:lnTo>
                  <a:lnTo>
                    <a:pt x="134" y="27"/>
                  </a:lnTo>
                  <a:lnTo>
                    <a:pt x="137" y="32"/>
                  </a:lnTo>
                  <a:lnTo>
                    <a:pt x="141" y="45"/>
                  </a:lnTo>
                  <a:lnTo>
                    <a:pt x="144" y="57"/>
                  </a:lnTo>
                  <a:lnTo>
                    <a:pt x="144" y="70"/>
                  </a:lnTo>
                  <a:lnTo>
                    <a:pt x="144" y="70"/>
                  </a:lnTo>
                  <a:lnTo>
                    <a:pt x="144" y="78"/>
                  </a:lnTo>
                  <a:lnTo>
                    <a:pt x="143" y="86"/>
                  </a:lnTo>
                  <a:lnTo>
                    <a:pt x="141" y="94"/>
                  </a:lnTo>
                  <a:lnTo>
                    <a:pt x="139" y="101"/>
                  </a:lnTo>
                  <a:lnTo>
                    <a:pt x="136" y="107"/>
                  </a:lnTo>
                  <a:lnTo>
                    <a:pt x="133" y="112"/>
                  </a:lnTo>
                  <a:lnTo>
                    <a:pt x="129" y="118"/>
                  </a:lnTo>
                  <a:lnTo>
                    <a:pt x="124" y="123"/>
                  </a:lnTo>
                  <a:lnTo>
                    <a:pt x="119" y="127"/>
                  </a:lnTo>
                  <a:lnTo>
                    <a:pt x="114" y="130"/>
                  </a:lnTo>
                  <a:lnTo>
                    <a:pt x="108" y="133"/>
                  </a:lnTo>
                  <a:lnTo>
                    <a:pt x="101" y="136"/>
                  </a:lnTo>
                  <a:lnTo>
                    <a:pt x="95" y="137"/>
                  </a:lnTo>
                  <a:lnTo>
                    <a:pt x="87" y="139"/>
                  </a:lnTo>
                  <a:lnTo>
                    <a:pt x="71" y="140"/>
                  </a:lnTo>
                  <a:lnTo>
                    <a:pt x="46" y="140"/>
                  </a:lnTo>
                  <a:lnTo>
                    <a:pt x="46" y="232"/>
                  </a:lnTo>
                  <a:lnTo>
                    <a:pt x="0" y="232"/>
                  </a:lnTo>
                  <a:lnTo>
                    <a:pt x="0" y="0"/>
                  </a:lnTo>
                  <a:close/>
                  <a:moveTo>
                    <a:pt x="46" y="105"/>
                  </a:moveTo>
                  <a:lnTo>
                    <a:pt x="67" y="105"/>
                  </a:lnTo>
                  <a:lnTo>
                    <a:pt x="67" y="105"/>
                  </a:lnTo>
                  <a:lnTo>
                    <a:pt x="74" y="104"/>
                  </a:lnTo>
                  <a:lnTo>
                    <a:pt x="80" y="103"/>
                  </a:lnTo>
                  <a:lnTo>
                    <a:pt x="85" y="100"/>
                  </a:lnTo>
                  <a:lnTo>
                    <a:pt x="90" y="96"/>
                  </a:lnTo>
                  <a:lnTo>
                    <a:pt x="93" y="92"/>
                  </a:lnTo>
                  <a:lnTo>
                    <a:pt x="96" y="86"/>
                  </a:lnTo>
                  <a:lnTo>
                    <a:pt x="98" y="79"/>
                  </a:lnTo>
                  <a:lnTo>
                    <a:pt x="98" y="70"/>
                  </a:lnTo>
                  <a:lnTo>
                    <a:pt x="98" y="70"/>
                  </a:lnTo>
                  <a:lnTo>
                    <a:pt x="98" y="62"/>
                  </a:lnTo>
                  <a:lnTo>
                    <a:pt x="97" y="55"/>
                  </a:lnTo>
                  <a:lnTo>
                    <a:pt x="94" y="49"/>
                  </a:lnTo>
                  <a:lnTo>
                    <a:pt x="91" y="44"/>
                  </a:lnTo>
                  <a:lnTo>
                    <a:pt x="87" y="40"/>
                  </a:lnTo>
                  <a:lnTo>
                    <a:pt x="81" y="37"/>
                  </a:lnTo>
                  <a:lnTo>
                    <a:pt x="74" y="35"/>
                  </a:lnTo>
                  <a:lnTo>
                    <a:pt x="65" y="34"/>
                  </a:lnTo>
                  <a:lnTo>
                    <a:pt x="46" y="34"/>
                  </a:lnTo>
                  <a:lnTo>
                    <a:pt x="46" y="105"/>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 name="Freeform 10"/>
            <p:cNvSpPr>
              <a:spLocks/>
            </p:cNvSpPr>
            <p:nvPr userDrawn="1"/>
          </p:nvSpPr>
          <p:spPr bwMode="auto">
            <a:xfrm>
              <a:off x="8188325"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4" name="Freeform 11"/>
            <p:cNvSpPr>
              <a:spLocks noEditPoints="1"/>
            </p:cNvSpPr>
            <p:nvPr userDrawn="1"/>
          </p:nvSpPr>
          <p:spPr bwMode="auto">
            <a:xfrm>
              <a:off x="8315325" y="4805363"/>
              <a:ext cx="82550" cy="123825"/>
            </a:xfrm>
            <a:custGeom>
              <a:avLst/>
              <a:gdLst>
                <a:gd name="T0" fmla="*/ 87 w 157"/>
                <a:gd name="T1" fmla="*/ 0 h 232"/>
                <a:gd name="T2" fmla="*/ 101 w 157"/>
                <a:gd name="T3" fmla="*/ 1 h 232"/>
                <a:gd name="T4" fmla="*/ 124 w 157"/>
                <a:gd name="T5" fmla="*/ 9 h 232"/>
                <a:gd name="T6" fmla="*/ 132 w 157"/>
                <a:gd name="T7" fmla="*/ 15 h 232"/>
                <a:gd name="T8" fmla="*/ 139 w 157"/>
                <a:gd name="T9" fmla="*/ 23 h 232"/>
                <a:gd name="T10" fmla="*/ 144 w 157"/>
                <a:gd name="T11" fmla="*/ 33 h 232"/>
                <a:gd name="T12" fmla="*/ 147 w 157"/>
                <a:gd name="T13" fmla="*/ 46 h 232"/>
                <a:gd name="T14" fmla="*/ 149 w 157"/>
                <a:gd name="T15" fmla="*/ 60 h 232"/>
                <a:gd name="T16" fmla="*/ 146 w 157"/>
                <a:gd name="T17" fmla="*/ 81 h 232"/>
                <a:gd name="T18" fmla="*/ 139 w 157"/>
                <a:gd name="T19" fmla="*/ 98 h 232"/>
                <a:gd name="T20" fmla="*/ 127 w 157"/>
                <a:gd name="T21" fmla="*/ 110 h 232"/>
                <a:gd name="T22" fmla="*/ 110 w 157"/>
                <a:gd name="T23" fmla="*/ 118 h 232"/>
                <a:gd name="T24" fmla="*/ 110 w 157"/>
                <a:gd name="T25" fmla="*/ 118 h 232"/>
                <a:gd name="T26" fmla="*/ 129 w 157"/>
                <a:gd name="T27" fmla="*/ 124 h 232"/>
                <a:gd name="T28" fmla="*/ 136 w 157"/>
                <a:gd name="T29" fmla="*/ 129 h 232"/>
                <a:gd name="T30" fmla="*/ 140 w 157"/>
                <a:gd name="T31" fmla="*/ 137 h 232"/>
                <a:gd name="T32" fmla="*/ 146 w 157"/>
                <a:gd name="T33" fmla="*/ 157 h 232"/>
                <a:gd name="T34" fmla="*/ 147 w 157"/>
                <a:gd name="T35" fmla="*/ 188 h 232"/>
                <a:gd name="T36" fmla="*/ 148 w 157"/>
                <a:gd name="T37" fmla="*/ 205 h 232"/>
                <a:gd name="T38" fmla="*/ 151 w 157"/>
                <a:gd name="T39" fmla="*/ 221 h 232"/>
                <a:gd name="T40" fmla="*/ 155 w 157"/>
                <a:gd name="T41" fmla="*/ 228 h 232"/>
                <a:gd name="T42" fmla="*/ 157 w 157"/>
                <a:gd name="T43" fmla="*/ 232 h 232"/>
                <a:gd name="T44" fmla="*/ 108 w 157"/>
                <a:gd name="T45" fmla="*/ 232 h 232"/>
                <a:gd name="T46" fmla="*/ 103 w 157"/>
                <a:gd name="T47" fmla="*/ 221 h 232"/>
                <a:gd name="T48" fmla="*/ 102 w 157"/>
                <a:gd name="T49" fmla="*/ 208 h 232"/>
                <a:gd name="T50" fmla="*/ 100 w 157"/>
                <a:gd name="T51" fmla="*/ 163 h 232"/>
                <a:gd name="T52" fmla="*/ 99 w 157"/>
                <a:gd name="T53" fmla="*/ 151 h 232"/>
                <a:gd name="T54" fmla="*/ 94 w 157"/>
                <a:gd name="T55" fmla="*/ 142 h 232"/>
                <a:gd name="T56" fmla="*/ 84 w 157"/>
                <a:gd name="T57" fmla="*/ 136 h 232"/>
                <a:gd name="T58" fmla="*/ 72 w 157"/>
                <a:gd name="T59" fmla="*/ 134 h 232"/>
                <a:gd name="T60" fmla="*/ 48 w 157"/>
                <a:gd name="T61" fmla="*/ 232 h 232"/>
                <a:gd name="T62" fmla="*/ 0 w 157"/>
                <a:gd name="T63" fmla="*/ 0 h 232"/>
                <a:gd name="T64" fmla="*/ 67 w 157"/>
                <a:gd name="T65" fmla="*/ 101 h 232"/>
                <a:gd name="T66" fmla="*/ 75 w 157"/>
                <a:gd name="T67" fmla="*/ 101 h 232"/>
                <a:gd name="T68" fmla="*/ 87 w 157"/>
                <a:gd name="T69" fmla="*/ 97 h 232"/>
                <a:gd name="T70" fmla="*/ 97 w 157"/>
                <a:gd name="T71" fmla="*/ 89 h 232"/>
                <a:gd name="T72" fmla="*/ 102 w 157"/>
                <a:gd name="T73" fmla="*/ 75 h 232"/>
                <a:gd name="T74" fmla="*/ 102 w 157"/>
                <a:gd name="T75" fmla="*/ 67 h 232"/>
                <a:gd name="T76" fmla="*/ 100 w 157"/>
                <a:gd name="T77" fmla="*/ 53 h 232"/>
                <a:gd name="T78" fmla="*/ 94 w 157"/>
                <a:gd name="T79" fmla="*/ 43 h 232"/>
                <a:gd name="T80" fmla="*/ 83 w 157"/>
                <a:gd name="T81" fmla="*/ 37 h 232"/>
                <a:gd name="T82" fmla="*/ 69 w 157"/>
                <a:gd name="T83" fmla="*/ 34 h 232"/>
                <a:gd name="T84" fmla="*/ 48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7" y="0"/>
                  </a:lnTo>
                  <a:lnTo>
                    <a:pt x="87" y="0"/>
                  </a:lnTo>
                  <a:lnTo>
                    <a:pt x="101" y="1"/>
                  </a:lnTo>
                  <a:lnTo>
                    <a:pt x="113" y="4"/>
                  </a:lnTo>
                  <a:lnTo>
                    <a:pt x="124" y="9"/>
                  </a:lnTo>
                  <a:lnTo>
                    <a:pt x="128" y="12"/>
                  </a:lnTo>
                  <a:lnTo>
                    <a:pt x="132" y="15"/>
                  </a:lnTo>
                  <a:lnTo>
                    <a:pt x="136" y="19"/>
                  </a:lnTo>
                  <a:lnTo>
                    <a:pt x="139" y="23"/>
                  </a:lnTo>
                  <a:lnTo>
                    <a:pt x="142" y="28"/>
                  </a:lnTo>
                  <a:lnTo>
                    <a:pt x="144" y="33"/>
                  </a:lnTo>
                  <a:lnTo>
                    <a:pt x="146" y="40"/>
                  </a:lnTo>
                  <a:lnTo>
                    <a:pt x="147" y="46"/>
                  </a:lnTo>
                  <a:lnTo>
                    <a:pt x="149" y="60"/>
                  </a:lnTo>
                  <a:lnTo>
                    <a:pt x="149" y="60"/>
                  </a:lnTo>
                  <a:lnTo>
                    <a:pt x="148" y="71"/>
                  </a:lnTo>
                  <a:lnTo>
                    <a:pt x="146" y="81"/>
                  </a:lnTo>
                  <a:lnTo>
                    <a:pt x="143" y="90"/>
                  </a:lnTo>
                  <a:lnTo>
                    <a:pt x="139" y="98"/>
                  </a:lnTo>
                  <a:lnTo>
                    <a:pt x="134" y="104"/>
                  </a:lnTo>
                  <a:lnTo>
                    <a:pt x="127" y="110"/>
                  </a:lnTo>
                  <a:lnTo>
                    <a:pt x="119" y="114"/>
                  </a:lnTo>
                  <a:lnTo>
                    <a:pt x="110" y="118"/>
                  </a:lnTo>
                  <a:lnTo>
                    <a:pt x="110" y="118"/>
                  </a:lnTo>
                  <a:lnTo>
                    <a:pt x="110" y="118"/>
                  </a:lnTo>
                  <a:lnTo>
                    <a:pt x="121" y="120"/>
                  </a:lnTo>
                  <a:lnTo>
                    <a:pt x="129" y="124"/>
                  </a:lnTo>
                  <a:lnTo>
                    <a:pt x="133" y="126"/>
                  </a:lnTo>
                  <a:lnTo>
                    <a:pt x="136" y="129"/>
                  </a:lnTo>
                  <a:lnTo>
                    <a:pt x="138" y="133"/>
                  </a:lnTo>
                  <a:lnTo>
                    <a:pt x="140" y="137"/>
                  </a:lnTo>
                  <a:lnTo>
                    <a:pt x="144" y="146"/>
                  </a:lnTo>
                  <a:lnTo>
                    <a:pt x="146" y="157"/>
                  </a:lnTo>
                  <a:lnTo>
                    <a:pt x="147" y="171"/>
                  </a:lnTo>
                  <a:lnTo>
                    <a:pt x="147" y="188"/>
                  </a:lnTo>
                  <a:lnTo>
                    <a:pt x="147" y="188"/>
                  </a:lnTo>
                  <a:lnTo>
                    <a:pt x="148" y="205"/>
                  </a:lnTo>
                  <a:lnTo>
                    <a:pt x="149" y="217"/>
                  </a:lnTo>
                  <a:lnTo>
                    <a:pt x="151" y="221"/>
                  </a:lnTo>
                  <a:lnTo>
                    <a:pt x="152" y="225"/>
                  </a:lnTo>
                  <a:lnTo>
                    <a:pt x="155" y="228"/>
                  </a:lnTo>
                  <a:lnTo>
                    <a:pt x="157" y="230"/>
                  </a:lnTo>
                  <a:lnTo>
                    <a:pt x="157" y="232"/>
                  </a:lnTo>
                  <a:lnTo>
                    <a:pt x="108" y="232"/>
                  </a:lnTo>
                  <a:lnTo>
                    <a:pt x="108" y="232"/>
                  </a:lnTo>
                  <a:lnTo>
                    <a:pt x="105" y="227"/>
                  </a:lnTo>
                  <a:lnTo>
                    <a:pt x="103" y="221"/>
                  </a:lnTo>
                  <a:lnTo>
                    <a:pt x="102" y="215"/>
                  </a:lnTo>
                  <a:lnTo>
                    <a:pt x="102" y="208"/>
                  </a:lnTo>
                  <a:lnTo>
                    <a:pt x="100" y="163"/>
                  </a:lnTo>
                  <a:lnTo>
                    <a:pt x="100" y="163"/>
                  </a:lnTo>
                  <a:lnTo>
                    <a:pt x="100" y="157"/>
                  </a:lnTo>
                  <a:lnTo>
                    <a:pt x="99" y="151"/>
                  </a:lnTo>
                  <a:lnTo>
                    <a:pt x="96" y="146"/>
                  </a:lnTo>
                  <a:lnTo>
                    <a:pt x="94" y="142"/>
                  </a:lnTo>
                  <a:lnTo>
                    <a:pt x="89" y="139"/>
                  </a:lnTo>
                  <a:lnTo>
                    <a:pt x="84" y="136"/>
                  </a:lnTo>
                  <a:lnTo>
                    <a:pt x="79" y="135"/>
                  </a:lnTo>
                  <a:lnTo>
                    <a:pt x="72" y="134"/>
                  </a:lnTo>
                  <a:lnTo>
                    <a:pt x="48" y="134"/>
                  </a:lnTo>
                  <a:lnTo>
                    <a:pt x="48" y="232"/>
                  </a:lnTo>
                  <a:lnTo>
                    <a:pt x="0" y="232"/>
                  </a:lnTo>
                  <a:lnTo>
                    <a:pt x="0" y="0"/>
                  </a:lnTo>
                  <a:close/>
                  <a:moveTo>
                    <a:pt x="48" y="101"/>
                  </a:moveTo>
                  <a:lnTo>
                    <a:pt x="67" y="101"/>
                  </a:lnTo>
                  <a:lnTo>
                    <a:pt x="67" y="101"/>
                  </a:lnTo>
                  <a:lnTo>
                    <a:pt x="75" y="101"/>
                  </a:lnTo>
                  <a:lnTo>
                    <a:pt x="82" y="99"/>
                  </a:lnTo>
                  <a:lnTo>
                    <a:pt x="87" y="97"/>
                  </a:lnTo>
                  <a:lnTo>
                    <a:pt x="92" y="93"/>
                  </a:lnTo>
                  <a:lnTo>
                    <a:pt x="97" y="89"/>
                  </a:lnTo>
                  <a:lnTo>
                    <a:pt x="100" y="83"/>
                  </a:lnTo>
                  <a:lnTo>
                    <a:pt x="102" y="75"/>
                  </a:lnTo>
                  <a:lnTo>
                    <a:pt x="102" y="67"/>
                  </a:lnTo>
                  <a:lnTo>
                    <a:pt x="102" y="67"/>
                  </a:lnTo>
                  <a:lnTo>
                    <a:pt x="102" y="59"/>
                  </a:lnTo>
                  <a:lnTo>
                    <a:pt x="100" y="53"/>
                  </a:lnTo>
                  <a:lnTo>
                    <a:pt x="98" y="48"/>
                  </a:lnTo>
                  <a:lnTo>
                    <a:pt x="94" y="43"/>
                  </a:lnTo>
                  <a:lnTo>
                    <a:pt x="89" y="40"/>
                  </a:lnTo>
                  <a:lnTo>
                    <a:pt x="83" y="37"/>
                  </a:lnTo>
                  <a:lnTo>
                    <a:pt x="77" y="35"/>
                  </a:lnTo>
                  <a:lnTo>
                    <a:pt x="69" y="34"/>
                  </a:lnTo>
                  <a:lnTo>
                    <a:pt x="48" y="34"/>
                  </a:lnTo>
                  <a:lnTo>
                    <a:pt x="4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5" name="Freeform 12"/>
            <p:cNvSpPr>
              <a:spLocks/>
            </p:cNvSpPr>
            <p:nvPr userDrawn="1"/>
          </p:nvSpPr>
          <p:spPr bwMode="auto">
            <a:xfrm>
              <a:off x="8413750"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6" name="Freeform 13"/>
            <p:cNvSpPr>
              <a:spLocks/>
            </p:cNvSpPr>
            <p:nvPr userDrawn="1"/>
          </p:nvSpPr>
          <p:spPr bwMode="auto">
            <a:xfrm>
              <a:off x="8497888" y="4805363"/>
              <a:ext cx="80963" cy="123825"/>
            </a:xfrm>
            <a:custGeom>
              <a:avLst/>
              <a:gdLst>
                <a:gd name="T0" fmla="*/ 54 w 154"/>
                <a:gd name="T1" fmla="*/ 0 h 232"/>
                <a:gd name="T2" fmla="*/ 111 w 154"/>
                <a:gd name="T3" fmla="*/ 159 h 232"/>
                <a:gd name="T4" fmla="*/ 112 w 154"/>
                <a:gd name="T5" fmla="*/ 159 h 232"/>
                <a:gd name="T6" fmla="*/ 112 w 154"/>
                <a:gd name="T7" fmla="*/ 0 h 232"/>
                <a:gd name="T8" fmla="*/ 154 w 154"/>
                <a:gd name="T9" fmla="*/ 0 h 232"/>
                <a:gd name="T10" fmla="*/ 154 w 154"/>
                <a:gd name="T11" fmla="*/ 232 h 232"/>
                <a:gd name="T12" fmla="*/ 102 w 154"/>
                <a:gd name="T13" fmla="*/ 232 h 232"/>
                <a:gd name="T14" fmla="*/ 44 w 154"/>
                <a:gd name="T15" fmla="*/ 70 h 232"/>
                <a:gd name="T16" fmla="*/ 44 w 154"/>
                <a:gd name="T17" fmla="*/ 70 h 232"/>
                <a:gd name="T18" fmla="*/ 44 w 154"/>
                <a:gd name="T19" fmla="*/ 232 h 232"/>
                <a:gd name="T20" fmla="*/ 0 w 154"/>
                <a:gd name="T21" fmla="*/ 232 h 232"/>
                <a:gd name="T22" fmla="*/ 0 w 154"/>
                <a:gd name="T23" fmla="*/ 0 h 232"/>
                <a:gd name="T24" fmla="*/ 54 w 154"/>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232">
                  <a:moveTo>
                    <a:pt x="54" y="0"/>
                  </a:moveTo>
                  <a:lnTo>
                    <a:pt x="111" y="159"/>
                  </a:lnTo>
                  <a:lnTo>
                    <a:pt x="112" y="159"/>
                  </a:lnTo>
                  <a:lnTo>
                    <a:pt x="112" y="0"/>
                  </a:lnTo>
                  <a:lnTo>
                    <a:pt x="154" y="0"/>
                  </a:lnTo>
                  <a:lnTo>
                    <a:pt x="154" y="232"/>
                  </a:lnTo>
                  <a:lnTo>
                    <a:pt x="102" y="232"/>
                  </a:lnTo>
                  <a:lnTo>
                    <a:pt x="44" y="70"/>
                  </a:lnTo>
                  <a:lnTo>
                    <a:pt x="44" y="70"/>
                  </a:lnTo>
                  <a:lnTo>
                    <a:pt x="44" y="232"/>
                  </a:lnTo>
                  <a:lnTo>
                    <a:pt x="0" y="232"/>
                  </a:lnTo>
                  <a:lnTo>
                    <a:pt x="0"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7" name="Freeform 14"/>
            <p:cNvSpPr>
              <a:spLocks noEditPoints="1"/>
            </p:cNvSpPr>
            <p:nvPr userDrawn="1"/>
          </p:nvSpPr>
          <p:spPr bwMode="auto">
            <a:xfrm>
              <a:off x="8589963" y="4805363"/>
              <a:ext cx="95250" cy="123825"/>
            </a:xfrm>
            <a:custGeom>
              <a:avLst/>
              <a:gdLst>
                <a:gd name="T0" fmla="*/ 61 w 180"/>
                <a:gd name="T1" fmla="*/ 0 h 232"/>
                <a:gd name="T2" fmla="*/ 119 w 180"/>
                <a:gd name="T3" fmla="*/ 0 h 232"/>
                <a:gd name="T4" fmla="*/ 180 w 180"/>
                <a:gd name="T5" fmla="*/ 232 h 232"/>
                <a:gd name="T6" fmla="*/ 131 w 180"/>
                <a:gd name="T7" fmla="*/ 232 h 232"/>
                <a:gd name="T8" fmla="*/ 121 w 180"/>
                <a:gd name="T9" fmla="*/ 183 h 232"/>
                <a:gd name="T10" fmla="*/ 59 w 180"/>
                <a:gd name="T11" fmla="*/ 183 h 232"/>
                <a:gd name="T12" fmla="*/ 48 w 180"/>
                <a:gd name="T13" fmla="*/ 232 h 232"/>
                <a:gd name="T14" fmla="*/ 0 w 180"/>
                <a:gd name="T15" fmla="*/ 232 h 232"/>
                <a:gd name="T16" fmla="*/ 61 w 180"/>
                <a:gd name="T17" fmla="*/ 0 h 232"/>
                <a:gd name="T18" fmla="*/ 67 w 180"/>
                <a:gd name="T19" fmla="*/ 145 h 232"/>
                <a:gd name="T20" fmla="*/ 113 w 180"/>
                <a:gd name="T21" fmla="*/ 145 h 232"/>
                <a:gd name="T22" fmla="*/ 90 w 180"/>
                <a:gd name="T23" fmla="*/ 41 h 232"/>
                <a:gd name="T24" fmla="*/ 90 w 180"/>
                <a:gd name="T25" fmla="*/ 41 h 232"/>
                <a:gd name="T26" fmla="*/ 67 w 180"/>
                <a:gd name="T27" fmla="*/ 14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232">
                  <a:moveTo>
                    <a:pt x="61" y="0"/>
                  </a:moveTo>
                  <a:lnTo>
                    <a:pt x="119" y="0"/>
                  </a:lnTo>
                  <a:lnTo>
                    <a:pt x="180" y="232"/>
                  </a:lnTo>
                  <a:lnTo>
                    <a:pt x="131" y="232"/>
                  </a:lnTo>
                  <a:lnTo>
                    <a:pt x="121" y="183"/>
                  </a:lnTo>
                  <a:lnTo>
                    <a:pt x="59" y="183"/>
                  </a:lnTo>
                  <a:lnTo>
                    <a:pt x="48" y="232"/>
                  </a:lnTo>
                  <a:lnTo>
                    <a:pt x="0" y="232"/>
                  </a:lnTo>
                  <a:lnTo>
                    <a:pt x="61" y="0"/>
                  </a:lnTo>
                  <a:close/>
                  <a:moveTo>
                    <a:pt x="67" y="145"/>
                  </a:moveTo>
                  <a:lnTo>
                    <a:pt x="113" y="145"/>
                  </a:lnTo>
                  <a:lnTo>
                    <a:pt x="90" y="41"/>
                  </a:lnTo>
                  <a:lnTo>
                    <a:pt x="90" y="41"/>
                  </a:lnTo>
                  <a:lnTo>
                    <a:pt x="67"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8" name="Freeform 15"/>
            <p:cNvSpPr>
              <a:spLocks/>
            </p:cNvSpPr>
            <p:nvPr userDrawn="1"/>
          </p:nvSpPr>
          <p:spPr bwMode="auto">
            <a:xfrm>
              <a:off x="8691563" y="4805363"/>
              <a:ext cx="77788" cy="125413"/>
            </a:xfrm>
            <a:custGeom>
              <a:avLst/>
              <a:gdLst>
                <a:gd name="T0" fmla="*/ 46 w 148"/>
                <a:gd name="T1" fmla="*/ 0 h 236"/>
                <a:gd name="T2" fmla="*/ 46 w 148"/>
                <a:gd name="T3" fmla="*/ 162 h 236"/>
                <a:gd name="T4" fmla="*/ 46 w 148"/>
                <a:gd name="T5" fmla="*/ 162 h 236"/>
                <a:gd name="T6" fmla="*/ 47 w 148"/>
                <a:gd name="T7" fmla="*/ 170 h 236"/>
                <a:gd name="T8" fmla="*/ 48 w 148"/>
                <a:gd name="T9" fmla="*/ 178 h 236"/>
                <a:gd name="T10" fmla="*/ 49 w 148"/>
                <a:gd name="T11" fmla="*/ 184 h 236"/>
                <a:gd name="T12" fmla="*/ 52 w 148"/>
                <a:gd name="T13" fmla="*/ 190 h 236"/>
                <a:gd name="T14" fmla="*/ 55 w 148"/>
                <a:gd name="T15" fmla="*/ 195 h 236"/>
                <a:gd name="T16" fmla="*/ 60 w 148"/>
                <a:gd name="T17" fmla="*/ 199 h 236"/>
                <a:gd name="T18" fmla="*/ 67 w 148"/>
                <a:gd name="T19" fmla="*/ 202 h 236"/>
                <a:gd name="T20" fmla="*/ 74 w 148"/>
                <a:gd name="T21" fmla="*/ 202 h 236"/>
                <a:gd name="T22" fmla="*/ 74 w 148"/>
                <a:gd name="T23" fmla="*/ 202 h 236"/>
                <a:gd name="T24" fmla="*/ 82 w 148"/>
                <a:gd name="T25" fmla="*/ 202 h 236"/>
                <a:gd name="T26" fmla="*/ 88 w 148"/>
                <a:gd name="T27" fmla="*/ 199 h 236"/>
                <a:gd name="T28" fmla="*/ 92 w 148"/>
                <a:gd name="T29" fmla="*/ 195 h 236"/>
                <a:gd name="T30" fmla="*/ 96 w 148"/>
                <a:gd name="T31" fmla="*/ 190 h 236"/>
                <a:gd name="T32" fmla="*/ 98 w 148"/>
                <a:gd name="T33" fmla="*/ 184 h 236"/>
                <a:gd name="T34" fmla="*/ 100 w 148"/>
                <a:gd name="T35" fmla="*/ 178 h 236"/>
                <a:gd name="T36" fmla="*/ 101 w 148"/>
                <a:gd name="T37" fmla="*/ 170 h 236"/>
                <a:gd name="T38" fmla="*/ 101 w 148"/>
                <a:gd name="T39" fmla="*/ 162 h 236"/>
                <a:gd name="T40" fmla="*/ 101 w 148"/>
                <a:gd name="T41" fmla="*/ 0 h 236"/>
                <a:gd name="T42" fmla="*/ 148 w 148"/>
                <a:gd name="T43" fmla="*/ 0 h 236"/>
                <a:gd name="T44" fmla="*/ 148 w 148"/>
                <a:gd name="T45" fmla="*/ 162 h 236"/>
                <a:gd name="T46" fmla="*/ 148 w 148"/>
                <a:gd name="T47" fmla="*/ 162 h 236"/>
                <a:gd name="T48" fmla="*/ 148 w 148"/>
                <a:gd name="T49" fmla="*/ 172 h 236"/>
                <a:gd name="T50" fmla="*/ 147 w 148"/>
                <a:gd name="T51" fmla="*/ 182 h 236"/>
                <a:gd name="T52" fmla="*/ 144 w 148"/>
                <a:gd name="T53" fmla="*/ 190 h 236"/>
                <a:gd name="T54" fmla="*/ 141 w 148"/>
                <a:gd name="T55" fmla="*/ 199 h 236"/>
                <a:gd name="T56" fmla="*/ 138 w 148"/>
                <a:gd name="T57" fmla="*/ 206 h 236"/>
                <a:gd name="T58" fmla="*/ 134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8 w 148"/>
                <a:gd name="T73" fmla="*/ 236 h 236"/>
                <a:gd name="T74" fmla="*/ 74 w 148"/>
                <a:gd name="T75" fmla="*/ 236 h 236"/>
                <a:gd name="T76" fmla="*/ 74 w 148"/>
                <a:gd name="T77" fmla="*/ 236 h 236"/>
                <a:gd name="T78" fmla="*/ 59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6 w 148"/>
                <a:gd name="T97" fmla="*/ 200 h 236"/>
                <a:gd name="T98" fmla="*/ 4 w 148"/>
                <a:gd name="T99" fmla="*/ 191 h 236"/>
                <a:gd name="T100" fmla="*/ 2 w 148"/>
                <a:gd name="T101" fmla="*/ 182 h 236"/>
                <a:gd name="T102" fmla="*/ 1 w 148"/>
                <a:gd name="T103" fmla="*/ 173 h 236"/>
                <a:gd name="T104" fmla="*/ 0 w 148"/>
                <a:gd name="T105" fmla="*/ 162 h 236"/>
                <a:gd name="T106" fmla="*/ 0 w 148"/>
                <a:gd name="T107" fmla="*/ 0 h 236"/>
                <a:gd name="T108" fmla="*/ 46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6" y="0"/>
                  </a:moveTo>
                  <a:lnTo>
                    <a:pt x="46" y="162"/>
                  </a:lnTo>
                  <a:lnTo>
                    <a:pt x="46" y="162"/>
                  </a:lnTo>
                  <a:lnTo>
                    <a:pt x="47" y="170"/>
                  </a:lnTo>
                  <a:lnTo>
                    <a:pt x="48" y="178"/>
                  </a:lnTo>
                  <a:lnTo>
                    <a:pt x="49" y="184"/>
                  </a:lnTo>
                  <a:lnTo>
                    <a:pt x="52" y="190"/>
                  </a:lnTo>
                  <a:lnTo>
                    <a:pt x="55" y="195"/>
                  </a:lnTo>
                  <a:lnTo>
                    <a:pt x="60" y="199"/>
                  </a:lnTo>
                  <a:lnTo>
                    <a:pt x="67" y="202"/>
                  </a:lnTo>
                  <a:lnTo>
                    <a:pt x="74" y="202"/>
                  </a:lnTo>
                  <a:lnTo>
                    <a:pt x="74" y="202"/>
                  </a:lnTo>
                  <a:lnTo>
                    <a:pt x="82" y="202"/>
                  </a:lnTo>
                  <a:lnTo>
                    <a:pt x="88" y="199"/>
                  </a:lnTo>
                  <a:lnTo>
                    <a:pt x="92" y="195"/>
                  </a:lnTo>
                  <a:lnTo>
                    <a:pt x="96" y="190"/>
                  </a:lnTo>
                  <a:lnTo>
                    <a:pt x="98" y="184"/>
                  </a:lnTo>
                  <a:lnTo>
                    <a:pt x="100" y="178"/>
                  </a:lnTo>
                  <a:lnTo>
                    <a:pt x="101" y="170"/>
                  </a:lnTo>
                  <a:lnTo>
                    <a:pt x="101" y="162"/>
                  </a:lnTo>
                  <a:lnTo>
                    <a:pt x="101" y="0"/>
                  </a:lnTo>
                  <a:lnTo>
                    <a:pt x="148" y="0"/>
                  </a:lnTo>
                  <a:lnTo>
                    <a:pt x="148" y="162"/>
                  </a:lnTo>
                  <a:lnTo>
                    <a:pt x="148" y="162"/>
                  </a:lnTo>
                  <a:lnTo>
                    <a:pt x="148" y="172"/>
                  </a:lnTo>
                  <a:lnTo>
                    <a:pt x="147" y="182"/>
                  </a:lnTo>
                  <a:lnTo>
                    <a:pt x="144" y="190"/>
                  </a:lnTo>
                  <a:lnTo>
                    <a:pt x="141" y="199"/>
                  </a:lnTo>
                  <a:lnTo>
                    <a:pt x="138" y="206"/>
                  </a:lnTo>
                  <a:lnTo>
                    <a:pt x="134" y="212"/>
                  </a:lnTo>
                  <a:lnTo>
                    <a:pt x="130" y="217"/>
                  </a:lnTo>
                  <a:lnTo>
                    <a:pt x="125" y="221"/>
                  </a:lnTo>
                  <a:lnTo>
                    <a:pt x="120" y="225"/>
                  </a:lnTo>
                  <a:lnTo>
                    <a:pt x="114" y="228"/>
                  </a:lnTo>
                  <a:lnTo>
                    <a:pt x="108" y="231"/>
                  </a:lnTo>
                  <a:lnTo>
                    <a:pt x="102" y="233"/>
                  </a:lnTo>
                  <a:lnTo>
                    <a:pt x="88" y="236"/>
                  </a:lnTo>
                  <a:lnTo>
                    <a:pt x="74" y="236"/>
                  </a:lnTo>
                  <a:lnTo>
                    <a:pt x="74" y="236"/>
                  </a:lnTo>
                  <a:lnTo>
                    <a:pt x="59" y="236"/>
                  </a:lnTo>
                  <a:lnTo>
                    <a:pt x="46" y="234"/>
                  </a:lnTo>
                  <a:lnTo>
                    <a:pt x="40" y="232"/>
                  </a:lnTo>
                  <a:lnTo>
                    <a:pt x="34" y="229"/>
                  </a:lnTo>
                  <a:lnTo>
                    <a:pt x="28" y="226"/>
                  </a:lnTo>
                  <a:lnTo>
                    <a:pt x="23" y="223"/>
                  </a:lnTo>
                  <a:lnTo>
                    <a:pt x="18" y="218"/>
                  </a:lnTo>
                  <a:lnTo>
                    <a:pt x="14" y="213"/>
                  </a:lnTo>
                  <a:lnTo>
                    <a:pt x="10" y="207"/>
                  </a:lnTo>
                  <a:lnTo>
                    <a:pt x="6" y="200"/>
                  </a:lnTo>
                  <a:lnTo>
                    <a:pt x="4" y="191"/>
                  </a:lnTo>
                  <a:lnTo>
                    <a:pt x="2" y="182"/>
                  </a:lnTo>
                  <a:lnTo>
                    <a:pt x="1" y="173"/>
                  </a:lnTo>
                  <a:lnTo>
                    <a:pt x="0" y="162"/>
                  </a:lnTo>
                  <a:lnTo>
                    <a:pt x="0" y="0"/>
                  </a:lnTo>
                  <a:lnTo>
                    <a:pt x="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9" name="Freeform 16"/>
            <p:cNvSpPr>
              <a:spLocks/>
            </p:cNvSpPr>
            <p:nvPr userDrawn="1"/>
          </p:nvSpPr>
          <p:spPr bwMode="auto">
            <a:xfrm>
              <a:off x="8789988" y="4805363"/>
              <a:ext cx="69850" cy="123825"/>
            </a:xfrm>
            <a:custGeom>
              <a:avLst/>
              <a:gdLst>
                <a:gd name="T0" fmla="*/ 0 w 130"/>
                <a:gd name="T1" fmla="*/ 232 h 232"/>
                <a:gd name="T2" fmla="*/ 0 w 130"/>
                <a:gd name="T3" fmla="*/ 0 h 232"/>
                <a:gd name="T4" fmla="*/ 47 w 130"/>
                <a:gd name="T5" fmla="*/ 0 h 232"/>
                <a:gd name="T6" fmla="*/ 47 w 130"/>
                <a:gd name="T7" fmla="*/ 193 h 232"/>
                <a:gd name="T8" fmla="*/ 130 w 130"/>
                <a:gd name="T9" fmla="*/ 193 h 232"/>
                <a:gd name="T10" fmla="*/ 130 w 130"/>
                <a:gd name="T11" fmla="*/ 232 h 232"/>
                <a:gd name="T12" fmla="*/ 0 w 130"/>
                <a:gd name="T13" fmla="*/ 232 h 232"/>
              </a:gdLst>
              <a:ahLst/>
              <a:cxnLst>
                <a:cxn ang="0">
                  <a:pos x="T0" y="T1"/>
                </a:cxn>
                <a:cxn ang="0">
                  <a:pos x="T2" y="T3"/>
                </a:cxn>
                <a:cxn ang="0">
                  <a:pos x="T4" y="T5"/>
                </a:cxn>
                <a:cxn ang="0">
                  <a:pos x="T6" y="T7"/>
                </a:cxn>
                <a:cxn ang="0">
                  <a:pos x="T8" y="T9"/>
                </a:cxn>
                <a:cxn ang="0">
                  <a:pos x="T10" y="T11"/>
                </a:cxn>
                <a:cxn ang="0">
                  <a:pos x="T12" y="T13"/>
                </a:cxn>
              </a:cxnLst>
              <a:rect l="0" t="0" r="r" b="b"/>
              <a:pathLst>
                <a:path w="130" h="232">
                  <a:moveTo>
                    <a:pt x="0" y="232"/>
                  </a:moveTo>
                  <a:lnTo>
                    <a:pt x="0" y="0"/>
                  </a:lnTo>
                  <a:lnTo>
                    <a:pt x="47" y="0"/>
                  </a:lnTo>
                  <a:lnTo>
                    <a:pt x="47" y="193"/>
                  </a:lnTo>
                  <a:lnTo>
                    <a:pt x="130" y="193"/>
                  </a:lnTo>
                  <a:lnTo>
                    <a:pt x="130" y="232"/>
                  </a:lnTo>
                  <a:lnTo>
                    <a:pt x="0"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21" name="Freeform 17"/>
            <p:cNvSpPr>
              <a:spLocks/>
            </p:cNvSpPr>
            <p:nvPr userDrawn="1"/>
          </p:nvSpPr>
          <p:spPr bwMode="auto">
            <a:xfrm>
              <a:off x="8848725" y="4805363"/>
              <a:ext cx="77788" cy="123825"/>
            </a:xfrm>
            <a:custGeom>
              <a:avLst/>
              <a:gdLst>
                <a:gd name="T0" fmla="*/ 148 w 148"/>
                <a:gd name="T1" fmla="*/ 0 h 232"/>
                <a:gd name="T2" fmla="*/ 148 w 148"/>
                <a:gd name="T3" fmla="*/ 39 h 232"/>
                <a:gd name="T4" fmla="*/ 97 w 148"/>
                <a:gd name="T5" fmla="*/ 39 h 232"/>
                <a:gd name="T6" fmla="*/ 97 w 148"/>
                <a:gd name="T7" fmla="*/ 232 h 232"/>
                <a:gd name="T8" fmla="*/ 51 w 148"/>
                <a:gd name="T9" fmla="*/ 232 h 232"/>
                <a:gd name="T10" fmla="*/ 51 w 148"/>
                <a:gd name="T11" fmla="*/ 39 h 232"/>
                <a:gd name="T12" fmla="*/ 0 w 148"/>
                <a:gd name="T13" fmla="*/ 39 h 232"/>
                <a:gd name="T14" fmla="*/ 0 w 148"/>
                <a:gd name="T15" fmla="*/ 0 h 232"/>
                <a:gd name="T16" fmla="*/ 148 w 148"/>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32">
                  <a:moveTo>
                    <a:pt x="148" y="0"/>
                  </a:moveTo>
                  <a:lnTo>
                    <a:pt x="148" y="39"/>
                  </a:lnTo>
                  <a:lnTo>
                    <a:pt x="97" y="39"/>
                  </a:lnTo>
                  <a:lnTo>
                    <a:pt x="97" y="232"/>
                  </a:lnTo>
                  <a:lnTo>
                    <a:pt x="51" y="232"/>
                  </a:lnTo>
                  <a:lnTo>
                    <a:pt x="51" y="39"/>
                  </a:lnTo>
                  <a:lnTo>
                    <a:pt x="0" y="39"/>
                  </a:lnTo>
                  <a:lnTo>
                    <a:pt x="0" y="0"/>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grpSp>
      <p:pic>
        <p:nvPicPr>
          <p:cNvPr id="1042" name="Picture 18" descr="C:\Users\ARNAUD~1\AppData\Local\Temp\VMwareDnD\933dad87\3_brands_logotypes_bis.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80975" y="6234115"/>
            <a:ext cx="900000" cy="2895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23"/>
          <p:cNvSpPr txBox="1">
            <a:spLocks noChangeArrowheads="1"/>
          </p:cNvSpPr>
          <p:nvPr userDrawn="1"/>
        </p:nvSpPr>
        <p:spPr bwMode="auto">
          <a:xfrm>
            <a:off x="1331120" y="6290985"/>
            <a:ext cx="252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DISG</a:t>
            </a:r>
          </a:p>
        </p:txBody>
      </p:sp>
      <p:cxnSp>
        <p:nvCxnSpPr>
          <p:cNvPr id="23" name="Connecteur droit 22"/>
          <p:cNvCxnSpPr/>
          <p:nvPr userDrawn="1"/>
        </p:nvCxnSpPr>
        <p:spPr>
          <a:xfrm>
            <a:off x="3858263"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Box 23"/>
          <p:cNvSpPr txBox="1">
            <a:spLocks noChangeArrowheads="1"/>
          </p:cNvSpPr>
          <p:nvPr userDrawn="1"/>
        </p:nvSpPr>
        <p:spPr bwMode="auto">
          <a:xfrm>
            <a:off x="3929857" y="6290985"/>
            <a:ext cx="90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AVRIL 2017</a:t>
            </a:r>
          </a:p>
        </p:txBody>
      </p:sp>
      <p:cxnSp>
        <p:nvCxnSpPr>
          <p:cNvPr id="26" name="Connecteur droit 25"/>
          <p:cNvCxnSpPr/>
          <p:nvPr userDrawn="1"/>
        </p:nvCxnSpPr>
        <p:spPr>
          <a:xfrm>
            <a:off x="1266825"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onnecteur droit 64"/>
          <p:cNvCxnSpPr/>
          <p:nvPr userDrawn="1"/>
        </p:nvCxnSpPr>
        <p:spPr>
          <a:xfrm>
            <a:off x="4837000"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Text Box 74"/>
          <p:cNvSpPr txBox="1">
            <a:spLocks noChangeArrowheads="1"/>
          </p:cNvSpPr>
          <p:nvPr userDrawn="1"/>
        </p:nvSpPr>
        <p:spPr bwMode="auto">
          <a:xfrm>
            <a:off x="5500174" y="6326863"/>
            <a:ext cx="901976" cy="161335"/>
          </a:xfrm>
          <a:prstGeom prst="rect">
            <a:avLst/>
          </a:prstGeom>
          <a:solidFill>
            <a:srgbClr val="FFFFFF"/>
          </a:solidFill>
          <a:ln w="6350">
            <a:solidFill>
              <a:srgbClr val="000000"/>
            </a:solidFill>
            <a:miter lim="800000"/>
            <a:headEnd/>
            <a:tailEnd/>
          </a:ln>
        </p:spPr>
        <p:txBody>
          <a:bodyPr wrap="none" lIns="0" tIns="0" rIns="0" bIns="0" anchor="ctr" anchorCtr="1"/>
          <a:lstStyle>
            <a:lvl1pPr eaLnBrk="0" hangingPunct="0">
              <a:spcBef>
                <a:spcPct val="0"/>
              </a:spcBef>
              <a:defRPr sz="2400">
                <a:solidFill>
                  <a:schemeClr val="tx1"/>
                </a:solidFill>
                <a:latin typeface="Arial" charset="0"/>
                <a:ea typeface="MS PGothic" pitchFamily="34" charset="-128"/>
              </a:defRPr>
            </a:lvl1pPr>
            <a:lvl2pPr marL="37931725" indent="-37474525"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algn="ctr" eaLnBrk="1" fontAlgn="base" hangingPunct="1">
              <a:spcAft>
                <a:spcPct val="0"/>
              </a:spcAft>
              <a:defRPr/>
            </a:pPr>
            <a:r>
              <a:rPr lang="fr-FR" sz="667" dirty="0">
                <a:solidFill>
                  <a:srgbClr val="000000"/>
                </a:solidFill>
                <a:cs typeface="Arial" charset="0"/>
              </a:rPr>
              <a:t>Renault </a:t>
            </a:r>
            <a:r>
              <a:rPr lang="fr-FR" sz="667" dirty="0" err="1">
                <a:solidFill>
                  <a:srgbClr val="000000"/>
                </a:solidFill>
                <a:cs typeface="Arial" charset="0"/>
              </a:rPr>
              <a:t>Confidential</a:t>
            </a:r>
            <a:r>
              <a:rPr lang="fr-FR" sz="667" dirty="0">
                <a:solidFill>
                  <a:srgbClr val="000000"/>
                </a:solidFill>
                <a:cs typeface="Arial" charset="0"/>
              </a:rPr>
              <a:t> C</a:t>
            </a:r>
          </a:p>
        </p:txBody>
      </p:sp>
      <p:cxnSp>
        <p:nvCxnSpPr>
          <p:cNvPr id="62" name="Connecteur droit 61"/>
          <p:cNvCxnSpPr/>
          <p:nvPr userDrawn="1"/>
        </p:nvCxnSpPr>
        <p:spPr>
          <a:xfrm>
            <a:off x="7001080"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581758"/>
      </p:ext>
    </p:extLst>
  </p:cSld>
  <p:clrMap bg1="lt1" tx1="dk1" bg2="lt2" tx2="dk2" accent1="accent1" accent2="accent2" accent3="accent3" accent4="accent4" accent5="accent5" accent6="accent6" hlink="hlink" folHlink="folHlink"/>
  <p:sldLayoutIdLst>
    <p:sldLayoutId id="2147483706" r:id="rId1"/>
    <p:sldLayoutId id="2147483708" r:id="rId2"/>
  </p:sldLayoutIdLst>
  <p:hf hdr="0" ftr="0" dt="0"/>
  <p:txStyles>
    <p:titleStyle>
      <a:lvl1pPr algn="l" rtl="0" eaLnBrk="1" fontAlgn="base" hangingPunct="1">
        <a:spcBef>
          <a:spcPct val="0"/>
        </a:spcBef>
        <a:spcAft>
          <a:spcPct val="0"/>
        </a:spcAft>
        <a:defRPr sz="1800" b="1">
          <a:solidFill>
            <a:schemeClr val="tx1"/>
          </a:solidFill>
          <a:latin typeface="+mj-lt"/>
          <a:ea typeface="+mj-ea"/>
          <a:cs typeface="+mj-cs"/>
        </a:defRPr>
      </a:lvl1pPr>
      <a:lvl2pPr algn="l" rtl="0" eaLnBrk="1" fontAlgn="base" hangingPunct="1">
        <a:spcBef>
          <a:spcPct val="0"/>
        </a:spcBef>
        <a:spcAft>
          <a:spcPct val="0"/>
        </a:spcAft>
        <a:defRPr sz="1800" b="1">
          <a:solidFill>
            <a:schemeClr val="tx1"/>
          </a:solidFill>
          <a:latin typeface="Arial Narrow" pitchFamily="34" charset="0"/>
          <a:ea typeface="MS PGothic" pitchFamily="34" charset="-128"/>
        </a:defRPr>
      </a:lvl2pPr>
      <a:lvl3pPr algn="l" rtl="0" eaLnBrk="1" fontAlgn="base" hangingPunct="1">
        <a:spcBef>
          <a:spcPct val="0"/>
        </a:spcBef>
        <a:spcAft>
          <a:spcPct val="0"/>
        </a:spcAft>
        <a:defRPr sz="1800" b="1">
          <a:solidFill>
            <a:schemeClr val="tx1"/>
          </a:solidFill>
          <a:latin typeface="Arial Narrow" pitchFamily="34" charset="0"/>
          <a:ea typeface="MS PGothic" pitchFamily="34" charset="-128"/>
        </a:defRPr>
      </a:lvl3pPr>
      <a:lvl4pPr algn="l" rtl="0" eaLnBrk="1" fontAlgn="base" hangingPunct="1">
        <a:spcBef>
          <a:spcPct val="0"/>
        </a:spcBef>
        <a:spcAft>
          <a:spcPct val="0"/>
        </a:spcAft>
        <a:defRPr sz="1800" b="1">
          <a:solidFill>
            <a:schemeClr val="tx1"/>
          </a:solidFill>
          <a:latin typeface="Arial Narrow" pitchFamily="34" charset="0"/>
          <a:ea typeface="MS PGothic" pitchFamily="34" charset="-128"/>
        </a:defRPr>
      </a:lvl4pPr>
      <a:lvl5pPr algn="l" rtl="0" eaLnBrk="1" fontAlgn="base" hangingPunct="1">
        <a:spcBef>
          <a:spcPct val="0"/>
        </a:spcBef>
        <a:spcAft>
          <a:spcPct val="0"/>
        </a:spcAft>
        <a:defRPr sz="1800" b="1">
          <a:solidFill>
            <a:schemeClr val="tx1"/>
          </a:solidFill>
          <a:latin typeface="Arial Narrow" pitchFamily="34" charset="0"/>
          <a:ea typeface="MS PGothic" pitchFamily="34" charset="-128"/>
        </a:defRPr>
      </a:lvl5pPr>
      <a:lvl6pPr marL="342891" algn="l" rtl="0" eaLnBrk="1" fontAlgn="base" hangingPunct="1">
        <a:spcBef>
          <a:spcPct val="0"/>
        </a:spcBef>
        <a:spcAft>
          <a:spcPct val="0"/>
        </a:spcAft>
        <a:defRPr sz="1800" b="1">
          <a:solidFill>
            <a:schemeClr val="tx1"/>
          </a:solidFill>
          <a:latin typeface="Arial Narrow" pitchFamily="34" charset="0"/>
          <a:ea typeface="MS PGothic" pitchFamily="34" charset="-128"/>
        </a:defRPr>
      </a:lvl6pPr>
      <a:lvl7pPr marL="685783" algn="l" rtl="0" eaLnBrk="1" fontAlgn="base" hangingPunct="1">
        <a:spcBef>
          <a:spcPct val="0"/>
        </a:spcBef>
        <a:spcAft>
          <a:spcPct val="0"/>
        </a:spcAft>
        <a:defRPr sz="1800" b="1">
          <a:solidFill>
            <a:schemeClr val="tx1"/>
          </a:solidFill>
          <a:latin typeface="Arial Narrow" pitchFamily="34" charset="0"/>
          <a:ea typeface="MS PGothic" pitchFamily="34" charset="-128"/>
        </a:defRPr>
      </a:lvl7pPr>
      <a:lvl8pPr marL="1028674" algn="l" rtl="0" eaLnBrk="1" fontAlgn="base" hangingPunct="1">
        <a:spcBef>
          <a:spcPct val="0"/>
        </a:spcBef>
        <a:spcAft>
          <a:spcPct val="0"/>
        </a:spcAft>
        <a:defRPr sz="1800" b="1">
          <a:solidFill>
            <a:schemeClr val="tx1"/>
          </a:solidFill>
          <a:latin typeface="Arial Narrow" pitchFamily="34" charset="0"/>
          <a:ea typeface="MS PGothic" pitchFamily="34" charset="-128"/>
        </a:defRPr>
      </a:lvl8pPr>
      <a:lvl9pPr marL="1371566" algn="l" rtl="0" eaLnBrk="1" fontAlgn="base" hangingPunct="1">
        <a:spcBef>
          <a:spcPct val="0"/>
        </a:spcBef>
        <a:spcAft>
          <a:spcPct val="0"/>
        </a:spcAft>
        <a:defRPr sz="1800" b="1">
          <a:solidFill>
            <a:schemeClr val="tx1"/>
          </a:solidFill>
          <a:latin typeface="Arial Narrow" pitchFamily="34" charset="0"/>
          <a:ea typeface="MS PGothic" pitchFamily="34" charset="-128"/>
        </a:defRPr>
      </a:lvl9pPr>
    </p:titleStyle>
    <p:bodyStyle>
      <a:lvl1pPr marL="257168" indent="-257168" algn="l" rtl="0" eaLnBrk="1" fontAlgn="base" hangingPunct="1">
        <a:spcBef>
          <a:spcPct val="35000"/>
        </a:spcBef>
        <a:spcAft>
          <a:spcPct val="0"/>
        </a:spcAft>
        <a:buClr>
          <a:srgbClr val="F7B100"/>
        </a:buClr>
        <a:buFont typeface="Wingdings" pitchFamily="2" charset="2"/>
        <a:buChar char="§"/>
        <a:defRPr sz="1500" b="1">
          <a:solidFill>
            <a:schemeClr val="tx1"/>
          </a:solidFill>
          <a:latin typeface="+mn-lt"/>
          <a:ea typeface="+mn-ea"/>
          <a:cs typeface="+mn-cs"/>
        </a:defRPr>
      </a:lvl1pPr>
      <a:lvl2pPr marL="557199" indent="-214308" algn="l" rtl="0" eaLnBrk="1" fontAlgn="base" hangingPunct="1">
        <a:spcBef>
          <a:spcPct val="30000"/>
        </a:spcBef>
        <a:spcAft>
          <a:spcPct val="0"/>
        </a:spcAft>
        <a:buClr>
          <a:srgbClr val="F7B100"/>
        </a:buClr>
        <a:buFont typeface="Wingdings" pitchFamily="2" charset="2"/>
        <a:buChar char="§"/>
        <a:defRPr sz="1200">
          <a:solidFill>
            <a:schemeClr val="tx1"/>
          </a:solidFill>
          <a:latin typeface="+mn-lt"/>
          <a:ea typeface="+mn-ea"/>
        </a:defRPr>
      </a:lvl2pPr>
      <a:lvl3pPr marL="857229" indent="-171446" algn="l" rtl="0" eaLnBrk="1" fontAlgn="base" hangingPunct="1">
        <a:spcBef>
          <a:spcPct val="35000"/>
        </a:spcBef>
        <a:spcAft>
          <a:spcPct val="0"/>
        </a:spcAft>
        <a:buFont typeface="Wingdings" pitchFamily="2" charset="2"/>
        <a:buChar char="§"/>
        <a:defRPr sz="1100">
          <a:solidFill>
            <a:schemeClr val="tx1"/>
          </a:solidFill>
          <a:latin typeface="+mn-lt"/>
          <a:ea typeface="+mn-ea"/>
        </a:defRPr>
      </a:lvl3pPr>
      <a:lvl4pPr marL="1200121" indent="-171446" algn="l" rtl="0" eaLnBrk="1" fontAlgn="base" hangingPunct="1">
        <a:spcBef>
          <a:spcPct val="40000"/>
        </a:spcBef>
        <a:spcAft>
          <a:spcPct val="0"/>
        </a:spcAft>
        <a:buFont typeface="Wingdings" pitchFamily="2" charset="2"/>
        <a:buChar char="§"/>
        <a:defRPr sz="800">
          <a:solidFill>
            <a:schemeClr val="tx1"/>
          </a:solidFill>
          <a:latin typeface="+mn-lt"/>
          <a:ea typeface="+mn-ea"/>
        </a:defRPr>
      </a:lvl4pPr>
      <a:lvl5pPr marL="1543012" indent="-171446" algn="l" rtl="0" eaLnBrk="1" fontAlgn="base" hangingPunct="1">
        <a:spcBef>
          <a:spcPct val="20000"/>
        </a:spcBef>
        <a:spcAft>
          <a:spcPct val="0"/>
        </a:spcAft>
        <a:buChar char="»"/>
        <a:defRPr sz="800">
          <a:solidFill>
            <a:schemeClr val="tx1"/>
          </a:solidFill>
          <a:latin typeface="+mn-lt"/>
          <a:ea typeface="+mn-ea"/>
        </a:defRPr>
      </a:lvl5pPr>
      <a:lvl6pPr marL="1885904" indent="-171446" algn="l" rtl="0" eaLnBrk="1" fontAlgn="base" hangingPunct="1">
        <a:spcBef>
          <a:spcPct val="20000"/>
        </a:spcBef>
        <a:spcAft>
          <a:spcPct val="0"/>
        </a:spcAft>
        <a:buChar char="»"/>
        <a:defRPr sz="800">
          <a:solidFill>
            <a:schemeClr val="tx1"/>
          </a:solidFill>
          <a:latin typeface="+mn-lt"/>
          <a:ea typeface="+mn-ea"/>
        </a:defRPr>
      </a:lvl6pPr>
      <a:lvl7pPr marL="2228795" indent="-171446" algn="l" rtl="0" eaLnBrk="1" fontAlgn="base" hangingPunct="1">
        <a:spcBef>
          <a:spcPct val="20000"/>
        </a:spcBef>
        <a:spcAft>
          <a:spcPct val="0"/>
        </a:spcAft>
        <a:buChar char="»"/>
        <a:defRPr sz="800">
          <a:solidFill>
            <a:schemeClr val="tx1"/>
          </a:solidFill>
          <a:latin typeface="+mn-lt"/>
          <a:ea typeface="+mn-ea"/>
        </a:defRPr>
      </a:lvl7pPr>
      <a:lvl8pPr marL="2571686" indent="-171446" algn="l" rtl="0" eaLnBrk="1" fontAlgn="base" hangingPunct="1">
        <a:spcBef>
          <a:spcPct val="20000"/>
        </a:spcBef>
        <a:spcAft>
          <a:spcPct val="0"/>
        </a:spcAft>
        <a:buChar char="»"/>
        <a:defRPr sz="800">
          <a:solidFill>
            <a:schemeClr val="tx1"/>
          </a:solidFill>
          <a:latin typeface="+mn-lt"/>
          <a:ea typeface="+mn-ea"/>
        </a:defRPr>
      </a:lvl8pPr>
      <a:lvl9pPr marL="2914578" indent="-171446" algn="l" rtl="0" eaLnBrk="1" fontAlgn="base" hangingPunct="1">
        <a:spcBef>
          <a:spcPct val="20000"/>
        </a:spcBef>
        <a:spcAft>
          <a:spcPct val="0"/>
        </a:spcAft>
        <a:buChar char="»"/>
        <a:defRPr sz="800">
          <a:solidFill>
            <a:schemeClr val="tx1"/>
          </a:solidFill>
          <a:latin typeface="+mn-lt"/>
          <a:ea typeface="+mn-ea"/>
        </a:defRPr>
      </a:lvl9pPr>
    </p:bodyStyle>
    <p:otherStyle>
      <a:defPPr>
        <a:defRPr lang="fr-FR"/>
      </a:defPPr>
      <a:lvl1pPr marL="0" algn="l" defTabSz="685783" rtl="0" eaLnBrk="1" latinLnBrk="0" hangingPunct="1">
        <a:defRPr sz="1400" kern="1200">
          <a:solidFill>
            <a:schemeClr val="tx1"/>
          </a:solidFill>
          <a:latin typeface="+mn-lt"/>
          <a:ea typeface="+mn-ea"/>
          <a:cs typeface="+mn-cs"/>
        </a:defRPr>
      </a:lvl1pPr>
      <a:lvl2pPr marL="342891"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4"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9"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1" algn="l" defTabSz="685783"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13">
          <p15:clr>
            <a:srgbClr val="F26B43"/>
          </p15:clr>
        </p15:guide>
        <p15:guide id="2" orient="horz" pos="114">
          <p15:clr>
            <a:srgbClr val="F26B43"/>
          </p15:clr>
        </p15:guide>
        <p15:guide id="4" pos="5647">
          <p15:clr>
            <a:srgbClr val="F26B43"/>
          </p15:clr>
        </p15:guide>
        <p15:guide id="5" orient="horz" pos="2787">
          <p15:clr>
            <a:srgbClr val="F26B43"/>
          </p15:clr>
        </p15:guide>
        <p15:guide id="6" orient="horz" pos="1904">
          <p15:clr>
            <a:srgbClr val="F26B43"/>
          </p15:clr>
        </p15:guide>
        <p15:guide id="7" orient="horz" pos="18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 name="Rectangle 6"/>
          <p:cNvSpPr>
            <a:spLocks noChangeArrowheads="1"/>
          </p:cNvSpPr>
          <p:nvPr userDrawn="1"/>
        </p:nvSpPr>
        <p:spPr bwMode="auto">
          <a:xfrm>
            <a:off x="7075259" y="6359441"/>
            <a:ext cx="266735" cy="147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fld id="{78210625-ECA7-4862-B00E-5DC0AA3A3D4E}" type="slidenum">
              <a:rPr sz="500" b="0" noProof="1">
                <a:solidFill>
                  <a:schemeClr val="tx1"/>
                </a:solidFill>
              </a:rPr>
              <a:pPr/>
              <a:t>‹N°›</a:t>
            </a:fld>
            <a:endParaRPr lang="fr-FR" sz="300" b="0" noProof="1">
              <a:solidFill>
                <a:schemeClr val="tx1"/>
              </a:solidFill>
            </a:endParaRPr>
          </a:p>
        </p:txBody>
      </p:sp>
      <p:cxnSp>
        <p:nvCxnSpPr>
          <p:cNvPr id="39" name="Connecteur droit 38"/>
          <p:cNvCxnSpPr/>
          <p:nvPr userDrawn="1"/>
        </p:nvCxnSpPr>
        <p:spPr>
          <a:xfrm>
            <a:off x="3858263"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 Box 23"/>
          <p:cNvSpPr txBox="1">
            <a:spLocks noChangeArrowheads="1"/>
          </p:cNvSpPr>
          <p:nvPr userDrawn="1"/>
        </p:nvSpPr>
        <p:spPr bwMode="auto">
          <a:xfrm>
            <a:off x="3929857" y="6290985"/>
            <a:ext cx="90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MARS 2017</a:t>
            </a:r>
          </a:p>
        </p:txBody>
      </p:sp>
      <p:cxnSp>
        <p:nvCxnSpPr>
          <p:cNvPr id="124" name="Connecteur droit 123"/>
          <p:cNvCxnSpPr/>
          <p:nvPr userDrawn="1"/>
        </p:nvCxnSpPr>
        <p:spPr>
          <a:xfrm>
            <a:off x="6998700" y="6272560"/>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cteur droit 60"/>
          <p:cNvCxnSpPr/>
          <p:nvPr userDrawn="1"/>
        </p:nvCxnSpPr>
        <p:spPr>
          <a:xfrm>
            <a:off x="4837000"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 Box 74"/>
          <p:cNvSpPr txBox="1">
            <a:spLocks noChangeArrowheads="1"/>
          </p:cNvSpPr>
          <p:nvPr userDrawn="1"/>
        </p:nvSpPr>
        <p:spPr bwMode="auto">
          <a:xfrm>
            <a:off x="5500174" y="6326863"/>
            <a:ext cx="901976" cy="161335"/>
          </a:xfrm>
          <a:prstGeom prst="rect">
            <a:avLst/>
          </a:prstGeom>
          <a:solidFill>
            <a:srgbClr val="FFFFFF"/>
          </a:solidFill>
          <a:ln w="6350">
            <a:solidFill>
              <a:srgbClr val="000000"/>
            </a:solidFill>
            <a:miter lim="800000"/>
            <a:headEnd/>
            <a:tailEnd/>
          </a:ln>
        </p:spPr>
        <p:txBody>
          <a:bodyPr wrap="none" lIns="0" tIns="0" rIns="0" bIns="0" anchor="ctr" anchorCtr="1"/>
          <a:lstStyle>
            <a:lvl1pPr eaLnBrk="0" hangingPunct="0">
              <a:spcBef>
                <a:spcPct val="0"/>
              </a:spcBef>
              <a:defRPr sz="2400">
                <a:solidFill>
                  <a:schemeClr val="tx1"/>
                </a:solidFill>
                <a:latin typeface="Arial" charset="0"/>
                <a:ea typeface="MS PGothic" pitchFamily="34" charset="-128"/>
              </a:defRPr>
            </a:lvl1pPr>
            <a:lvl2pPr marL="37931725" indent="-37474525"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algn="ctr" eaLnBrk="1" fontAlgn="base" hangingPunct="1">
              <a:spcAft>
                <a:spcPct val="0"/>
              </a:spcAft>
              <a:defRPr/>
            </a:pPr>
            <a:r>
              <a:rPr lang="fr-FR" sz="667" dirty="0">
                <a:solidFill>
                  <a:srgbClr val="000000"/>
                </a:solidFill>
                <a:cs typeface="Arial" charset="0"/>
              </a:rPr>
              <a:t>Renault </a:t>
            </a:r>
            <a:r>
              <a:rPr lang="fr-FR" sz="667" dirty="0" err="1">
                <a:solidFill>
                  <a:srgbClr val="000000"/>
                </a:solidFill>
                <a:cs typeface="Arial" charset="0"/>
              </a:rPr>
              <a:t>Confidential</a:t>
            </a:r>
            <a:r>
              <a:rPr lang="fr-FR" sz="667" dirty="0">
                <a:solidFill>
                  <a:srgbClr val="000000"/>
                </a:solidFill>
                <a:cs typeface="Arial" charset="0"/>
              </a:rPr>
              <a:t> C</a:t>
            </a:r>
          </a:p>
        </p:txBody>
      </p:sp>
      <p:pic>
        <p:nvPicPr>
          <p:cNvPr id="125" name="Picture 18" descr="C:\Users\ARNAUD~1\AppData\Local\Temp\VMwareDnD\933dad87\3_brands_logotypes_bis.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80975" y="6234115"/>
            <a:ext cx="900000" cy="289500"/>
          </a:xfrm>
          <a:prstGeom prst="rect">
            <a:avLst/>
          </a:prstGeom>
          <a:noFill/>
          <a:extLst>
            <a:ext uri="{909E8E84-426E-40DD-AFC4-6F175D3DCCD1}">
              <a14:hiddenFill xmlns:a14="http://schemas.microsoft.com/office/drawing/2010/main">
                <a:solidFill>
                  <a:srgbClr val="FFFFFF"/>
                </a:solidFill>
              </a14:hiddenFill>
            </a:ext>
          </a:extLst>
        </p:spPr>
      </p:pic>
      <p:sp>
        <p:nvSpPr>
          <p:cNvPr id="126" name="Text Box 23"/>
          <p:cNvSpPr txBox="1">
            <a:spLocks noChangeArrowheads="1"/>
          </p:cNvSpPr>
          <p:nvPr userDrawn="1"/>
        </p:nvSpPr>
        <p:spPr bwMode="auto">
          <a:xfrm>
            <a:off x="1331120" y="6290985"/>
            <a:ext cx="252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DISG</a:t>
            </a:r>
          </a:p>
        </p:txBody>
      </p:sp>
      <p:cxnSp>
        <p:nvCxnSpPr>
          <p:cNvPr id="127" name="Connecteur droit 126"/>
          <p:cNvCxnSpPr/>
          <p:nvPr userDrawn="1"/>
        </p:nvCxnSpPr>
        <p:spPr>
          <a:xfrm>
            <a:off x="1266825"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8" name="Groupe 127"/>
          <p:cNvGrpSpPr>
            <a:grpSpLocks noChangeAspect="1"/>
          </p:cNvGrpSpPr>
          <p:nvPr userDrawn="1"/>
        </p:nvGrpSpPr>
        <p:grpSpPr>
          <a:xfrm>
            <a:off x="7343775" y="6266213"/>
            <a:ext cx="1620000" cy="225884"/>
            <a:chOff x="7712075" y="4803775"/>
            <a:chExt cx="1214438" cy="127001"/>
          </a:xfrm>
        </p:grpSpPr>
        <p:sp>
          <p:nvSpPr>
            <p:cNvPr id="129" name="Freeform 5"/>
            <p:cNvSpPr>
              <a:spLocks/>
            </p:cNvSpPr>
            <p:nvPr userDrawn="1"/>
          </p:nvSpPr>
          <p:spPr bwMode="auto">
            <a:xfrm>
              <a:off x="7712075" y="4803775"/>
              <a:ext cx="80963" cy="127000"/>
            </a:xfrm>
            <a:custGeom>
              <a:avLst/>
              <a:gdLst>
                <a:gd name="T0" fmla="*/ 105 w 153"/>
                <a:gd name="T1" fmla="*/ 73 h 240"/>
                <a:gd name="T2" fmla="*/ 103 w 153"/>
                <a:gd name="T3" fmla="*/ 60 h 240"/>
                <a:gd name="T4" fmla="*/ 99 w 153"/>
                <a:gd name="T5" fmla="*/ 48 h 240"/>
                <a:gd name="T6" fmla="*/ 90 w 153"/>
                <a:gd name="T7" fmla="*/ 37 h 240"/>
                <a:gd name="T8" fmla="*/ 78 w 153"/>
                <a:gd name="T9" fmla="*/ 34 h 240"/>
                <a:gd name="T10" fmla="*/ 71 w 153"/>
                <a:gd name="T11" fmla="*/ 35 h 240"/>
                <a:gd name="T12" fmla="*/ 64 w 153"/>
                <a:gd name="T13" fmla="*/ 38 h 240"/>
                <a:gd name="T14" fmla="*/ 59 w 153"/>
                <a:gd name="T15" fmla="*/ 45 h 240"/>
                <a:gd name="T16" fmla="*/ 51 w 153"/>
                <a:gd name="T17" fmla="*/ 64 h 240"/>
                <a:gd name="T18" fmla="*/ 47 w 153"/>
                <a:gd name="T19" fmla="*/ 95 h 240"/>
                <a:gd name="T20" fmla="*/ 47 w 153"/>
                <a:gd name="T21" fmla="*/ 115 h 240"/>
                <a:gd name="T22" fmla="*/ 48 w 153"/>
                <a:gd name="T23" fmla="*/ 153 h 240"/>
                <a:gd name="T24" fmla="*/ 53 w 153"/>
                <a:gd name="T25" fmla="*/ 181 h 240"/>
                <a:gd name="T26" fmla="*/ 60 w 153"/>
                <a:gd name="T27" fmla="*/ 196 h 240"/>
                <a:gd name="T28" fmla="*/ 66 w 153"/>
                <a:gd name="T29" fmla="*/ 203 h 240"/>
                <a:gd name="T30" fmla="*/ 74 w 153"/>
                <a:gd name="T31" fmla="*/ 206 h 240"/>
                <a:gd name="T32" fmla="*/ 79 w 153"/>
                <a:gd name="T33" fmla="*/ 206 h 240"/>
                <a:gd name="T34" fmla="*/ 88 w 153"/>
                <a:gd name="T35" fmla="*/ 204 h 240"/>
                <a:gd name="T36" fmla="*/ 97 w 153"/>
                <a:gd name="T37" fmla="*/ 196 h 240"/>
                <a:gd name="T38" fmla="*/ 104 w 153"/>
                <a:gd name="T39" fmla="*/ 185 h 240"/>
                <a:gd name="T40" fmla="*/ 107 w 153"/>
                <a:gd name="T41" fmla="*/ 169 h 240"/>
                <a:gd name="T42" fmla="*/ 77 w 153"/>
                <a:gd name="T43" fmla="*/ 146 h 240"/>
                <a:gd name="T44" fmla="*/ 153 w 153"/>
                <a:gd name="T45" fmla="*/ 111 h 240"/>
                <a:gd name="T46" fmla="*/ 118 w 153"/>
                <a:gd name="T47" fmla="*/ 236 h 240"/>
                <a:gd name="T48" fmla="*/ 117 w 153"/>
                <a:gd name="T49" fmla="*/ 215 h 240"/>
                <a:gd name="T50" fmla="*/ 113 w 153"/>
                <a:gd name="T51" fmla="*/ 221 h 240"/>
                <a:gd name="T52" fmla="*/ 103 w 153"/>
                <a:gd name="T53" fmla="*/ 231 h 240"/>
                <a:gd name="T54" fmla="*/ 91 w 153"/>
                <a:gd name="T55" fmla="*/ 237 h 240"/>
                <a:gd name="T56" fmla="*/ 77 w 153"/>
                <a:gd name="T57" fmla="*/ 240 h 240"/>
                <a:gd name="T58" fmla="*/ 69 w 153"/>
                <a:gd name="T59" fmla="*/ 240 h 240"/>
                <a:gd name="T60" fmla="*/ 50 w 153"/>
                <a:gd name="T61" fmla="*/ 238 h 240"/>
                <a:gd name="T62" fmla="*/ 33 w 153"/>
                <a:gd name="T63" fmla="*/ 233 h 240"/>
                <a:gd name="T64" fmla="*/ 21 w 153"/>
                <a:gd name="T65" fmla="*/ 223 h 240"/>
                <a:gd name="T66" fmla="*/ 13 w 153"/>
                <a:gd name="T67" fmla="*/ 209 h 240"/>
                <a:gd name="T68" fmla="*/ 6 w 153"/>
                <a:gd name="T69" fmla="*/ 191 h 240"/>
                <a:gd name="T70" fmla="*/ 3 w 153"/>
                <a:gd name="T71" fmla="*/ 170 h 240"/>
                <a:gd name="T72" fmla="*/ 0 w 153"/>
                <a:gd name="T73" fmla="*/ 117 h 240"/>
                <a:gd name="T74" fmla="*/ 1 w 153"/>
                <a:gd name="T75" fmla="*/ 90 h 240"/>
                <a:gd name="T76" fmla="*/ 4 w 153"/>
                <a:gd name="T77" fmla="*/ 66 h 240"/>
                <a:gd name="T78" fmla="*/ 9 w 153"/>
                <a:gd name="T79" fmla="*/ 46 h 240"/>
                <a:gd name="T80" fmla="*/ 16 w 153"/>
                <a:gd name="T81" fmla="*/ 29 h 240"/>
                <a:gd name="T82" fmla="*/ 27 w 153"/>
                <a:gd name="T83" fmla="*/ 16 h 240"/>
                <a:gd name="T84" fmla="*/ 40 w 153"/>
                <a:gd name="T85" fmla="*/ 7 h 240"/>
                <a:gd name="T86" fmla="*/ 58 w 153"/>
                <a:gd name="T87" fmla="*/ 2 h 240"/>
                <a:gd name="T88" fmla="*/ 78 w 153"/>
                <a:gd name="T89" fmla="*/ 0 h 240"/>
                <a:gd name="T90" fmla="*/ 87 w 153"/>
                <a:gd name="T91" fmla="*/ 0 h 240"/>
                <a:gd name="T92" fmla="*/ 103 w 153"/>
                <a:gd name="T93" fmla="*/ 2 h 240"/>
                <a:gd name="T94" fmla="*/ 117 w 153"/>
                <a:gd name="T95" fmla="*/ 7 h 240"/>
                <a:gd name="T96" fmla="*/ 129 w 153"/>
                <a:gd name="T97" fmla="*/ 14 h 240"/>
                <a:gd name="T98" fmla="*/ 137 w 153"/>
                <a:gd name="T99" fmla="*/ 23 h 240"/>
                <a:gd name="T100" fmla="*/ 144 w 153"/>
                <a:gd name="T101" fmla="*/ 35 h 240"/>
                <a:gd name="T102" fmla="*/ 148 w 153"/>
                <a:gd name="T103" fmla="*/ 49 h 240"/>
                <a:gd name="T104" fmla="*/ 150 w 153"/>
                <a:gd name="T105" fmla="*/ 7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3" h="240">
                  <a:moveTo>
                    <a:pt x="105" y="73"/>
                  </a:moveTo>
                  <a:lnTo>
                    <a:pt x="105" y="73"/>
                  </a:lnTo>
                  <a:lnTo>
                    <a:pt x="104" y="67"/>
                  </a:lnTo>
                  <a:lnTo>
                    <a:pt x="103" y="60"/>
                  </a:lnTo>
                  <a:lnTo>
                    <a:pt x="101" y="53"/>
                  </a:lnTo>
                  <a:lnTo>
                    <a:pt x="99" y="48"/>
                  </a:lnTo>
                  <a:lnTo>
                    <a:pt x="95" y="42"/>
                  </a:lnTo>
                  <a:lnTo>
                    <a:pt x="90" y="37"/>
                  </a:lnTo>
                  <a:lnTo>
                    <a:pt x="85" y="35"/>
                  </a:lnTo>
                  <a:lnTo>
                    <a:pt x="78" y="34"/>
                  </a:lnTo>
                  <a:lnTo>
                    <a:pt x="78" y="34"/>
                  </a:lnTo>
                  <a:lnTo>
                    <a:pt x="71" y="35"/>
                  </a:lnTo>
                  <a:lnTo>
                    <a:pt x="67" y="36"/>
                  </a:lnTo>
                  <a:lnTo>
                    <a:pt x="64" y="38"/>
                  </a:lnTo>
                  <a:lnTo>
                    <a:pt x="61" y="42"/>
                  </a:lnTo>
                  <a:lnTo>
                    <a:pt x="59" y="45"/>
                  </a:lnTo>
                  <a:lnTo>
                    <a:pt x="54" y="53"/>
                  </a:lnTo>
                  <a:lnTo>
                    <a:pt x="51" y="64"/>
                  </a:lnTo>
                  <a:lnTo>
                    <a:pt x="49" y="78"/>
                  </a:lnTo>
                  <a:lnTo>
                    <a:pt x="47" y="95"/>
                  </a:lnTo>
                  <a:lnTo>
                    <a:pt x="47" y="115"/>
                  </a:lnTo>
                  <a:lnTo>
                    <a:pt x="47" y="115"/>
                  </a:lnTo>
                  <a:lnTo>
                    <a:pt x="47" y="135"/>
                  </a:lnTo>
                  <a:lnTo>
                    <a:pt x="48" y="153"/>
                  </a:lnTo>
                  <a:lnTo>
                    <a:pt x="50" y="168"/>
                  </a:lnTo>
                  <a:lnTo>
                    <a:pt x="53" y="181"/>
                  </a:lnTo>
                  <a:lnTo>
                    <a:pt x="57" y="192"/>
                  </a:lnTo>
                  <a:lnTo>
                    <a:pt x="60" y="196"/>
                  </a:lnTo>
                  <a:lnTo>
                    <a:pt x="63" y="199"/>
                  </a:lnTo>
                  <a:lnTo>
                    <a:pt x="66" y="203"/>
                  </a:lnTo>
                  <a:lnTo>
                    <a:pt x="70" y="205"/>
                  </a:lnTo>
                  <a:lnTo>
                    <a:pt x="74" y="206"/>
                  </a:lnTo>
                  <a:lnTo>
                    <a:pt x="79" y="206"/>
                  </a:lnTo>
                  <a:lnTo>
                    <a:pt x="79" y="206"/>
                  </a:lnTo>
                  <a:lnTo>
                    <a:pt x="83" y="206"/>
                  </a:lnTo>
                  <a:lnTo>
                    <a:pt x="88" y="204"/>
                  </a:lnTo>
                  <a:lnTo>
                    <a:pt x="93" y="201"/>
                  </a:lnTo>
                  <a:lnTo>
                    <a:pt x="97" y="196"/>
                  </a:lnTo>
                  <a:lnTo>
                    <a:pt x="101" y="191"/>
                  </a:lnTo>
                  <a:lnTo>
                    <a:pt x="104" y="185"/>
                  </a:lnTo>
                  <a:lnTo>
                    <a:pt x="107" y="178"/>
                  </a:lnTo>
                  <a:lnTo>
                    <a:pt x="107" y="169"/>
                  </a:lnTo>
                  <a:lnTo>
                    <a:pt x="107" y="146"/>
                  </a:lnTo>
                  <a:lnTo>
                    <a:pt x="77" y="146"/>
                  </a:lnTo>
                  <a:lnTo>
                    <a:pt x="77" y="111"/>
                  </a:lnTo>
                  <a:lnTo>
                    <a:pt x="153" y="111"/>
                  </a:lnTo>
                  <a:lnTo>
                    <a:pt x="153" y="236"/>
                  </a:lnTo>
                  <a:lnTo>
                    <a:pt x="118" y="236"/>
                  </a:lnTo>
                  <a:lnTo>
                    <a:pt x="118" y="215"/>
                  </a:lnTo>
                  <a:lnTo>
                    <a:pt x="117" y="215"/>
                  </a:lnTo>
                  <a:lnTo>
                    <a:pt x="117" y="215"/>
                  </a:lnTo>
                  <a:lnTo>
                    <a:pt x="113" y="221"/>
                  </a:lnTo>
                  <a:lnTo>
                    <a:pt x="108" y="226"/>
                  </a:lnTo>
                  <a:lnTo>
                    <a:pt x="103" y="231"/>
                  </a:lnTo>
                  <a:lnTo>
                    <a:pt x="97" y="234"/>
                  </a:lnTo>
                  <a:lnTo>
                    <a:pt x="91" y="237"/>
                  </a:lnTo>
                  <a:lnTo>
                    <a:pt x="84" y="239"/>
                  </a:lnTo>
                  <a:lnTo>
                    <a:pt x="77" y="240"/>
                  </a:lnTo>
                  <a:lnTo>
                    <a:pt x="69" y="240"/>
                  </a:lnTo>
                  <a:lnTo>
                    <a:pt x="69" y="240"/>
                  </a:lnTo>
                  <a:lnTo>
                    <a:pt x="59" y="240"/>
                  </a:lnTo>
                  <a:lnTo>
                    <a:pt x="50" y="238"/>
                  </a:lnTo>
                  <a:lnTo>
                    <a:pt x="41" y="236"/>
                  </a:lnTo>
                  <a:lnTo>
                    <a:pt x="33" y="233"/>
                  </a:lnTo>
                  <a:lnTo>
                    <a:pt x="27" y="228"/>
                  </a:lnTo>
                  <a:lnTo>
                    <a:pt x="21" y="223"/>
                  </a:lnTo>
                  <a:lnTo>
                    <a:pt x="17" y="217"/>
                  </a:lnTo>
                  <a:lnTo>
                    <a:pt x="13" y="209"/>
                  </a:lnTo>
                  <a:lnTo>
                    <a:pt x="9" y="201"/>
                  </a:lnTo>
                  <a:lnTo>
                    <a:pt x="6" y="191"/>
                  </a:lnTo>
                  <a:lnTo>
                    <a:pt x="4" y="181"/>
                  </a:lnTo>
                  <a:lnTo>
                    <a:pt x="3" y="170"/>
                  </a:lnTo>
                  <a:lnTo>
                    <a:pt x="1" y="146"/>
                  </a:lnTo>
                  <a:lnTo>
                    <a:pt x="0" y="117"/>
                  </a:lnTo>
                  <a:lnTo>
                    <a:pt x="0" y="117"/>
                  </a:lnTo>
                  <a:lnTo>
                    <a:pt x="1" y="90"/>
                  </a:lnTo>
                  <a:lnTo>
                    <a:pt x="2" y="78"/>
                  </a:lnTo>
                  <a:lnTo>
                    <a:pt x="4" y="66"/>
                  </a:lnTo>
                  <a:lnTo>
                    <a:pt x="6" y="56"/>
                  </a:lnTo>
                  <a:lnTo>
                    <a:pt x="9" y="46"/>
                  </a:lnTo>
                  <a:lnTo>
                    <a:pt x="12" y="37"/>
                  </a:lnTo>
                  <a:lnTo>
                    <a:pt x="16" y="29"/>
                  </a:lnTo>
                  <a:lnTo>
                    <a:pt x="21" y="22"/>
                  </a:lnTo>
                  <a:lnTo>
                    <a:pt x="27" y="16"/>
                  </a:lnTo>
                  <a:lnTo>
                    <a:pt x="33" y="11"/>
                  </a:lnTo>
                  <a:lnTo>
                    <a:pt x="40" y="7"/>
                  </a:lnTo>
                  <a:lnTo>
                    <a:pt x="49" y="4"/>
                  </a:lnTo>
                  <a:lnTo>
                    <a:pt x="58" y="2"/>
                  </a:lnTo>
                  <a:lnTo>
                    <a:pt x="67" y="0"/>
                  </a:lnTo>
                  <a:lnTo>
                    <a:pt x="78" y="0"/>
                  </a:lnTo>
                  <a:lnTo>
                    <a:pt x="78" y="0"/>
                  </a:lnTo>
                  <a:lnTo>
                    <a:pt x="87" y="0"/>
                  </a:lnTo>
                  <a:lnTo>
                    <a:pt x="95" y="1"/>
                  </a:lnTo>
                  <a:lnTo>
                    <a:pt x="103" y="2"/>
                  </a:lnTo>
                  <a:lnTo>
                    <a:pt x="110" y="4"/>
                  </a:lnTo>
                  <a:lnTo>
                    <a:pt x="117" y="7"/>
                  </a:lnTo>
                  <a:lnTo>
                    <a:pt x="123" y="10"/>
                  </a:lnTo>
                  <a:lnTo>
                    <a:pt x="129" y="14"/>
                  </a:lnTo>
                  <a:lnTo>
                    <a:pt x="133" y="18"/>
                  </a:lnTo>
                  <a:lnTo>
                    <a:pt x="137" y="23"/>
                  </a:lnTo>
                  <a:lnTo>
                    <a:pt x="141" y="29"/>
                  </a:lnTo>
                  <a:lnTo>
                    <a:pt x="144" y="35"/>
                  </a:lnTo>
                  <a:lnTo>
                    <a:pt x="146" y="42"/>
                  </a:lnTo>
                  <a:lnTo>
                    <a:pt x="148" y="49"/>
                  </a:lnTo>
                  <a:lnTo>
                    <a:pt x="149" y="57"/>
                  </a:lnTo>
                  <a:lnTo>
                    <a:pt x="150" y="73"/>
                  </a:lnTo>
                  <a:lnTo>
                    <a:pt x="105" y="73"/>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0" name="Freeform 6"/>
            <p:cNvSpPr>
              <a:spLocks noEditPoints="1"/>
            </p:cNvSpPr>
            <p:nvPr userDrawn="1"/>
          </p:nvSpPr>
          <p:spPr bwMode="auto">
            <a:xfrm>
              <a:off x="7810500" y="4805363"/>
              <a:ext cx="82550" cy="123825"/>
            </a:xfrm>
            <a:custGeom>
              <a:avLst/>
              <a:gdLst>
                <a:gd name="T0" fmla="*/ 86 w 157"/>
                <a:gd name="T1" fmla="*/ 0 h 232"/>
                <a:gd name="T2" fmla="*/ 99 w 157"/>
                <a:gd name="T3" fmla="*/ 1 h 232"/>
                <a:gd name="T4" fmla="*/ 123 w 157"/>
                <a:gd name="T5" fmla="*/ 9 h 232"/>
                <a:gd name="T6" fmla="*/ 131 w 157"/>
                <a:gd name="T7" fmla="*/ 15 h 232"/>
                <a:gd name="T8" fmla="*/ 138 w 157"/>
                <a:gd name="T9" fmla="*/ 23 h 232"/>
                <a:gd name="T10" fmla="*/ 143 w 157"/>
                <a:gd name="T11" fmla="*/ 33 h 232"/>
                <a:gd name="T12" fmla="*/ 147 w 157"/>
                <a:gd name="T13" fmla="*/ 46 h 232"/>
                <a:gd name="T14" fmla="*/ 148 w 157"/>
                <a:gd name="T15" fmla="*/ 60 h 232"/>
                <a:gd name="T16" fmla="*/ 145 w 157"/>
                <a:gd name="T17" fmla="*/ 81 h 232"/>
                <a:gd name="T18" fmla="*/ 138 w 157"/>
                <a:gd name="T19" fmla="*/ 98 h 232"/>
                <a:gd name="T20" fmla="*/ 126 w 157"/>
                <a:gd name="T21" fmla="*/ 110 h 232"/>
                <a:gd name="T22" fmla="*/ 108 w 157"/>
                <a:gd name="T23" fmla="*/ 118 h 232"/>
                <a:gd name="T24" fmla="*/ 108 w 157"/>
                <a:gd name="T25" fmla="*/ 118 h 232"/>
                <a:gd name="T26" fmla="*/ 128 w 157"/>
                <a:gd name="T27" fmla="*/ 124 h 232"/>
                <a:gd name="T28" fmla="*/ 135 w 157"/>
                <a:gd name="T29" fmla="*/ 129 h 232"/>
                <a:gd name="T30" fmla="*/ 139 w 157"/>
                <a:gd name="T31" fmla="*/ 137 h 232"/>
                <a:gd name="T32" fmla="*/ 145 w 157"/>
                <a:gd name="T33" fmla="*/ 157 h 232"/>
                <a:gd name="T34" fmla="*/ 146 w 157"/>
                <a:gd name="T35" fmla="*/ 188 h 232"/>
                <a:gd name="T36" fmla="*/ 147 w 157"/>
                <a:gd name="T37" fmla="*/ 205 h 232"/>
                <a:gd name="T38" fmla="*/ 150 w 157"/>
                <a:gd name="T39" fmla="*/ 221 h 232"/>
                <a:gd name="T40" fmla="*/ 154 w 157"/>
                <a:gd name="T41" fmla="*/ 228 h 232"/>
                <a:gd name="T42" fmla="*/ 157 w 157"/>
                <a:gd name="T43" fmla="*/ 232 h 232"/>
                <a:gd name="T44" fmla="*/ 106 w 157"/>
                <a:gd name="T45" fmla="*/ 232 h 232"/>
                <a:gd name="T46" fmla="*/ 101 w 157"/>
                <a:gd name="T47" fmla="*/ 221 h 232"/>
                <a:gd name="T48" fmla="*/ 100 w 157"/>
                <a:gd name="T49" fmla="*/ 208 h 232"/>
                <a:gd name="T50" fmla="*/ 99 w 157"/>
                <a:gd name="T51" fmla="*/ 163 h 232"/>
                <a:gd name="T52" fmla="*/ 97 w 157"/>
                <a:gd name="T53" fmla="*/ 151 h 232"/>
                <a:gd name="T54" fmla="*/ 92 w 157"/>
                <a:gd name="T55" fmla="*/ 142 h 232"/>
                <a:gd name="T56" fmla="*/ 83 w 157"/>
                <a:gd name="T57" fmla="*/ 136 h 232"/>
                <a:gd name="T58" fmla="*/ 71 w 157"/>
                <a:gd name="T59" fmla="*/ 134 h 232"/>
                <a:gd name="T60" fmla="*/ 47 w 157"/>
                <a:gd name="T61" fmla="*/ 232 h 232"/>
                <a:gd name="T62" fmla="*/ 0 w 157"/>
                <a:gd name="T63" fmla="*/ 0 h 232"/>
                <a:gd name="T64" fmla="*/ 66 w 157"/>
                <a:gd name="T65" fmla="*/ 101 h 232"/>
                <a:gd name="T66" fmla="*/ 74 w 157"/>
                <a:gd name="T67" fmla="*/ 101 h 232"/>
                <a:gd name="T68" fmla="*/ 87 w 157"/>
                <a:gd name="T69" fmla="*/ 97 h 232"/>
                <a:gd name="T70" fmla="*/ 95 w 157"/>
                <a:gd name="T71" fmla="*/ 89 h 232"/>
                <a:gd name="T72" fmla="*/ 100 w 157"/>
                <a:gd name="T73" fmla="*/ 75 h 232"/>
                <a:gd name="T74" fmla="*/ 100 w 157"/>
                <a:gd name="T75" fmla="*/ 67 h 232"/>
                <a:gd name="T76" fmla="*/ 98 w 157"/>
                <a:gd name="T77" fmla="*/ 53 h 232"/>
                <a:gd name="T78" fmla="*/ 92 w 157"/>
                <a:gd name="T79" fmla="*/ 43 h 232"/>
                <a:gd name="T80" fmla="*/ 82 w 157"/>
                <a:gd name="T81" fmla="*/ 37 h 232"/>
                <a:gd name="T82" fmla="*/ 68 w 157"/>
                <a:gd name="T83" fmla="*/ 34 h 232"/>
                <a:gd name="T84" fmla="*/ 47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6" y="0"/>
                  </a:lnTo>
                  <a:lnTo>
                    <a:pt x="86" y="0"/>
                  </a:lnTo>
                  <a:lnTo>
                    <a:pt x="99" y="1"/>
                  </a:lnTo>
                  <a:lnTo>
                    <a:pt x="112" y="4"/>
                  </a:lnTo>
                  <a:lnTo>
                    <a:pt x="123" y="9"/>
                  </a:lnTo>
                  <a:lnTo>
                    <a:pt x="127" y="12"/>
                  </a:lnTo>
                  <a:lnTo>
                    <a:pt x="131" y="15"/>
                  </a:lnTo>
                  <a:lnTo>
                    <a:pt x="135" y="19"/>
                  </a:lnTo>
                  <a:lnTo>
                    <a:pt x="138" y="23"/>
                  </a:lnTo>
                  <a:lnTo>
                    <a:pt x="141" y="28"/>
                  </a:lnTo>
                  <a:lnTo>
                    <a:pt x="143" y="33"/>
                  </a:lnTo>
                  <a:lnTo>
                    <a:pt x="145" y="40"/>
                  </a:lnTo>
                  <a:lnTo>
                    <a:pt x="147" y="46"/>
                  </a:lnTo>
                  <a:lnTo>
                    <a:pt x="148" y="60"/>
                  </a:lnTo>
                  <a:lnTo>
                    <a:pt x="148" y="60"/>
                  </a:lnTo>
                  <a:lnTo>
                    <a:pt x="147" y="71"/>
                  </a:lnTo>
                  <a:lnTo>
                    <a:pt x="145" y="81"/>
                  </a:lnTo>
                  <a:lnTo>
                    <a:pt x="142" y="90"/>
                  </a:lnTo>
                  <a:lnTo>
                    <a:pt x="138" y="98"/>
                  </a:lnTo>
                  <a:lnTo>
                    <a:pt x="133" y="104"/>
                  </a:lnTo>
                  <a:lnTo>
                    <a:pt x="126" y="110"/>
                  </a:lnTo>
                  <a:lnTo>
                    <a:pt x="119" y="114"/>
                  </a:lnTo>
                  <a:lnTo>
                    <a:pt x="108" y="118"/>
                  </a:lnTo>
                  <a:lnTo>
                    <a:pt x="108" y="118"/>
                  </a:lnTo>
                  <a:lnTo>
                    <a:pt x="108" y="118"/>
                  </a:lnTo>
                  <a:lnTo>
                    <a:pt x="120" y="120"/>
                  </a:lnTo>
                  <a:lnTo>
                    <a:pt x="128" y="124"/>
                  </a:lnTo>
                  <a:lnTo>
                    <a:pt x="132" y="126"/>
                  </a:lnTo>
                  <a:lnTo>
                    <a:pt x="135" y="129"/>
                  </a:lnTo>
                  <a:lnTo>
                    <a:pt x="137" y="133"/>
                  </a:lnTo>
                  <a:lnTo>
                    <a:pt x="139" y="137"/>
                  </a:lnTo>
                  <a:lnTo>
                    <a:pt x="143" y="146"/>
                  </a:lnTo>
                  <a:lnTo>
                    <a:pt x="145" y="157"/>
                  </a:lnTo>
                  <a:lnTo>
                    <a:pt x="146" y="171"/>
                  </a:lnTo>
                  <a:lnTo>
                    <a:pt x="146" y="188"/>
                  </a:lnTo>
                  <a:lnTo>
                    <a:pt x="146" y="188"/>
                  </a:lnTo>
                  <a:lnTo>
                    <a:pt x="147" y="205"/>
                  </a:lnTo>
                  <a:lnTo>
                    <a:pt x="148" y="217"/>
                  </a:lnTo>
                  <a:lnTo>
                    <a:pt x="150" y="221"/>
                  </a:lnTo>
                  <a:lnTo>
                    <a:pt x="151" y="225"/>
                  </a:lnTo>
                  <a:lnTo>
                    <a:pt x="154" y="228"/>
                  </a:lnTo>
                  <a:lnTo>
                    <a:pt x="157" y="230"/>
                  </a:lnTo>
                  <a:lnTo>
                    <a:pt x="157" y="232"/>
                  </a:lnTo>
                  <a:lnTo>
                    <a:pt x="106" y="232"/>
                  </a:lnTo>
                  <a:lnTo>
                    <a:pt x="106" y="232"/>
                  </a:lnTo>
                  <a:lnTo>
                    <a:pt x="103" y="227"/>
                  </a:lnTo>
                  <a:lnTo>
                    <a:pt x="101" y="221"/>
                  </a:lnTo>
                  <a:lnTo>
                    <a:pt x="100" y="215"/>
                  </a:lnTo>
                  <a:lnTo>
                    <a:pt x="100" y="208"/>
                  </a:lnTo>
                  <a:lnTo>
                    <a:pt x="99" y="163"/>
                  </a:lnTo>
                  <a:lnTo>
                    <a:pt x="99" y="163"/>
                  </a:lnTo>
                  <a:lnTo>
                    <a:pt x="98" y="157"/>
                  </a:lnTo>
                  <a:lnTo>
                    <a:pt x="97" y="151"/>
                  </a:lnTo>
                  <a:lnTo>
                    <a:pt x="95" y="146"/>
                  </a:lnTo>
                  <a:lnTo>
                    <a:pt x="92" y="142"/>
                  </a:lnTo>
                  <a:lnTo>
                    <a:pt x="88" y="139"/>
                  </a:lnTo>
                  <a:lnTo>
                    <a:pt x="83" y="136"/>
                  </a:lnTo>
                  <a:lnTo>
                    <a:pt x="78" y="135"/>
                  </a:lnTo>
                  <a:lnTo>
                    <a:pt x="71" y="134"/>
                  </a:lnTo>
                  <a:lnTo>
                    <a:pt x="47" y="134"/>
                  </a:lnTo>
                  <a:lnTo>
                    <a:pt x="47" y="232"/>
                  </a:lnTo>
                  <a:lnTo>
                    <a:pt x="0" y="232"/>
                  </a:lnTo>
                  <a:lnTo>
                    <a:pt x="0" y="0"/>
                  </a:lnTo>
                  <a:close/>
                  <a:moveTo>
                    <a:pt x="47" y="101"/>
                  </a:moveTo>
                  <a:lnTo>
                    <a:pt x="66" y="101"/>
                  </a:lnTo>
                  <a:lnTo>
                    <a:pt x="66" y="101"/>
                  </a:lnTo>
                  <a:lnTo>
                    <a:pt x="74" y="101"/>
                  </a:lnTo>
                  <a:lnTo>
                    <a:pt x="81" y="99"/>
                  </a:lnTo>
                  <a:lnTo>
                    <a:pt x="87" y="97"/>
                  </a:lnTo>
                  <a:lnTo>
                    <a:pt x="91" y="93"/>
                  </a:lnTo>
                  <a:lnTo>
                    <a:pt x="95" y="89"/>
                  </a:lnTo>
                  <a:lnTo>
                    <a:pt x="98" y="83"/>
                  </a:lnTo>
                  <a:lnTo>
                    <a:pt x="100" y="75"/>
                  </a:lnTo>
                  <a:lnTo>
                    <a:pt x="100" y="67"/>
                  </a:lnTo>
                  <a:lnTo>
                    <a:pt x="100" y="67"/>
                  </a:lnTo>
                  <a:lnTo>
                    <a:pt x="100" y="59"/>
                  </a:lnTo>
                  <a:lnTo>
                    <a:pt x="98" y="53"/>
                  </a:lnTo>
                  <a:lnTo>
                    <a:pt x="96" y="48"/>
                  </a:lnTo>
                  <a:lnTo>
                    <a:pt x="92" y="43"/>
                  </a:lnTo>
                  <a:lnTo>
                    <a:pt x="88" y="40"/>
                  </a:lnTo>
                  <a:lnTo>
                    <a:pt x="82" y="37"/>
                  </a:lnTo>
                  <a:lnTo>
                    <a:pt x="76" y="35"/>
                  </a:lnTo>
                  <a:lnTo>
                    <a:pt x="68" y="34"/>
                  </a:lnTo>
                  <a:lnTo>
                    <a:pt x="47" y="34"/>
                  </a:lnTo>
                  <a:lnTo>
                    <a:pt x="47" y="101"/>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1" name="Freeform 7"/>
            <p:cNvSpPr>
              <a:spLocks noEditPoints="1"/>
            </p:cNvSpPr>
            <p:nvPr userDrawn="1"/>
          </p:nvSpPr>
          <p:spPr bwMode="auto">
            <a:xfrm>
              <a:off x="7904163" y="4803775"/>
              <a:ext cx="84138" cy="127000"/>
            </a:xfrm>
            <a:custGeom>
              <a:avLst/>
              <a:gdLst>
                <a:gd name="T0" fmla="*/ 79 w 158"/>
                <a:gd name="T1" fmla="*/ 0 h 240"/>
                <a:gd name="T2" fmla="*/ 102 w 158"/>
                <a:gd name="T3" fmla="*/ 2 h 240"/>
                <a:gd name="T4" fmla="*/ 122 w 158"/>
                <a:gd name="T5" fmla="*/ 8 h 240"/>
                <a:gd name="T6" fmla="*/ 135 w 158"/>
                <a:gd name="T7" fmla="*/ 19 h 240"/>
                <a:gd name="T8" fmla="*/ 145 w 158"/>
                <a:gd name="T9" fmla="*/ 33 h 240"/>
                <a:gd name="T10" fmla="*/ 152 w 158"/>
                <a:gd name="T11" fmla="*/ 51 h 240"/>
                <a:gd name="T12" fmla="*/ 156 w 158"/>
                <a:gd name="T13" fmla="*/ 72 h 240"/>
                <a:gd name="T14" fmla="*/ 158 w 158"/>
                <a:gd name="T15" fmla="*/ 121 h 240"/>
                <a:gd name="T16" fmla="*/ 158 w 158"/>
                <a:gd name="T17" fmla="*/ 146 h 240"/>
                <a:gd name="T18" fmla="*/ 154 w 158"/>
                <a:gd name="T19" fmla="*/ 179 h 240"/>
                <a:gd name="T20" fmla="*/ 149 w 158"/>
                <a:gd name="T21" fmla="*/ 198 h 240"/>
                <a:gd name="T22" fmla="*/ 141 w 158"/>
                <a:gd name="T23" fmla="*/ 215 h 240"/>
                <a:gd name="T24" fmla="*/ 129 w 158"/>
                <a:gd name="T25" fmla="*/ 227 h 240"/>
                <a:gd name="T26" fmla="*/ 113 w 158"/>
                <a:gd name="T27" fmla="*/ 235 h 240"/>
                <a:gd name="T28" fmla="*/ 92 w 158"/>
                <a:gd name="T29" fmla="*/ 240 h 240"/>
                <a:gd name="T30" fmla="*/ 79 w 158"/>
                <a:gd name="T31" fmla="*/ 240 h 240"/>
                <a:gd name="T32" fmla="*/ 56 w 158"/>
                <a:gd name="T33" fmla="*/ 238 h 240"/>
                <a:gd name="T34" fmla="*/ 38 w 158"/>
                <a:gd name="T35" fmla="*/ 232 h 240"/>
                <a:gd name="T36" fmla="*/ 24 w 158"/>
                <a:gd name="T37" fmla="*/ 221 h 240"/>
                <a:gd name="T38" fmla="*/ 13 w 158"/>
                <a:gd name="T39" fmla="*/ 207 h 240"/>
                <a:gd name="T40" fmla="*/ 7 w 158"/>
                <a:gd name="T41" fmla="*/ 189 h 240"/>
                <a:gd name="T42" fmla="*/ 3 w 158"/>
                <a:gd name="T43" fmla="*/ 168 h 240"/>
                <a:gd name="T44" fmla="*/ 0 w 158"/>
                <a:gd name="T45" fmla="*/ 121 h 240"/>
                <a:gd name="T46" fmla="*/ 1 w 158"/>
                <a:gd name="T47" fmla="*/ 94 h 240"/>
                <a:gd name="T48" fmla="*/ 5 w 158"/>
                <a:gd name="T49" fmla="*/ 61 h 240"/>
                <a:gd name="T50" fmla="*/ 10 w 158"/>
                <a:gd name="T51" fmla="*/ 42 h 240"/>
                <a:gd name="T52" fmla="*/ 18 w 158"/>
                <a:gd name="T53" fmla="*/ 26 h 240"/>
                <a:gd name="T54" fmla="*/ 31 w 158"/>
                <a:gd name="T55" fmla="*/ 13 h 240"/>
                <a:gd name="T56" fmla="*/ 46 w 158"/>
                <a:gd name="T57" fmla="*/ 5 h 240"/>
                <a:gd name="T58" fmla="*/ 67 w 158"/>
                <a:gd name="T59" fmla="*/ 0 h 240"/>
                <a:gd name="T60" fmla="*/ 79 w 158"/>
                <a:gd name="T61" fmla="*/ 0 h 240"/>
                <a:gd name="T62" fmla="*/ 79 w 158"/>
                <a:gd name="T63" fmla="*/ 206 h 240"/>
                <a:gd name="T64" fmla="*/ 88 w 158"/>
                <a:gd name="T65" fmla="*/ 205 h 240"/>
                <a:gd name="T66" fmla="*/ 96 w 158"/>
                <a:gd name="T67" fmla="*/ 202 h 240"/>
                <a:gd name="T68" fmla="*/ 101 w 158"/>
                <a:gd name="T69" fmla="*/ 195 h 240"/>
                <a:gd name="T70" fmla="*/ 106 w 158"/>
                <a:gd name="T71" fmla="*/ 186 h 240"/>
                <a:gd name="T72" fmla="*/ 111 w 158"/>
                <a:gd name="T73" fmla="*/ 160 h 240"/>
                <a:gd name="T74" fmla="*/ 112 w 158"/>
                <a:gd name="T75" fmla="*/ 121 h 240"/>
                <a:gd name="T76" fmla="*/ 112 w 158"/>
                <a:gd name="T77" fmla="*/ 98 h 240"/>
                <a:gd name="T78" fmla="*/ 109 w 158"/>
                <a:gd name="T79" fmla="*/ 66 h 240"/>
                <a:gd name="T80" fmla="*/ 103 w 158"/>
                <a:gd name="T81" fmla="*/ 49 h 240"/>
                <a:gd name="T82" fmla="*/ 99 w 158"/>
                <a:gd name="T83" fmla="*/ 42 h 240"/>
                <a:gd name="T84" fmla="*/ 92 w 158"/>
                <a:gd name="T85" fmla="*/ 36 h 240"/>
                <a:gd name="T86" fmla="*/ 84 w 158"/>
                <a:gd name="T87" fmla="*/ 34 h 240"/>
                <a:gd name="T88" fmla="*/ 79 w 158"/>
                <a:gd name="T89" fmla="*/ 34 h 240"/>
                <a:gd name="T90" fmla="*/ 70 w 158"/>
                <a:gd name="T91" fmla="*/ 35 h 240"/>
                <a:gd name="T92" fmla="*/ 63 w 158"/>
                <a:gd name="T93" fmla="*/ 38 h 240"/>
                <a:gd name="T94" fmla="*/ 57 w 158"/>
                <a:gd name="T95" fmla="*/ 45 h 240"/>
                <a:gd name="T96" fmla="*/ 53 w 158"/>
                <a:gd name="T97" fmla="*/ 54 h 240"/>
                <a:gd name="T98" fmla="*/ 49 w 158"/>
                <a:gd name="T99" fmla="*/ 80 h 240"/>
                <a:gd name="T100" fmla="*/ 48 w 158"/>
                <a:gd name="T101" fmla="*/ 121 h 240"/>
                <a:gd name="T102" fmla="*/ 48 w 158"/>
                <a:gd name="T103" fmla="*/ 142 h 240"/>
                <a:gd name="T104" fmla="*/ 50 w 158"/>
                <a:gd name="T105" fmla="*/ 174 h 240"/>
                <a:gd name="T106" fmla="*/ 55 w 158"/>
                <a:gd name="T107" fmla="*/ 191 h 240"/>
                <a:gd name="T108" fmla="*/ 60 w 158"/>
                <a:gd name="T109" fmla="*/ 198 h 240"/>
                <a:gd name="T110" fmla="*/ 66 w 158"/>
                <a:gd name="T111" fmla="*/ 204 h 240"/>
                <a:gd name="T112" fmla="*/ 74 w 158"/>
                <a:gd name="T113" fmla="*/ 206 h 240"/>
                <a:gd name="T114" fmla="*/ 79 w 158"/>
                <a:gd name="T115" fmla="*/ 2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240">
                  <a:moveTo>
                    <a:pt x="79" y="0"/>
                  </a:moveTo>
                  <a:lnTo>
                    <a:pt x="79" y="0"/>
                  </a:lnTo>
                  <a:lnTo>
                    <a:pt x="92" y="0"/>
                  </a:lnTo>
                  <a:lnTo>
                    <a:pt x="102" y="2"/>
                  </a:lnTo>
                  <a:lnTo>
                    <a:pt x="113" y="5"/>
                  </a:lnTo>
                  <a:lnTo>
                    <a:pt x="122" y="8"/>
                  </a:lnTo>
                  <a:lnTo>
                    <a:pt x="129" y="13"/>
                  </a:lnTo>
                  <a:lnTo>
                    <a:pt x="135" y="19"/>
                  </a:lnTo>
                  <a:lnTo>
                    <a:pt x="141" y="26"/>
                  </a:lnTo>
                  <a:lnTo>
                    <a:pt x="145" y="33"/>
                  </a:lnTo>
                  <a:lnTo>
                    <a:pt x="149" y="42"/>
                  </a:lnTo>
                  <a:lnTo>
                    <a:pt x="152" y="51"/>
                  </a:lnTo>
                  <a:lnTo>
                    <a:pt x="154" y="61"/>
                  </a:lnTo>
                  <a:lnTo>
                    <a:pt x="156" y="72"/>
                  </a:lnTo>
                  <a:lnTo>
                    <a:pt x="158" y="94"/>
                  </a:lnTo>
                  <a:lnTo>
                    <a:pt x="158" y="121"/>
                  </a:lnTo>
                  <a:lnTo>
                    <a:pt x="158" y="121"/>
                  </a:lnTo>
                  <a:lnTo>
                    <a:pt x="158" y="146"/>
                  </a:lnTo>
                  <a:lnTo>
                    <a:pt x="156" y="168"/>
                  </a:lnTo>
                  <a:lnTo>
                    <a:pt x="154" y="179"/>
                  </a:lnTo>
                  <a:lnTo>
                    <a:pt x="152" y="189"/>
                  </a:lnTo>
                  <a:lnTo>
                    <a:pt x="149" y="198"/>
                  </a:lnTo>
                  <a:lnTo>
                    <a:pt x="145" y="207"/>
                  </a:lnTo>
                  <a:lnTo>
                    <a:pt x="141" y="215"/>
                  </a:lnTo>
                  <a:lnTo>
                    <a:pt x="135" y="221"/>
                  </a:lnTo>
                  <a:lnTo>
                    <a:pt x="129" y="227"/>
                  </a:lnTo>
                  <a:lnTo>
                    <a:pt x="122" y="232"/>
                  </a:lnTo>
                  <a:lnTo>
                    <a:pt x="113" y="235"/>
                  </a:lnTo>
                  <a:lnTo>
                    <a:pt x="102" y="238"/>
                  </a:lnTo>
                  <a:lnTo>
                    <a:pt x="92" y="240"/>
                  </a:lnTo>
                  <a:lnTo>
                    <a:pt x="79" y="240"/>
                  </a:lnTo>
                  <a:lnTo>
                    <a:pt x="79" y="240"/>
                  </a:lnTo>
                  <a:lnTo>
                    <a:pt x="67" y="240"/>
                  </a:lnTo>
                  <a:lnTo>
                    <a:pt x="56" y="238"/>
                  </a:lnTo>
                  <a:lnTo>
                    <a:pt x="46" y="235"/>
                  </a:lnTo>
                  <a:lnTo>
                    <a:pt x="38" y="232"/>
                  </a:lnTo>
                  <a:lnTo>
                    <a:pt x="31" y="227"/>
                  </a:lnTo>
                  <a:lnTo>
                    <a:pt x="24" y="221"/>
                  </a:lnTo>
                  <a:lnTo>
                    <a:pt x="18" y="215"/>
                  </a:lnTo>
                  <a:lnTo>
                    <a:pt x="13" y="207"/>
                  </a:lnTo>
                  <a:lnTo>
                    <a:pt x="10" y="198"/>
                  </a:lnTo>
                  <a:lnTo>
                    <a:pt x="7" y="189"/>
                  </a:lnTo>
                  <a:lnTo>
                    <a:pt x="5" y="179"/>
                  </a:lnTo>
                  <a:lnTo>
                    <a:pt x="3" y="168"/>
                  </a:lnTo>
                  <a:lnTo>
                    <a:pt x="1" y="146"/>
                  </a:lnTo>
                  <a:lnTo>
                    <a:pt x="0" y="121"/>
                  </a:lnTo>
                  <a:lnTo>
                    <a:pt x="0" y="121"/>
                  </a:lnTo>
                  <a:lnTo>
                    <a:pt x="1" y="94"/>
                  </a:lnTo>
                  <a:lnTo>
                    <a:pt x="3" y="72"/>
                  </a:lnTo>
                  <a:lnTo>
                    <a:pt x="5" y="61"/>
                  </a:lnTo>
                  <a:lnTo>
                    <a:pt x="7" y="51"/>
                  </a:lnTo>
                  <a:lnTo>
                    <a:pt x="10" y="42"/>
                  </a:lnTo>
                  <a:lnTo>
                    <a:pt x="13" y="33"/>
                  </a:lnTo>
                  <a:lnTo>
                    <a:pt x="18" y="26"/>
                  </a:lnTo>
                  <a:lnTo>
                    <a:pt x="24" y="19"/>
                  </a:lnTo>
                  <a:lnTo>
                    <a:pt x="31" y="13"/>
                  </a:lnTo>
                  <a:lnTo>
                    <a:pt x="38" y="8"/>
                  </a:lnTo>
                  <a:lnTo>
                    <a:pt x="46" y="5"/>
                  </a:lnTo>
                  <a:lnTo>
                    <a:pt x="56" y="2"/>
                  </a:lnTo>
                  <a:lnTo>
                    <a:pt x="67" y="0"/>
                  </a:lnTo>
                  <a:lnTo>
                    <a:pt x="79" y="0"/>
                  </a:lnTo>
                  <a:lnTo>
                    <a:pt x="79" y="0"/>
                  </a:lnTo>
                  <a:close/>
                  <a:moveTo>
                    <a:pt x="79" y="206"/>
                  </a:moveTo>
                  <a:lnTo>
                    <a:pt x="79" y="206"/>
                  </a:lnTo>
                  <a:lnTo>
                    <a:pt x="84" y="206"/>
                  </a:lnTo>
                  <a:lnTo>
                    <a:pt x="88" y="205"/>
                  </a:lnTo>
                  <a:lnTo>
                    <a:pt x="92" y="204"/>
                  </a:lnTo>
                  <a:lnTo>
                    <a:pt x="96" y="202"/>
                  </a:lnTo>
                  <a:lnTo>
                    <a:pt x="99" y="198"/>
                  </a:lnTo>
                  <a:lnTo>
                    <a:pt x="101" y="195"/>
                  </a:lnTo>
                  <a:lnTo>
                    <a:pt x="103" y="191"/>
                  </a:lnTo>
                  <a:lnTo>
                    <a:pt x="106" y="186"/>
                  </a:lnTo>
                  <a:lnTo>
                    <a:pt x="109" y="174"/>
                  </a:lnTo>
                  <a:lnTo>
                    <a:pt x="111" y="160"/>
                  </a:lnTo>
                  <a:lnTo>
                    <a:pt x="112" y="142"/>
                  </a:lnTo>
                  <a:lnTo>
                    <a:pt x="112" y="121"/>
                  </a:lnTo>
                  <a:lnTo>
                    <a:pt x="112" y="121"/>
                  </a:lnTo>
                  <a:lnTo>
                    <a:pt x="112" y="98"/>
                  </a:lnTo>
                  <a:lnTo>
                    <a:pt x="111" y="80"/>
                  </a:lnTo>
                  <a:lnTo>
                    <a:pt x="109" y="66"/>
                  </a:lnTo>
                  <a:lnTo>
                    <a:pt x="106" y="54"/>
                  </a:lnTo>
                  <a:lnTo>
                    <a:pt x="103" y="49"/>
                  </a:lnTo>
                  <a:lnTo>
                    <a:pt x="101" y="45"/>
                  </a:lnTo>
                  <a:lnTo>
                    <a:pt x="99" y="42"/>
                  </a:lnTo>
                  <a:lnTo>
                    <a:pt x="96" y="38"/>
                  </a:lnTo>
                  <a:lnTo>
                    <a:pt x="92" y="36"/>
                  </a:lnTo>
                  <a:lnTo>
                    <a:pt x="88" y="35"/>
                  </a:lnTo>
                  <a:lnTo>
                    <a:pt x="84" y="34"/>
                  </a:lnTo>
                  <a:lnTo>
                    <a:pt x="79" y="34"/>
                  </a:lnTo>
                  <a:lnTo>
                    <a:pt x="79" y="34"/>
                  </a:lnTo>
                  <a:lnTo>
                    <a:pt x="74" y="34"/>
                  </a:lnTo>
                  <a:lnTo>
                    <a:pt x="70" y="35"/>
                  </a:lnTo>
                  <a:lnTo>
                    <a:pt x="66" y="36"/>
                  </a:lnTo>
                  <a:lnTo>
                    <a:pt x="63" y="38"/>
                  </a:lnTo>
                  <a:lnTo>
                    <a:pt x="60" y="42"/>
                  </a:lnTo>
                  <a:lnTo>
                    <a:pt x="57" y="45"/>
                  </a:lnTo>
                  <a:lnTo>
                    <a:pt x="55" y="49"/>
                  </a:lnTo>
                  <a:lnTo>
                    <a:pt x="53" y="54"/>
                  </a:lnTo>
                  <a:lnTo>
                    <a:pt x="50" y="66"/>
                  </a:lnTo>
                  <a:lnTo>
                    <a:pt x="49" y="80"/>
                  </a:lnTo>
                  <a:lnTo>
                    <a:pt x="48" y="98"/>
                  </a:lnTo>
                  <a:lnTo>
                    <a:pt x="48" y="121"/>
                  </a:lnTo>
                  <a:lnTo>
                    <a:pt x="48" y="121"/>
                  </a:lnTo>
                  <a:lnTo>
                    <a:pt x="48" y="142"/>
                  </a:lnTo>
                  <a:lnTo>
                    <a:pt x="49" y="160"/>
                  </a:lnTo>
                  <a:lnTo>
                    <a:pt x="50" y="174"/>
                  </a:lnTo>
                  <a:lnTo>
                    <a:pt x="53" y="186"/>
                  </a:lnTo>
                  <a:lnTo>
                    <a:pt x="55" y="191"/>
                  </a:lnTo>
                  <a:lnTo>
                    <a:pt x="57" y="195"/>
                  </a:lnTo>
                  <a:lnTo>
                    <a:pt x="60" y="198"/>
                  </a:lnTo>
                  <a:lnTo>
                    <a:pt x="63" y="202"/>
                  </a:lnTo>
                  <a:lnTo>
                    <a:pt x="66" y="204"/>
                  </a:lnTo>
                  <a:lnTo>
                    <a:pt x="70" y="205"/>
                  </a:lnTo>
                  <a:lnTo>
                    <a:pt x="74" y="206"/>
                  </a:lnTo>
                  <a:lnTo>
                    <a:pt x="79" y="206"/>
                  </a:lnTo>
                  <a:lnTo>
                    <a:pt x="79" y="206"/>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2" name="Freeform 8"/>
            <p:cNvSpPr>
              <a:spLocks/>
            </p:cNvSpPr>
            <p:nvPr userDrawn="1"/>
          </p:nvSpPr>
          <p:spPr bwMode="auto">
            <a:xfrm>
              <a:off x="8002588" y="4805363"/>
              <a:ext cx="77788" cy="125413"/>
            </a:xfrm>
            <a:custGeom>
              <a:avLst/>
              <a:gdLst>
                <a:gd name="T0" fmla="*/ 47 w 148"/>
                <a:gd name="T1" fmla="*/ 0 h 236"/>
                <a:gd name="T2" fmla="*/ 47 w 148"/>
                <a:gd name="T3" fmla="*/ 162 h 236"/>
                <a:gd name="T4" fmla="*/ 47 w 148"/>
                <a:gd name="T5" fmla="*/ 162 h 236"/>
                <a:gd name="T6" fmla="*/ 47 w 148"/>
                <a:gd name="T7" fmla="*/ 170 h 236"/>
                <a:gd name="T8" fmla="*/ 48 w 148"/>
                <a:gd name="T9" fmla="*/ 178 h 236"/>
                <a:gd name="T10" fmla="*/ 50 w 148"/>
                <a:gd name="T11" fmla="*/ 184 h 236"/>
                <a:gd name="T12" fmla="*/ 52 w 148"/>
                <a:gd name="T13" fmla="*/ 190 h 236"/>
                <a:gd name="T14" fmla="*/ 56 w 148"/>
                <a:gd name="T15" fmla="*/ 195 h 236"/>
                <a:gd name="T16" fmla="*/ 60 w 148"/>
                <a:gd name="T17" fmla="*/ 199 h 236"/>
                <a:gd name="T18" fmla="*/ 66 w 148"/>
                <a:gd name="T19" fmla="*/ 202 h 236"/>
                <a:gd name="T20" fmla="*/ 74 w 148"/>
                <a:gd name="T21" fmla="*/ 202 h 236"/>
                <a:gd name="T22" fmla="*/ 74 w 148"/>
                <a:gd name="T23" fmla="*/ 202 h 236"/>
                <a:gd name="T24" fmla="*/ 81 w 148"/>
                <a:gd name="T25" fmla="*/ 202 h 236"/>
                <a:gd name="T26" fmla="*/ 87 w 148"/>
                <a:gd name="T27" fmla="*/ 199 h 236"/>
                <a:gd name="T28" fmla="*/ 93 w 148"/>
                <a:gd name="T29" fmla="*/ 195 h 236"/>
                <a:gd name="T30" fmla="*/ 96 w 148"/>
                <a:gd name="T31" fmla="*/ 190 h 236"/>
                <a:gd name="T32" fmla="*/ 99 w 148"/>
                <a:gd name="T33" fmla="*/ 184 h 236"/>
                <a:gd name="T34" fmla="*/ 100 w 148"/>
                <a:gd name="T35" fmla="*/ 178 h 236"/>
                <a:gd name="T36" fmla="*/ 101 w 148"/>
                <a:gd name="T37" fmla="*/ 170 h 236"/>
                <a:gd name="T38" fmla="*/ 102 w 148"/>
                <a:gd name="T39" fmla="*/ 162 h 236"/>
                <a:gd name="T40" fmla="*/ 102 w 148"/>
                <a:gd name="T41" fmla="*/ 0 h 236"/>
                <a:gd name="T42" fmla="*/ 148 w 148"/>
                <a:gd name="T43" fmla="*/ 0 h 236"/>
                <a:gd name="T44" fmla="*/ 148 w 148"/>
                <a:gd name="T45" fmla="*/ 162 h 236"/>
                <a:gd name="T46" fmla="*/ 148 w 148"/>
                <a:gd name="T47" fmla="*/ 162 h 236"/>
                <a:gd name="T48" fmla="*/ 147 w 148"/>
                <a:gd name="T49" fmla="*/ 172 h 236"/>
                <a:gd name="T50" fmla="*/ 146 w 148"/>
                <a:gd name="T51" fmla="*/ 182 h 236"/>
                <a:gd name="T52" fmla="*/ 144 w 148"/>
                <a:gd name="T53" fmla="*/ 190 h 236"/>
                <a:gd name="T54" fmla="*/ 142 w 148"/>
                <a:gd name="T55" fmla="*/ 199 h 236"/>
                <a:gd name="T56" fmla="*/ 138 w 148"/>
                <a:gd name="T57" fmla="*/ 206 h 236"/>
                <a:gd name="T58" fmla="*/ 135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9 w 148"/>
                <a:gd name="T73" fmla="*/ 236 h 236"/>
                <a:gd name="T74" fmla="*/ 74 w 148"/>
                <a:gd name="T75" fmla="*/ 236 h 236"/>
                <a:gd name="T76" fmla="*/ 74 w 148"/>
                <a:gd name="T77" fmla="*/ 236 h 236"/>
                <a:gd name="T78" fmla="*/ 60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7 w 148"/>
                <a:gd name="T97" fmla="*/ 200 h 236"/>
                <a:gd name="T98" fmla="*/ 4 w 148"/>
                <a:gd name="T99" fmla="*/ 191 h 236"/>
                <a:gd name="T100" fmla="*/ 1 w 148"/>
                <a:gd name="T101" fmla="*/ 182 h 236"/>
                <a:gd name="T102" fmla="*/ 0 w 148"/>
                <a:gd name="T103" fmla="*/ 173 h 236"/>
                <a:gd name="T104" fmla="*/ 0 w 148"/>
                <a:gd name="T105" fmla="*/ 162 h 236"/>
                <a:gd name="T106" fmla="*/ 0 w 148"/>
                <a:gd name="T107" fmla="*/ 0 h 236"/>
                <a:gd name="T108" fmla="*/ 47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7" y="0"/>
                  </a:moveTo>
                  <a:lnTo>
                    <a:pt x="47" y="162"/>
                  </a:lnTo>
                  <a:lnTo>
                    <a:pt x="47" y="162"/>
                  </a:lnTo>
                  <a:lnTo>
                    <a:pt x="47" y="170"/>
                  </a:lnTo>
                  <a:lnTo>
                    <a:pt x="48" y="178"/>
                  </a:lnTo>
                  <a:lnTo>
                    <a:pt x="50" y="184"/>
                  </a:lnTo>
                  <a:lnTo>
                    <a:pt x="52" y="190"/>
                  </a:lnTo>
                  <a:lnTo>
                    <a:pt x="56" y="195"/>
                  </a:lnTo>
                  <a:lnTo>
                    <a:pt x="60" y="199"/>
                  </a:lnTo>
                  <a:lnTo>
                    <a:pt x="66" y="202"/>
                  </a:lnTo>
                  <a:lnTo>
                    <a:pt x="74" y="202"/>
                  </a:lnTo>
                  <a:lnTo>
                    <a:pt x="74" y="202"/>
                  </a:lnTo>
                  <a:lnTo>
                    <a:pt x="81" y="202"/>
                  </a:lnTo>
                  <a:lnTo>
                    <a:pt x="87" y="199"/>
                  </a:lnTo>
                  <a:lnTo>
                    <a:pt x="93" y="195"/>
                  </a:lnTo>
                  <a:lnTo>
                    <a:pt x="96" y="190"/>
                  </a:lnTo>
                  <a:lnTo>
                    <a:pt x="99" y="184"/>
                  </a:lnTo>
                  <a:lnTo>
                    <a:pt x="100" y="178"/>
                  </a:lnTo>
                  <a:lnTo>
                    <a:pt x="101" y="170"/>
                  </a:lnTo>
                  <a:lnTo>
                    <a:pt x="102" y="162"/>
                  </a:lnTo>
                  <a:lnTo>
                    <a:pt x="102" y="0"/>
                  </a:lnTo>
                  <a:lnTo>
                    <a:pt x="148" y="0"/>
                  </a:lnTo>
                  <a:lnTo>
                    <a:pt x="148" y="162"/>
                  </a:lnTo>
                  <a:lnTo>
                    <a:pt x="148" y="162"/>
                  </a:lnTo>
                  <a:lnTo>
                    <a:pt x="147" y="172"/>
                  </a:lnTo>
                  <a:lnTo>
                    <a:pt x="146" y="182"/>
                  </a:lnTo>
                  <a:lnTo>
                    <a:pt x="144" y="190"/>
                  </a:lnTo>
                  <a:lnTo>
                    <a:pt x="142" y="199"/>
                  </a:lnTo>
                  <a:lnTo>
                    <a:pt x="138" y="206"/>
                  </a:lnTo>
                  <a:lnTo>
                    <a:pt x="135" y="212"/>
                  </a:lnTo>
                  <a:lnTo>
                    <a:pt x="130" y="217"/>
                  </a:lnTo>
                  <a:lnTo>
                    <a:pt x="125" y="221"/>
                  </a:lnTo>
                  <a:lnTo>
                    <a:pt x="120" y="225"/>
                  </a:lnTo>
                  <a:lnTo>
                    <a:pt x="114" y="228"/>
                  </a:lnTo>
                  <a:lnTo>
                    <a:pt x="108" y="231"/>
                  </a:lnTo>
                  <a:lnTo>
                    <a:pt x="102" y="233"/>
                  </a:lnTo>
                  <a:lnTo>
                    <a:pt x="89" y="236"/>
                  </a:lnTo>
                  <a:lnTo>
                    <a:pt x="74" y="236"/>
                  </a:lnTo>
                  <a:lnTo>
                    <a:pt x="74" y="236"/>
                  </a:lnTo>
                  <a:lnTo>
                    <a:pt x="60" y="236"/>
                  </a:lnTo>
                  <a:lnTo>
                    <a:pt x="46" y="234"/>
                  </a:lnTo>
                  <a:lnTo>
                    <a:pt x="40" y="232"/>
                  </a:lnTo>
                  <a:lnTo>
                    <a:pt x="34" y="229"/>
                  </a:lnTo>
                  <a:lnTo>
                    <a:pt x="28" y="226"/>
                  </a:lnTo>
                  <a:lnTo>
                    <a:pt x="23" y="223"/>
                  </a:lnTo>
                  <a:lnTo>
                    <a:pt x="18" y="218"/>
                  </a:lnTo>
                  <a:lnTo>
                    <a:pt x="14" y="213"/>
                  </a:lnTo>
                  <a:lnTo>
                    <a:pt x="10" y="207"/>
                  </a:lnTo>
                  <a:lnTo>
                    <a:pt x="7" y="200"/>
                  </a:lnTo>
                  <a:lnTo>
                    <a:pt x="4" y="191"/>
                  </a:lnTo>
                  <a:lnTo>
                    <a:pt x="1" y="182"/>
                  </a:lnTo>
                  <a:lnTo>
                    <a:pt x="0" y="173"/>
                  </a:lnTo>
                  <a:lnTo>
                    <a:pt x="0" y="162"/>
                  </a:lnTo>
                  <a:lnTo>
                    <a:pt x="0" y="0"/>
                  </a:lnTo>
                  <a:lnTo>
                    <a:pt x="4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3" name="Freeform 9"/>
            <p:cNvSpPr>
              <a:spLocks noEditPoints="1"/>
            </p:cNvSpPr>
            <p:nvPr userDrawn="1"/>
          </p:nvSpPr>
          <p:spPr bwMode="auto">
            <a:xfrm>
              <a:off x="8101013" y="4805363"/>
              <a:ext cx="76200" cy="123825"/>
            </a:xfrm>
            <a:custGeom>
              <a:avLst/>
              <a:gdLst>
                <a:gd name="T0" fmla="*/ 0 w 144"/>
                <a:gd name="T1" fmla="*/ 0 h 232"/>
                <a:gd name="T2" fmla="*/ 82 w 144"/>
                <a:gd name="T3" fmla="*/ 0 h 232"/>
                <a:gd name="T4" fmla="*/ 82 w 144"/>
                <a:gd name="T5" fmla="*/ 0 h 232"/>
                <a:gd name="T6" fmla="*/ 90 w 144"/>
                <a:gd name="T7" fmla="*/ 1 h 232"/>
                <a:gd name="T8" fmla="*/ 98 w 144"/>
                <a:gd name="T9" fmla="*/ 2 h 232"/>
                <a:gd name="T10" fmla="*/ 105 w 144"/>
                <a:gd name="T11" fmla="*/ 4 h 232"/>
                <a:gd name="T12" fmla="*/ 111 w 144"/>
                <a:gd name="T13" fmla="*/ 6 h 232"/>
                <a:gd name="T14" fmla="*/ 117 w 144"/>
                <a:gd name="T15" fmla="*/ 9 h 232"/>
                <a:gd name="T16" fmla="*/ 122 w 144"/>
                <a:gd name="T17" fmla="*/ 13 h 232"/>
                <a:gd name="T18" fmla="*/ 127 w 144"/>
                <a:gd name="T19" fmla="*/ 17 h 232"/>
                <a:gd name="T20" fmla="*/ 131 w 144"/>
                <a:gd name="T21" fmla="*/ 22 h 232"/>
                <a:gd name="T22" fmla="*/ 134 w 144"/>
                <a:gd name="T23" fmla="*/ 27 h 232"/>
                <a:gd name="T24" fmla="*/ 137 w 144"/>
                <a:gd name="T25" fmla="*/ 32 h 232"/>
                <a:gd name="T26" fmla="*/ 141 w 144"/>
                <a:gd name="T27" fmla="*/ 45 h 232"/>
                <a:gd name="T28" fmla="*/ 144 w 144"/>
                <a:gd name="T29" fmla="*/ 57 h 232"/>
                <a:gd name="T30" fmla="*/ 144 w 144"/>
                <a:gd name="T31" fmla="*/ 70 h 232"/>
                <a:gd name="T32" fmla="*/ 144 w 144"/>
                <a:gd name="T33" fmla="*/ 70 h 232"/>
                <a:gd name="T34" fmla="*/ 144 w 144"/>
                <a:gd name="T35" fmla="*/ 78 h 232"/>
                <a:gd name="T36" fmla="*/ 143 w 144"/>
                <a:gd name="T37" fmla="*/ 86 h 232"/>
                <a:gd name="T38" fmla="*/ 141 w 144"/>
                <a:gd name="T39" fmla="*/ 94 h 232"/>
                <a:gd name="T40" fmla="*/ 139 w 144"/>
                <a:gd name="T41" fmla="*/ 101 h 232"/>
                <a:gd name="T42" fmla="*/ 136 w 144"/>
                <a:gd name="T43" fmla="*/ 107 h 232"/>
                <a:gd name="T44" fmla="*/ 133 w 144"/>
                <a:gd name="T45" fmla="*/ 112 h 232"/>
                <a:gd name="T46" fmla="*/ 129 w 144"/>
                <a:gd name="T47" fmla="*/ 118 h 232"/>
                <a:gd name="T48" fmla="*/ 124 w 144"/>
                <a:gd name="T49" fmla="*/ 123 h 232"/>
                <a:gd name="T50" fmla="*/ 119 w 144"/>
                <a:gd name="T51" fmla="*/ 127 h 232"/>
                <a:gd name="T52" fmla="*/ 114 w 144"/>
                <a:gd name="T53" fmla="*/ 130 h 232"/>
                <a:gd name="T54" fmla="*/ 108 w 144"/>
                <a:gd name="T55" fmla="*/ 133 h 232"/>
                <a:gd name="T56" fmla="*/ 101 w 144"/>
                <a:gd name="T57" fmla="*/ 136 h 232"/>
                <a:gd name="T58" fmla="*/ 95 w 144"/>
                <a:gd name="T59" fmla="*/ 137 h 232"/>
                <a:gd name="T60" fmla="*/ 87 w 144"/>
                <a:gd name="T61" fmla="*/ 139 h 232"/>
                <a:gd name="T62" fmla="*/ 71 w 144"/>
                <a:gd name="T63" fmla="*/ 140 h 232"/>
                <a:gd name="T64" fmla="*/ 46 w 144"/>
                <a:gd name="T65" fmla="*/ 140 h 232"/>
                <a:gd name="T66" fmla="*/ 46 w 144"/>
                <a:gd name="T67" fmla="*/ 232 h 232"/>
                <a:gd name="T68" fmla="*/ 0 w 144"/>
                <a:gd name="T69" fmla="*/ 232 h 232"/>
                <a:gd name="T70" fmla="*/ 0 w 144"/>
                <a:gd name="T71" fmla="*/ 0 h 232"/>
                <a:gd name="T72" fmla="*/ 46 w 144"/>
                <a:gd name="T73" fmla="*/ 105 h 232"/>
                <a:gd name="T74" fmla="*/ 67 w 144"/>
                <a:gd name="T75" fmla="*/ 105 h 232"/>
                <a:gd name="T76" fmla="*/ 67 w 144"/>
                <a:gd name="T77" fmla="*/ 105 h 232"/>
                <a:gd name="T78" fmla="*/ 74 w 144"/>
                <a:gd name="T79" fmla="*/ 104 h 232"/>
                <a:gd name="T80" fmla="*/ 80 w 144"/>
                <a:gd name="T81" fmla="*/ 103 h 232"/>
                <a:gd name="T82" fmla="*/ 85 w 144"/>
                <a:gd name="T83" fmla="*/ 100 h 232"/>
                <a:gd name="T84" fmla="*/ 90 w 144"/>
                <a:gd name="T85" fmla="*/ 96 h 232"/>
                <a:gd name="T86" fmla="*/ 93 w 144"/>
                <a:gd name="T87" fmla="*/ 92 h 232"/>
                <a:gd name="T88" fmla="*/ 96 w 144"/>
                <a:gd name="T89" fmla="*/ 86 h 232"/>
                <a:gd name="T90" fmla="*/ 98 w 144"/>
                <a:gd name="T91" fmla="*/ 79 h 232"/>
                <a:gd name="T92" fmla="*/ 98 w 144"/>
                <a:gd name="T93" fmla="*/ 70 h 232"/>
                <a:gd name="T94" fmla="*/ 98 w 144"/>
                <a:gd name="T95" fmla="*/ 70 h 232"/>
                <a:gd name="T96" fmla="*/ 98 w 144"/>
                <a:gd name="T97" fmla="*/ 62 h 232"/>
                <a:gd name="T98" fmla="*/ 97 w 144"/>
                <a:gd name="T99" fmla="*/ 55 h 232"/>
                <a:gd name="T100" fmla="*/ 94 w 144"/>
                <a:gd name="T101" fmla="*/ 49 h 232"/>
                <a:gd name="T102" fmla="*/ 91 w 144"/>
                <a:gd name="T103" fmla="*/ 44 h 232"/>
                <a:gd name="T104" fmla="*/ 87 w 144"/>
                <a:gd name="T105" fmla="*/ 40 h 232"/>
                <a:gd name="T106" fmla="*/ 81 w 144"/>
                <a:gd name="T107" fmla="*/ 37 h 232"/>
                <a:gd name="T108" fmla="*/ 74 w 144"/>
                <a:gd name="T109" fmla="*/ 35 h 232"/>
                <a:gd name="T110" fmla="*/ 65 w 144"/>
                <a:gd name="T111" fmla="*/ 34 h 232"/>
                <a:gd name="T112" fmla="*/ 46 w 144"/>
                <a:gd name="T113" fmla="*/ 34 h 232"/>
                <a:gd name="T114" fmla="*/ 46 w 144"/>
                <a:gd name="T115" fmla="*/ 10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32">
                  <a:moveTo>
                    <a:pt x="0" y="0"/>
                  </a:moveTo>
                  <a:lnTo>
                    <a:pt x="82" y="0"/>
                  </a:lnTo>
                  <a:lnTo>
                    <a:pt x="82" y="0"/>
                  </a:lnTo>
                  <a:lnTo>
                    <a:pt x="90" y="1"/>
                  </a:lnTo>
                  <a:lnTo>
                    <a:pt x="98" y="2"/>
                  </a:lnTo>
                  <a:lnTo>
                    <a:pt x="105" y="4"/>
                  </a:lnTo>
                  <a:lnTo>
                    <a:pt x="111" y="6"/>
                  </a:lnTo>
                  <a:lnTo>
                    <a:pt x="117" y="9"/>
                  </a:lnTo>
                  <a:lnTo>
                    <a:pt x="122" y="13"/>
                  </a:lnTo>
                  <a:lnTo>
                    <a:pt x="127" y="17"/>
                  </a:lnTo>
                  <a:lnTo>
                    <a:pt x="131" y="22"/>
                  </a:lnTo>
                  <a:lnTo>
                    <a:pt x="134" y="27"/>
                  </a:lnTo>
                  <a:lnTo>
                    <a:pt x="137" y="32"/>
                  </a:lnTo>
                  <a:lnTo>
                    <a:pt x="141" y="45"/>
                  </a:lnTo>
                  <a:lnTo>
                    <a:pt x="144" y="57"/>
                  </a:lnTo>
                  <a:lnTo>
                    <a:pt x="144" y="70"/>
                  </a:lnTo>
                  <a:lnTo>
                    <a:pt x="144" y="70"/>
                  </a:lnTo>
                  <a:lnTo>
                    <a:pt x="144" y="78"/>
                  </a:lnTo>
                  <a:lnTo>
                    <a:pt x="143" y="86"/>
                  </a:lnTo>
                  <a:lnTo>
                    <a:pt x="141" y="94"/>
                  </a:lnTo>
                  <a:lnTo>
                    <a:pt x="139" y="101"/>
                  </a:lnTo>
                  <a:lnTo>
                    <a:pt x="136" y="107"/>
                  </a:lnTo>
                  <a:lnTo>
                    <a:pt x="133" y="112"/>
                  </a:lnTo>
                  <a:lnTo>
                    <a:pt x="129" y="118"/>
                  </a:lnTo>
                  <a:lnTo>
                    <a:pt x="124" y="123"/>
                  </a:lnTo>
                  <a:lnTo>
                    <a:pt x="119" y="127"/>
                  </a:lnTo>
                  <a:lnTo>
                    <a:pt x="114" y="130"/>
                  </a:lnTo>
                  <a:lnTo>
                    <a:pt x="108" y="133"/>
                  </a:lnTo>
                  <a:lnTo>
                    <a:pt x="101" y="136"/>
                  </a:lnTo>
                  <a:lnTo>
                    <a:pt x="95" y="137"/>
                  </a:lnTo>
                  <a:lnTo>
                    <a:pt x="87" y="139"/>
                  </a:lnTo>
                  <a:lnTo>
                    <a:pt x="71" y="140"/>
                  </a:lnTo>
                  <a:lnTo>
                    <a:pt x="46" y="140"/>
                  </a:lnTo>
                  <a:lnTo>
                    <a:pt x="46" y="232"/>
                  </a:lnTo>
                  <a:lnTo>
                    <a:pt x="0" y="232"/>
                  </a:lnTo>
                  <a:lnTo>
                    <a:pt x="0" y="0"/>
                  </a:lnTo>
                  <a:close/>
                  <a:moveTo>
                    <a:pt x="46" y="105"/>
                  </a:moveTo>
                  <a:lnTo>
                    <a:pt x="67" y="105"/>
                  </a:lnTo>
                  <a:lnTo>
                    <a:pt x="67" y="105"/>
                  </a:lnTo>
                  <a:lnTo>
                    <a:pt x="74" y="104"/>
                  </a:lnTo>
                  <a:lnTo>
                    <a:pt x="80" y="103"/>
                  </a:lnTo>
                  <a:lnTo>
                    <a:pt x="85" y="100"/>
                  </a:lnTo>
                  <a:lnTo>
                    <a:pt x="90" y="96"/>
                  </a:lnTo>
                  <a:lnTo>
                    <a:pt x="93" y="92"/>
                  </a:lnTo>
                  <a:lnTo>
                    <a:pt x="96" y="86"/>
                  </a:lnTo>
                  <a:lnTo>
                    <a:pt x="98" y="79"/>
                  </a:lnTo>
                  <a:lnTo>
                    <a:pt x="98" y="70"/>
                  </a:lnTo>
                  <a:lnTo>
                    <a:pt x="98" y="70"/>
                  </a:lnTo>
                  <a:lnTo>
                    <a:pt x="98" y="62"/>
                  </a:lnTo>
                  <a:lnTo>
                    <a:pt x="97" y="55"/>
                  </a:lnTo>
                  <a:lnTo>
                    <a:pt x="94" y="49"/>
                  </a:lnTo>
                  <a:lnTo>
                    <a:pt x="91" y="44"/>
                  </a:lnTo>
                  <a:lnTo>
                    <a:pt x="87" y="40"/>
                  </a:lnTo>
                  <a:lnTo>
                    <a:pt x="81" y="37"/>
                  </a:lnTo>
                  <a:lnTo>
                    <a:pt x="74" y="35"/>
                  </a:lnTo>
                  <a:lnTo>
                    <a:pt x="65" y="34"/>
                  </a:lnTo>
                  <a:lnTo>
                    <a:pt x="46" y="34"/>
                  </a:lnTo>
                  <a:lnTo>
                    <a:pt x="46" y="105"/>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4" name="Freeform 10"/>
            <p:cNvSpPr>
              <a:spLocks/>
            </p:cNvSpPr>
            <p:nvPr userDrawn="1"/>
          </p:nvSpPr>
          <p:spPr bwMode="auto">
            <a:xfrm>
              <a:off x="8188325"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5" name="Freeform 11"/>
            <p:cNvSpPr>
              <a:spLocks noEditPoints="1"/>
            </p:cNvSpPr>
            <p:nvPr userDrawn="1"/>
          </p:nvSpPr>
          <p:spPr bwMode="auto">
            <a:xfrm>
              <a:off x="8315325" y="4805363"/>
              <a:ext cx="82550" cy="123825"/>
            </a:xfrm>
            <a:custGeom>
              <a:avLst/>
              <a:gdLst>
                <a:gd name="T0" fmla="*/ 87 w 157"/>
                <a:gd name="T1" fmla="*/ 0 h 232"/>
                <a:gd name="T2" fmla="*/ 101 w 157"/>
                <a:gd name="T3" fmla="*/ 1 h 232"/>
                <a:gd name="T4" fmla="*/ 124 w 157"/>
                <a:gd name="T5" fmla="*/ 9 h 232"/>
                <a:gd name="T6" fmla="*/ 132 w 157"/>
                <a:gd name="T7" fmla="*/ 15 h 232"/>
                <a:gd name="T8" fmla="*/ 139 w 157"/>
                <a:gd name="T9" fmla="*/ 23 h 232"/>
                <a:gd name="T10" fmla="*/ 144 w 157"/>
                <a:gd name="T11" fmla="*/ 33 h 232"/>
                <a:gd name="T12" fmla="*/ 147 w 157"/>
                <a:gd name="T13" fmla="*/ 46 h 232"/>
                <a:gd name="T14" fmla="*/ 149 w 157"/>
                <a:gd name="T15" fmla="*/ 60 h 232"/>
                <a:gd name="T16" fmla="*/ 146 w 157"/>
                <a:gd name="T17" fmla="*/ 81 h 232"/>
                <a:gd name="T18" fmla="*/ 139 w 157"/>
                <a:gd name="T19" fmla="*/ 98 h 232"/>
                <a:gd name="T20" fmla="*/ 127 w 157"/>
                <a:gd name="T21" fmla="*/ 110 h 232"/>
                <a:gd name="T22" fmla="*/ 110 w 157"/>
                <a:gd name="T23" fmla="*/ 118 h 232"/>
                <a:gd name="T24" fmla="*/ 110 w 157"/>
                <a:gd name="T25" fmla="*/ 118 h 232"/>
                <a:gd name="T26" fmla="*/ 129 w 157"/>
                <a:gd name="T27" fmla="*/ 124 h 232"/>
                <a:gd name="T28" fmla="*/ 136 w 157"/>
                <a:gd name="T29" fmla="*/ 129 h 232"/>
                <a:gd name="T30" fmla="*/ 140 w 157"/>
                <a:gd name="T31" fmla="*/ 137 h 232"/>
                <a:gd name="T32" fmla="*/ 146 w 157"/>
                <a:gd name="T33" fmla="*/ 157 h 232"/>
                <a:gd name="T34" fmla="*/ 147 w 157"/>
                <a:gd name="T35" fmla="*/ 188 h 232"/>
                <a:gd name="T36" fmla="*/ 148 w 157"/>
                <a:gd name="T37" fmla="*/ 205 h 232"/>
                <a:gd name="T38" fmla="*/ 151 w 157"/>
                <a:gd name="T39" fmla="*/ 221 h 232"/>
                <a:gd name="T40" fmla="*/ 155 w 157"/>
                <a:gd name="T41" fmla="*/ 228 h 232"/>
                <a:gd name="T42" fmla="*/ 157 w 157"/>
                <a:gd name="T43" fmla="*/ 232 h 232"/>
                <a:gd name="T44" fmla="*/ 108 w 157"/>
                <a:gd name="T45" fmla="*/ 232 h 232"/>
                <a:gd name="T46" fmla="*/ 103 w 157"/>
                <a:gd name="T47" fmla="*/ 221 h 232"/>
                <a:gd name="T48" fmla="*/ 102 w 157"/>
                <a:gd name="T49" fmla="*/ 208 h 232"/>
                <a:gd name="T50" fmla="*/ 100 w 157"/>
                <a:gd name="T51" fmla="*/ 163 h 232"/>
                <a:gd name="T52" fmla="*/ 99 w 157"/>
                <a:gd name="T53" fmla="*/ 151 h 232"/>
                <a:gd name="T54" fmla="*/ 94 w 157"/>
                <a:gd name="T55" fmla="*/ 142 h 232"/>
                <a:gd name="T56" fmla="*/ 84 w 157"/>
                <a:gd name="T57" fmla="*/ 136 h 232"/>
                <a:gd name="T58" fmla="*/ 72 w 157"/>
                <a:gd name="T59" fmla="*/ 134 h 232"/>
                <a:gd name="T60" fmla="*/ 48 w 157"/>
                <a:gd name="T61" fmla="*/ 232 h 232"/>
                <a:gd name="T62" fmla="*/ 0 w 157"/>
                <a:gd name="T63" fmla="*/ 0 h 232"/>
                <a:gd name="T64" fmla="*/ 67 w 157"/>
                <a:gd name="T65" fmla="*/ 101 h 232"/>
                <a:gd name="T66" fmla="*/ 75 w 157"/>
                <a:gd name="T67" fmla="*/ 101 h 232"/>
                <a:gd name="T68" fmla="*/ 87 w 157"/>
                <a:gd name="T69" fmla="*/ 97 h 232"/>
                <a:gd name="T70" fmla="*/ 97 w 157"/>
                <a:gd name="T71" fmla="*/ 89 h 232"/>
                <a:gd name="T72" fmla="*/ 102 w 157"/>
                <a:gd name="T73" fmla="*/ 75 h 232"/>
                <a:gd name="T74" fmla="*/ 102 w 157"/>
                <a:gd name="T75" fmla="*/ 67 h 232"/>
                <a:gd name="T76" fmla="*/ 100 w 157"/>
                <a:gd name="T77" fmla="*/ 53 h 232"/>
                <a:gd name="T78" fmla="*/ 94 w 157"/>
                <a:gd name="T79" fmla="*/ 43 h 232"/>
                <a:gd name="T80" fmla="*/ 83 w 157"/>
                <a:gd name="T81" fmla="*/ 37 h 232"/>
                <a:gd name="T82" fmla="*/ 69 w 157"/>
                <a:gd name="T83" fmla="*/ 34 h 232"/>
                <a:gd name="T84" fmla="*/ 48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7" y="0"/>
                  </a:lnTo>
                  <a:lnTo>
                    <a:pt x="87" y="0"/>
                  </a:lnTo>
                  <a:lnTo>
                    <a:pt x="101" y="1"/>
                  </a:lnTo>
                  <a:lnTo>
                    <a:pt x="113" y="4"/>
                  </a:lnTo>
                  <a:lnTo>
                    <a:pt x="124" y="9"/>
                  </a:lnTo>
                  <a:lnTo>
                    <a:pt x="128" y="12"/>
                  </a:lnTo>
                  <a:lnTo>
                    <a:pt x="132" y="15"/>
                  </a:lnTo>
                  <a:lnTo>
                    <a:pt x="136" y="19"/>
                  </a:lnTo>
                  <a:lnTo>
                    <a:pt x="139" y="23"/>
                  </a:lnTo>
                  <a:lnTo>
                    <a:pt x="142" y="28"/>
                  </a:lnTo>
                  <a:lnTo>
                    <a:pt x="144" y="33"/>
                  </a:lnTo>
                  <a:lnTo>
                    <a:pt x="146" y="40"/>
                  </a:lnTo>
                  <a:lnTo>
                    <a:pt x="147" y="46"/>
                  </a:lnTo>
                  <a:lnTo>
                    <a:pt x="149" y="60"/>
                  </a:lnTo>
                  <a:lnTo>
                    <a:pt x="149" y="60"/>
                  </a:lnTo>
                  <a:lnTo>
                    <a:pt x="148" y="71"/>
                  </a:lnTo>
                  <a:lnTo>
                    <a:pt x="146" y="81"/>
                  </a:lnTo>
                  <a:lnTo>
                    <a:pt x="143" y="90"/>
                  </a:lnTo>
                  <a:lnTo>
                    <a:pt x="139" y="98"/>
                  </a:lnTo>
                  <a:lnTo>
                    <a:pt x="134" y="104"/>
                  </a:lnTo>
                  <a:lnTo>
                    <a:pt x="127" y="110"/>
                  </a:lnTo>
                  <a:lnTo>
                    <a:pt x="119" y="114"/>
                  </a:lnTo>
                  <a:lnTo>
                    <a:pt x="110" y="118"/>
                  </a:lnTo>
                  <a:lnTo>
                    <a:pt x="110" y="118"/>
                  </a:lnTo>
                  <a:lnTo>
                    <a:pt x="110" y="118"/>
                  </a:lnTo>
                  <a:lnTo>
                    <a:pt x="121" y="120"/>
                  </a:lnTo>
                  <a:lnTo>
                    <a:pt x="129" y="124"/>
                  </a:lnTo>
                  <a:lnTo>
                    <a:pt x="133" y="126"/>
                  </a:lnTo>
                  <a:lnTo>
                    <a:pt x="136" y="129"/>
                  </a:lnTo>
                  <a:lnTo>
                    <a:pt x="138" y="133"/>
                  </a:lnTo>
                  <a:lnTo>
                    <a:pt x="140" y="137"/>
                  </a:lnTo>
                  <a:lnTo>
                    <a:pt x="144" y="146"/>
                  </a:lnTo>
                  <a:lnTo>
                    <a:pt x="146" y="157"/>
                  </a:lnTo>
                  <a:lnTo>
                    <a:pt x="147" y="171"/>
                  </a:lnTo>
                  <a:lnTo>
                    <a:pt x="147" y="188"/>
                  </a:lnTo>
                  <a:lnTo>
                    <a:pt x="147" y="188"/>
                  </a:lnTo>
                  <a:lnTo>
                    <a:pt x="148" y="205"/>
                  </a:lnTo>
                  <a:lnTo>
                    <a:pt x="149" y="217"/>
                  </a:lnTo>
                  <a:lnTo>
                    <a:pt x="151" y="221"/>
                  </a:lnTo>
                  <a:lnTo>
                    <a:pt x="152" y="225"/>
                  </a:lnTo>
                  <a:lnTo>
                    <a:pt x="155" y="228"/>
                  </a:lnTo>
                  <a:lnTo>
                    <a:pt x="157" y="230"/>
                  </a:lnTo>
                  <a:lnTo>
                    <a:pt x="157" y="232"/>
                  </a:lnTo>
                  <a:lnTo>
                    <a:pt x="108" y="232"/>
                  </a:lnTo>
                  <a:lnTo>
                    <a:pt x="108" y="232"/>
                  </a:lnTo>
                  <a:lnTo>
                    <a:pt x="105" y="227"/>
                  </a:lnTo>
                  <a:lnTo>
                    <a:pt x="103" y="221"/>
                  </a:lnTo>
                  <a:lnTo>
                    <a:pt x="102" y="215"/>
                  </a:lnTo>
                  <a:lnTo>
                    <a:pt x="102" y="208"/>
                  </a:lnTo>
                  <a:lnTo>
                    <a:pt x="100" y="163"/>
                  </a:lnTo>
                  <a:lnTo>
                    <a:pt x="100" y="163"/>
                  </a:lnTo>
                  <a:lnTo>
                    <a:pt x="100" y="157"/>
                  </a:lnTo>
                  <a:lnTo>
                    <a:pt x="99" y="151"/>
                  </a:lnTo>
                  <a:lnTo>
                    <a:pt x="96" y="146"/>
                  </a:lnTo>
                  <a:lnTo>
                    <a:pt x="94" y="142"/>
                  </a:lnTo>
                  <a:lnTo>
                    <a:pt x="89" y="139"/>
                  </a:lnTo>
                  <a:lnTo>
                    <a:pt x="84" y="136"/>
                  </a:lnTo>
                  <a:lnTo>
                    <a:pt x="79" y="135"/>
                  </a:lnTo>
                  <a:lnTo>
                    <a:pt x="72" y="134"/>
                  </a:lnTo>
                  <a:lnTo>
                    <a:pt x="48" y="134"/>
                  </a:lnTo>
                  <a:lnTo>
                    <a:pt x="48" y="232"/>
                  </a:lnTo>
                  <a:lnTo>
                    <a:pt x="0" y="232"/>
                  </a:lnTo>
                  <a:lnTo>
                    <a:pt x="0" y="0"/>
                  </a:lnTo>
                  <a:close/>
                  <a:moveTo>
                    <a:pt x="48" y="101"/>
                  </a:moveTo>
                  <a:lnTo>
                    <a:pt x="67" y="101"/>
                  </a:lnTo>
                  <a:lnTo>
                    <a:pt x="67" y="101"/>
                  </a:lnTo>
                  <a:lnTo>
                    <a:pt x="75" y="101"/>
                  </a:lnTo>
                  <a:lnTo>
                    <a:pt x="82" y="99"/>
                  </a:lnTo>
                  <a:lnTo>
                    <a:pt x="87" y="97"/>
                  </a:lnTo>
                  <a:lnTo>
                    <a:pt x="92" y="93"/>
                  </a:lnTo>
                  <a:lnTo>
                    <a:pt x="97" y="89"/>
                  </a:lnTo>
                  <a:lnTo>
                    <a:pt x="100" y="83"/>
                  </a:lnTo>
                  <a:lnTo>
                    <a:pt x="102" y="75"/>
                  </a:lnTo>
                  <a:lnTo>
                    <a:pt x="102" y="67"/>
                  </a:lnTo>
                  <a:lnTo>
                    <a:pt x="102" y="67"/>
                  </a:lnTo>
                  <a:lnTo>
                    <a:pt x="102" y="59"/>
                  </a:lnTo>
                  <a:lnTo>
                    <a:pt x="100" y="53"/>
                  </a:lnTo>
                  <a:lnTo>
                    <a:pt x="98" y="48"/>
                  </a:lnTo>
                  <a:lnTo>
                    <a:pt x="94" y="43"/>
                  </a:lnTo>
                  <a:lnTo>
                    <a:pt x="89" y="40"/>
                  </a:lnTo>
                  <a:lnTo>
                    <a:pt x="83" y="37"/>
                  </a:lnTo>
                  <a:lnTo>
                    <a:pt x="77" y="35"/>
                  </a:lnTo>
                  <a:lnTo>
                    <a:pt x="69" y="34"/>
                  </a:lnTo>
                  <a:lnTo>
                    <a:pt x="48" y="34"/>
                  </a:lnTo>
                  <a:lnTo>
                    <a:pt x="4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6" name="Freeform 12"/>
            <p:cNvSpPr>
              <a:spLocks/>
            </p:cNvSpPr>
            <p:nvPr userDrawn="1"/>
          </p:nvSpPr>
          <p:spPr bwMode="auto">
            <a:xfrm>
              <a:off x="8413750"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7" name="Freeform 13"/>
            <p:cNvSpPr>
              <a:spLocks/>
            </p:cNvSpPr>
            <p:nvPr userDrawn="1"/>
          </p:nvSpPr>
          <p:spPr bwMode="auto">
            <a:xfrm>
              <a:off x="8497888" y="4805363"/>
              <a:ext cx="80963" cy="123825"/>
            </a:xfrm>
            <a:custGeom>
              <a:avLst/>
              <a:gdLst>
                <a:gd name="T0" fmla="*/ 54 w 154"/>
                <a:gd name="T1" fmla="*/ 0 h 232"/>
                <a:gd name="T2" fmla="*/ 111 w 154"/>
                <a:gd name="T3" fmla="*/ 159 h 232"/>
                <a:gd name="T4" fmla="*/ 112 w 154"/>
                <a:gd name="T5" fmla="*/ 159 h 232"/>
                <a:gd name="T6" fmla="*/ 112 w 154"/>
                <a:gd name="T7" fmla="*/ 0 h 232"/>
                <a:gd name="T8" fmla="*/ 154 w 154"/>
                <a:gd name="T9" fmla="*/ 0 h 232"/>
                <a:gd name="T10" fmla="*/ 154 w 154"/>
                <a:gd name="T11" fmla="*/ 232 h 232"/>
                <a:gd name="T12" fmla="*/ 102 w 154"/>
                <a:gd name="T13" fmla="*/ 232 h 232"/>
                <a:gd name="T14" fmla="*/ 44 w 154"/>
                <a:gd name="T15" fmla="*/ 70 h 232"/>
                <a:gd name="T16" fmla="*/ 44 w 154"/>
                <a:gd name="T17" fmla="*/ 70 h 232"/>
                <a:gd name="T18" fmla="*/ 44 w 154"/>
                <a:gd name="T19" fmla="*/ 232 h 232"/>
                <a:gd name="T20" fmla="*/ 0 w 154"/>
                <a:gd name="T21" fmla="*/ 232 h 232"/>
                <a:gd name="T22" fmla="*/ 0 w 154"/>
                <a:gd name="T23" fmla="*/ 0 h 232"/>
                <a:gd name="T24" fmla="*/ 54 w 154"/>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232">
                  <a:moveTo>
                    <a:pt x="54" y="0"/>
                  </a:moveTo>
                  <a:lnTo>
                    <a:pt x="111" y="159"/>
                  </a:lnTo>
                  <a:lnTo>
                    <a:pt x="112" y="159"/>
                  </a:lnTo>
                  <a:lnTo>
                    <a:pt x="112" y="0"/>
                  </a:lnTo>
                  <a:lnTo>
                    <a:pt x="154" y="0"/>
                  </a:lnTo>
                  <a:lnTo>
                    <a:pt x="154" y="232"/>
                  </a:lnTo>
                  <a:lnTo>
                    <a:pt x="102" y="232"/>
                  </a:lnTo>
                  <a:lnTo>
                    <a:pt x="44" y="70"/>
                  </a:lnTo>
                  <a:lnTo>
                    <a:pt x="44" y="70"/>
                  </a:lnTo>
                  <a:lnTo>
                    <a:pt x="44" y="232"/>
                  </a:lnTo>
                  <a:lnTo>
                    <a:pt x="0" y="232"/>
                  </a:lnTo>
                  <a:lnTo>
                    <a:pt x="0"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8" name="Freeform 14"/>
            <p:cNvSpPr>
              <a:spLocks noEditPoints="1"/>
            </p:cNvSpPr>
            <p:nvPr userDrawn="1"/>
          </p:nvSpPr>
          <p:spPr bwMode="auto">
            <a:xfrm>
              <a:off x="8589963" y="4805363"/>
              <a:ext cx="95250" cy="123825"/>
            </a:xfrm>
            <a:custGeom>
              <a:avLst/>
              <a:gdLst>
                <a:gd name="T0" fmla="*/ 61 w 180"/>
                <a:gd name="T1" fmla="*/ 0 h 232"/>
                <a:gd name="T2" fmla="*/ 119 w 180"/>
                <a:gd name="T3" fmla="*/ 0 h 232"/>
                <a:gd name="T4" fmla="*/ 180 w 180"/>
                <a:gd name="T5" fmla="*/ 232 h 232"/>
                <a:gd name="T6" fmla="*/ 131 w 180"/>
                <a:gd name="T7" fmla="*/ 232 h 232"/>
                <a:gd name="T8" fmla="*/ 121 w 180"/>
                <a:gd name="T9" fmla="*/ 183 h 232"/>
                <a:gd name="T10" fmla="*/ 59 w 180"/>
                <a:gd name="T11" fmla="*/ 183 h 232"/>
                <a:gd name="T12" fmla="*/ 48 w 180"/>
                <a:gd name="T13" fmla="*/ 232 h 232"/>
                <a:gd name="T14" fmla="*/ 0 w 180"/>
                <a:gd name="T15" fmla="*/ 232 h 232"/>
                <a:gd name="T16" fmla="*/ 61 w 180"/>
                <a:gd name="T17" fmla="*/ 0 h 232"/>
                <a:gd name="T18" fmla="*/ 67 w 180"/>
                <a:gd name="T19" fmla="*/ 145 h 232"/>
                <a:gd name="T20" fmla="*/ 113 w 180"/>
                <a:gd name="T21" fmla="*/ 145 h 232"/>
                <a:gd name="T22" fmla="*/ 90 w 180"/>
                <a:gd name="T23" fmla="*/ 41 h 232"/>
                <a:gd name="T24" fmla="*/ 90 w 180"/>
                <a:gd name="T25" fmla="*/ 41 h 232"/>
                <a:gd name="T26" fmla="*/ 67 w 180"/>
                <a:gd name="T27" fmla="*/ 14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232">
                  <a:moveTo>
                    <a:pt x="61" y="0"/>
                  </a:moveTo>
                  <a:lnTo>
                    <a:pt x="119" y="0"/>
                  </a:lnTo>
                  <a:lnTo>
                    <a:pt x="180" y="232"/>
                  </a:lnTo>
                  <a:lnTo>
                    <a:pt x="131" y="232"/>
                  </a:lnTo>
                  <a:lnTo>
                    <a:pt x="121" y="183"/>
                  </a:lnTo>
                  <a:lnTo>
                    <a:pt x="59" y="183"/>
                  </a:lnTo>
                  <a:lnTo>
                    <a:pt x="48" y="232"/>
                  </a:lnTo>
                  <a:lnTo>
                    <a:pt x="0" y="232"/>
                  </a:lnTo>
                  <a:lnTo>
                    <a:pt x="61" y="0"/>
                  </a:lnTo>
                  <a:close/>
                  <a:moveTo>
                    <a:pt x="67" y="145"/>
                  </a:moveTo>
                  <a:lnTo>
                    <a:pt x="113" y="145"/>
                  </a:lnTo>
                  <a:lnTo>
                    <a:pt x="90" y="41"/>
                  </a:lnTo>
                  <a:lnTo>
                    <a:pt x="90" y="41"/>
                  </a:lnTo>
                  <a:lnTo>
                    <a:pt x="67"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9" name="Freeform 15"/>
            <p:cNvSpPr>
              <a:spLocks/>
            </p:cNvSpPr>
            <p:nvPr userDrawn="1"/>
          </p:nvSpPr>
          <p:spPr bwMode="auto">
            <a:xfrm>
              <a:off x="8691563" y="4805363"/>
              <a:ext cx="77788" cy="125413"/>
            </a:xfrm>
            <a:custGeom>
              <a:avLst/>
              <a:gdLst>
                <a:gd name="T0" fmla="*/ 46 w 148"/>
                <a:gd name="T1" fmla="*/ 0 h 236"/>
                <a:gd name="T2" fmla="*/ 46 w 148"/>
                <a:gd name="T3" fmla="*/ 162 h 236"/>
                <a:gd name="T4" fmla="*/ 46 w 148"/>
                <a:gd name="T5" fmla="*/ 162 h 236"/>
                <a:gd name="T6" fmla="*/ 47 w 148"/>
                <a:gd name="T7" fmla="*/ 170 h 236"/>
                <a:gd name="T8" fmla="*/ 48 w 148"/>
                <a:gd name="T9" fmla="*/ 178 h 236"/>
                <a:gd name="T10" fmla="*/ 49 w 148"/>
                <a:gd name="T11" fmla="*/ 184 h 236"/>
                <a:gd name="T12" fmla="*/ 52 w 148"/>
                <a:gd name="T13" fmla="*/ 190 h 236"/>
                <a:gd name="T14" fmla="*/ 55 w 148"/>
                <a:gd name="T15" fmla="*/ 195 h 236"/>
                <a:gd name="T16" fmla="*/ 60 w 148"/>
                <a:gd name="T17" fmla="*/ 199 h 236"/>
                <a:gd name="T18" fmla="*/ 67 w 148"/>
                <a:gd name="T19" fmla="*/ 202 h 236"/>
                <a:gd name="T20" fmla="*/ 74 w 148"/>
                <a:gd name="T21" fmla="*/ 202 h 236"/>
                <a:gd name="T22" fmla="*/ 74 w 148"/>
                <a:gd name="T23" fmla="*/ 202 h 236"/>
                <a:gd name="T24" fmla="*/ 82 w 148"/>
                <a:gd name="T25" fmla="*/ 202 h 236"/>
                <a:gd name="T26" fmla="*/ 88 w 148"/>
                <a:gd name="T27" fmla="*/ 199 h 236"/>
                <a:gd name="T28" fmla="*/ 92 w 148"/>
                <a:gd name="T29" fmla="*/ 195 h 236"/>
                <a:gd name="T30" fmla="*/ 96 w 148"/>
                <a:gd name="T31" fmla="*/ 190 h 236"/>
                <a:gd name="T32" fmla="*/ 98 w 148"/>
                <a:gd name="T33" fmla="*/ 184 h 236"/>
                <a:gd name="T34" fmla="*/ 100 w 148"/>
                <a:gd name="T35" fmla="*/ 178 h 236"/>
                <a:gd name="T36" fmla="*/ 101 w 148"/>
                <a:gd name="T37" fmla="*/ 170 h 236"/>
                <a:gd name="T38" fmla="*/ 101 w 148"/>
                <a:gd name="T39" fmla="*/ 162 h 236"/>
                <a:gd name="T40" fmla="*/ 101 w 148"/>
                <a:gd name="T41" fmla="*/ 0 h 236"/>
                <a:gd name="T42" fmla="*/ 148 w 148"/>
                <a:gd name="T43" fmla="*/ 0 h 236"/>
                <a:gd name="T44" fmla="*/ 148 w 148"/>
                <a:gd name="T45" fmla="*/ 162 h 236"/>
                <a:gd name="T46" fmla="*/ 148 w 148"/>
                <a:gd name="T47" fmla="*/ 162 h 236"/>
                <a:gd name="T48" fmla="*/ 148 w 148"/>
                <a:gd name="T49" fmla="*/ 172 h 236"/>
                <a:gd name="T50" fmla="*/ 147 w 148"/>
                <a:gd name="T51" fmla="*/ 182 h 236"/>
                <a:gd name="T52" fmla="*/ 144 w 148"/>
                <a:gd name="T53" fmla="*/ 190 h 236"/>
                <a:gd name="T54" fmla="*/ 141 w 148"/>
                <a:gd name="T55" fmla="*/ 199 h 236"/>
                <a:gd name="T56" fmla="*/ 138 w 148"/>
                <a:gd name="T57" fmla="*/ 206 h 236"/>
                <a:gd name="T58" fmla="*/ 134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8 w 148"/>
                <a:gd name="T73" fmla="*/ 236 h 236"/>
                <a:gd name="T74" fmla="*/ 74 w 148"/>
                <a:gd name="T75" fmla="*/ 236 h 236"/>
                <a:gd name="T76" fmla="*/ 74 w 148"/>
                <a:gd name="T77" fmla="*/ 236 h 236"/>
                <a:gd name="T78" fmla="*/ 59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6 w 148"/>
                <a:gd name="T97" fmla="*/ 200 h 236"/>
                <a:gd name="T98" fmla="*/ 4 w 148"/>
                <a:gd name="T99" fmla="*/ 191 h 236"/>
                <a:gd name="T100" fmla="*/ 2 w 148"/>
                <a:gd name="T101" fmla="*/ 182 h 236"/>
                <a:gd name="T102" fmla="*/ 1 w 148"/>
                <a:gd name="T103" fmla="*/ 173 h 236"/>
                <a:gd name="T104" fmla="*/ 0 w 148"/>
                <a:gd name="T105" fmla="*/ 162 h 236"/>
                <a:gd name="T106" fmla="*/ 0 w 148"/>
                <a:gd name="T107" fmla="*/ 0 h 236"/>
                <a:gd name="T108" fmla="*/ 46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6" y="0"/>
                  </a:moveTo>
                  <a:lnTo>
                    <a:pt x="46" y="162"/>
                  </a:lnTo>
                  <a:lnTo>
                    <a:pt x="46" y="162"/>
                  </a:lnTo>
                  <a:lnTo>
                    <a:pt x="47" y="170"/>
                  </a:lnTo>
                  <a:lnTo>
                    <a:pt x="48" y="178"/>
                  </a:lnTo>
                  <a:lnTo>
                    <a:pt x="49" y="184"/>
                  </a:lnTo>
                  <a:lnTo>
                    <a:pt x="52" y="190"/>
                  </a:lnTo>
                  <a:lnTo>
                    <a:pt x="55" y="195"/>
                  </a:lnTo>
                  <a:lnTo>
                    <a:pt x="60" y="199"/>
                  </a:lnTo>
                  <a:lnTo>
                    <a:pt x="67" y="202"/>
                  </a:lnTo>
                  <a:lnTo>
                    <a:pt x="74" y="202"/>
                  </a:lnTo>
                  <a:lnTo>
                    <a:pt x="74" y="202"/>
                  </a:lnTo>
                  <a:lnTo>
                    <a:pt x="82" y="202"/>
                  </a:lnTo>
                  <a:lnTo>
                    <a:pt x="88" y="199"/>
                  </a:lnTo>
                  <a:lnTo>
                    <a:pt x="92" y="195"/>
                  </a:lnTo>
                  <a:lnTo>
                    <a:pt x="96" y="190"/>
                  </a:lnTo>
                  <a:lnTo>
                    <a:pt x="98" y="184"/>
                  </a:lnTo>
                  <a:lnTo>
                    <a:pt x="100" y="178"/>
                  </a:lnTo>
                  <a:lnTo>
                    <a:pt x="101" y="170"/>
                  </a:lnTo>
                  <a:lnTo>
                    <a:pt x="101" y="162"/>
                  </a:lnTo>
                  <a:lnTo>
                    <a:pt x="101" y="0"/>
                  </a:lnTo>
                  <a:lnTo>
                    <a:pt x="148" y="0"/>
                  </a:lnTo>
                  <a:lnTo>
                    <a:pt x="148" y="162"/>
                  </a:lnTo>
                  <a:lnTo>
                    <a:pt x="148" y="162"/>
                  </a:lnTo>
                  <a:lnTo>
                    <a:pt x="148" y="172"/>
                  </a:lnTo>
                  <a:lnTo>
                    <a:pt x="147" y="182"/>
                  </a:lnTo>
                  <a:lnTo>
                    <a:pt x="144" y="190"/>
                  </a:lnTo>
                  <a:lnTo>
                    <a:pt x="141" y="199"/>
                  </a:lnTo>
                  <a:lnTo>
                    <a:pt x="138" y="206"/>
                  </a:lnTo>
                  <a:lnTo>
                    <a:pt x="134" y="212"/>
                  </a:lnTo>
                  <a:lnTo>
                    <a:pt x="130" y="217"/>
                  </a:lnTo>
                  <a:lnTo>
                    <a:pt x="125" y="221"/>
                  </a:lnTo>
                  <a:lnTo>
                    <a:pt x="120" y="225"/>
                  </a:lnTo>
                  <a:lnTo>
                    <a:pt x="114" y="228"/>
                  </a:lnTo>
                  <a:lnTo>
                    <a:pt x="108" y="231"/>
                  </a:lnTo>
                  <a:lnTo>
                    <a:pt x="102" y="233"/>
                  </a:lnTo>
                  <a:lnTo>
                    <a:pt x="88" y="236"/>
                  </a:lnTo>
                  <a:lnTo>
                    <a:pt x="74" y="236"/>
                  </a:lnTo>
                  <a:lnTo>
                    <a:pt x="74" y="236"/>
                  </a:lnTo>
                  <a:lnTo>
                    <a:pt x="59" y="236"/>
                  </a:lnTo>
                  <a:lnTo>
                    <a:pt x="46" y="234"/>
                  </a:lnTo>
                  <a:lnTo>
                    <a:pt x="40" y="232"/>
                  </a:lnTo>
                  <a:lnTo>
                    <a:pt x="34" y="229"/>
                  </a:lnTo>
                  <a:lnTo>
                    <a:pt x="28" y="226"/>
                  </a:lnTo>
                  <a:lnTo>
                    <a:pt x="23" y="223"/>
                  </a:lnTo>
                  <a:lnTo>
                    <a:pt x="18" y="218"/>
                  </a:lnTo>
                  <a:lnTo>
                    <a:pt x="14" y="213"/>
                  </a:lnTo>
                  <a:lnTo>
                    <a:pt x="10" y="207"/>
                  </a:lnTo>
                  <a:lnTo>
                    <a:pt x="6" y="200"/>
                  </a:lnTo>
                  <a:lnTo>
                    <a:pt x="4" y="191"/>
                  </a:lnTo>
                  <a:lnTo>
                    <a:pt x="2" y="182"/>
                  </a:lnTo>
                  <a:lnTo>
                    <a:pt x="1" y="173"/>
                  </a:lnTo>
                  <a:lnTo>
                    <a:pt x="0" y="162"/>
                  </a:lnTo>
                  <a:lnTo>
                    <a:pt x="0" y="0"/>
                  </a:lnTo>
                  <a:lnTo>
                    <a:pt x="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40" name="Freeform 16"/>
            <p:cNvSpPr>
              <a:spLocks/>
            </p:cNvSpPr>
            <p:nvPr userDrawn="1"/>
          </p:nvSpPr>
          <p:spPr bwMode="auto">
            <a:xfrm>
              <a:off x="8789988" y="4805363"/>
              <a:ext cx="69850" cy="123825"/>
            </a:xfrm>
            <a:custGeom>
              <a:avLst/>
              <a:gdLst>
                <a:gd name="T0" fmla="*/ 0 w 130"/>
                <a:gd name="T1" fmla="*/ 232 h 232"/>
                <a:gd name="T2" fmla="*/ 0 w 130"/>
                <a:gd name="T3" fmla="*/ 0 h 232"/>
                <a:gd name="T4" fmla="*/ 47 w 130"/>
                <a:gd name="T5" fmla="*/ 0 h 232"/>
                <a:gd name="T6" fmla="*/ 47 w 130"/>
                <a:gd name="T7" fmla="*/ 193 h 232"/>
                <a:gd name="T8" fmla="*/ 130 w 130"/>
                <a:gd name="T9" fmla="*/ 193 h 232"/>
                <a:gd name="T10" fmla="*/ 130 w 130"/>
                <a:gd name="T11" fmla="*/ 232 h 232"/>
                <a:gd name="T12" fmla="*/ 0 w 130"/>
                <a:gd name="T13" fmla="*/ 232 h 232"/>
              </a:gdLst>
              <a:ahLst/>
              <a:cxnLst>
                <a:cxn ang="0">
                  <a:pos x="T0" y="T1"/>
                </a:cxn>
                <a:cxn ang="0">
                  <a:pos x="T2" y="T3"/>
                </a:cxn>
                <a:cxn ang="0">
                  <a:pos x="T4" y="T5"/>
                </a:cxn>
                <a:cxn ang="0">
                  <a:pos x="T6" y="T7"/>
                </a:cxn>
                <a:cxn ang="0">
                  <a:pos x="T8" y="T9"/>
                </a:cxn>
                <a:cxn ang="0">
                  <a:pos x="T10" y="T11"/>
                </a:cxn>
                <a:cxn ang="0">
                  <a:pos x="T12" y="T13"/>
                </a:cxn>
              </a:cxnLst>
              <a:rect l="0" t="0" r="r" b="b"/>
              <a:pathLst>
                <a:path w="130" h="232">
                  <a:moveTo>
                    <a:pt x="0" y="232"/>
                  </a:moveTo>
                  <a:lnTo>
                    <a:pt x="0" y="0"/>
                  </a:lnTo>
                  <a:lnTo>
                    <a:pt x="47" y="0"/>
                  </a:lnTo>
                  <a:lnTo>
                    <a:pt x="47" y="193"/>
                  </a:lnTo>
                  <a:lnTo>
                    <a:pt x="130" y="193"/>
                  </a:lnTo>
                  <a:lnTo>
                    <a:pt x="130" y="232"/>
                  </a:lnTo>
                  <a:lnTo>
                    <a:pt x="0"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41" name="Freeform 17"/>
            <p:cNvSpPr>
              <a:spLocks/>
            </p:cNvSpPr>
            <p:nvPr userDrawn="1"/>
          </p:nvSpPr>
          <p:spPr bwMode="auto">
            <a:xfrm>
              <a:off x="8848725" y="4805363"/>
              <a:ext cx="77788" cy="123825"/>
            </a:xfrm>
            <a:custGeom>
              <a:avLst/>
              <a:gdLst>
                <a:gd name="T0" fmla="*/ 148 w 148"/>
                <a:gd name="T1" fmla="*/ 0 h 232"/>
                <a:gd name="T2" fmla="*/ 148 w 148"/>
                <a:gd name="T3" fmla="*/ 39 h 232"/>
                <a:gd name="T4" fmla="*/ 97 w 148"/>
                <a:gd name="T5" fmla="*/ 39 h 232"/>
                <a:gd name="T6" fmla="*/ 97 w 148"/>
                <a:gd name="T7" fmla="*/ 232 h 232"/>
                <a:gd name="T8" fmla="*/ 51 w 148"/>
                <a:gd name="T9" fmla="*/ 232 h 232"/>
                <a:gd name="T10" fmla="*/ 51 w 148"/>
                <a:gd name="T11" fmla="*/ 39 h 232"/>
                <a:gd name="T12" fmla="*/ 0 w 148"/>
                <a:gd name="T13" fmla="*/ 39 h 232"/>
                <a:gd name="T14" fmla="*/ 0 w 148"/>
                <a:gd name="T15" fmla="*/ 0 h 232"/>
                <a:gd name="T16" fmla="*/ 148 w 148"/>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32">
                  <a:moveTo>
                    <a:pt x="148" y="0"/>
                  </a:moveTo>
                  <a:lnTo>
                    <a:pt x="148" y="39"/>
                  </a:lnTo>
                  <a:lnTo>
                    <a:pt x="97" y="39"/>
                  </a:lnTo>
                  <a:lnTo>
                    <a:pt x="97" y="232"/>
                  </a:lnTo>
                  <a:lnTo>
                    <a:pt x="51" y="232"/>
                  </a:lnTo>
                  <a:lnTo>
                    <a:pt x="51" y="39"/>
                  </a:lnTo>
                  <a:lnTo>
                    <a:pt x="0" y="39"/>
                  </a:lnTo>
                  <a:lnTo>
                    <a:pt x="0" y="0"/>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grpSp>
    </p:spTree>
    <p:extLst>
      <p:ext uri="{BB962C8B-B14F-4D97-AF65-F5344CB8AC3E}">
        <p14:creationId xmlns:p14="http://schemas.microsoft.com/office/powerpoint/2010/main" val="313904566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Lst>
  <p:hf hdr="0" ftr="0" dt="0"/>
  <p:txStyles>
    <p:titleStyle>
      <a:lvl1pPr algn="l" rtl="0" eaLnBrk="0" fontAlgn="base" hangingPunct="0">
        <a:spcBef>
          <a:spcPct val="0"/>
        </a:spcBef>
        <a:spcAft>
          <a:spcPct val="0"/>
        </a:spcAft>
        <a:defRPr sz="1800" b="1">
          <a:solidFill>
            <a:schemeClr val="tx1"/>
          </a:solidFill>
          <a:latin typeface="+mj-lt"/>
          <a:ea typeface="+mj-ea"/>
          <a:cs typeface="+mj-cs"/>
        </a:defRPr>
      </a:lvl1pPr>
      <a:lvl2pPr algn="l" rtl="0" eaLnBrk="0" fontAlgn="base" hangingPunct="0">
        <a:spcBef>
          <a:spcPct val="0"/>
        </a:spcBef>
        <a:spcAft>
          <a:spcPct val="0"/>
        </a:spcAft>
        <a:defRPr sz="1800" b="1">
          <a:solidFill>
            <a:schemeClr val="tx1"/>
          </a:solidFill>
          <a:latin typeface="Arial Narrow" pitchFamily="34" charset="0"/>
          <a:ea typeface="MS PGothic" pitchFamily="34" charset="-128"/>
        </a:defRPr>
      </a:lvl2pPr>
      <a:lvl3pPr algn="l" rtl="0" eaLnBrk="0" fontAlgn="base" hangingPunct="0">
        <a:spcBef>
          <a:spcPct val="0"/>
        </a:spcBef>
        <a:spcAft>
          <a:spcPct val="0"/>
        </a:spcAft>
        <a:defRPr sz="1800" b="1">
          <a:solidFill>
            <a:schemeClr val="tx1"/>
          </a:solidFill>
          <a:latin typeface="Arial Narrow" pitchFamily="34" charset="0"/>
          <a:ea typeface="MS PGothic" pitchFamily="34" charset="-128"/>
        </a:defRPr>
      </a:lvl3pPr>
      <a:lvl4pPr algn="l" rtl="0" eaLnBrk="0" fontAlgn="base" hangingPunct="0">
        <a:spcBef>
          <a:spcPct val="0"/>
        </a:spcBef>
        <a:spcAft>
          <a:spcPct val="0"/>
        </a:spcAft>
        <a:defRPr sz="1800" b="1">
          <a:solidFill>
            <a:schemeClr val="tx1"/>
          </a:solidFill>
          <a:latin typeface="Arial Narrow" pitchFamily="34" charset="0"/>
          <a:ea typeface="MS PGothic" pitchFamily="34" charset="-128"/>
        </a:defRPr>
      </a:lvl4pPr>
      <a:lvl5pPr algn="l" rtl="0" eaLnBrk="0" fontAlgn="base" hangingPunct="0">
        <a:spcBef>
          <a:spcPct val="0"/>
        </a:spcBef>
        <a:spcAft>
          <a:spcPct val="0"/>
        </a:spcAft>
        <a:defRPr sz="1800" b="1">
          <a:solidFill>
            <a:schemeClr val="tx1"/>
          </a:solidFill>
          <a:latin typeface="Arial Narrow" pitchFamily="34" charset="0"/>
          <a:ea typeface="MS PGothic" pitchFamily="34" charset="-128"/>
        </a:defRPr>
      </a:lvl5pPr>
      <a:lvl6pPr marL="342891" algn="l" rtl="0" eaLnBrk="1" fontAlgn="base" hangingPunct="1">
        <a:spcBef>
          <a:spcPct val="0"/>
        </a:spcBef>
        <a:spcAft>
          <a:spcPct val="0"/>
        </a:spcAft>
        <a:defRPr sz="1800" b="1">
          <a:solidFill>
            <a:schemeClr val="tx1"/>
          </a:solidFill>
          <a:latin typeface="Arial Narrow" pitchFamily="34" charset="0"/>
          <a:ea typeface="MS PGothic" pitchFamily="34" charset="-128"/>
        </a:defRPr>
      </a:lvl6pPr>
      <a:lvl7pPr marL="685783" algn="l" rtl="0" eaLnBrk="1" fontAlgn="base" hangingPunct="1">
        <a:spcBef>
          <a:spcPct val="0"/>
        </a:spcBef>
        <a:spcAft>
          <a:spcPct val="0"/>
        </a:spcAft>
        <a:defRPr sz="1800" b="1">
          <a:solidFill>
            <a:schemeClr val="tx1"/>
          </a:solidFill>
          <a:latin typeface="Arial Narrow" pitchFamily="34" charset="0"/>
          <a:ea typeface="MS PGothic" pitchFamily="34" charset="-128"/>
        </a:defRPr>
      </a:lvl7pPr>
      <a:lvl8pPr marL="1028674" algn="l" rtl="0" eaLnBrk="1" fontAlgn="base" hangingPunct="1">
        <a:spcBef>
          <a:spcPct val="0"/>
        </a:spcBef>
        <a:spcAft>
          <a:spcPct val="0"/>
        </a:spcAft>
        <a:defRPr sz="1800" b="1">
          <a:solidFill>
            <a:schemeClr val="tx1"/>
          </a:solidFill>
          <a:latin typeface="Arial Narrow" pitchFamily="34" charset="0"/>
          <a:ea typeface="MS PGothic" pitchFamily="34" charset="-128"/>
        </a:defRPr>
      </a:lvl8pPr>
      <a:lvl9pPr marL="1371566" algn="l" rtl="0" eaLnBrk="1" fontAlgn="base" hangingPunct="1">
        <a:spcBef>
          <a:spcPct val="0"/>
        </a:spcBef>
        <a:spcAft>
          <a:spcPct val="0"/>
        </a:spcAft>
        <a:defRPr sz="1800" b="1">
          <a:solidFill>
            <a:schemeClr val="tx1"/>
          </a:solidFill>
          <a:latin typeface="Arial Narrow" pitchFamily="34" charset="0"/>
          <a:ea typeface="MS PGothic" pitchFamily="34" charset="-128"/>
        </a:defRPr>
      </a:lvl9pPr>
    </p:titleStyle>
    <p:bodyStyle>
      <a:lvl1pPr marL="257168" indent="-257168" algn="l" rtl="0" eaLnBrk="0" fontAlgn="base" hangingPunct="0">
        <a:spcBef>
          <a:spcPct val="35000"/>
        </a:spcBef>
        <a:spcAft>
          <a:spcPct val="0"/>
        </a:spcAft>
        <a:buClr>
          <a:srgbClr val="F7B100"/>
        </a:buClr>
        <a:buFont typeface="Wingdings" pitchFamily="2" charset="2"/>
        <a:buChar char="§"/>
        <a:defRPr sz="1500" b="1">
          <a:solidFill>
            <a:schemeClr val="tx1"/>
          </a:solidFill>
          <a:latin typeface="+mn-lt"/>
          <a:ea typeface="+mn-ea"/>
          <a:cs typeface="+mn-cs"/>
        </a:defRPr>
      </a:lvl1pPr>
      <a:lvl2pPr marL="557199" indent="-214308" algn="l" rtl="0" eaLnBrk="0" fontAlgn="base" hangingPunct="0">
        <a:spcBef>
          <a:spcPct val="30000"/>
        </a:spcBef>
        <a:spcAft>
          <a:spcPct val="0"/>
        </a:spcAft>
        <a:buClr>
          <a:srgbClr val="F7B100"/>
        </a:buClr>
        <a:buFont typeface="Wingdings" pitchFamily="2" charset="2"/>
        <a:buChar char="§"/>
        <a:defRPr sz="1200">
          <a:solidFill>
            <a:schemeClr val="tx1"/>
          </a:solidFill>
          <a:latin typeface="+mn-lt"/>
          <a:ea typeface="+mn-ea"/>
        </a:defRPr>
      </a:lvl2pPr>
      <a:lvl3pPr marL="857229" indent="-171446" algn="l" rtl="0" eaLnBrk="0" fontAlgn="base" hangingPunct="0">
        <a:spcBef>
          <a:spcPct val="35000"/>
        </a:spcBef>
        <a:spcAft>
          <a:spcPct val="0"/>
        </a:spcAft>
        <a:buFont typeface="Wingdings" pitchFamily="2" charset="2"/>
        <a:buChar char="§"/>
        <a:defRPr sz="1100">
          <a:solidFill>
            <a:schemeClr val="tx1"/>
          </a:solidFill>
          <a:latin typeface="+mn-lt"/>
          <a:ea typeface="+mn-ea"/>
        </a:defRPr>
      </a:lvl3pPr>
      <a:lvl4pPr marL="1200121" indent="-171446" algn="l" rtl="0" eaLnBrk="0" fontAlgn="base" hangingPunct="0">
        <a:spcBef>
          <a:spcPct val="40000"/>
        </a:spcBef>
        <a:spcAft>
          <a:spcPct val="0"/>
        </a:spcAft>
        <a:buFont typeface="Wingdings" pitchFamily="2" charset="2"/>
        <a:buChar char="§"/>
        <a:defRPr sz="800">
          <a:solidFill>
            <a:schemeClr val="tx1"/>
          </a:solidFill>
          <a:latin typeface="+mn-lt"/>
          <a:ea typeface="+mn-ea"/>
        </a:defRPr>
      </a:lvl4pPr>
      <a:lvl5pPr marL="1543012" indent="-171446" algn="l" rtl="0" eaLnBrk="0" fontAlgn="base" hangingPunct="0">
        <a:spcBef>
          <a:spcPct val="20000"/>
        </a:spcBef>
        <a:spcAft>
          <a:spcPct val="0"/>
        </a:spcAft>
        <a:buChar char="»"/>
        <a:defRPr sz="800">
          <a:solidFill>
            <a:schemeClr val="tx1"/>
          </a:solidFill>
          <a:latin typeface="+mn-lt"/>
          <a:ea typeface="+mn-ea"/>
        </a:defRPr>
      </a:lvl5pPr>
      <a:lvl6pPr marL="1885904" indent="-171446" algn="l" rtl="0" eaLnBrk="1" fontAlgn="base" hangingPunct="1">
        <a:spcBef>
          <a:spcPct val="20000"/>
        </a:spcBef>
        <a:spcAft>
          <a:spcPct val="0"/>
        </a:spcAft>
        <a:buChar char="»"/>
        <a:defRPr sz="800">
          <a:solidFill>
            <a:schemeClr val="tx1"/>
          </a:solidFill>
          <a:latin typeface="+mn-lt"/>
          <a:ea typeface="+mn-ea"/>
        </a:defRPr>
      </a:lvl6pPr>
      <a:lvl7pPr marL="2228795" indent="-171446" algn="l" rtl="0" eaLnBrk="1" fontAlgn="base" hangingPunct="1">
        <a:spcBef>
          <a:spcPct val="20000"/>
        </a:spcBef>
        <a:spcAft>
          <a:spcPct val="0"/>
        </a:spcAft>
        <a:buChar char="»"/>
        <a:defRPr sz="800">
          <a:solidFill>
            <a:schemeClr val="tx1"/>
          </a:solidFill>
          <a:latin typeface="+mn-lt"/>
          <a:ea typeface="+mn-ea"/>
        </a:defRPr>
      </a:lvl7pPr>
      <a:lvl8pPr marL="2571686" indent="-171446" algn="l" rtl="0" eaLnBrk="1" fontAlgn="base" hangingPunct="1">
        <a:spcBef>
          <a:spcPct val="20000"/>
        </a:spcBef>
        <a:spcAft>
          <a:spcPct val="0"/>
        </a:spcAft>
        <a:buChar char="»"/>
        <a:defRPr sz="800">
          <a:solidFill>
            <a:schemeClr val="tx1"/>
          </a:solidFill>
          <a:latin typeface="+mn-lt"/>
          <a:ea typeface="+mn-ea"/>
        </a:defRPr>
      </a:lvl8pPr>
      <a:lvl9pPr marL="2914578" indent="-171446" algn="l" rtl="0" eaLnBrk="1" fontAlgn="base" hangingPunct="1">
        <a:spcBef>
          <a:spcPct val="20000"/>
        </a:spcBef>
        <a:spcAft>
          <a:spcPct val="0"/>
        </a:spcAft>
        <a:buChar char="»"/>
        <a:defRPr sz="800">
          <a:solidFill>
            <a:schemeClr val="tx1"/>
          </a:solidFill>
          <a:latin typeface="+mn-lt"/>
          <a:ea typeface="+mn-ea"/>
        </a:defRPr>
      </a:lvl9pPr>
    </p:bodyStyle>
    <p:otherStyle>
      <a:defPPr>
        <a:defRPr lang="fr-FR"/>
      </a:defPPr>
      <a:lvl1pPr marL="0" algn="l" defTabSz="685783" rtl="0" eaLnBrk="1" latinLnBrk="0" hangingPunct="1">
        <a:defRPr sz="1400" kern="1200">
          <a:solidFill>
            <a:schemeClr val="tx1"/>
          </a:solidFill>
          <a:latin typeface="+mn-lt"/>
          <a:ea typeface="+mn-ea"/>
          <a:cs typeface="+mn-cs"/>
        </a:defRPr>
      </a:lvl1pPr>
      <a:lvl2pPr marL="342891"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4"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9"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1" algn="l" defTabSz="685783"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709">
          <p15:clr>
            <a:srgbClr val="F26B43"/>
          </p15:clr>
        </p15:guide>
        <p15:guide id="2" pos="5420">
          <p15:clr>
            <a:srgbClr val="F26B43"/>
          </p15:clr>
        </p15:guide>
        <p15:guide id="3" pos="5647">
          <p15:clr>
            <a:srgbClr val="F26B43"/>
          </p15:clr>
        </p15:guide>
        <p15:guide id="5" orient="horz" pos="114">
          <p15:clr>
            <a:srgbClr val="F26B43"/>
          </p15:clr>
        </p15:guide>
        <p15:guide id="6" orient="horz" pos="228">
          <p15:clr>
            <a:srgbClr val="F26B43"/>
          </p15:clr>
        </p15:guide>
        <p15:guide id="7" orient="horz" pos="2787">
          <p15:clr>
            <a:srgbClr val="F26B43"/>
          </p15:clr>
        </p15:guide>
        <p15:guide id="8" pos="2909">
          <p15:clr>
            <a:srgbClr val="F26B43"/>
          </p15:clr>
        </p15:guide>
        <p15:guide id="9" pos="2851">
          <p15:clr>
            <a:srgbClr val="F26B43"/>
          </p15:clr>
        </p15:guide>
        <p15:guide id="10" pos="113">
          <p15:clr>
            <a:srgbClr val="F26B43"/>
          </p15:clr>
        </p15:guide>
        <p15:guide id="11" pos="340">
          <p15:clr>
            <a:srgbClr val="F26B43"/>
          </p15:clr>
        </p15:guide>
        <p15:guide id="12" pos="1457">
          <p15:clr>
            <a:srgbClr val="F26B43"/>
          </p15:clr>
        </p15:guide>
        <p15:guide id="13" pos="1511">
          <p15:clr>
            <a:srgbClr val="F26B43"/>
          </p15:clr>
        </p15:guide>
        <p15:guide id="14" pos="4251">
          <p15:clr>
            <a:srgbClr val="F26B43"/>
          </p15:clr>
        </p15:guide>
        <p15:guide id="15" pos="4304">
          <p15:clr>
            <a:srgbClr val="F26B43"/>
          </p15:clr>
        </p15:guide>
        <p15:guide id="16" orient="horz" pos="342">
          <p15:clr>
            <a:srgbClr val="F26B43"/>
          </p15:clr>
        </p15:guide>
        <p15:guide id="18" orient="horz" pos="456">
          <p15:clr>
            <a:srgbClr val="F26B43"/>
          </p15:clr>
        </p15:guide>
        <p15:guide id="19" orient="horz" pos="569">
          <p15:clr>
            <a:srgbClr val="F26B43"/>
          </p15:clr>
        </p15:guide>
        <p15:guide id="20" pos="1919">
          <p15:clr>
            <a:srgbClr val="F26B43"/>
          </p15:clr>
        </p15:guide>
        <p15:guide id="21" pos="1976">
          <p15:clr>
            <a:srgbClr val="F26B43"/>
          </p15:clr>
        </p15:guide>
        <p15:guide id="22" pos="3783">
          <p15:clr>
            <a:srgbClr val="F26B43"/>
          </p15:clr>
        </p15:guide>
        <p15:guide id="23" pos="3840">
          <p15:clr>
            <a:srgbClr val="F26B43"/>
          </p15:clr>
        </p15:guide>
        <p15:guide id="24" orient="horz" pos="165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2" name="Groupe 21"/>
          <p:cNvGrpSpPr>
            <a:grpSpLocks noChangeAspect="1"/>
          </p:cNvGrpSpPr>
          <p:nvPr userDrawn="1"/>
        </p:nvGrpSpPr>
        <p:grpSpPr>
          <a:xfrm>
            <a:off x="7343775" y="6266213"/>
            <a:ext cx="1620000" cy="225884"/>
            <a:chOff x="7712075" y="4803775"/>
            <a:chExt cx="1214438" cy="127001"/>
          </a:xfrm>
        </p:grpSpPr>
        <p:sp>
          <p:nvSpPr>
            <p:cNvPr id="7" name="Freeform 5"/>
            <p:cNvSpPr>
              <a:spLocks/>
            </p:cNvSpPr>
            <p:nvPr userDrawn="1"/>
          </p:nvSpPr>
          <p:spPr bwMode="auto">
            <a:xfrm>
              <a:off x="7712075" y="4803775"/>
              <a:ext cx="80963" cy="127000"/>
            </a:xfrm>
            <a:custGeom>
              <a:avLst/>
              <a:gdLst>
                <a:gd name="T0" fmla="*/ 105 w 153"/>
                <a:gd name="T1" fmla="*/ 73 h 240"/>
                <a:gd name="T2" fmla="*/ 103 w 153"/>
                <a:gd name="T3" fmla="*/ 60 h 240"/>
                <a:gd name="T4" fmla="*/ 99 w 153"/>
                <a:gd name="T5" fmla="*/ 48 h 240"/>
                <a:gd name="T6" fmla="*/ 90 w 153"/>
                <a:gd name="T7" fmla="*/ 37 h 240"/>
                <a:gd name="T8" fmla="*/ 78 w 153"/>
                <a:gd name="T9" fmla="*/ 34 h 240"/>
                <a:gd name="T10" fmla="*/ 71 w 153"/>
                <a:gd name="T11" fmla="*/ 35 h 240"/>
                <a:gd name="T12" fmla="*/ 64 w 153"/>
                <a:gd name="T13" fmla="*/ 38 h 240"/>
                <a:gd name="T14" fmla="*/ 59 w 153"/>
                <a:gd name="T15" fmla="*/ 45 h 240"/>
                <a:gd name="T16" fmla="*/ 51 w 153"/>
                <a:gd name="T17" fmla="*/ 64 h 240"/>
                <a:gd name="T18" fmla="*/ 47 w 153"/>
                <a:gd name="T19" fmla="*/ 95 h 240"/>
                <a:gd name="T20" fmla="*/ 47 w 153"/>
                <a:gd name="T21" fmla="*/ 115 h 240"/>
                <a:gd name="T22" fmla="*/ 48 w 153"/>
                <a:gd name="T23" fmla="*/ 153 h 240"/>
                <a:gd name="T24" fmla="*/ 53 w 153"/>
                <a:gd name="T25" fmla="*/ 181 h 240"/>
                <a:gd name="T26" fmla="*/ 60 w 153"/>
                <a:gd name="T27" fmla="*/ 196 h 240"/>
                <a:gd name="T28" fmla="*/ 66 w 153"/>
                <a:gd name="T29" fmla="*/ 203 h 240"/>
                <a:gd name="T30" fmla="*/ 74 w 153"/>
                <a:gd name="T31" fmla="*/ 206 h 240"/>
                <a:gd name="T32" fmla="*/ 79 w 153"/>
                <a:gd name="T33" fmla="*/ 206 h 240"/>
                <a:gd name="T34" fmla="*/ 88 w 153"/>
                <a:gd name="T35" fmla="*/ 204 h 240"/>
                <a:gd name="T36" fmla="*/ 97 w 153"/>
                <a:gd name="T37" fmla="*/ 196 h 240"/>
                <a:gd name="T38" fmla="*/ 104 w 153"/>
                <a:gd name="T39" fmla="*/ 185 h 240"/>
                <a:gd name="T40" fmla="*/ 107 w 153"/>
                <a:gd name="T41" fmla="*/ 169 h 240"/>
                <a:gd name="T42" fmla="*/ 77 w 153"/>
                <a:gd name="T43" fmla="*/ 146 h 240"/>
                <a:gd name="T44" fmla="*/ 153 w 153"/>
                <a:gd name="T45" fmla="*/ 111 h 240"/>
                <a:gd name="T46" fmla="*/ 118 w 153"/>
                <a:gd name="T47" fmla="*/ 236 h 240"/>
                <a:gd name="T48" fmla="*/ 117 w 153"/>
                <a:gd name="T49" fmla="*/ 215 h 240"/>
                <a:gd name="T50" fmla="*/ 113 w 153"/>
                <a:gd name="T51" fmla="*/ 221 h 240"/>
                <a:gd name="T52" fmla="*/ 103 w 153"/>
                <a:gd name="T53" fmla="*/ 231 h 240"/>
                <a:gd name="T54" fmla="*/ 91 w 153"/>
                <a:gd name="T55" fmla="*/ 237 h 240"/>
                <a:gd name="T56" fmla="*/ 77 w 153"/>
                <a:gd name="T57" fmla="*/ 240 h 240"/>
                <a:gd name="T58" fmla="*/ 69 w 153"/>
                <a:gd name="T59" fmla="*/ 240 h 240"/>
                <a:gd name="T60" fmla="*/ 50 w 153"/>
                <a:gd name="T61" fmla="*/ 238 h 240"/>
                <a:gd name="T62" fmla="*/ 33 w 153"/>
                <a:gd name="T63" fmla="*/ 233 h 240"/>
                <a:gd name="T64" fmla="*/ 21 w 153"/>
                <a:gd name="T65" fmla="*/ 223 h 240"/>
                <a:gd name="T66" fmla="*/ 13 w 153"/>
                <a:gd name="T67" fmla="*/ 209 h 240"/>
                <a:gd name="T68" fmla="*/ 6 w 153"/>
                <a:gd name="T69" fmla="*/ 191 h 240"/>
                <a:gd name="T70" fmla="*/ 3 w 153"/>
                <a:gd name="T71" fmla="*/ 170 h 240"/>
                <a:gd name="T72" fmla="*/ 0 w 153"/>
                <a:gd name="T73" fmla="*/ 117 h 240"/>
                <a:gd name="T74" fmla="*/ 1 w 153"/>
                <a:gd name="T75" fmla="*/ 90 h 240"/>
                <a:gd name="T76" fmla="*/ 4 w 153"/>
                <a:gd name="T77" fmla="*/ 66 h 240"/>
                <a:gd name="T78" fmla="*/ 9 w 153"/>
                <a:gd name="T79" fmla="*/ 46 h 240"/>
                <a:gd name="T80" fmla="*/ 16 w 153"/>
                <a:gd name="T81" fmla="*/ 29 h 240"/>
                <a:gd name="T82" fmla="*/ 27 w 153"/>
                <a:gd name="T83" fmla="*/ 16 h 240"/>
                <a:gd name="T84" fmla="*/ 40 w 153"/>
                <a:gd name="T85" fmla="*/ 7 h 240"/>
                <a:gd name="T86" fmla="*/ 58 w 153"/>
                <a:gd name="T87" fmla="*/ 2 h 240"/>
                <a:gd name="T88" fmla="*/ 78 w 153"/>
                <a:gd name="T89" fmla="*/ 0 h 240"/>
                <a:gd name="T90" fmla="*/ 87 w 153"/>
                <a:gd name="T91" fmla="*/ 0 h 240"/>
                <a:gd name="T92" fmla="*/ 103 w 153"/>
                <a:gd name="T93" fmla="*/ 2 h 240"/>
                <a:gd name="T94" fmla="*/ 117 w 153"/>
                <a:gd name="T95" fmla="*/ 7 h 240"/>
                <a:gd name="T96" fmla="*/ 129 w 153"/>
                <a:gd name="T97" fmla="*/ 14 h 240"/>
                <a:gd name="T98" fmla="*/ 137 w 153"/>
                <a:gd name="T99" fmla="*/ 23 h 240"/>
                <a:gd name="T100" fmla="*/ 144 w 153"/>
                <a:gd name="T101" fmla="*/ 35 h 240"/>
                <a:gd name="T102" fmla="*/ 148 w 153"/>
                <a:gd name="T103" fmla="*/ 49 h 240"/>
                <a:gd name="T104" fmla="*/ 150 w 153"/>
                <a:gd name="T105" fmla="*/ 7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3" h="240">
                  <a:moveTo>
                    <a:pt x="105" y="73"/>
                  </a:moveTo>
                  <a:lnTo>
                    <a:pt x="105" y="73"/>
                  </a:lnTo>
                  <a:lnTo>
                    <a:pt x="104" y="67"/>
                  </a:lnTo>
                  <a:lnTo>
                    <a:pt x="103" y="60"/>
                  </a:lnTo>
                  <a:lnTo>
                    <a:pt x="101" y="53"/>
                  </a:lnTo>
                  <a:lnTo>
                    <a:pt x="99" y="48"/>
                  </a:lnTo>
                  <a:lnTo>
                    <a:pt x="95" y="42"/>
                  </a:lnTo>
                  <a:lnTo>
                    <a:pt x="90" y="37"/>
                  </a:lnTo>
                  <a:lnTo>
                    <a:pt x="85" y="35"/>
                  </a:lnTo>
                  <a:lnTo>
                    <a:pt x="78" y="34"/>
                  </a:lnTo>
                  <a:lnTo>
                    <a:pt x="78" y="34"/>
                  </a:lnTo>
                  <a:lnTo>
                    <a:pt x="71" y="35"/>
                  </a:lnTo>
                  <a:lnTo>
                    <a:pt x="67" y="36"/>
                  </a:lnTo>
                  <a:lnTo>
                    <a:pt x="64" y="38"/>
                  </a:lnTo>
                  <a:lnTo>
                    <a:pt x="61" y="42"/>
                  </a:lnTo>
                  <a:lnTo>
                    <a:pt x="59" y="45"/>
                  </a:lnTo>
                  <a:lnTo>
                    <a:pt x="54" y="53"/>
                  </a:lnTo>
                  <a:lnTo>
                    <a:pt x="51" y="64"/>
                  </a:lnTo>
                  <a:lnTo>
                    <a:pt x="49" y="78"/>
                  </a:lnTo>
                  <a:lnTo>
                    <a:pt x="47" y="95"/>
                  </a:lnTo>
                  <a:lnTo>
                    <a:pt x="47" y="115"/>
                  </a:lnTo>
                  <a:lnTo>
                    <a:pt x="47" y="115"/>
                  </a:lnTo>
                  <a:lnTo>
                    <a:pt x="47" y="135"/>
                  </a:lnTo>
                  <a:lnTo>
                    <a:pt x="48" y="153"/>
                  </a:lnTo>
                  <a:lnTo>
                    <a:pt x="50" y="168"/>
                  </a:lnTo>
                  <a:lnTo>
                    <a:pt x="53" y="181"/>
                  </a:lnTo>
                  <a:lnTo>
                    <a:pt x="57" y="192"/>
                  </a:lnTo>
                  <a:lnTo>
                    <a:pt x="60" y="196"/>
                  </a:lnTo>
                  <a:lnTo>
                    <a:pt x="63" y="199"/>
                  </a:lnTo>
                  <a:lnTo>
                    <a:pt x="66" y="203"/>
                  </a:lnTo>
                  <a:lnTo>
                    <a:pt x="70" y="205"/>
                  </a:lnTo>
                  <a:lnTo>
                    <a:pt x="74" y="206"/>
                  </a:lnTo>
                  <a:lnTo>
                    <a:pt x="79" y="206"/>
                  </a:lnTo>
                  <a:lnTo>
                    <a:pt x="79" y="206"/>
                  </a:lnTo>
                  <a:lnTo>
                    <a:pt x="83" y="206"/>
                  </a:lnTo>
                  <a:lnTo>
                    <a:pt x="88" y="204"/>
                  </a:lnTo>
                  <a:lnTo>
                    <a:pt x="93" y="201"/>
                  </a:lnTo>
                  <a:lnTo>
                    <a:pt x="97" y="196"/>
                  </a:lnTo>
                  <a:lnTo>
                    <a:pt x="101" y="191"/>
                  </a:lnTo>
                  <a:lnTo>
                    <a:pt x="104" y="185"/>
                  </a:lnTo>
                  <a:lnTo>
                    <a:pt x="107" y="178"/>
                  </a:lnTo>
                  <a:lnTo>
                    <a:pt x="107" y="169"/>
                  </a:lnTo>
                  <a:lnTo>
                    <a:pt x="107" y="146"/>
                  </a:lnTo>
                  <a:lnTo>
                    <a:pt x="77" y="146"/>
                  </a:lnTo>
                  <a:lnTo>
                    <a:pt x="77" y="111"/>
                  </a:lnTo>
                  <a:lnTo>
                    <a:pt x="153" y="111"/>
                  </a:lnTo>
                  <a:lnTo>
                    <a:pt x="153" y="236"/>
                  </a:lnTo>
                  <a:lnTo>
                    <a:pt x="118" y="236"/>
                  </a:lnTo>
                  <a:lnTo>
                    <a:pt x="118" y="215"/>
                  </a:lnTo>
                  <a:lnTo>
                    <a:pt x="117" y="215"/>
                  </a:lnTo>
                  <a:lnTo>
                    <a:pt x="117" y="215"/>
                  </a:lnTo>
                  <a:lnTo>
                    <a:pt x="113" y="221"/>
                  </a:lnTo>
                  <a:lnTo>
                    <a:pt x="108" y="226"/>
                  </a:lnTo>
                  <a:lnTo>
                    <a:pt x="103" y="231"/>
                  </a:lnTo>
                  <a:lnTo>
                    <a:pt x="97" y="234"/>
                  </a:lnTo>
                  <a:lnTo>
                    <a:pt x="91" y="237"/>
                  </a:lnTo>
                  <a:lnTo>
                    <a:pt x="84" y="239"/>
                  </a:lnTo>
                  <a:lnTo>
                    <a:pt x="77" y="240"/>
                  </a:lnTo>
                  <a:lnTo>
                    <a:pt x="69" y="240"/>
                  </a:lnTo>
                  <a:lnTo>
                    <a:pt x="69" y="240"/>
                  </a:lnTo>
                  <a:lnTo>
                    <a:pt x="59" y="240"/>
                  </a:lnTo>
                  <a:lnTo>
                    <a:pt x="50" y="238"/>
                  </a:lnTo>
                  <a:lnTo>
                    <a:pt x="41" y="236"/>
                  </a:lnTo>
                  <a:lnTo>
                    <a:pt x="33" y="233"/>
                  </a:lnTo>
                  <a:lnTo>
                    <a:pt x="27" y="228"/>
                  </a:lnTo>
                  <a:lnTo>
                    <a:pt x="21" y="223"/>
                  </a:lnTo>
                  <a:lnTo>
                    <a:pt x="17" y="217"/>
                  </a:lnTo>
                  <a:lnTo>
                    <a:pt x="13" y="209"/>
                  </a:lnTo>
                  <a:lnTo>
                    <a:pt x="9" y="201"/>
                  </a:lnTo>
                  <a:lnTo>
                    <a:pt x="6" y="191"/>
                  </a:lnTo>
                  <a:lnTo>
                    <a:pt x="4" y="181"/>
                  </a:lnTo>
                  <a:lnTo>
                    <a:pt x="3" y="170"/>
                  </a:lnTo>
                  <a:lnTo>
                    <a:pt x="1" y="146"/>
                  </a:lnTo>
                  <a:lnTo>
                    <a:pt x="0" y="117"/>
                  </a:lnTo>
                  <a:lnTo>
                    <a:pt x="0" y="117"/>
                  </a:lnTo>
                  <a:lnTo>
                    <a:pt x="1" y="90"/>
                  </a:lnTo>
                  <a:lnTo>
                    <a:pt x="2" y="78"/>
                  </a:lnTo>
                  <a:lnTo>
                    <a:pt x="4" y="66"/>
                  </a:lnTo>
                  <a:lnTo>
                    <a:pt x="6" y="56"/>
                  </a:lnTo>
                  <a:lnTo>
                    <a:pt x="9" y="46"/>
                  </a:lnTo>
                  <a:lnTo>
                    <a:pt x="12" y="37"/>
                  </a:lnTo>
                  <a:lnTo>
                    <a:pt x="16" y="29"/>
                  </a:lnTo>
                  <a:lnTo>
                    <a:pt x="21" y="22"/>
                  </a:lnTo>
                  <a:lnTo>
                    <a:pt x="27" y="16"/>
                  </a:lnTo>
                  <a:lnTo>
                    <a:pt x="33" y="11"/>
                  </a:lnTo>
                  <a:lnTo>
                    <a:pt x="40" y="7"/>
                  </a:lnTo>
                  <a:lnTo>
                    <a:pt x="49" y="4"/>
                  </a:lnTo>
                  <a:lnTo>
                    <a:pt x="58" y="2"/>
                  </a:lnTo>
                  <a:lnTo>
                    <a:pt x="67" y="0"/>
                  </a:lnTo>
                  <a:lnTo>
                    <a:pt x="78" y="0"/>
                  </a:lnTo>
                  <a:lnTo>
                    <a:pt x="78" y="0"/>
                  </a:lnTo>
                  <a:lnTo>
                    <a:pt x="87" y="0"/>
                  </a:lnTo>
                  <a:lnTo>
                    <a:pt x="95" y="1"/>
                  </a:lnTo>
                  <a:lnTo>
                    <a:pt x="103" y="2"/>
                  </a:lnTo>
                  <a:lnTo>
                    <a:pt x="110" y="4"/>
                  </a:lnTo>
                  <a:lnTo>
                    <a:pt x="117" y="7"/>
                  </a:lnTo>
                  <a:lnTo>
                    <a:pt x="123" y="10"/>
                  </a:lnTo>
                  <a:lnTo>
                    <a:pt x="129" y="14"/>
                  </a:lnTo>
                  <a:lnTo>
                    <a:pt x="133" y="18"/>
                  </a:lnTo>
                  <a:lnTo>
                    <a:pt x="137" y="23"/>
                  </a:lnTo>
                  <a:lnTo>
                    <a:pt x="141" y="29"/>
                  </a:lnTo>
                  <a:lnTo>
                    <a:pt x="144" y="35"/>
                  </a:lnTo>
                  <a:lnTo>
                    <a:pt x="146" y="42"/>
                  </a:lnTo>
                  <a:lnTo>
                    <a:pt x="148" y="49"/>
                  </a:lnTo>
                  <a:lnTo>
                    <a:pt x="149" y="57"/>
                  </a:lnTo>
                  <a:lnTo>
                    <a:pt x="150" y="73"/>
                  </a:lnTo>
                  <a:lnTo>
                    <a:pt x="105" y="73"/>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9" name="Freeform 6"/>
            <p:cNvSpPr>
              <a:spLocks noEditPoints="1"/>
            </p:cNvSpPr>
            <p:nvPr userDrawn="1"/>
          </p:nvSpPr>
          <p:spPr bwMode="auto">
            <a:xfrm>
              <a:off x="7810500" y="4805363"/>
              <a:ext cx="82550" cy="123825"/>
            </a:xfrm>
            <a:custGeom>
              <a:avLst/>
              <a:gdLst>
                <a:gd name="T0" fmla="*/ 86 w 157"/>
                <a:gd name="T1" fmla="*/ 0 h 232"/>
                <a:gd name="T2" fmla="*/ 99 w 157"/>
                <a:gd name="T3" fmla="*/ 1 h 232"/>
                <a:gd name="T4" fmla="*/ 123 w 157"/>
                <a:gd name="T5" fmla="*/ 9 h 232"/>
                <a:gd name="T6" fmla="*/ 131 w 157"/>
                <a:gd name="T7" fmla="*/ 15 h 232"/>
                <a:gd name="T8" fmla="*/ 138 w 157"/>
                <a:gd name="T9" fmla="*/ 23 h 232"/>
                <a:gd name="T10" fmla="*/ 143 w 157"/>
                <a:gd name="T11" fmla="*/ 33 h 232"/>
                <a:gd name="T12" fmla="*/ 147 w 157"/>
                <a:gd name="T13" fmla="*/ 46 h 232"/>
                <a:gd name="T14" fmla="*/ 148 w 157"/>
                <a:gd name="T15" fmla="*/ 60 h 232"/>
                <a:gd name="T16" fmla="*/ 145 w 157"/>
                <a:gd name="T17" fmla="*/ 81 h 232"/>
                <a:gd name="T18" fmla="*/ 138 w 157"/>
                <a:gd name="T19" fmla="*/ 98 h 232"/>
                <a:gd name="T20" fmla="*/ 126 w 157"/>
                <a:gd name="T21" fmla="*/ 110 h 232"/>
                <a:gd name="T22" fmla="*/ 108 w 157"/>
                <a:gd name="T23" fmla="*/ 118 h 232"/>
                <a:gd name="T24" fmla="*/ 108 w 157"/>
                <a:gd name="T25" fmla="*/ 118 h 232"/>
                <a:gd name="T26" fmla="*/ 128 w 157"/>
                <a:gd name="T27" fmla="*/ 124 h 232"/>
                <a:gd name="T28" fmla="*/ 135 w 157"/>
                <a:gd name="T29" fmla="*/ 129 h 232"/>
                <a:gd name="T30" fmla="*/ 139 w 157"/>
                <a:gd name="T31" fmla="*/ 137 h 232"/>
                <a:gd name="T32" fmla="*/ 145 w 157"/>
                <a:gd name="T33" fmla="*/ 157 h 232"/>
                <a:gd name="T34" fmla="*/ 146 w 157"/>
                <a:gd name="T35" fmla="*/ 188 h 232"/>
                <a:gd name="T36" fmla="*/ 147 w 157"/>
                <a:gd name="T37" fmla="*/ 205 h 232"/>
                <a:gd name="T38" fmla="*/ 150 w 157"/>
                <a:gd name="T39" fmla="*/ 221 h 232"/>
                <a:gd name="T40" fmla="*/ 154 w 157"/>
                <a:gd name="T41" fmla="*/ 228 h 232"/>
                <a:gd name="T42" fmla="*/ 157 w 157"/>
                <a:gd name="T43" fmla="*/ 232 h 232"/>
                <a:gd name="T44" fmla="*/ 106 w 157"/>
                <a:gd name="T45" fmla="*/ 232 h 232"/>
                <a:gd name="T46" fmla="*/ 101 w 157"/>
                <a:gd name="T47" fmla="*/ 221 h 232"/>
                <a:gd name="T48" fmla="*/ 100 w 157"/>
                <a:gd name="T49" fmla="*/ 208 h 232"/>
                <a:gd name="T50" fmla="*/ 99 w 157"/>
                <a:gd name="T51" fmla="*/ 163 h 232"/>
                <a:gd name="T52" fmla="*/ 97 w 157"/>
                <a:gd name="T53" fmla="*/ 151 h 232"/>
                <a:gd name="T54" fmla="*/ 92 w 157"/>
                <a:gd name="T55" fmla="*/ 142 h 232"/>
                <a:gd name="T56" fmla="*/ 83 w 157"/>
                <a:gd name="T57" fmla="*/ 136 h 232"/>
                <a:gd name="T58" fmla="*/ 71 w 157"/>
                <a:gd name="T59" fmla="*/ 134 h 232"/>
                <a:gd name="T60" fmla="*/ 47 w 157"/>
                <a:gd name="T61" fmla="*/ 232 h 232"/>
                <a:gd name="T62" fmla="*/ 0 w 157"/>
                <a:gd name="T63" fmla="*/ 0 h 232"/>
                <a:gd name="T64" fmla="*/ 66 w 157"/>
                <a:gd name="T65" fmla="*/ 101 h 232"/>
                <a:gd name="T66" fmla="*/ 74 w 157"/>
                <a:gd name="T67" fmla="*/ 101 h 232"/>
                <a:gd name="T68" fmla="*/ 87 w 157"/>
                <a:gd name="T69" fmla="*/ 97 h 232"/>
                <a:gd name="T70" fmla="*/ 95 w 157"/>
                <a:gd name="T71" fmla="*/ 89 h 232"/>
                <a:gd name="T72" fmla="*/ 100 w 157"/>
                <a:gd name="T73" fmla="*/ 75 h 232"/>
                <a:gd name="T74" fmla="*/ 100 w 157"/>
                <a:gd name="T75" fmla="*/ 67 h 232"/>
                <a:gd name="T76" fmla="*/ 98 w 157"/>
                <a:gd name="T77" fmla="*/ 53 h 232"/>
                <a:gd name="T78" fmla="*/ 92 w 157"/>
                <a:gd name="T79" fmla="*/ 43 h 232"/>
                <a:gd name="T80" fmla="*/ 82 w 157"/>
                <a:gd name="T81" fmla="*/ 37 h 232"/>
                <a:gd name="T82" fmla="*/ 68 w 157"/>
                <a:gd name="T83" fmla="*/ 34 h 232"/>
                <a:gd name="T84" fmla="*/ 47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6" y="0"/>
                  </a:lnTo>
                  <a:lnTo>
                    <a:pt x="86" y="0"/>
                  </a:lnTo>
                  <a:lnTo>
                    <a:pt x="99" y="1"/>
                  </a:lnTo>
                  <a:lnTo>
                    <a:pt x="112" y="4"/>
                  </a:lnTo>
                  <a:lnTo>
                    <a:pt x="123" y="9"/>
                  </a:lnTo>
                  <a:lnTo>
                    <a:pt x="127" y="12"/>
                  </a:lnTo>
                  <a:lnTo>
                    <a:pt x="131" y="15"/>
                  </a:lnTo>
                  <a:lnTo>
                    <a:pt x="135" y="19"/>
                  </a:lnTo>
                  <a:lnTo>
                    <a:pt x="138" y="23"/>
                  </a:lnTo>
                  <a:lnTo>
                    <a:pt x="141" y="28"/>
                  </a:lnTo>
                  <a:lnTo>
                    <a:pt x="143" y="33"/>
                  </a:lnTo>
                  <a:lnTo>
                    <a:pt x="145" y="40"/>
                  </a:lnTo>
                  <a:lnTo>
                    <a:pt x="147" y="46"/>
                  </a:lnTo>
                  <a:lnTo>
                    <a:pt x="148" y="60"/>
                  </a:lnTo>
                  <a:lnTo>
                    <a:pt x="148" y="60"/>
                  </a:lnTo>
                  <a:lnTo>
                    <a:pt x="147" y="71"/>
                  </a:lnTo>
                  <a:lnTo>
                    <a:pt x="145" y="81"/>
                  </a:lnTo>
                  <a:lnTo>
                    <a:pt x="142" y="90"/>
                  </a:lnTo>
                  <a:lnTo>
                    <a:pt x="138" y="98"/>
                  </a:lnTo>
                  <a:lnTo>
                    <a:pt x="133" y="104"/>
                  </a:lnTo>
                  <a:lnTo>
                    <a:pt x="126" y="110"/>
                  </a:lnTo>
                  <a:lnTo>
                    <a:pt x="119" y="114"/>
                  </a:lnTo>
                  <a:lnTo>
                    <a:pt x="108" y="118"/>
                  </a:lnTo>
                  <a:lnTo>
                    <a:pt x="108" y="118"/>
                  </a:lnTo>
                  <a:lnTo>
                    <a:pt x="108" y="118"/>
                  </a:lnTo>
                  <a:lnTo>
                    <a:pt x="120" y="120"/>
                  </a:lnTo>
                  <a:lnTo>
                    <a:pt x="128" y="124"/>
                  </a:lnTo>
                  <a:lnTo>
                    <a:pt x="132" y="126"/>
                  </a:lnTo>
                  <a:lnTo>
                    <a:pt x="135" y="129"/>
                  </a:lnTo>
                  <a:lnTo>
                    <a:pt x="137" y="133"/>
                  </a:lnTo>
                  <a:lnTo>
                    <a:pt x="139" y="137"/>
                  </a:lnTo>
                  <a:lnTo>
                    <a:pt x="143" y="146"/>
                  </a:lnTo>
                  <a:lnTo>
                    <a:pt x="145" y="157"/>
                  </a:lnTo>
                  <a:lnTo>
                    <a:pt x="146" y="171"/>
                  </a:lnTo>
                  <a:lnTo>
                    <a:pt x="146" y="188"/>
                  </a:lnTo>
                  <a:lnTo>
                    <a:pt x="146" y="188"/>
                  </a:lnTo>
                  <a:lnTo>
                    <a:pt x="147" y="205"/>
                  </a:lnTo>
                  <a:lnTo>
                    <a:pt x="148" y="217"/>
                  </a:lnTo>
                  <a:lnTo>
                    <a:pt x="150" y="221"/>
                  </a:lnTo>
                  <a:lnTo>
                    <a:pt x="151" y="225"/>
                  </a:lnTo>
                  <a:lnTo>
                    <a:pt x="154" y="228"/>
                  </a:lnTo>
                  <a:lnTo>
                    <a:pt x="157" y="230"/>
                  </a:lnTo>
                  <a:lnTo>
                    <a:pt x="157" y="232"/>
                  </a:lnTo>
                  <a:lnTo>
                    <a:pt x="106" y="232"/>
                  </a:lnTo>
                  <a:lnTo>
                    <a:pt x="106" y="232"/>
                  </a:lnTo>
                  <a:lnTo>
                    <a:pt x="103" y="227"/>
                  </a:lnTo>
                  <a:lnTo>
                    <a:pt x="101" y="221"/>
                  </a:lnTo>
                  <a:lnTo>
                    <a:pt x="100" y="215"/>
                  </a:lnTo>
                  <a:lnTo>
                    <a:pt x="100" y="208"/>
                  </a:lnTo>
                  <a:lnTo>
                    <a:pt x="99" y="163"/>
                  </a:lnTo>
                  <a:lnTo>
                    <a:pt x="99" y="163"/>
                  </a:lnTo>
                  <a:lnTo>
                    <a:pt x="98" y="157"/>
                  </a:lnTo>
                  <a:lnTo>
                    <a:pt x="97" y="151"/>
                  </a:lnTo>
                  <a:lnTo>
                    <a:pt x="95" y="146"/>
                  </a:lnTo>
                  <a:lnTo>
                    <a:pt x="92" y="142"/>
                  </a:lnTo>
                  <a:lnTo>
                    <a:pt x="88" y="139"/>
                  </a:lnTo>
                  <a:lnTo>
                    <a:pt x="83" y="136"/>
                  </a:lnTo>
                  <a:lnTo>
                    <a:pt x="78" y="135"/>
                  </a:lnTo>
                  <a:lnTo>
                    <a:pt x="71" y="134"/>
                  </a:lnTo>
                  <a:lnTo>
                    <a:pt x="47" y="134"/>
                  </a:lnTo>
                  <a:lnTo>
                    <a:pt x="47" y="232"/>
                  </a:lnTo>
                  <a:lnTo>
                    <a:pt x="0" y="232"/>
                  </a:lnTo>
                  <a:lnTo>
                    <a:pt x="0" y="0"/>
                  </a:lnTo>
                  <a:close/>
                  <a:moveTo>
                    <a:pt x="47" y="101"/>
                  </a:moveTo>
                  <a:lnTo>
                    <a:pt x="66" y="101"/>
                  </a:lnTo>
                  <a:lnTo>
                    <a:pt x="66" y="101"/>
                  </a:lnTo>
                  <a:lnTo>
                    <a:pt x="74" y="101"/>
                  </a:lnTo>
                  <a:lnTo>
                    <a:pt x="81" y="99"/>
                  </a:lnTo>
                  <a:lnTo>
                    <a:pt x="87" y="97"/>
                  </a:lnTo>
                  <a:lnTo>
                    <a:pt x="91" y="93"/>
                  </a:lnTo>
                  <a:lnTo>
                    <a:pt x="95" y="89"/>
                  </a:lnTo>
                  <a:lnTo>
                    <a:pt x="98" y="83"/>
                  </a:lnTo>
                  <a:lnTo>
                    <a:pt x="100" y="75"/>
                  </a:lnTo>
                  <a:lnTo>
                    <a:pt x="100" y="67"/>
                  </a:lnTo>
                  <a:lnTo>
                    <a:pt x="100" y="67"/>
                  </a:lnTo>
                  <a:lnTo>
                    <a:pt x="100" y="59"/>
                  </a:lnTo>
                  <a:lnTo>
                    <a:pt x="98" y="53"/>
                  </a:lnTo>
                  <a:lnTo>
                    <a:pt x="96" y="48"/>
                  </a:lnTo>
                  <a:lnTo>
                    <a:pt x="92" y="43"/>
                  </a:lnTo>
                  <a:lnTo>
                    <a:pt x="88" y="40"/>
                  </a:lnTo>
                  <a:lnTo>
                    <a:pt x="82" y="37"/>
                  </a:lnTo>
                  <a:lnTo>
                    <a:pt x="76" y="35"/>
                  </a:lnTo>
                  <a:lnTo>
                    <a:pt x="68" y="34"/>
                  </a:lnTo>
                  <a:lnTo>
                    <a:pt x="47" y="34"/>
                  </a:lnTo>
                  <a:lnTo>
                    <a:pt x="47" y="101"/>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0" name="Freeform 7"/>
            <p:cNvSpPr>
              <a:spLocks noEditPoints="1"/>
            </p:cNvSpPr>
            <p:nvPr userDrawn="1"/>
          </p:nvSpPr>
          <p:spPr bwMode="auto">
            <a:xfrm>
              <a:off x="7904163" y="4803775"/>
              <a:ext cx="84138" cy="127000"/>
            </a:xfrm>
            <a:custGeom>
              <a:avLst/>
              <a:gdLst>
                <a:gd name="T0" fmla="*/ 79 w 158"/>
                <a:gd name="T1" fmla="*/ 0 h 240"/>
                <a:gd name="T2" fmla="*/ 102 w 158"/>
                <a:gd name="T3" fmla="*/ 2 h 240"/>
                <a:gd name="T4" fmla="*/ 122 w 158"/>
                <a:gd name="T5" fmla="*/ 8 h 240"/>
                <a:gd name="T6" fmla="*/ 135 w 158"/>
                <a:gd name="T7" fmla="*/ 19 h 240"/>
                <a:gd name="T8" fmla="*/ 145 w 158"/>
                <a:gd name="T9" fmla="*/ 33 h 240"/>
                <a:gd name="T10" fmla="*/ 152 w 158"/>
                <a:gd name="T11" fmla="*/ 51 h 240"/>
                <a:gd name="T12" fmla="*/ 156 w 158"/>
                <a:gd name="T13" fmla="*/ 72 h 240"/>
                <a:gd name="T14" fmla="*/ 158 w 158"/>
                <a:gd name="T15" fmla="*/ 121 h 240"/>
                <a:gd name="T16" fmla="*/ 158 w 158"/>
                <a:gd name="T17" fmla="*/ 146 h 240"/>
                <a:gd name="T18" fmla="*/ 154 w 158"/>
                <a:gd name="T19" fmla="*/ 179 h 240"/>
                <a:gd name="T20" fmla="*/ 149 w 158"/>
                <a:gd name="T21" fmla="*/ 198 h 240"/>
                <a:gd name="T22" fmla="*/ 141 w 158"/>
                <a:gd name="T23" fmla="*/ 215 h 240"/>
                <a:gd name="T24" fmla="*/ 129 w 158"/>
                <a:gd name="T25" fmla="*/ 227 h 240"/>
                <a:gd name="T26" fmla="*/ 113 w 158"/>
                <a:gd name="T27" fmla="*/ 235 h 240"/>
                <a:gd name="T28" fmla="*/ 92 w 158"/>
                <a:gd name="T29" fmla="*/ 240 h 240"/>
                <a:gd name="T30" fmla="*/ 79 w 158"/>
                <a:gd name="T31" fmla="*/ 240 h 240"/>
                <a:gd name="T32" fmla="*/ 56 w 158"/>
                <a:gd name="T33" fmla="*/ 238 h 240"/>
                <a:gd name="T34" fmla="*/ 38 w 158"/>
                <a:gd name="T35" fmla="*/ 232 h 240"/>
                <a:gd name="T36" fmla="*/ 24 w 158"/>
                <a:gd name="T37" fmla="*/ 221 h 240"/>
                <a:gd name="T38" fmla="*/ 13 w 158"/>
                <a:gd name="T39" fmla="*/ 207 h 240"/>
                <a:gd name="T40" fmla="*/ 7 w 158"/>
                <a:gd name="T41" fmla="*/ 189 h 240"/>
                <a:gd name="T42" fmla="*/ 3 w 158"/>
                <a:gd name="T43" fmla="*/ 168 h 240"/>
                <a:gd name="T44" fmla="*/ 0 w 158"/>
                <a:gd name="T45" fmla="*/ 121 h 240"/>
                <a:gd name="T46" fmla="*/ 1 w 158"/>
                <a:gd name="T47" fmla="*/ 94 h 240"/>
                <a:gd name="T48" fmla="*/ 5 w 158"/>
                <a:gd name="T49" fmla="*/ 61 h 240"/>
                <a:gd name="T50" fmla="*/ 10 w 158"/>
                <a:gd name="T51" fmla="*/ 42 h 240"/>
                <a:gd name="T52" fmla="*/ 18 w 158"/>
                <a:gd name="T53" fmla="*/ 26 h 240"/>
                <a:gd name="T54" fmla="*/ 31 w 158"/>
                <a:gd name="T55" fmla="*/ 13 h 240"/>
                <a:gd name="T56" fmla="*/ 46 w 158"/>
                <a:gd name="T57" fmla="*/ 5 h 240"/>
                <a:gd name="T58" fmla="*/ 67 w 158"/>
                <a:gd name="T59" fmla="*/ 0 h 240"/>
                <a:gd name="T60" fmla="*/ 79 w 158"/>
                <a:gd name="T61" fmla="*/ 0 h 240"/>
                <a:gd name="T62" fmla="*/ 79 w 158"/>
                <a:gd name="T63" fmla="*/ 206 h 240"/>
                <a:gd name="T64" fmla="*/ 88 w 158"/>
                <a:gd name="T65" fmla="*/ 205 h 240"/>
                <a:gd name="T66" fmla="*/ 96 w 158"/>
                <a:gd name="T67" fmla="*/ 202 h 240"/>
                <a:gd name="T68" fmla="*/ 101 w 158"/>
                <a:gd name="T69" fmla="*/ 195 h 240"/>
                <a:gd name="T70" fmla="*/ 106 w 158"/>
                <a:gd name="T71" fmla="*/ 186 h 240"/>
                <a:gd name="T72" fmla="*/ 111 w 158"/>
                <a:gd name="T73" fmla="*/ 160 h 240"/>
                <a:gd name="T74" fmla="*/ 112 w 158"/>
                <a:gd name="T75" fmla="*/ 121 h 240"/>
                <a:gd name="T76" fmla="*/ 112 w 158"/>
                <a:gd name="T77" fmla="*/ 98 h 240"/>
                <a:gd name="T78" fmla="*/ 109 w 158"/>
                <a:gd name="T79" fmla="*/ 66 h 240"/>
                <a:gd name="T80" fmla="*/ 103 w 158"/>
                <a:gd name="T81" fmla="*/ 49 h 240"/>
                <a:gd name="T82" fmla="*/ 99 w 158"/>
                <a:gd name="T83" fmla="*/ 42 h 240"/>
                <a:gd name="T84" fmla="*/ 92 w 158"/>
                <a:gd name="T85" fmla="*/ 36 h 240"/>
                <a:gd name="T86" fmla="*/ 84 w 158"/>
                <a:gd name="T87" fmla="*/ 34 h 240"/>
                <a:gd name="T88" fmla="*/ 79 w 158"/>
                <a:gd name="T89" fmla="*/ 34 h 240"/>
                <a:gd name="T90" fmla="*/ 70 w 158"/>
                <a:gd name="T91" fmla="*/ 35 h 240"/>
                <a:gd name="T92" fmla="*/ 63 w 158"/>
                <a:gd name="T93" fmla="*/ 38 h 240"/>
                <a:gd name="T94" fmla="*/ 57 w 158"/>
                <a:gd name="T95" fmla="*/ 45 h 240"/>
                <a:gd name="T96" fmla="*/ 53 w 158"/>
                <a:gd name="T97" fmla="*/ 54 h 240"/>
                <a:gd name="T98" fmla="*/ 49 w 158"/>
                <a:gd name="T99" fmla="*/ 80 h 240"/>
                <a:gd name="T100" fmla="*/ 48 w 158"/>
                <a:gd name="T101" fmla="*/ 121 h 240"/>
                <a:gd name="T102" fmla="*/ 48 w 158"/>
                <a:gd name="T103" fmla="*/ 142 h 240"/>
                <a:gd name="T104" fmla="*/ 50 w 158"/>
                <a:gd name="T105" fmla="*/ 174 h 240"/>
                <a:gd name="T106" fmla="*/ 55 w 158"/>
                <a:gd name="T107" fmla="*/ 191 h 240"/>
                <a:gd name="T108" fmla="*/ 60 w 158"/>
                <a:gd name="T109" fmla="*/ 198 h 240"/>
                <a:gd name="T110" fmla="*/ 66 w 158"/>
                <a:gd name="T111" fmla="*/ 204 h 240"/>
                <a:gd name="T112" fmla="*/ 74 w 158"/>
                <a:gd name="T113" fmla="*/ 206 h 240"/>
                <a:gd name="T114" fmla="*/ 79 w 158"/>
                <a:gd name="T115" fmla="*/ 2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240">
                  <a:moveTo>
                    <a:pt x="79" y="0"/>
                  </a:moveTo>
                  <a:lnTo>
                    <a:pt x="79" y="0"/>
                  </a:lnTo>
                  <a:lnTo>
                    <a:pt x="92" y="0"/>
                  </a:lnTo>
                  <a:lnTo>
                    <a:pt x="102" y="2"/>
                  </a:lnTo>
                  <a:lnTo>
                    <a:pt x="113" y="5"/>
                  </a:lnTo>
                  <a:lnTo>
                    <a:pt x="122" y="8"/>
                  </a:lnTo>
                  <a:lnTo>
                    <a:pt x="129" y="13"/>
                  </a:lnTo>
                  <a:lnTo>
                    <a:pt x="135" y="19"/>
                  </a:lnTo>
                  <a:lnTo>
                    <a:pt x="141" y="26"/>
                  </a:lnTo>
                  <a:lnTo>
                    <a:pt x="145" y="33"/>
                  </a:lnTo>
                  <a:lnTo>
                    <a:pt x="149" y="42"/>
                  </a:lnTo>
                  <a:lnTo>
                    <a:pt x="152" y="51"/>
                  </a:lnTo>
                  <a:lnTo>
                    <a:pt x="154" y="61"/>
                  </a:lnTo>
                  <a:lnTo>
                    <a:pt x="156" y="72"/>
                  </a:lnTo>
                  <a:lnTo>
                    <a:pt x="158" y="94"/>
                  </a:lnTo>
                  <a:lnTo>
                    <a:pt x="158" y="121"/>
                  </a:lnTo>
                  <a:lnTo>
                    <a:pt x="158" y="121"/>
                  </a:lnTo>
                  <a:lnTo>
                    <a:pt x="158" y="146"/>
                  </a:lnTo>
                  <a:lnTo>
                    <a:pt x="156" y="168"/>
                  </a:lnTo>
                  <a:lnTo>
                    <a:pt x="154" y="179"/>
                  </a:lnTo>
                  <a:lnTo>
                    <a:pt x="152" y="189"/>
                  </a:lnTo>
                  <a:lnTo>
                    <a:pt x="149" y="198"/>
                  </a:lnTo>
                  <a:lnTo>
                    <a:pt x="145" y="207"/>
                  </a:lnTo>
                  <a:lnTo>
                    <a:pt x="141" y="215"/>
                  </a:lnTo>
                  <a:lnTo>
                    <a:pt x="135" y="221"/>
                  </a:lnTo>
                  <a:lnTo>
                    <a:pt x="129" y="227"/>
                  </a:lnTo>
                  <a:lnTo>
                    <a:pt x="122" y="232"/>
                  </a:lnTo>
                  <a:lnTo>
                    <a:pt x="113" y="235"/>
                  </a:lnTo>
                  <a:lnTo>
                    <a:pt x="102" y="238"/>
                  </a:lnTo>
                  <a:lnTo>
                    <a:pt x="92" y="240"/>
                  </a:lnTo>
                  <a:lnTo>
                    <a:pt x="79" y="240"/>
                  </a:lnTo>
                  <a:lnTo>
                    <a:pt x="79" y="240"/>
                  </a:lnTo>
                  <a:lnTo>
                    <a:pt x="67" y="240"/>
                  </a:lnTo>
                  <a:lnTo>
                    <a:pt x="56" y="238"/>
                  </a:lnTo>
                  <a:lnTo>
                    <a:pt x="46" y="235"/>
                  </a:lnTo>
                  <a:lnTo>
                    <a:pt x="38" y="232"/>
                  </a:lnTo>
                  <a:lnTo>
                    <a:pt x="31" y="227"/>
                  </a:lnTo>
                  <a:lnTo>
                    <a:pt x="24" y="221"/>
                  </a:lnTo>
                  <a:lnTo>
                    <a:pt x="18" y="215"/>
                  </a:lnTo>
                  <a:lnTo>
                    <a:pt x="13" y="207"/>
                  </a:lnTo>
                  <a:lnTo>
                    <a:pt x="10" y="198"/>
                  </a:lnTo>
                  <a:lnTo>
                    <a:pt x="7" y="189"/>
                  </a:lnTo>
                  <a:lnTo>
                    <a:pt x="5" y="179"/>
                  </a:lnTo>
                  <a:lnTo>
                    <a:pt x="3" y="168"/>
                  </a:lnTo>
                  <a:lnTo>
                    <a:pt x="1" y="146"/>
                  </a:lnTo>
                  <a:lnTo>
                    <a:pt x="0" y="121"/>
                  </a:lnTo>
                  <a:lnTo>
                    <a:pt x="0" y="121"/>
                  </a:lnTo>
                  <a:lnTo>
                    <a:pt x="1" y="94"/>
                  </a:lnTo>
                  <a:lnTo>
                    <a:pt x="3" y="72"/>
                  </a:lnTo>
                  <a:lnTo>
                    <a:pt x="5" y="61"/>
                  </a:lnTo>
                  <a:lnTo>
                    <a:pt x="7" y="51"/>
                  </a:lnTo>
                  <a:lnTo>
                    <a:pt x="10" y="42"/>
                  </a:lnTo>
                  <a:lnTo>
                    <a:pt x="13" y="33"/>
                  </a:lnTo>
                  <a:lnTo>
                    <a:pt x="18" y="26"/>
                  </a:lnTo>
                  <a:lnTo>
                    <a:pt x="24" y="19"/>
                  </a:lnTo>
                  <a:lnTo>
                    <a:pt x="31" y="13"/>
                  </a:lnTo>
                  <a:lnTo>
                    <a:pt x="38" y="8"/>
                  </a:lnTo>
                  <a:lnTo>
                    <a:pt x="46" y="5"/>
                  </a:lnTo>
                  <a:lnTo>
                    <a:pt x="56" y="2"/>
                  </a:lnTo>
                  <a:lnTo>
                    <a:pt x="67" y="0"/>
                  </a:lnTo>
                  <a:lnTo>
                    <a:pt x="79" y="0"/>
                  </a:lnTo>
                  <a:lnTo>
                    <a:pt x="79" y="0"/>
                  </a:lnTo>
                  <a:close/>
                  <a:moveTo>
                    <a:pt x="79" y="206"/>
                  </a:moveTo>
                  <a:lnTo>
                    <a:pt x="79" y="206"/>
                  </a:lnTo>
                  <a:lnTo>
                    <a:pt x="84" y="206"/>
                  </a:lnTo>
                  <a:lnTo>
                    <a:pt x="88" y="205"/>
                  </a:lnTo>
                  <a:lnTo>
                    <a:pt x="92" y="204"/>
                  </a:lnTo>
                  <a:lnTo>
                    <a:pt x="96" y="202"/>
                  </a:lnTo>
                  <a:lnTo>
                    <a:pt x="99" y="198"/>
                  </a:lnTo>
                  <a:lnTo>
                    <a:pt x="101" y="195"/>
                  </a:lnTo>
                  <a:lnTo>
                    <a:pt x="103" y="191"/>
                  </a:lnTo>
                  <a:lnTo>
                    <a:pt x="106" y="186"/>
                  </a:lnTo>
                  <a:lnTo>
                    <a:pt x="109" y="174"/>
                  </a:lnTo>
                  <a:lnTo>
                    <a:pt x="111" y="160"/>
                  </a:lnTo>
                  <a:lnTo>
                    <a:pt x="112" y="142"/>
                  </a:lnTo>
                  <a:lnTo>
                    <a:pt x="112" y="121"/>
                  </a:lnTo>
                  <a:lnTo>
                    <a:pt x="112" y="121"/>
                  </a:lnTo>
                  <a:lnTo>
                    <a:pt x="112" y="98"/>
                  </a:lnTo>
                  <a:lnTo>
                    <a:pt x="111" y="80"/>
                  </a:lnTo>
                  <a:lnTo>
                    <a:pt x="109" y="66"/>
                  </a:lnTo>
                  <a:lnTo>
                    <a:pt x="106" y="54"/>
                  </a:lnTo>
                  <a:lnTo>
                    <a:pt x="103" y="49"/>
                  </a:lnTo>
                  <a:lnTo>
                    <a:pt x="101" y="45"/>
                  </a:lnTo>
                  <a:lnTo>
                    <a:pt x="99" y="42"/>
                  </a:lnTo>
                  <a:lnTo>
                    <a:pt x="96" y="38"/>
                  </a:lnTo>
                  <a:lnTo>
                    <a:pt x="92" y="36"/>
                  </a:lnTo>
                  <a:lnTo>
                    <a:pt x="88" y="35"/>
                  </a:lnTo>
                  <a:lnTo>
                    <a:pt x="84" y="34"/>
                  </a:lnTo>
                  <a:lnTo>
                    <a:pt x="79" y="34"/>
                  </a:lnTo>
                  <a:lnTo>
                    <a:pt x="79" y="34"/>
                  </a:lnTo>
                  <a:lnTo>
                    <a:pt x="74" y="34"/>
                  </a:lnTo>
                  <a:lnTo>
                    <a:pt x="70" y="35"/>
                  </a:lnTo>
                  <a:lnTo>
                    <a:pt x="66" y="36"/>
                  </a:lnTo>
                  <a:lnTo>
                    <a:pt x="63" y="38"/>
                  </a:lnTo>
                  <a:lnTo>
                    <a:pt x="60" y="42"/>
                  </a:lnTo>
                  <a:lnTo>
                    <a:pt x="57" y="45"/>
                  </a:lnTo>
                  <a:lnTo>
                    <a:pt x="55" y="49"/>
                  </a:lnTo>
                  <a:lnTo>
                    <a:pt x="53" y="54"/>
                  </a:lnTo>
                  <a:lnTo>
                    <a:pt x="50" y="66"/>
                  </a:lnTo>
                  <a:lnTo>
                    <a:pt x="49" y="80"/>
                  </a:lnTo>
                  <a:lnTo>
                    <a:pt x="48" y="98"/>
                  </a:lnTo>
                  <a:lnTo>
                    <a:pt x="48" y="121"/>
                  </a:lnTo>
                  <a:lnTo>
                    <a:pt x="48" y="121"/>
                  </a:lnTo>
                  <a:lnTo>
                    <a:pt x="48" y="142"/>
                  </a:lnTo>
                  <a:lnTo>
                    <a:pt x="49" y="160"/>
                  </a:lnTo>
                  <a:lnTo>
                    <a:pt x="50" y="174"/>
                  </a:lnTo>
                  <a:lnTo>
                    <a:pt x="53" y="186"/>
                  </a:lnTo>
                  <a:lnTo>
                    <a:pt x="55" y="191"/>
                  </a:lnTo>
                  <a:lnTo>
                    <a:pt x="57" y="195"/>
                  </a:lnTo>
                  <a:lnTo>
                    <a:pt x="60" y="198"/>
                  </a:lnTo>
                  <a:lnTo>
                    <a:pt x="63" y="202"/>
                  </a:lnTo>
                  <a:lnTo>
                    <a:pt x="66" y="204"/>
                  </a:lnTo>
                  <a:lnTo>
                    <a:pt x="70" y="205"/>
                  </a:lnTo>
                  <a:lnTo>
                    <a:pt x="74" y="206"/>
                  </a:lnTo>
                  <a:lnTo>
                    <a:pt x="79" y="206"/>
                  </a:lnTo>
                  <a:lnTo>
                    <a:pt x="79" y="206"/>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1" name="Freeform 8"/>
            <p:cNvSpPr>
              <a:spLocks/>
            </p:cNvSpPr>
            <p:nvPr userDrawn="1"/>
          </p:nvSpPr>
          <p:spPr bwMode="auto">
            <a:xfrm>
              <a:off x="8002588" y="4805363"/>
              <a:ext cx="77788" cy="125413"/>
            </a:xfrm>
            <a:custGeom>
              <a:avLst/>
              <a:gdLst>
                <a:gd name="T0" fmla="*/ 47 w 148"/>
                <a:gd name="T1" fmla="*/ 0 h 236"/>
                <a:gd name="T2" fmla="*/ 47 w 148"/>
                <a:gd name="T3" fmla="*/ 162 h 236"/>
                <a:gd name="T4" fmla="*/ 47 w 148"/>
                <a:gd name="T5" fmla="*/ 162 h 236"/>
                <a:gd name="T6" fmla="*/ 47 w 148"/>
                <a:gd name="T7" fmla="*/ 170 h 236"/>
                <a:gd name="T8" fmla="*/ 48 w 148"/>
                <a:gd name="T9" fmla="*/ 178 h 236"/>
                <a:gd name="T10" fmla="*/ 50 w 148"/>
                <a:gd name="T11" fmla="*/ 184 h 236"/>
                <a:gd name="T12" fmla="*/ 52 w 148"/>
                <a:gd name="T13" fmla="*/ 190 h 236"/>
                <a:gd name="T14" fmla="*/ 56 w 148"/>
                <a:gd name="T15" fmla="*/ 195 h 236"/>
                <a:gd name="T16" fmla="*/ 60 w 148"/>
                <a:gd name="T17" fmla="*/ 199 h 236"/>
                <a:gd name="T18" fmla="*/ 66 w 148"/>
                <a:gd name="T19" fmla="*/ 202 h 236"/>
                <a:gd name="T20" fmla="*/ 74 w 148"/>
                <a:gd name="T21" fmla="*/ 202 h 236"/>
                <a:gd name="T22" fmla="*/ 74 w 148"/>
                <a:gd name="T23" fmla="*/ 202 h 236"/>
                <a:gd name="T24" fmla="*/ 81 w 148"/>
                <a:gd name="T25" fmla="*/ 202 h 236"/>
                <a:gd name="T26" fmla="*/ 87 w 148"/>
                <a:gd name="T27" fmla="*/ 199 h 236"/>
                <a:gd name="T28" fmla="*/ 93 w 148"/>
                <a:gd name="T29" fmla="*/ 195 h 236"/>
                <a:gd name="T30" fmla="*/ 96 w 148"/>
                <a:gd name="T31" fmla="*/ 190 h 236"/>
                <a:gd name="T32" fmla="*/ 99 w 148"/>
                <a:gd name="T33" fmla="*/ 184 h 236"/>
                <a:gd name="T34" fmla="*/ 100 w 148"/>
                <a:gd name="T35" fmla="*/ 178 h 236"/>
                <a:gd name="T36" fmla="*/ 101 w 148"/>
                <a:gd name="T37" fmla="*/ 170 h 236"/>
                <a:gd name="T38" fmla="*/ 102 w 148"/>
                <a:gd name="T39" fmla="*/ 162 h 236"/>
                <a:gd name="T40" fmla="*/ 102 w 148"/>
                <a:gd name="T41" fmla="*/ 0 h 236"/>
                <a:gd name="T42" fmla="*/ 148 w 148"/>
                <a:gd name="T43" fmla="*/ 0 h 236"/>
                <a:gd name="T44" fmla="*/ 148 w 148"/>
                <a:gd name="T45" fmla="*/ 162 h 236"/>
                <a:gd name="T46" fmla="*/ 148 w 148"/>
                <a:gd name="T47" fmla="*/ 162 h 236"/>
                <a:gd name="T48" fmla="*/ 147 w 148"/>
                <a:gd name="T49" fmla="*/ 172 h 236"/>
                <a:gd name="T50" fmla="*/ 146 w 148"/>
                <a:gd name="T51" fmla="*/ 182 h 236"/>
                <a:gd name="T52" fmla="*/ 144 w 148"/>
                <a:gd name="T53" fmla="*/ 190 h 236"/>
                <a:gd name="T54" fmla="*/ 142 w 148"/>
                <a:gd name="T55" fmla="*/ 199 h 236"/>
                <a:gd name="T56" fmla="*/ 138 w 148"/>
                <a:gd name="T57" fmla="*/ 206 h 236"/>
                <a:gd name="T58" fmla="*/ 135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9 w 148"/>
                <a:gd name="T73" fmla="*/ 236 h 236"/>
                <a:gd name="T74" fmla="*/ 74 w 148"/>
                <a:gd name="T75" fmla="*/ 236 h 236"/>
                <a:gd name="T76" fmla="*/ 74 w 148"/>
                <a:gd name="T77" fmla="*/ 236 h 236"/>
                <a:gd name="T78" fmla="*/ 60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7 w 148"/>
                <a:gd name="T97" fmla="*/ 200 h 236"/>
                <a:gd name="T98" fmla="*/ 4 w 148"/>
                <a:gd name="T99" fmla="*/ 191 h 236"/>
                <a:gd name="T100" fmla="*/ 1 w 148"/>
                <a:gd name="T101" fmla="*/ 182 h 236"/>
                <a:gd name="T102" fmla="*/ 0 w 148"/>
                <a:gd name="T103" fmla="*/ 173 h 236"/>
                <a:gd name="T104" fmla="*/ 0 w 148"/>
                <a:gd name="T105" fmla="*/ 162 h 236"/>
                <a:gd name="T106" fmla="*/ 0 w 148"/>
                <a:gd name="T107" fmla="*/ 0 h 236"/>
                <a:gd name="T108" fmla="*/ 47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7" y="0"/>
                  </a:moveTo>
                  <a:lnTo>
                    <a:pt x="47" y="162"/>
                  </a:lnTo>
                  <a:lnTo>
                    <a:pt x="47" y="162"/>
                  </a:lnTo>
                  <a:lnTo>
                    <a:pt x="47" y="170"/>
                  </a:lnTo>
                  <a:lnTo>
                    <a:pt x="48" y="178"/>
                  </a:lnTo>
                  <a:lnTo>
                    <a:pt x="50" y="184"/>
                  </a:lnTo>
                  <a:lnTo>
                    <a:pt x="52" y="190"/>
                  </a:lnTo>
                  <a:lnTo>
                    <a:pt x="56" y="195"/>
                  </a:lnTo>
                  <a:lnTo>
                    <a:pt x="60" y="199"/>
                  </a:lnTo>
                  <a:lnTo>
                    <a:pt x="66" y="202"/>
                  </a:lnTo>
                  <a:lnTo>
                    <a:pt x="74" y="202"/>
                  </a:lnTo>
                  <a:lnTo>
                    <a:pt x="74" y="202"/>
                  </a:lnTo>
                  <a:lnTo>
                    <a:pt x="81" y="202"/>
                  </a:lnTo>
                  <a:lnTo>
                    <a:pt x="87" y="199"/>
                  </a:lnTo>
                  <a:lnTo>
                    <a:pt x="93" y="195"/>
                  </a:lnTo>
                  <a:lnTo>
                    <a:pt x="96" y="190"/>
                  </a:lnTo>
                  <a:lnTo>
                    <a:pt x="99" y="184"/>
                  </a:lnTo>
                  <a:lnTo>
                    <a:pt x="100" y="178"/>
                  </a:lnTo>
                  <a:lnTo>
                    <a:pt x="101" y="170"/>
                  </a:lnTo>
                  <a:lnTo>
                    <a:pt x="102" y="162"/>
                  </a:lnTo>
                  <a:lnTo>
                    <a:pt x="102" y="0"/>
                  </a:lnTo>
                  <a:lnTo>
                    <a:pt x="148" y="0"/>
                  </a:lnTo>
                  <a:lnTo>
                    <a:pt x="148" y="162"/>
                  </a:lnTo>
                  <a:lnTo>
                    <a:pt x="148" y="162"/>
                  </a:lnTo>
                  <a:lnTo>
                    <a:pt x="147" y="172"/>
                  </a:lnTo>
                  <a:lnTo>
                    <a:pt x="146" y="182"/>
                  </a:lnTo>
                  <a:lnTo>
                    <a:pt x="144" y="190"/>
                  </a:lnTo>
                  <a:lnTo>
                    <a:pt x="142" y="199"/>
                  </a:lnTo>
                  <a:lnTo>
                    <a:pt x="138" y="206"/>
                  </a:lnTo>
                  <a:lnTo>
                    <a:pt x="135" y="212"/>
                  </a:lnTo>
                  <a:lnTo>
                    <a:pt x="130" y="217"/>
                  </a:lnTo>
                  <a:lnTo>
                    <a:pt x="125" y="221"/>
                  </a:lnTo>
                  <a:lnTo>
                    <a:pt x="120" y="225"/>
                  </a:lnTo>
                  <a:lnTo>
                    <a:pt x="114" y="228"/>
                  </a:lnTo>
                  <a:lnTo>
                    <a:pt x="108" y="231"/>
                  </a:lnTo>
                  <a:lnTo>
                    <a:pt x="102" y="233"/>
                  </a:lnTo>
                  <a:lnTo>
                    <a:pt x="89" y="236"/>
                  </a:lnTo>
                  <a:lnTo>
                    <a:pt x="74" y="236"/>
                  </a:lnTo>
                  <a:lnTo>
                    <a:pt x="74" y="236"/>
                  </a:lnTo>
                  <a:lnTo>
                    <a:pt x="60" y="236"/>
                  </a:lnTo>
                  <a:lnTo>
                    <a:pt x="46" y="234"/>
                  </a:lnTo>
                  <a:lnTo>
                    <a:pt x="40" y="232"/>
                  </a:lnTo>
                  <a:lnTo>
                    <a:pt x="34" y="229"/>
                  </a:lnTo>
                  <a:lnTo>
                    <a:pt x="28" y="226"/>
                  </a:lnTo>
                  <a:lnTo>
                    <a:pt x="23" y="223"/>
                  </a:lnTo>
                  <a:lnTo>
                    <a:pt x="18" y="218"/>
                  </a:lnTo>
                  <a:lnTo>
                    <a:pt x="14" y="213"/>
                  </a:lnTo>
                  <a:lnTo>
                    <a:pt x="10" y="207"/>
                  </a:lnTo>
                  <a:lnTo>
                    <a:pt x="7" y="200"/>
                  </a:lnTo>
                  <a:lnTo>
                    <a:pt x="4" y="191"/>
                  </a:lnTo>
                  <a:lnTo>
                    <a:pt x="1" y="182"/>
                  </a:lnTo>
                  <a:lnTo>
                    <a:pt x="0" y="173"/>
                  </a:lnTo>
                  <a:lnTo>
                    <a:pt x="0" y="162"/>
                  </a:lnTo>
                  <a:lnTo>
                    <a:pt x="0" y="0"/>
                  </a:lnTo>
                  <a:lnTo>
                    <a:pt x="4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2" name="Freeform 9"/>
            <p:cNvSpPr>
              <a:spLocks noEditPoints="1"/>
            </p:cNvSpPr>
            <p:nvPr userDrawn="1"/>
          </p:nvSpPr>
          <p:spPr bwMode="auto">
            <a:xfrm>
              <a:off x="8101013" y="4805363"/>
              <a:ext cx="76200" cy="123825"/>
            </a:xfrm>
            <a:custGeom>
              <a:avLst/>
              <a:gdLst>
                <a:gd name="T0" fmla="*/ 0 w 144"/>
                <a:gd name="T1" fmla="*/ 0 h 232"/>
                <a:gd name="T2" fmla="*/ 82 w 144"/>
                <a:gd name="T3" fmla="*/ 0 h 232"/>
                <a:gd name="T4" fmla="*/ 82 w 144"/>
                <a:gd name="T5" fmla="*/ 0 h 232"/>
                <a:gd name="T6" fmla="*/ 90 w 144"/>
                <a:gd name="T7" fmla="*/ 1 h 232"/>
                <a:gd name="T8" fmla="*/ 98 w 144"/>
                <a:gd name="T9" fmla="*/ 2 h 232"/>
                <a:gd name="T10" fmla="*/ 105 w 144"/>
                <a:gd name="T11" fmla="*/ 4 h 232"/>
                <a:gd name="T12" fmla="*/ 111 w 144"/>
                <a:gd name="T13" fmla="*/ 6 h 232"/>
                <a:gd name="T14" fmla="*/ 117 w 144"/>
                <a:gd name="T15" fmla="*/ 9 h 232"/>
                <a:gd name="T16" fmla="*/ 122 w 144"/>
                <a:gd name="T17" fmla="*/ 13 h 232"/>
                <a:gd name="T18" fmla="*/ 127 w 144"/>
                <a:gd name="T19" fmla="*/ 17 h 232"/>
                <a:gd name="T20" fmla="*/ 131 w 144"/>
                <a:gd name="T21" fmla="*/ 22 h 232"/>
                <a:gd name="T22" fmla="*/ 134 w 144"/>
                <a:gd name="T23" fmla="*/ 27 h 232"/>
                <a:gd name="T24" fmla="*/ 137 w 144"/>
                <a:gd name="T25" fmla="*/ 32 h 232"/>
                <a:gd name="T26" fmla="*/ 141 w 144"/>
                <a:gd name="T27" fmla="*/ 45 h 232"/>
                <a:gd name="T28" fmla="*/ 144 w 144"/>
                <a:gd name="T29" fmla="*/ 57 h 232"/>
                <a:gd name="T30" fmla="*/ 144 w 144"/>
                <a:gd name="T31" fmla="*/ 70 h 232"/>
                <a:gd name="T32" fmla="*/ 144 w 144"/>
                <a:gd name="T33" fmla="*/ 70 h 232"/>
                <a:gd name="T34" fmla="*/ 144 w 144"/>
                <a:gd name="T35" fmla="*/ 78 h 232"/>
                <a:gd name="T36" fmla="*/ 143 w 144"/>
                <a:gd name="T37" fmla="*/ 86 h 232"/>
                <a:gd name="T38" fmla="*/ 141 w 144"/>
                <a:gd name="T39" fmla="*/ 94 h 232"/>
                <a:gd name="T40" fmla="*/ 139 w 144"/>
                <a:gd name="T41" fmla="*/ 101 h 232"/>
                <a:gd name="T42" fmla="*/ 136 w 144"/>
                <a:gd name="T43" fmla="*/ 107 h 232"/>
                <a:gd name="T44" fmla="*/ 133 w 144"/>
                <a:gd name="T45" fmla="*/ 112 h 232"/>
                <a:gd name="T46" fmla="*/ 129 w 144"/>
                <a:gd name="T47" fmla="*/ 118 h 232"/>
                <a:gd name="T48" fmla="*/ 124 w 144"/>
                <a:gd name="T49" fmla="*/ 123 h 232"/>
                <a:gd name="T50" fmla="*/ 119 w 144"/>
                <a:gd name="T51" fmla="*/ 127 h 232"/>
                <a:gd name="T52" fmla="*/ 114 w 144"/>
                <a:gd name="T53" fmla="*/ 130 h 232"/>
                <a:gd name="T54" fmla="*/ 108 w 144"/>
                <a:gd name="T55" fmla="*/ 133 h 232"/>
                <a:gd name="T56" fmla="*/ 101 w 144"/>
                <a:gd name="T57" fmla="*/ 136 h 232"/>
                <a:gd name="T58" fmla="*/ 95 w 144"/>
                <a:gd name="T59" fmla="*/ 137 h 232"/>
                <a:gd name="T60" fmla="*/ 87 w 144"/>
                <a:gd name="T61" fmla="*/ 139 h 232"/>
                <a:gd name="T62" fmla="*/ 71 w 144"/>
                <a:gd name="T63" fmla="*/ 140 h 232"/>
                <a:gd name="T64" fmla="*/ 46 w 144"/>
                <a:gd name="T65" fmla="*/ 140 h 232"/>
                <a:gd name="T66" fmla="*/ 46 w 144"/>
                <a:gd name="T67" fmla="*/ 232 h 232"/>
                <a:gd name="T68" fmla="*/ 0 w 144"/>
                <a:gd name="T69" fmla="*/ 232 h 232"/>
                <a:gd name="T70" fmla="*/ 0 w 144"/>
                <a:gd name="T71" fmla="*/ 0 h 232"/>
                <a:gd name="T72" fmla="*/ 46 w 144"/>
                <a:gd name="T73" fmla="*/ 105 h 232"/>
                <a:gd name="T74" fmla="*/ 67 w 144"/>
                <a:gd name="T75" fmla="*/ 105 h 232"/>
                <a:gd name="T76" fmla="*/ 67 w 144"/>
                <a:gd name="T77" fmla="*/ 105 h 232"/>
                <a:gd name="T78" fmla="*/ 74 w 144"/>
                <a:gd name="T79" fmla="*/ 104 h 232"/>
                <a:gd name="T80" fmla="*/ 80 w 144"/>
                <a:gd name="T81" fmla="*/ 103 h 232"/>
                <a:gd name="T82" fmla="*/ 85 w 144"/>
                <a:gd name="T83" fmla="*/ 100 h 232"/>
                <a:gd name="T84" fmla="*/ 90 w 144"/>
                <a:gd name="T85" fmla="*/ 96 h 232"/>
                <a:gd name="T86" fmla="*/ 93 w 144"/>
                <a:gd name="T87" fmla="*/ 92 h 232"/>
                <a:gd name="T88" fmla="*/ 96 w 144"/>
                <a:gd name="T89" fmla="*/ 86 h 232"/>
                <a:gd name="T90" fmla="*/ 98 w 144"/>
                <a:gd name="T91" fmla="*/ 79 h 232"/>
                <a:gd name="T92" fmla="*/ 98 w 144"/>
                <a:gd name="T93" fmla="*/ 70 h 232"/>
                <a:gd name="T94" fmla="*/ 98 w 144"/>
                <a:gd name="T95" fmla="*/ 70 h 232"/>
                <a:gd name="T96" fmla="*/ 98 w 144"/>
                <a:gd name="T97" fmla="*/ 62 h 232"/>
                <a:gd name="T98" fmla="*/ 97 w 144"/>
                <a:gd name="T99" fmla="*/ 55 h 232"/>
                <a:gd name="T100" fmla="*/ 94 w 144"/>
                <a:gd name="T101" fmla="*/ 49 h 232"/>
                <a:gd name="T102" fmla="*/ 91 w 144"/>
                <a:gd name="T103" fmla="*/ 44 h 232"/>
                <a:gd name="T104" fmla="*/ 87 w 144"/>
                <a:gd name="T105" fmla="*/ 40 h 232"/>
                <a:gd name="T106" fmla="*/ 81 w 144"/>
                <a:gd name="T107" fmla="*/ 37 h 232"/>
                <a:gd name="T108" fmla="*/ 74 w 144"/>
                <a:gd name="T109" fmla="*/ 35 h 232"/>
                <a:gd name="T110" fmla="*/ 65 w 144"/>
                <a:gd name="T111" fmla="*/ 34 h 232"/>
                <a:gd name="T112" fmla="*/ 46 w 144"/>
                <a:gd name="T113" fmla="*/ 34 h 232"/>
                <a:gd name="T114" fmla="*/ 46 w 144"/>
                <a:gd name="T115" fmla="*/ 10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32">
                  <a:moveTo>
                    <a:pt x="0" y="0"/>
                  </a:moveTo>
                  <a:lnTo>
                    <a:pt x="82" y="0"/>
                  </a:lnTo>
                  <a:lnTo>
                    <a:pt x="82" y="0"/>
                  </a:lnTo>
                  <a:lnTo>
                    <a:pt x="90" y="1"/>
                  </a:lnTo>
                  <a:lnTo>
                    <a:pt x="98" y="2"/>
                  </a:lnTo>
                  <a:lnTo>
                    <a:pt x="105" y="4"/>
                  </a:lnTo>
                  <a:lnTo>
                    <a:pt x="111" y="6"/>
                  </a:lnTo>
                  <a:lnTo>
                    <a:pt x="117" y="9"/>
                  </a:lnTo>
                  <a:lnTo>
                    <a:pt x="122" y="13"/>
                  </a:lnTo>
                  <a:lnTo>
                    <a:pt x="127" y="17"/>
                  </a:lnTo>
                  <a:lnTo>
                    <a:pt x="131" y="22"/>
                  </a:lnTo>
                  <a:lnTo>
                    <a:pt x="134" y="27"/>
                  </a:lnTo>
                  <a:lnTo>
                    <a:pt x="137" y="32"/>
                  </a:lnTo>
                  <a:lnTo>
                    <a:pt x="141" y="45"/>
                  </a:lnTo>
                  <a:lnTo>
                    <a:pt x="144" y="57"/>
                  </a:lnTo>
                  <a:lnTo>
                    <a:pt x="144" y="70"/>
                  </a:lnTo>
                  <a:lnTo>
                    <a:pt x="144" y="70"/>
                  </a:lnTo>
                  <a:lnTo>
                    <a:pt x="144" y="78"/>
                  </a:lnTo>
                  <a:lnTo>
                    <a:pt x="143" y="86"/>
                  </a:lnTo>
                  <a:lnTo>
                    <a:pt x="141" y="94"/>
                  </a:lnTo>
                  <a:lnTo>
                    <a:pt x="139" y="101"/>
                  </a:lnTo>
                  <a:lnTo>
                    <a:pt x="136" y="107"/>
                  </a:lnTo>
                  <a:lnTo>
                    <a:pt x="133" y="112"/>
                  </a:lnTo>
                  <a:lnTo>
                    <a:pt x="129" y="118"/>
                  </a:lnTo>
                  <a:lnTo>
                    <a:pt x="124" y="123"/>
                  </a:lnTo>
                  <a:lnTo>
                    <a:pt x="119" y="127"/>
                  </a:lnTo>
                  <a:lnTo>
                    <a:pt x="114" y="130"/>
                  </a:lnTo>
                  <a:lnTo>
                    <a:pt x="108" y="133"/>
                  </a:lnTo>
                  <a:lnTo>
                    <a:pt x="101" y="136"/>
                  </a:lnTo>
                  <a:lnTo>
                    <a:pt x="95" y="137"/>
                  </a:lnTo>
                  <a:lnTo>
                    <a:pt x="87" y="139"/>
                  </a:lnTo>
                  <a:lnTo>
                    <a:pt x="71" y="140"/>
                  </a:lnTo>
                  <a:lnTo>
                    <a:pt x="46" y="140"/>
                  </a:lnTo>
                  <a:lnTo>
                    <a:pt x="46" y="232"/>
                  </a:lnTo>
                  <a:lnTo>
                    <a:pt x="0" y="232"/>
                  </a:lnTo>
                  <a:lnTo>
                    <a:pt x="0" y="0"/>
                  </a:lnTo>
                  <a:close/>
                  <a:moveTo>
                    <a:pt x="46" y="105"/>
                  </a:moveTo>
                  <a:lnTo>
                    <a:pt x="67" y="105"/>
                  </a:lnTo>
                  <a:lnTo>
                    <a:pt x="67" y="105"/>
                  </a:lnTo>
                  <a:lnTo>
                    <a:pt x="74" y="104"/>
                  </a:lnTo>
                  <a:lnTo>
                    <a:pt x="80" y="103"/>
                  </a:lnTo>
                  <a:lnTo>
                    <a:pt x="85" y="100"/>
                  </a:lnTo>
                  <a:lnTo>
                    <a:pt x="90" y="96"/>
                  </a:lnTo>
                  <a:lnTo>
                    <a:pt x="93" y="92"/>
                  </a:lnTo>
                  <a:lnTo>
                    <a:pt x="96" y="86"/>
                  </a:lnTo>
                  <a:lnTo>
                    <a:pt x="98" y="79"/>
                  </a:lnTo>
                  <a:lnTo>
                    <a:pt x="98" y="70"/>
                  </a:lnTo>
                  <a:lnTo>
                    <a:pt x="98" y="70"/>
                  </a:lnTo>
                  <a:lnTo>
                    <a:pt x="98" y="62"/>
                  </a:lnTo>
                  <a:lnTo>
                    <a:pt x="97" y="55"/>
                  </a:lnTo>
                  <a:lnTo>
                    <a:pt x="94" y="49"/>
                  </a:lnTo>
                  <a:lnTo>
                    <a:pt x="91" y="44"/>
                  </a:lnTo>
                  <a:lnTo>
                    <a:pt x="87" y="40"/>
                  </a:lnTo>
                  <a:lnTo>
                    <a:pt x="81" y="37"/>
                  </a:lnTo>
                  <a:lnTo>
                    <a:pt x="74" y="35"/>
                  </a:lnTo>
                  <a:lnTo>
                    <a:pt x="65" y="34"/>
                  </a:lnTo>
                  <a:lnTo>
                    <a:pt x="46" y="34"/>
                  </a:lnTo>
                  <a:lnTo>
                    <a:pt x="46" y="105"/>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3" name="Freeform 10"/>
            <p:cNvSpPr>
              <a:spLocks/>
            </p:cNvSpPr>
            <p:nvPr userDrawn="1"/>
          </p:nvSpPr>
          <p:spPr bwMode="auto">
            <a:xfrm>
              <a:off x="8188325"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4" name="Freeform 11"/>
            <p:cNvSpPr>
              <a:spLocks noEditPoints="1"/>
            </p:cNvSpPr>
            <p:nvPr userDrawn="1"/>
          </p:nvSpPr>
          <p:spPr bwMode="auto">
            <a:xfrm>
              <a:off x="8315325" y="4805363"/>
              <a:ext cx="82550" cy="123825"/>
            </a:xfrm>
            <a:custGeom>
              <a:avLst/>
              <a:gdLst>
                <a:gd name="T0" fmla="*/ 87 w 157"/>
                <a:gd name="T1" fmla="*/ 0 h 232"/>
                <a:gd name="T2" fmla="*/ 101 w 157"/>
                <a:gd name="T3" fmla="*/ 1 h 232"/>
                <a:gd name="T4" fmla="*/ 124 w 157"/>
                <a:gd name="T5" fmla="*/ 9 h 232"/>
                <a:gd name="T6" fmla="*/ 132 w 157"/>
                <a:gd name="T7" fmla="*/ 15 h 232"/>
                <a:gd name="T8" fmla="*/ 139 w 157"/>
                <a:gd name="T9" fmla="*/ 23 h 232"/>
                <a:gd name="T10" fmla="*/ 144 w 157"/>
                <a:gd name="T11" fmla="*/ 33 h 232"/>
                <a:gd name="T12" fmla="*/ 147 w 157"/>
                <a:gd name="T13" fmla="*/ 46 h 232"/>
                <a:gd name="T14" fmla="*/ 149 w 157"/>
                <a:gd name="T15" fmla="*/ 60 h 232"/>
                <a:gd name="T16" fmla="*/ 146 w 157"/>
                <a:gd name="T17" fmla="*/ 81 h 232"/>
                <a:gd name="T18" fmla="*/ 139 w 157"/>
                <a:gd name="T19" fmla="*/ 98 h 232"/>
                <a:gd name="T20" fmla="*/ 127 w 157"/>
                <a:gd name="T21" fmla="*/ 110 h 232"/>
                <a:gd name="T22" fmla="*/ 110 w 157"/>
                <a:gd name="T23" fmla="*/ 118 h 232"/>
                <a:gd name="T24" fmla="*/ 110 w 157"/>
                <a:gd name="T25" fmla="*/ 118 h 232"/>
                <a:gd name="T26" fmla="*/ 129 w 157"/>
                <a:gd name="T27" fmla="*/ 124 h 232"/>
                <a:gd name="T28" fmla="*/ 136 w 157"/>
                <a:gd name="T29" fmla="*/ 129 h 232"/>
                <a:gd name="T30" fmla="*/ 140 w 157"/>
                <a:gd name="T31" fmla="*/ 137 h 232"/>
                <a:gd name="T32" fmla="*/ 146 w 157"/>
                <a:gd name="T33" fmla="*/ 157 h 232"/>
                <a:gd name="T34" fmla="*/ 147 w 157"/>
                <a:gd name="T35" fmla="*/ 188 h 232"/>
                <a:gd name="T36" fmla="*/ 148 w 157"/>
                <a:gd name="T37" fmla="*/ 205 h 232"/>
                <a:gd name="T38" fmla="*/ 151 w 157"/>
                <a:gd name="T39" fmla="*/ 221 h 232"/>
                <a:gd name="T40" fmla="*/ 155 w 157"/>
                <a:gd name="T41" fmla="*/ 228 h 232"/>
                <a:gd name="T42" fmla="*/ 157 w 157"/>
                <a:gd name="T43" fmla="*/ 232 h 232"/>
                <a:gd name="T44" fmla="*/ 108 w 157"/>
                <a:gd name="T45" fmla="*/ 232 h 232"/>
                <a:gd name="T46" fmla="*/ 103 w 157"/>
                <a:gd name="T47" fmla="*/ 221 h 232"/>
                <a:gd name="T48" fmla="*/ 102 w 157"/>
                <a:gd name="T49" fmla="*/ 208 h 232"/>
                <a:gd name="T50" fmla="*/ 100 w 157"/>
                <a:gd name="T51" fmla="*/ 163 h 232"/>
                <a:gd name="T52" fmla="*/ 99 w 157"/>
                <a:gd name="T53" fmla="*/ 151 h 232"/>
                <a:gd name="T54" fmla="*/ 94 w 157"/>
                <a:gd name="T55" fmla="*/ 142 h 232"/>
                <a:gd name="T56" fmla="*/ 84 w 157"/>
                <a:gd name="T57" fmla="*/ 136 h 232"/>
                <a:gd name="T58" fmla="*/ 72 w 157"/>
                <a:gd name="T59" fmla="*/ 134 h 232"/>
                <a:gd name="T60" fmla="*/ 48 w 157"/>
                <a:gd name="T61" fmla="*/ 232 h 232"/>
                <a:gd name="T62" fmla="*/ 0 w 157"/>
                <a:gd name="T63" fmla="*/ 0 h 232"/>
                <a:gd name="T64" fmla="*/ 67 w 157"/>
                <a:gd name="T65" fmla="*/ 101 h 232"/>
                <a:gd name="T66" fmla="*/ 75 w 157"/>
                <a:gd name="T67" fmla="*/ 101 h 232"/>
                <a:gd name="T68" fmla="*/ 87 w 157"/>
                <a:gd name="T69" fmla="*/ 97 h 232"/>
                <a:gd name="T70" fmla="*/ 97 w 157"/>
                <a:gd name="T71" fmla="*/ 89 h 232"/>
                <a:gd name="T72" fmla="*/ 102 w 157"/>
                <a:gd name="T73" fmla="*/ 75 h 232"/>
                <a:gd name="T74" fmla="*/ 102 w 157"/>
                <a:gd name="T75" fmla="*/ 67 h 232"/>
                <a:gd name="T76" fmla="*/ 100 w 157"/>
                <a:gd name="T77" fmla="*/ 53 h 232"/>
                <a:gd name="T78" fmla="*/ 94 w 157"/>
                <a:gd name="T79" fmla="*/ 43 h 232"/>
                <a:gd name="T80" fmla="*/ 83 w 157"/>
                <a:gd name="T81" fmla="*/ 37 h 232"/>
                <a:gd name="T82" fmla="*/ 69 w 157"/>
                <a:gd name="T83" fmla="*/ 34 h 232"/>
                <a:gd name="T84" fmla="*/ 48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7" y="0"/>
                  </a:lnTo>
                  <a:lnTo>
                    <a:pt x="87" y="0"/>
                  </a:lnTo>
                  <a:lnTo>
                    <a:pt x="101" y="1"/>
                  </a:lnTo>
                  <a:lnTo>
                    <a:pt x="113" y="4"/>
                  </a:lnTo>
                  <a:lnTo>
                    <a:pt x="124" y="9"/>
                  </a:lnTo>
                  <a:lnTo>
                    <a:pt x="128" y="12"/>
                  </a:lnTo>
                  <a:lnTo>
                    <a:pt x="132" y="15"/>
                  </a:lnTo>
                  <a:lnTo>
                    <a:pt x="136" y="19"/>
                  </a:lnTo>
                  <a:lnTo>
                    <a:pt x="139" y="23"/>
                  </a:lnTo>
                  <a:lnTo>
                    <a:pt x="142" y="28"/>
                  </a:lnTo>
                  <a:lnTo>
                    <a:pt x="144" y="33"/>
                  </a:lnTo>
                  <a:lnTo>
                    <a:pt x="146" y="40"/>
                  </a:lnTo>
                  <a:lnTo>
                    <a:pt x="147" y="46"/>
                  </a:lnTo>
                  <a:lnTo>
                    <a:pt x="149" y="60"/>
                  </a:lnTo>
                  <a:lnTo>
                    <a:pt x="149" y="60"/>
                  </a:lnTo>
                  <a:lnTo>
                    <a:pt x="148" y="71"/>
                  </a:lnTo>
                  <a:lnTo>
                    <a:pt x="146" y="81"/>
                  </a:lnTo>
                  <a:lnTo>
                    <a:pt x="143" y="90"/>
                  </a:lnTo>
                  <a:lnTo>
                    <a:pt x="139" y="98"/>
                  </a:lnTo>
                  <a:lnTo>
                    <a:pt x="134" y="104"/>
                  </a:lnTo>
                  <a:lnTo>
                    <a:pt x="127" y="110"/>
                  </a:lnTo>
                  <a:lnTo>
                    <a:pt x="119" y="114"/>
                  </a:lnTo>
                  <a:lnTo>
                    <a:pt x="110" y="118"/>
                  </a:lnTo>
                  <a:lnTo>
                    <a:pt x="110" y="118"/>
                  </a:lnTo>
                  <a:lnTo>
                    <a:pt x="110" y="118"/>
                  </a:lnTo>
                  <a:lnTo>
                    <a:pt x="121" y="120"/>
                  </a:lnTo>
                  <a:lnTo>
                    <a:pt x="129" y="124"/>
                  </a:lnTo>
                  <a:lnTo>
                    <a:pt x="133" y="126"/>
                  </a:lnTo>
                  <a:lnTo>
                    <a:pt x="136" y="129"/>
                  </a:lnTo>
                  <a:lnTo>
                    <a:pt x="138" y="133"/>
                  </a:lnTo>
                  <a:lnTo>
                    <a:pt x="140" y="137"/>
                  </a:lnTo>
                  <a:lnTo>
                    <a:pt x="144" y="146"/>
                  </a:lnTo>
                  <a:lnTo>
                    <a:pt x="146" y="157"/>
                  </a:lnTo>
                  <a:lnTo>
                    <a:pt x="147" y="171"/>
                  </a:lnTo>
                  <a:lnTo>
                    <a:pt x="147" y="188"/>
                  </a:lnTo>
                  <a:lnTo>
                    <a:pt x="147" y="188"/>
                  </a:lnTo>
                  <a:lnTo>
                    <a:pt x="148" y="205"/>
                  </a:lnTo>
                  <a:lnTo>
                    <a:pt x="149" y="217"/>
                  </a:lnTo>
                  <a:lnTo>
                    <a:pt x="151" y="221"/>
                  </a:lnTo>
                  <a:lnTo>
                    <a:pt x="152" y="225"/>
                  </a:lnTo>
                  <a:lnTo>
                    <a:pt x="155" y="228"/>
                  </a:lnTo>
                  <a:lnTo>
                    <a:pt x="157" y="230"/>
                  </a:lnTo>
                  <a:lnTo>
                    <a:pt x="157" y="232"/>
                  </a:lnTo>
                  <a:lnTo>
                    <a:pt x="108" y="232"/>
                  </a:lnTo>
                  <a:lnTo>
                    <a:pt x="108" y="232"/>
                  </a:lnTo>
                  <a:lnTo>
                    <a:pt x="105" y="227"/>
                  </a:lnTo>
                  <a:lnTo>
                    <a:pt x="103" y="221"/>
                  </a:lnTo>
                  <a:lnTo>
                    <a:pt x="102" y="215"/>
                  </a:lnTo>
                  <a:lnTo>
                    <a:pt x="102" y="208"/>
                  </a:lnTo>
                  <a:lnTo>
                    <a:pt x="100" y="163"/>
                  </a:lnTo>
                  <a:lnTo>
                    <a:pt x="100" y="163"/>
                  </a:lnTo>
                  <a:lnTo>
                    <a:pt x="100" y="157"/>
                  </a:lnTo>
                  <a:lnTo>
                    <a:pt x="99" y="151"/>
                  </a:lnTo>
                  <a:lnTo>
                    <a:pt x="96" y="146"/>
                  </a:lnTo>
                  <a:lnTo>
                    <a:pt x="94" y="142"/>
                  </a:lnTo>
                  <a:lnTo>
                    <a:pt x="89" y="139"/>
                  </a:lnTo>
                  <a:lnTo>
                    <a:pt x="84" y="136"/>
                  </a:lnTo>
                  <a:lnTo>
                    <a:pt x="79" y="135"/>
                  </a:lnTo>
                  <a:lnTo>
                    <a:pt x="72" y="134"/>
                  </a:lnTo>
                  <a:lnTo>
                    <a:pt x="48" y="134"/>
                  </a:lnTo>
                  <a:lnTo>
                    <a:pt x="48" y="232"/>
                  </a:lnTo>
                  <a:lnTo>
                    <a:pt x="0" y="232"/>
                  </a:lnTo>
                  <a:lnTo>
                    <a:pt x="0" y="0"/>
                  </a:lnTo>
                  <a:close/>
                  <a:moveTo>
                    <a:pt x="48" y="101"/>
                  </a:moveTo>
                  <a:lnTo>
                    <a:pt x="67" y="101"/>
                  </a:lnTo>
                  <a:lnTo>
                    <a:pt x="67" y="101"/>
                  </a:lnTo>
                  <a:lnTo>
                    <a:pt x="75" y="101"/>
                  </a:lnTo>
                  <a:lnTo>
                    <a:pt x="82" y="99"/>
                  </a:lnTo>
                  <a:lnTo>
                    <a:pt x="87" y="97"/>
                  </a:lnTo>
                  <a:lnTo>
                    <a:pt x="92" y="93"/>
                  </a:lnTo>
                  <a:lnTo>
                    <a:pt x="97" y="89"/>
                  </a:lnTo>
                  <a:lnTo>
                    <a:pt x="100" y="83"/>
                  </a:lnTo>
                  <a:lnTo>
                    <a:pt x="102" y="75"/>
                  </a:lnTo>
                  <a:lnTo>
                    <a:pt x="102" y="67"/>
                  </a:lnTo>
                  <a:lnTo>
                    <a:pt x="102" y="67"/>
                  </a:lnTo>
                  <a:lnTo>
                    <a:pt x="102" y="59"/>
                  </a:lnTo>
                  <a:lnTo>
                    <a:pt x="100" y="53"/>
                  </a:lnTo>
                  <a:lnTo>
                    <a:pt x="98" y="48"/>
                  </a:lnTo>
                  <a:lnTo>
                    <a:pt x="94" y="43"/>
                  </a:lnTo>
                  <a:lnTo>
                    <a:pt x="89" y="40"/>
                  </a:lnTo>
                  <a:lnTo>
                    <a:pt x="83" y="37"/>
                  </a:lnTo>
                  <a:lnTo>
                    <a:pt x="77" y="35"/>
                  </a:lnTo>
                  <a:lnTo>
                    <a:pt x="69" y="34"/>
                  </a:lnTo>
                  <a:lnTo>
                    <a:pt x="48" y="34"/>
                  </a:lnTo>
                  <a:lnTo>
                    <a:pt x="4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5" name="Freeform 12"/>
            <p:cNvSpPr>
              <a:spLocks/>
            </p:cNvSpPr>
            <p:nvPr userDrawn="1"/>
          </p:nvSpPr>
          <p:spPr bwMode="auto">
            <a:xfrm>
              <a:off x="8413750"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6" name="Freeform 13"/>
            <p:cNvSpPr>
              <a:spLocks/>
            </p:cNvSpPr>
            <p:nvPr userDrawn="1"/>
          </p:nvSpPr>
          <p:spPr bwMode="auto">
            <a:xfrm>
              <a:off x="8497888" y="4805363"/>
              <a:ext cx="80963" cy="123825"/>
            </a:xfrm>
            <a:custGeom>
              <a:avLst/>
              <a:gdLst>
                <a:gd name="T0" fmla="*/ 54 w 154"/>
                <a:gd name="T1" fmla="*/ 0 h 232"/>
                <a:gd name="T2" fmla="*/ 111 w 154"/>
                <a:gd name="T3" fmla="*/ 159 h 232"/>
                <a:gd name="T4" fmla="*/ 112 w 154"/>
                <a:gd name="T5" fmla="*/ 159 h 232"/>
                <a:gd name="T6" fmla="*/ 112 w 154"/>
                <a:gd name="T7" fmla="*/ 0 h 232"/>
                <a:gd name="T8" fmla="*/ 154 w 154"/>
                <a:gd name="T9" fmla="*/ 0 h 232"/>
                <a:gd name="T10" fmla="*/ 154 w 154"/>
                <a:gd name="T11" fmla="*/ 232 h 232"/>
                <a:gd name="T12" fmla="*/ 102 w 154"/>
                <a:gd name="T13" fmla="*/ 232 h 232"/>
                <a:gd name="T14" fmla="*/ 44 w 154"/>
                <a:gd name="T15" fmla="*/ 70 h 232"/>
                <a:gd name="T16" fmla="*/ 44 w 154"/>
                <a:gd name="T17" fmla="*/ 70 h 232"/>
                <a:gd name="T18" fmla="*/ 44 w 154"/>
                <a:gd name="T19" fmla="*/ 232 h 232"/>
                <a:gd name="T20" fmla="*/ 0 w 154"/>
                <a:gd name="T21" fmla="*/ 232 h 232"/>
                <a:gd name="T22" fmla="*/ 0 w 154"/>
                <a:gd name="T23" fmla="*/ 0 h 232"/>
                <a:gd name="T24" fmla="*/ 54 w 154"/>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232">
                  <a:moveTo>
                    <a:pt x="54" y="0"/>
                  </a:moveTo>
                  <a:lnTo>
                    <a:pt x="111" y="159"/>
                  </a:lnTo>
                  <a:lnTo>
                    <a:pt x="112" y="159"/>
                  </a:lnTo>
                  <a:lnTo>
                    <a:pt x="112" y="0"/>
                  </a:lnTo>
                  <a:lnTo>
                    <a:pt x="154" y="0"/>
                  </a:lnTo>
                  <a:lnTo>
                    <a:pt x="154" y="232"/>
                  </a:lnTo>
                  <a:lnTo>
                    <a:pt x="102" y="232"/>
                  </a:lnTo>
                  <a:lnTo>
                    <a:pt x="44" y="70"/>
                  </a:lnTo>
                  <a:lnTo>
                    <a:pt x="44" y="70"/>
                  </a:lnTo>
                  <a:lnTo>
                    <a:pt x="44" y="232"/>
                  </a:lnTo>
                  <a:lnTo>
                    <a:pt x="0" y="232"/>
                  </a:lnTo>
                  <a:lnTo>
                    <a:pt x="0"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7" name="Freeform 14"/>
            <p:cNvSpPr>
              <a:spLocks noEditPoints="1"/>
            </p:cNvSpPr>
            <p:nvPr userDrawn="1"/>
          </p:nvSpPr>
          <p:spPr bwMode="auto">
            <a:xfrm>
              <a:off x="8589963" y="4805363"/>
              <a:ext cx="95250" cy="123825"/>
            </a:xfrm>
            <a:custGeom>
              <a:avLst/>
              <a:gdLst>
                <a:gd name="T0" fmla="*/ 61 w 180"/>
                <a:gd name="T1" fmla="*/ 0 h 232"/>
                <a:gd name="T2" fmla="*/ 119 w 180"/>
                <a:gd name="T3" fmla="*/ 0 h 232"/>
                <a:gd name="T4" fmla="*/ 180 w 180"/>
                <a:gd name="T5" fmla="*/ 232 h 232"/>
                <a:gd name="T6" fmla="*/ 131 w 180"/>
                <a:gd name="T7" fmla="*/ 232 h 232"/>
                <a:gd name="T8" fmla="*/ 121 w 180"/>
                <a:gd name="T9" fmla="*/ 183 h 232"/>
                <a:gd name="T10" fmla="*/ 59 w 180"/>
                <a:gd name="T11" fmla="*/ 183 h 232"/>
                <a:gd name="T12" fmla="*/ 48 w 180"/>
                <a:gd name="T13" fmla="*/ 232 h 232"/>
                <a:gd name="T14" fmla="*/ 0 w 180"/>
                <a:gd name="T15" fmla="*/ 232 h 232"/>
                <a:gd name="T16" fmla="*/ 61 w 180"/>
                <a:gd name="T17" fmla="*/ 0 h 232"/>
                <a:gd name="T18" fmla="*/ 67 w 180"/>
                <a:gd name="T19" fmla="*/ 145 h 232"/>
                <a:gd name="T20" fmla="*/ 113 w 180"/>
                <a:gd name="T21" fmla="*/ 145 h 232"/>
                <a:gd name="T22" fmla="*/ 90 w 180"/>
                <a:gd name="T23" fmla="*/ 41 h 232"/>
                <a:gd name="T24" fmla="*/ 90 w 180"/>
                <a:gd name="T25" fmla="*/ 41 h 232"/>
                <a:gd name="T26" fmla="*/ 67 w 180"/>
                <a:gd name="T27" fmla="*/ 14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232">
                  <a:moveTo>
                    <a:pt x="61" y="0"/>
                  </a:moveTo>
                  <a:lnTo>
                    <a:pt x="119" y="0"/>
                  </a:lnTo>
                  <a:lnTo>
                    <a:pt x="180" y="232"/>
                  </a:lnTo>
                  <a:lnTo>
                    <a:pt x="131" y="232"/>
                  </a:lnTo>
                  <a:lnTo>
                    <a:pt x="121" y="183"/>
                  </a:lnTo>
                  <a:lnTo>
                    <a:pt x="59" y="183"/>
                  </a:lnTo>
                  <a:lnTo>
                    <a:pt x="48" y="232"/>
                  </a:lnTo>
                  <a:lnTo>
                    <a:pt x="0" y="232"/>
                  </a:lnTo>
                  <a:lnTo>
                    <a:pt x="61" y="0"/>
                  </a:lnTo>
                  <a:close/>
                  <a:moveTo>
                    <a:pt x="67" y="145"/>
                  </a:moveTo>
                  <a:lnTo>
                    <a:pt x="113" y="145"/>
                  </a:lnTo>
                  <a:lnTo>
                    <a:pt x="90" y="41"/>
                  </a:lnTo>
                  <a:lnTo>
                    <a:pt x="90" y="41"/>
                  </a:lnTo>
                  <a:lnTo>
                    <a:pt x="67"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8" name="Freeform 15"/>
            <p:cNvSpPr>
              <a:spLocks/>
            </p:cNvSpPr>
            <p:nvPr userDrawn="1"/>
          </p:nvSpPr>
          <p:spPr bwMode="auto">
            <a:xfrm>
              <a:off x="8691563" y="4805363"/>
              <a:ext cx="77788" cy="125413"/>
            </a:xfrm>
            <a:custGeom>
              <a:avLst/>
              <a:gdLst>
                <a:gd name="T0" fmla="*/ 46 w 148"/>
                <a:gd name="T1" fmla="*/ 0 h 236"/>
                <a:gd name="T2" fmla="*/ 46 w 148"/>
                <a:gd name="T3" fmla="*/ 162 h 236"/>
                <a:gd name="T4" fmla="*/ 46 w 148"/>
                <a:gd name="T5" fmla="*/ 162 h 236"/>
                <a:gd name="T6" fmla="*/ 47 w 148"/>
                <a:gd name="T7" fmla="*/ 170 h 236"/>
                <a:gd name="T8" fmla="*/ 48 w 148"/>
                <a:gd name="T9" fmla="*/ 178 h 236"/>
                <a:gd name="T10" fmla="*/ 49 w 148"/>
                <a:gd name="T11" fmla="*/ 184 h 236"/>
                <a:gd name="T12" fmla="*/ 52 w 148"/>
                <a:gd name="T13" fmla="*/ 190 h 236"/>
                <a:gd name="T14" fmla="*/ 55 w 148"/>
                <a:gd name="T15" fmla="*/ 195 h 236"/>
                <a:gd name="T16" fmla="*/ 60 w 148"/>
                <a:gd name="T17" fmla="*/ 199 h 236"/>
                <a:gd name="T18" fmla="*/ 67 w 148"/>
                <a:gd name="T19" fmla="*/ 202 h 236"/>
                <a:gd name="T20" fmla="*/ 74 w 148"/>
                <a:gd name="T21" fmla="*/ 202 h 236"/>
                <a:gd name="T22" fmla="*/ 74 w 148"/>
                <a:gd name="T23" fmla="*/ 202 h 236"/>
                <a:gd name="T24" fmla="*/ 82 w 148"/>
                <a:gd name="T25" fmla="*/ 202 h 236"/>
                <a:gd name="T26" fmla="*/ 88 w 148"/>
                <a:gd name="T27" fmla="*/ 199 h 236"/>
                <a:gd name="T28" fmla="*/ 92 w 148"/>
                <a:gd name="T29" fmla="*/ 195 h 236"/>
                <a:gd name="T30" fmla="*/ 96 w 148"/>
                <a:gd name="T31" fmla="*/ 190 h 236"/>
                <a:gd name="T32" fmla="*/ 98 w 148"/>
                <a:gd name="T33" fmla="*/ 184 h 236"/>
                <a:gd name="T34" fmla="*/ 100 w 148"/>
                <a:gd name="T35" fmla="*/ 178 h 236"/>
                <a:gd name="T36" fmla="*/ 101 w 148"/>
                <a:gd name="T37" fmla="*/ 170 h 236"/>
                <a:gd name="T38" fmla="*/ 101 w 148"/>
                <a:gd name="T39" fmla="*/ 162 h 236"/>
                <a:gd name="T40" fmla="*/ 101 w 148"/>
                <a:gd name="T41" fmla="*/ 0 h 236"/>
                <a:gd name="T42" fmla="*/ 148 w 148"/>
                <a:gd name="T43" fmla="*/ 0 h 236"/>
                <a:gd name="T44" fmla="*/ 148 w 148"/>
                <a:gd name="T45" fmla="*/ 162 h 236"/>
                <a:gd name="T46" fmla="*/ 148 w 148"/>
                <a:gd name="T47" fmla="*/ 162 h 236"/>
                <a:gd name="T48" fmla="*/ 148 w 148"/>
                <a:gd name="T49" fmla="*/ 172 h 236"/>
                <a:gd name="T50" fmla="*/ 147 w 148"/>
                <a:gd name="T51" fmla="*/ 182 h 236"/>
                <a:gd name="T52" fmla="*/ 144 w 148"/>
                <a:gd name="T53" fmla="*/ 190 h 236"/>
                <a:gd name="T54" fmla="*/ 141 w 148"/>
                <a:gd name="T55" fmla="*/ 199 h 236"/>
                <a:gd name="T56" fmla="*/ 138 w 148"/>
                <a:gd name="T57" fmla="*/ 206 h 236"/>
                <a:gd name="T58" fmla="*/ 134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8 w 148"/>
                <a:gd name="T73" fmla="*/ 236 h 236"/>
                <a:gd name="T74" fmla="*/ 74 w 148"/>
                <a:gd name="T75" fmla="*/ 236 h 236"/>
                <a:gd name="T76" fmla="*/ 74 w 148"/>
                <a:gd name="T77" fmla="*/ 236 h 236"/>
                <a:gd name="T78" fmla="*/ 59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6 w 148"/>
                <a:gd name="T97" fmla="*/ 200 h 236"/>
                <a:gd name="T98" fmla="*/ 4 w 148"/>
                <a:gd name="T99" fmla="*/ 191 h 236"/>
                <a:gd name="T100" fmla="*/ 2 w 148"/>
                <a:gd name="T101" fmla="*/ 182 h 236"/>
                <a:gd name="T102" fmla="*/ 1 w 148"/>
                <a:gd name="T103" fmla="*/ 173 h 236"/>
                <a:gd name="T104" fmla="*/ 0 w 148"/>
                <a:gd name="T105" fmla="*/ 162 h 236"/>
                <a:gd name="T106" fmla="*/ 0 w 148"/>
                <a:gd name="T107" fmla="*/ 0 h 236"/>
                <a:gd name="T108" fmla="*/ 46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6" y="0"/>
                  </a:moveTo>
                  <a:lnTo>
                    <a:pt x="46" y="162"/>
                  </a:lnTo>
                  <a:lnTo>
                    <a:pt x="46" y="162"/>
                  </a:lnTo>
                  <a:lnTo>
                    <a:pt x="47" y="170"/>
                  </a:lnTo>
                  <a:lnTo>
                    <a:pt x="48" y="178"/>
                  </a:lnTo>
                  <a:lnTo>
                    <a:pt x="49" y="184"/>
                  </a:lnTo>
                  <a:lnTo>
                    <a:pt x="52" y="190"/>
                  </a:lnTo>
                  <a:lnTo>
                    <a:pt x="55" y="195"/>
                  </a:lnTo>
                  <a:lnTo>
                    <a:pt x="60" y="199"/>
                  </a:lnTo>
                  <a:lnTo>
                    <a:pt x="67" y="202"/>
                  </a:lnTo>
                  <a:lnTo>
                    <a:pt x="74" y="202"/>
                  </a:lnTo>
                  <a:lnTo>
                    <a:pt x="74" y="202"/>
                  </a:lnTo>
                  <a:lnTo>
                    <a:pt x="82" y="202"/>
                  </a:lnTo>
                  <a:lnTo>
                    <a:pt x="88" y="199"/>
                  </a:lnTo>
                  <a:lnTo>
                    <a:pt x="92" y="195"/>
                  </a:lnTo>
                  <a:lnTo>
                    <a:pt x="96" y="190"/>
                  </a:lnTo>
                  <a:lnTo>
                    <a:pt x="98" y="184"/>
                  </a:lnTo>
                  <a:lnTo>
                    <a:pt x="100" y="178"/>
                  </a:lnTo>
                  <a:lnTo>
                    <a:pt x="101" y="170"/>
                  </a:lnTo>
                  <a:lnTo>
                    <a:pt x="101" y="162"/>
                  </a:lnTo>
                  <a:lnTo>
                    <a:pt x="101" y="0"/>
                  </a:lnTo>
                  <a:lnTo>
                    <a:pt x="148" y="0"/>
                  </a:lnTo>
                  <a:lnTo>
                    <a:pt x="148" y="162"/>
                  </a:lnTo>
                  <a:lnTo>
                    <a:pt x="148" y="162"/>
                  </a:lnTo>
                  <a:lnTo>
                    <a:pt x="148" y="172"/>
                  </a:lnTo>
                  <a:lnTo>
                    <a:pt x="147" y="182"/>
                  </a:lnTo>
                  <a:lnTo>
                    <a:pt x="144" y="190"/>
                  </a:lnTo>
                  <a:lnTo>
                    <a:pt x="141" y="199"/>
                  </a:lnTo>
                  <a:lnTo>
                    <a:pt x="138" y="206"/>
                  </a:lnTo>
                  <a:lnTo>
                    <a:pt x="134" y="212"/>
                  </a:lnTo>
                  <a:lnTo>
                    <a:pt x="130" y="217"/>
                  </a:lnTo>
                  <a:lnTo>
                    <a:pt x="125" y="221"/>
                  </a:lnTo>
                  <a:lnTo>
                    <a:pt x="120" y="225"/>
                  </a:lnTo>
                  <a:lnTo>
                    <a:pt x="114" y="228"/>
                  </a:lnTo>
                  <a:lnTo>
                    <a:pt x="108" y="231"/>
                  </a:lnTo>
                  <a:lnTo>
                    <a:pt x="102" y="233"/>
                  </a:lnTo>
                  <a:lnTo>
                    <a:pt x="88" y="236"/>
                  </a:lnTo>
                  <a:lnTo>
                    <a:pt x="74" y="236"/>
                  </a:lnTo>
                  <a:lnTo>
                    <a:pt x="74" y="236"/>
                  </a:lnTo>
                  <a:lnTo>
                    <a:pt x="59" y="236"/>
                  </a:lnTo>
                  <a:lnTo>
                    <a:pt x="46" y="234"/>
                  </a:lnTo>
                  <a:lnTo>
                    <a:pt x="40" y="232"/>
                  </a:lnTo>
                  <a:lnTo>
                    <a:pt x="34" y="229"/>
                  </a:lnTo>
                  <a:lnTo>
                    <a:pt x="28" y="226"/>
                  </a:lnTo>
                  <a:lnTo>
                    <a:pt x="23" y="223"/>
                  </a:lnTo>
                  <a:lnTo>
                    <a:pt x="18" y="218"/>
                  </a:lnTo>
                  <a:lnTo>
                    <a:pt x="14" y="213"/>
                  </a:lnTo>
                  <a:lnTo>
                    <a:pt x="10" y="207"/>
                  </a:lnTo>
                  <a:lnTo>
                    <a:pt x="6" y="200"/>
                  </a:lnTo>
                  <a:lnTo>
                    <a:pt x="4" y="191"/>
                  </a:lnTo>
                  <a:lnTo>
                    <a:pt x="2" y="182"/>
                  </a:lnTo>
                  <a:lnTo>
                    <a:pt x="1" y="173"/>
                  </a:lnTo>
                  <a:lnTo>
                    <a:pt x="0" y="162"/>
                  </a:lnTo>
                  <a:lnTo>
                    <a:pt x="0" y="0"/>
                  </a:lnTo>
                  <a:lnTo>
                    <a:pt x="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19" name="Freeform 16"/>
            <p:cNvSpPr>
              <a:spLocks/>
            </p:cNvSpPr>
            <p:nvPr userDrawn="1"/>
          </p:nvSpPr>
          <p:spPr bwMode="auto">
            <a:xfrm>
              <a:off x="8789988" y="4805363"/>
              <a:ext cx="69850" cy="123825"/>
            </a:xfrm>
            <a:custGeom>
              <a:avLst/>
              <a:gdLst>
                <a:gd name="T0" fmla="*/ 0 w 130"/>
                <a:gd name="T1" fmla="*/ 232 h 232"/>
                <a:gd name="T2" fmla="*/ 0 w 130"/>
                <a:gd name="T3" fmla="*/ 0 h 232"/>
                <a:gd name="T4" fmla="*/ 47 w 130"/>
                <a:gd name="T5" fmla="*/ 0 h 232"/>
                <a:gd name="T6" fmla="*/ 47 w 130"/>
                <a:gd name="T7" fmla="*/ 193 h 232"/>
                <a:gd name="T8" fmla="*/ 130 w 130"/>
                <a:gd name="T9" fmla="*/ 193 h 232"/>
                <a:gd name="T10" fmla="*/ 130 w 130"/>
                <a:gd name="T11" fmla="*/ 232 h 232"/>
                <a:gd name="T12" fmla="*/ 0 w 130"/>
                <a:gd name="T13" fmla="*/ 232 h 232"/>
              </a:gdLst>
              <a:ahLst/>
              <a:cxnLst>
                <a:cxn ang="0">
                  <a:pos x="T0" y="T1"/>
                </a:cxn>
                <a:cxn ang="0">
                  <a:pos x="T2" y="T3"/>
                </a:cxn>
                <a:cxn ang="0">
                  <a:pos x="T4" y="T5"/>
                </a:cxn>
                <a:cxn ang="0">
                  <a:pos x="T6" y="T7"/>
                </a:cxn>
                <a:cxn ang="0">
                  <a:pos x="T8" y="T9"/>
                </a:cxn>
                <a:cxn ang="0">
                  <a:pos x="T10" y="T11"/>
                </a:cxn>
                <a:cxn ang="0">
                  <a:pos x="T12" y="T13"/>
                </a:cxn>
              </a:cxnLst>
              <a:rect l="0" t="0" r="r" b="b"/>
              <a:pathLst>
                <a:path w="130" h="232">
                  <a:moveTo>
                    <a:pt x="0" y="232"/>
                  </a:moveTo>
                  <a:lnTo>
                    <a:pt x="0" y="0"/>
                  </a:lnTo>
                  <a:lnTo>
                    <a:pt x="47" y="0"/>
                  </a:lnTo>
                  <a:lnTo>
                    <a:pt x="47" y="193"/>
                  </a:lnTo>
                  <a:lnTo>
                    <a:pt x="130" y="193"/>
                  </a:lnTo>
                  <a:lnTo>
                    <a:pt x="130" y="232"/>
                  </a:lnTo>
                  <a:lnTo>
                    <a:pt x="0"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sp>
          <p:nvSpPr>
            <p:cNvPr id="21" name="Freeform 17"/>
            <p:cNvSpPr>
              <a:spLocks/>
            </p:cNvSpPr>
            <p:nvPr userDrawn="1"/>
          </p:nvSpPr>
          <p:spPr bwMode="auto">
            <a:xfrm>
              <a:off x="8848725" y="4805363"/>
              <a:ext cx="77788" cy="123825"/>
            </a:xfrm>
            <a:custGeom>
              <a:avLst/>
              <a:gdLst>
                <a:gd name="T0" fmla="*/ 148 w 148"/>
                <a:gd name="T1" fmla="*/ 0 h 232"/>
                <a:gd name="T2" fmla="*/ 148 w 148"/>
                <a:gd name="T3" fmla="*/ 39 h 232"/>
                <a:gd name="T4" fmla="*/ 97 w 148"/>
                <a:gd name="T5" fmla="*/ 39 h 232"/>
                <a:gd name="T6" fmla="*/ 97 w 148"/>
                <a:gd name="T7" fmla="*/ 232 h 232"/>
                <a:gd name="T8" fmla="*/ 51 w 148"/>
                <a:gd name="T9" fmla="*/ 232 h 232"/>
                <a:gd name="T10" fmla="*/ 51 w 148"/>
                <a:gd name="T11" fmla="*/ 39 h 232"/>
                <a:gd name="T12" fmla="*/ 0 w 148"/>
                <a:gd name="T13" fmla="*/ 39 h 232"/>
                <a:gd name="T14" fmla="*/ 0 w 148"/>
                <a:gd name="T15" fmla="*/ 0 h 232"/>
                <a:gd name="T16" fmla="*/ 148 w 148"/>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32">
                  <a:moveTo>
                    <a:pt x="148" y="0"/>
                  </a:moveTo>
                  <a:lnTo>
                    <a:pt x="148" y="39"/>
                  </a:lnTo>
                  <a:lnTo>
                    <a:pt x="97" y="39"/>
                  </a:lnTo>
                  <a:lnTo>
                    <a:pt x="97" y="232"/>
                  </a:lnTo>
                  <a:lnTo>
                    <a:pt x="51" y="232"/>
                  </a:lnTo>
                  <a:lnTo>
                    <a:pt x="51" y="39"/>
                  </a:lnTo>
                  <a:lnTo>
                    <a:pt x="0" y="39"/>
                  </a:lnTo>
                  <a:lnTo>
                    <a:pt x="0" y="0"/>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200"/>
            </a:p>
          </p:txBody>
        </p:sp>
      </p:grpSp>
      <p:pic>
        <p:nvPicPr>
          <p:cNvPr id="1042" name="Picture 18" descr="C:\Users\ARNAUD~1\AppData\Local\Temp\VMwareDnD\933dad87\3_brands_logotypes_bis.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80975" y="6234115"/>
            <a:ext cx="900000" cy="2895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23"/>
          <p:cNvSpPr txBox="1">
            <a:spLocks noChangeArrowheads="1"/>
          </p:cNvSpPr>
          <p:nvPr userDrawn="1"/>
        </p:nvSpPr>
        <p:spPr bwMode="auto">
          <a:xfrm>
            <a:off x="1331120" y="6290985"/>
            <a:ext cx="252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DISG</a:t>
            </a:r>
          </a:p>
        </p:txBody>
      </p:sp>
      <p:cxnSp>
        <p:nvCxnSpPr>
          <p:cNvPr id="23" name="Connecteur droit 22"/>
          <p:cNvCxnSpPr/>
          <p:nvPr userDrawn="1"/>
        </p:nvCxnSpPr>
        <p:spPr>
          <a:xfrm>
            <a:off x="3858263"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Box 23"/>
          <p:cNvSpPr txBox="1">
            <a:spLocks noChangeArrowheads="1"/>
          </p:cNvSpPr>
          <p:nvPr userDrawn="1"/>
        </p:nvSpPr>
        <p:spPr bwMode="auto">
          <a:xfrm>
            <a:off x="3929857" y="6290985"/>
            <a:ext cx="900000" cy="220800"/>
          </a:xfrm>
          <a:prstGeom prst="rect">
            <a:avLst/>
          </a:prstGeom>
          <a:noFill/>
          <a:ln>
            <a:noFill/>
          </a:ln>
          <a:extLst/>
        </p:spPr>
        <p:txBody>
          <a:bodyPr wrap="square" lIns="0" tIns="0" rIns="0" bIns="0" anchor="b" anchorCtr="0">
            <a:noAutofit/>
          </a:bodyPr>
          <a:lstStyle>
            <a:lvl1pPr defTabSz="1042988" eaLnBrk="0" hangingPunct="0">
              <a:spcBef>
                <a:spcPct val="0"/>
              </a:spcBef>
              <a:defRPr sz="2400">
                <a:solidFill>
                  <a:schemeClr val="tx1"/>
                </a:solidFill>
                <a:latin typeface="Arial" charset="0"/>
                <a:ea typeface="MS PGothic" pitchFamily="34" charset="-128"/>
              </a:defRPr>
            </a:lvl1pPr>
            <a:lvl2pPr marL="37931725" indent="-37474525" defTabSz="1042988"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eaLnBrk="1" hangingPunct="1">
              <a:buClr>
                <a:srgbClr val="F7B100"/>
              </a:buClr>
              <a:buFont typeface="Wingdings" pitchFamily="2" charset="2"/>
              <a:buNone/>
              <a:defRPr/>
            </a:pPr>
            <a:r>
              <a:rPr lang="fr-FR" sz="600" b="0" cap="all" baseline="0" dirty="0">
                <a:latin typeface="Arial" panose="020B0604020202020204" pitchFamily="34" charset="0"/>
                <a:cs typeface="Arial" panose="020B0604020202020204" pitchFamily="34" charset="0"/>
              </a:rPr>
              <a:t>AVRIL 2017</a:t>
            </a:r>
          </a:p>
        </p:txBody>
      </p:sp>
      <p:cxnSp>
        <p:nvCxnSpPr>
          <p:cNvPr id="26" name="Connecteur droit 25"/>
          <p:cNvCxnSpPr/>
          <p:nvPr userDrawn="1"/>
        </p:nvCxnSpPr>
        <p:spPr>
          <a:xfrm>
            <a:off x="1266825"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Connecteur droit 64"/>
          <p:cNvCxnSpPr/>
          <p:nvPr userDrawn="1"/>
        </p:nvCxnSpPr>
        <p:spPr>
          <a:xfrm>
            <a:off x="4837000"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Text Box 74"/>
          <p:cNvSpPr txBox="1">
            <a:spLocks noChangeArrowheads="1"/>
          </p:cNvSpPr>
          <p:nvPr userDrawn="1"/>
        </p:nvSpPr>
        <p:spPr bwMode="auto">
          <a:xfrm>
            <a:off x="5500174" y="6326863"/>
            <a:ext cx="901976" cy="161335"/>
          </a:xfrm>
          <a:prstGeom prst="rect">
            <a:avLst/>
          </a:prstGeom>
          <a:solidFill>
            <a:srgbClr val="FFFFFF"/>
          </a:solidFill>
          <a:ln w="6350">
            <a:solidFill>
              <a:srgbClr val="000000"/>
            </a:solidFill>
            <a:miter lim="800000"/>
            <a:headEnd/>
            <a:tailEnd/>
          </a:ln>
        </p:spPr>
        <p:txBody>
          <a:bodyPr wrap="none" lIns="0" tIns="0" rIns="0" bIns="0" anchor="ctr" anchorCtr="1"/>
          <a:lstStyle>
            <a:lvl1pPr eaLnBrk="0" hangingPunct="0">
              <a:spcBef>
                <a:spcPct val="0"/>
              </a:spcBef>
              <a:defRPr sz="2400">
                <a:solidFill>
                  <a:schemeClr val="tx1"/>
                </a:solidFill>
                <a:latin typeface="Arial" charset="0"/>
                <a:ea typeface="MS PGothic" pitchFamily="34" charset="-128"/>
              </a:defRPr>
            </a:lvl1pPr>
            <a:lvl2pPr marL="37931725" indent="-37474525" eaLnBrk="0" hangingPunct="0">
              <a:spcBef>
                <a:spcPct val="0"/>
              </a:spcBef>
              <a:defRPr sz="2400">
                <a:solidFill>
                  <a:schemeClr val="tx1"/>
                </a:solidFill>
                <a:latin typeface="Arial" charset="0"/>
                <a:ea typeface="MS PGothic" pitchFamily="34" charset="-128"/>
              </a:defRPr>
            </a:lvl2pPr>
            <a:lvl3pPr eaLnBrk="0" hangingPunct="0">
              <a:spcBef>
                <a:spcPct val="0"/>
              </a:spcBef>
              <a:defRPr sz="2400">
                <a:solidFill>
                  <a:schemeClr val="tx1"/>
                </a:solidFill>
                <a:latin typeface="Arial" charset="0"/>
                <a:ea typeface="MS PGothic" pitchFamily="34" charset="-128"/>
              </a:defRPr>
            </a:lvl3pPr>
            <a:lvl4pPr eaLnBrk="0" hangingPunct="0">
              <a:spcBef>
                <a:spcPct val="0"/>
              </a:spcBef>
              <a:defRPr sz="2400">
                <a:solidFill>
                  <a:schemeClr val="tx1"/>
                </a:solidFill>
                <a:latin typeface="Arial" charset="0"/>
                <a:ea typeface="MS PGothic" pitchFamily="34" charset="-128"/>
              </a:defRPr>
            </a:lvl4pPr>
            <a:lvl5pPr eaLnBrk="0" hangingPunct="0">
              <a:spcBef>
                <a:spcPct val="0"/>
              </a:spcBef>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algn="ctr" eaLnBrk="1" fontAlgn="base" hangingPunct="1">
              <a:spcAft>
                <a:spcPct val="0"/>
              </a:spcAft>
              <a:defRPr/>
            </a:pPr>
            <a:r>
              <a:rPr lang="fr-FR" sz="667" dirty="0">
                <a:solidFill>
                  <a:srgbClr val="000000"/>
                </a:solidFill>
                <a:cs typeface="Arial" charset="0"/>
              </a:rPr>
              <a:t>Renault </a:t>
            </a:r>
            <a:r>
              <a:rPr lang="fr-FR" sz="667" dirty="0" err="1">
                <a:solidFill>
                  <a:srgbClr val="000000"/>
                </a:solidFill>
                <a:cs typeface="Arial" charset="0"/>
              </a:rPr>
              <a:t>Confidential</a:t>
            </a:r>
            <a:r>
              <a:rPr lang="fr-FR" sz="667" dirty="0">
                <a:solidFill>
                  <a:srgbClr val="000000"/>
                </a:solidFill>
                <a:cs typeface="Arial" charset="0"/>
              </a:rPr>
              <a:t> C</a:t>
            </a:r>
          </a:p>
        </p:txBody>
      </p:sp>
      <p:cxnSp>
        <p:nvCxnSpPr>
          <p:cNvPr id="62" name="Connecteur droit 61"/>
          <p:cNvCxnSpPr/>
          <p:nvPr userDrawn="1"/>
        </p:nvCxnSpPr>
        <p:spPr>
          <a:xfrm>
            <a:off x="7001080" y="6266209"/>
            <a:ext cx="0" cy="2208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8044586"/>
      </p:ext>
    </p:extLst>
  </p:cSld>
  <p:clrMap bg1="lt1" tx1="dk1" bg2="lt2" tx2="dk2" accent1="accent1" accent2="accent2" accent3="accent3" accent4="accent4" accent5="accent5" accent6="accent6" hlink="hlink" folHlink="folHlink"/>
  <p:sldLayoutIdLst>
    <p:sldLayoutId id="2147483725" r:id="rId1"/>
    <p:sldLayoutId id="2147483727" r:id="rId2"/>
  </p:sldLayoutIdLst>
  <p:hf hdr="0" ftr="0" dt="0"/>
  <p:txStyles>
    <p:titleStyle>
      <a:lvl1pPr algn="l" rtl="0" eaLnBrk="1" fontAlgn="base" hangingPunct="1">
        <a:spcBef>
          <a:spcPct val="0"/>
        </a:spcBef>
        <a:spcAft>
          <a:spcPct val="0"/>
        </a:spcAft>
        <a:defRPr sz="1800" b="1">
          <a:solidFill>
            <a:schemeClr val="tx1"/>
          </a:solidFill>
          <a:latin typeface="+mj-lt"/>
          <a:ea typeface="+mj-ea"/>
          <a:cs typeface="+mj-cs"/>
        </a:defRPr>
      </a:lvl1pPr>
      <a:lvl2pPr algn="l" rtl="0" eaLnBrk="1" fontAlgn="base" hangingPunct="1">
        <a:spcBef>
          <a:spcPct val="0"/>
        </a:spcBef>
        <a:spcAft>
          <a:spcPct val="0"/>
        </a:spcAft>
        <a:defRPr sz="1800" b="1">
          <a:solidFill>
            <a:schemeClr val="tx1"/>
          </a:solidFill>
          <a:latin typeface="Arial Narrow" pitchFamily="34" charset="0"/>
          <a:ea typeface="MS PGothic" pitchFamily="34" charset="-128"/>
        </a:defRPr>
      </a:lvl2pPr>
      <a:lvl3pPr algn="l" rtl="0" eaLnBrk="1" fontAlgn="base" hangingPunct="1">
        <a:spcBef>
          <a:spcPct val="0"/>
        </a:spcBef>
        <a:spcAft>
          <a:spcPct val="0"/>
        </a:spcAft>
        <a:defRPr sz="1800" b="1">
          <a:solidFill>
            <a:schemeClr val="tx1"/>
          </a:solidFill>
          <a:latin typeface="Arial Narrow" pitchFamily="34" charset="0"/>
          <a:ea typeface="MS PGothic" pitchFamily="34" charset="-128"/>
        </a:defRPr>
      </a:lvl3pPr>
      <a:lvl4pPr algn="l" rtl="0" eaLnBrk="1" fontAlgn="base" hangingPunct="1">
        <a:spcBef>
          <a:spcPct val="0"/>
        </a:spcBef>
        <a:spcAft>
          <a:spcPct val="0"/>
        </a:spcAft>
        <a:defRPr sz="1800" b="1">
          <a:solidFill>
            <a:schemeClr val="tx1"/>
          </a:solidFill>
          <a:latin typeface="Arial Narrow" pitchFamily="34" charset="0"/>
          <a:ea typeface="MS PGothic" pitchFamily="34" charset="-128"/>
        </a:defRPr>
      </a:lvl4pPr>
      <a:lvl5pPr algn="l" rtl="0" eaLnBrk="1" fontAlgn="base" hangingPunct="1">
        <a:spcBef>
          <a:spcPct val="0"/>
        </a:spcBef>
        <a:spcAft>
          <a:spcPct val="0"/>
        </a:spcAft>
        <a:defRPr sz="1800" b="1">
          <a:solidFill>
            <a:schemeClr val="tx1"/>
          </a:solidFill>
          <a:latin typeface="Arial Narrow" pitchFamily="34" charset="0"/>
          <a:ea typeface="MS PGothic" pitchFamily="34" charset="-128"/>
        </a:defRPr>
      </a:lvl5pPr>
      <a:lvl6pPr marL="342891" algn="l" rtl="0" eaLnBrk="1" fontAlgn="base" hangingPunct="1">
        <a:spcBef>
          <a:spcPct val="0"/>
        </a:spcBef>
        <a:spcAft>
          <a:spcPct val="0"/>
        </a:spcAft>
        <a:defRPr sz="1800" b="1">
          <a:solidFill>
            <a:schemeClr val="tx1"/>
          </a:solidFill>
          <a:latin typeface="Arial Narrow" pitchFamily="34" charset="0"/>
          <a:ea typeface="MS PGothic" pitchFamily="34" charset="-128"/>
        </a:defRPr>
      </a:lvl6pPr>
      <a:lvl7pPr marL="685783" algn="l" rtl="0" eaLnBrk="1" fontAlgn="base" hangingPunct="1">
        <a:spcBef>
          <a:spcPct val="0"/>
        </a:spcBef>
        <a:spcAft>
          <a:spcPct val="0"/>
        </a:spcAft>
        <a:defRPr sz="1800" b="1">
          <a:solidFill>
            <a:schemeClr val="tx1"/>
          </a:solidFill>
          <a:latin typeface="Arial Narrow" pitchFamily="34" charset="0"/>
          <a:ea typeface="MS PGothic" pitchFamily="34" charset="-128"/>
        </a:defRPr>
      </a:lvl7pPr>
      <a:lvl8pPr marL="1028674" algn="l" rtl="0" eaLnBrk="1" fontAlgn="base" hangingPunct="1">
        <a:spcBef>
          <a:spcPct val="0"/>
        </a:spcBef>
        <a:spcAft>
          <a:spcPct val="0"/>
        </a:spcAft>
        <a:defRPr sz="1800" b="1">
          <a:solidFill>
            <a:schemeClr val="tx1"/>
          </a:solidFill>
          <a:latin typeface="Arial Narrow" pitchFamily="34" charset="0"/>
          <a:ea typeface="MS PGothic" pitchFamily="34" charset="-128"/>
        </a:defRPr>
      </a:lvl8pPr>
      <a:lvl9pPr marL="1371566" algn="l" rtl="0" eaLnBrk="1" fontAlgn="base" hangingPunct="1">
        <a:spcBef>
          <a:spcPct val="0"/>
        </a:spcBef>
        <a:spcAft>
          <a:spcPct val="0"/>
        </a:spcAft>
        <a:defRPr sz="1800" b="1">
          <a:solidFill>
            <a:schemeClr val="tx1"/>
          </a:solidFill>
          <a:latin typeface="Arial Narrow" pitchFamily="34" charset="0"/>
          <a:ea typeface="MS PGothic" pitchFamily="34" charset="-128"/>
        </a:defRPr>
      </a:lvl9pPr>
    </p:titleStyle>
    <p:bodyStyle>
      <a:lvl1pPr marL="257168" indent="-257168" algn="l" rtl="0" eaLnBrk="1" fontAlgn="base" hangingPunct="1">
        <a:spcBef>
          <a:spcPct val="35000"/>
        </a:spcBef>
        <a:spcAft>
          <a:spcPct val="0"/>
        </a:spcAft>
        <a:buClr>
          <a:srgbClr val="F7B100"/>
        </a:buClr>
        <a:buFont typeface="Wingdings" pitchFamily="2" charset="2"/>
        <a:buChar char="§"/>
        <a:defRPr sz="1500" b="1">
          <a:solidFill>
            <a:schemeClr val="tx1"/>
          </a:solidFill>
          <a:latin typeface="+mn-lt"/>
          <a:ea typeface="+mn-ea"/>
          <a:cs typeface="+mn-cs"/>
        </a:defRPr>
      </a:lvl1pPr>
      <a:lvl2pPr marL="557199" indent="-214308" algn="l" rtl="0" eaLnBrk="1" fontAlgn="base" hangingPunct="1">
        <a:spcBef>
          <a:spcPct val="30000"/>
        </a:spcBef>
        <a:spcAft>
          <a:spcPct val="0"/>
        </a:spcAft>
        <a:buClr>
          <a:srgbClr val="F7B100"/>
        </a:buClr>
        <a:buFont typeface="Wingdings" pitchFamily="2" charset="2"/>
        <a:buChar char="§"/>
        <a:defRPr sz="1200">
          <a:solidFill>
            <a:schemeClr val="tx1"/>
          </a:solidFill>
          <a:latin typeface="+mn-lt"/>
          <a:ea typeface="+mn-ea"/>
        </a:defRPr>
      </a:lvl2pPr>
      <a:lvl3pPr marL="857229" indent="-171446" algn="l" rtl="0" eaLnBrk="1" fontAlgn="base" hangingPunct="1">
        <a:spcBef>
          <a:spcPct val="35000"/>
        </a:spcBef>
        <a:spcAft>
          <a:spcPct val="0"/>
        </a:spcAft>
        <a:buFont typeface="Wingdings" pitchFamily="2" charset="2"/>
        <a:buChar char="§"/>
        <a:defRPr sz="1100">
          <a:solidFill>
            <a:schemeClr val="tx1"/>
          </a:solidFill>
          <a:latin typeface="+mn-lt"/>
          <a:ea typeface="+mn-ea"/>
        </a:defRPr>
      </a:lvl3pPr>
      <a:lvl4pPr marL="1200121" indent="-171446" algn="l" rtl="0" eaLnBrk="1" fontAlgn="base" hangingPunct="1">
        <a:spcBef>
          <a:spcPct val="40000"/>
        </a:spcBef>
        <a:spcAft>
          <a:spcPct val="0"/>
        </a:spcAft>
        <a:buFont typeface="Wingdings" pitchFamily="2" charset="2"/>
        <a:buChar char="§"/>
        <a:defRPr sz="800">
          <a:solidFill>
            <a:schemeClr val="tx1"/>
          </a:solidFill>
          <a:latin typeface="+mn-lt"/>
          <a:ea typeface="+mn-ea"/>
        </a:defRPr>
      </a:lvl4pPr>
      <a:lvl5pPr marL="1543012" indent="-171446" algn="l" rtl="0" eaLnBrk="1" fontAlgn="base" hangingPunct="1">
        <a:spcBef>
          <a:spcPct val="20000"/>
        </a:spcBef>
        <a:spcAft>
          <a:spcPct val="0"/>
        </a:spcAft>
        <a:buChar char="»"/>
        <a:defRPr sz="800">
          <a:solidFill>
            <a:schemeClr val="tx1"/>
          </a:solidFill>
          <a:latin typeface="+mn-lt"/>
          <a:ea typeface="+mn-ea"/>
        </a:defRPr>
      </a:lvl5pPr>
      <a:lvl6pPr marL="1885904" indent="-171446" algn="l" rtl="0" eaLnBrk="1" fontAlgn="base" hangingPunct="1">
        <a:spcBef>
          <a:spcPct val="20000"/>
        </a:spcBef>
        <a:spcAft>
          <a:spcPct val="0"/>
        </a:spcAft>
        <a:buChar char="»"/>
        <a:defRPr sz="800">
          <a:solidFill>
            <a:schemeClr val="tx1"/>
          </a:solidFill>
          <a:latin typeface="+mn-lt"/>
          <a:ea typeface="+mn-ea"/>
        </a:defRPr>
      </a:lvl6pPr>
      <a:lvl7pPr marL="2228795" indent="-171446" algn="l" rtl="0" eaLnBrk="1" fontAlgn="base" hangingPunct="1">
        <a:spcBef>
          <a:spcPct val="20000"/>
        </a:spcBef>
        <a:spcAft>
          <a:spcPct val="0"/>
        </a:spcAft>
        <a:buChar char="»"/>
        <a:defRPr sz="800">
          <a:solidFill>
            <a:schemeClr val="tx1"/>
          </a:solidFill>
          <a:latin typeface="+mn-lt"/>
          <a:ea typeface="+mn-ea"/>
        </a:defRPr>
      </a:lvl7pPr>
      <a:lvl8pPr marL="2571686" indent="-171446" algn="l" rtl="0" eaLnBrk="1" fontAlgn="base" hangingPunct="1">
        <a:spcBef>
          <a:spcPct val="20000"/>
        </a:spcBef>
        <a:spcAft>
          <a:spcPct val="0"/>
        </a:spcAft>
        <a:buChar char="»"/>
        <a:defRPr sz="800">
          <a:solidFill>
            <a:schemeClr val="tx1"/>
          </a:solidFill>
          <a:latin typeface="+mn-lt"/>
          <a:ea typeface="+mn-ea"/>
        </a:defRPr>
      </a:lvl8pPr>
      <a:lvl9pPr marL="2914578" indent="-171446" algn="l" rtl="0" eaLnBrk="1" fontAlgn="base" hangingPunct="1">
        <a:spcBef>
          <a:spcPct val="20000"/>
        </a:spcBef>
        <a:spcAft>
          <a:spcPct val="0"/>
        </a:spcAft>
        <a:buChar char="»"/>
        <a:defRPr sz="800">
          <a:solidFill>
            <a:schemeClr val="tx1"/>
          </a:solidFill>
          <a:latin typeface="+mn-lt"/>
          <a:ea typeface="+mn-ea"/>
        </a:defRPr>
      </a:lvl9pPr>
    </p:bodyStyle>
    <p:otherStyle>
      <a:defPPr>
        <a:defRPr lang="fr-FR"/>
      </a:defPPr>
      <a:lvl1pPr marL="0" algn="l" defTabSz="685783" rtl="0" eaLnBrk="1" latinLnBrk="0" hangingPunct="1">
        <a:defRPr sz="1400" kern="1200">
          <a:solidFill>
            <a:schemeClr val="tx1"/>
          </a:solidFill>
          <a:latin typeface="+mn-lt"/>
          <a:ea typeface="+mn-ea"/>
          <a:cs typeface="+mn-cs"/>
        </a:defRPr>
      </a:lvl1pPr>
      <a:lvl2pPr marL="342891"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4"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9"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1" algn="l" defTabSz="685783"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13">
          <p15:clr>
            <a:srgbClr val="F26B43"/>
          </p15:clr>
        </p15:guide>
        <p15:guide id="2" orient="horz" pos="114">
          <p15:clr>
            <a:srgbClr val="F26B43"/>
          </p15:clr>
        </p15:guide>
        <p15:guide id="4" pos="5647">
          <p15:clr>
            <a:srgbClr val="F26B43"/>
          </p15:clr>
        </p15:guide>
        <p15:guide id="5" orient="horz" pos="2787">
          <p15:clr>
            <a:srgbClr val="F26B43"/>
          </p15:clr>
        </p15:guide>
        <p15:guide id="6" orient="horz" pos="1904">
          <p15:clr>
            <a:srgbClr val="F26B43"/>
          </p15:clr>
        </p15:guide>
        <p15:guide id="7" orient="horz" pos="1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32.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jpeg"/><Relationship Id="rId3" Type="http://schemas.openxmlformats.org/officeDocument/2006/relationships/image" Target="../media/image31.png"/><Relationship Id="rId7" Type="http://schemas.openxmlformats.org/officeDocument/2006/relationships/image" Target="../media/image34.png"/><Relationship Id="rId12" Type="http://schemas.openxmlformats.org/officeDocument/2006/relationships/image" Target="../media/image39.jpg"/><Relationship Id="rId17" Type="http://schemas.openxmlformats.org/officeDocument/2006/relationships/image" Target="../media/image44.png"/><Relationship Id="rId2" Type="http://schemas.openxmlformats.org/officeDocument/2006/relationships/notesSlide" Target="../notesSlides/notesSlide5.xml"/><Relationship Id="rId16" Type="http://schemas.openxmlformats.org/officeDocument/2006/relationships/image" Target="../media/image43.png"/><Relationship Id="rId20" Type="http://schemas.openxmlformats.org/officeDocument/2006/relationships/image" Target="../media/image47.emf"/><Relationship Id="rId1" Type="http://schemas.openxmlformats.org/officeDocument/2006/relationships/slideLayout" Target="../slideLayouts/slideLayout30.xml"/><Relationship Id="rId6" Type="http://schemas.openxmlformats.org/officeDocument/2006/relationships/image" Target="../media/image33.png"/><Relationship Id="rId11" Type="http://schemas.openxmlformats.org/officeDocument/2006/relationships/image" Target="../media/image38.png"/><Relationship Id="rId5" Type="http://schemas.microsoft.com/office/2007/relationships/hdphoto" Target="../media/hdphoto1.wdp"/><Relationship Id="rId15" Type="http://schemas.openxmlformats.org/officeDocument/2006/relationships/image" Target="../media/image42.png"/><Relationship Id="rId10" Type="http://schemas.openxmlformats.org/officeDocument/2006/relationships/image" Target="../media/image37.png"/><Relationship Id="rId19" Type="http://schemas.openxmlformats.org/officeDocument/2006/relationships/image" Target="../media/image46.jpeg"/><Relationship Id="rId4" Type="http://schemas.openxmlformats.org/officeDocument/2006/relationships/image" Target="../media/image32.png"/><Relationship Id="rId9" Type="http://schemas.openxmlformats.org/officeDocument/2006/relationships/image" Target="../media/image36.png"/><Relationship Id="rId1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7.xml"/><Relationship Id="rId1" Type="http://schemas.openxmlformats.org/officeDocument/2006/relationships/vmlDrawing" Target="../drawings/vmlDrawing1.vml"/><Relationship Id="rId6" Type="http://schemas.openxmlformats.org/officeDocument/2006/relationships/image" Target="../media/image49.jpeg"/><Relationship Id="rId5" Type="http://schemas.openxmlformats.org/officeDocument/2006/relationships/image" Target="../media/image48.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51.xml"/><Relationship Id="rId7" Type="http://schemas.openxmlformats.org/officeDocument/2006/relationships/diagramData" Target="../diagrams/data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1.emf"/><Relationship Id="rId11" Type="http://schemas.microsoft.com/office/2007/relationships/diagramDrawing" Target="../diagrams/drawing1.xml"/><Relationship Id="rId5" Type="http://schemas.openxmlformats.org/officeDocument/2006/relationships/oleObject" Target="../embeddings/oleObject2.bin"/><Relationship Id="rId10" Type="http://schemas.openxmlformats.org/officeDocument/2006/relationships/diagramColors" Target="../diagrams/colors1.xml"/><Relationship Id="rId4" Type="http://schemas.openxmlformats.org/officeDocument/2006/relationships/notesSlide" Target="../notesSlides/notesSlide8.xml"/><Relationship Id="rId9"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52.xml"/><Relationship Id="rId7" Type="http://schemas.openxmlformats.org/officeDocument/2006/relationships/diagramData" Target="../diagrams/data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1.emf"/><Relationship Id="rId11" Type="http://schemas.microsoft.com/office/2007/relationships/diagramDrawing" Target="../diagrams/drawing2.xml"/><Relationship Id="rId5" Type="http://schemas.openxmlformats.org/officeDocument/2006/relationships/oleObject" Target="../embeddings/oleObject3.bin"/><Relationship Id="rId10" Type="http://schemas.openxmlformats.org/officeDocument/2006/relationships/diagramColors" Target="../diagrams/colors2.xml"/><Relationship Id="rId4" Type="http://schemas.openxmlformats.org/officeDocument/2006/relationships/notesSlide" Target="../notesSlides/notesSlide9.xml"/><Relationship Id="rId9"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4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8.xml"/><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mailto:alain.merveille@socotec.fr" TargetMode="External"/><Relationship Id="rId3" Type="http://schemas.openxmlformats.org/officeDocument/2006/relationships/hyperlink" Target="mailto:anne-sophie.rabillon@justice.fr" TargetMode="External"/><Relationship Id="rId7" Type="http://schemas.openxmlformats.org/officeDocument/2006/relationships/hyperlink" Target="mailto:bernard.ouillon@rte-france.com" TargetMode="External"/><Relationship Id="rId2" Type="http://schemas.openxmlformats.org/officeDocument/2006/relationships/hyperlink" Target="mailto:herve.zumtangwald@areva.com" TargetMode="External"/><Relationship Id="rId1" Type="http://schemas.openxmlformats.org/officeDocument/2006/relationships/slideLayout" Target="../slideLayouts/slideLayout2.xml"/><Relationship Id="rId6" Type="http://schemas.openxmlformats.org/officeDocument/2006/relationships/hyperlink" Target="mailto:cavincensdetapol@airfrance.fr" TargetMode="External"/><Relationship Id="rId5" Type="http://schemas.openxmlformats.org/officeDocument/2006/relationships/hyperlink" Target="mailto:FDELION@bouyguestelecom.fr" TargetMode="External"/><Relationship Id="rId4" Type="http://schemas.openxmlformats.org/officeDocument/2006/relationships/hyperlink" Target="mailto:gilles.rouyer@renault.com" TargetMode="External"/><Relationship Id="rId9" Type="http://schemas.openxmlformats.org/officeDocument/2006/relationships/hyperlink" Target="mailto:jpblas@airfrance.fr"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e 11">
            <a:extLst>
              <a:ext uri="{FF2B5EF4-FFF2-40B4-BE49-F238E27FC236}">
                <a16:creationId xmlns:a16="http://schemas.microsoft.com/office/drawing/2014/main" xmlns="" id="{3A774E80-8A81-4069-87E4-0AD36C5A2FAE}"/>
              </a:ext>
            </a:extLst>
          </p:cNvPr>
          <p:cNvGrpSpPr/>
          <p:nvPr/>
        </p:nvGrpSpPr>
        <p:grpSpPr>
          <a:xfrm>
            <a:off x="1824425" y="3356329"/>
            <a:ext cx="4398044" cy="1273919"/>
            <a:chOff x="6264000" y="4424363"/>
            <a:chExt cx="2880000" cy="719137"/>
          </a:xfrm>
        </p:grpSpPr>
        <p:sp>
          <p:nvSpPr>
            <p:cNvPr id="13" name="Rectangle 12">
              <a:extLst>
                <a:ext uri="{FF2B5EF4-FFF2-40B4-BE49-F238E27FC236}">
                  <a16:creationId xmlns:a16="http://schemas.microsoft.com/office/drawing/2014/main" xmlns="" id="{54B54D12-7660-4FCB-BB42-0B9C6BDDAD89}"/>
                </a:ext>
              </a:extLst>
            </p:cNvPr>
            <p:cNvSpPr/>
            <p:nvPr userDrawn="1"/>
          </p:nvSpPr>
          <p:spPr>
            <a:xfrm>
              <a:off x="6264000" y="4424363"/>
              <a:ext cx="2880000" cy="719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grpSp>
          <p:nvGrpSpPr>
            <p:cNvPr id="14" name="Groupe 13">
              <a:extLst>
                <a:ext uri="{FF2B5EF4-FFF2-40B4-BE49-F238E27FC236}">
                  <a16:creationId xmlns:a16="http://schemas.microsoft.com/office/drawing/2014/main" xmlns="" id="{8DDF8776-BA6F-40C8-8C48-EC5281A5E162}"/>
                </a:ext>
              </a:extLst>
            </p:cNvPr>
            <p:cNvGrpSpPr>
              <a:grpSpLocks noChangeAspect="1"/>
            </p:cNvGrpSpPr>
            <p:nvPr userDrawn="1"/>
          </p:nvGrpSpPr>
          <p:grpSpPr>
            <a:xfrm>
              <a:off x="7343775" y="4699657"/>
              <a:ext cx="1620000" cy="169413"/>
              <a:chOff x="7712075" y="4803775"/>
              <a:chExt cx="1214438" cy="127001"/>
            </a:xfrm>
          </p:grpSpPr>
          <p:sp>
            <p:nvSpPr>
              <p:cNvPr id="15" name="Freeform 5">
                <a:extLst>
                  <a:ext uri="{FF2B5EF4-FFF2-40B4-BE49-F238E27FC236}">
                    <a16:creationId xmlns:a16="http://schemas.microsoft.com/office/drawing/2014/main" xmlns="" id="{6200CA3E-5901-4138-9B17-C2080DF8B0CD}"/>
                  </a:ext>
                </a:extLst>
              </p:cNvPr>
              <p:cNvSpPr>
                <a:spLocks/>
              </p:cNvSpPr>
              <p:nvPr userDrawn="1"/>
            </p:nvSpPr>
            <p:spPr bwMode="auto">
              <a:xfrm>
                <a:off x="7712075" y="4803775"/>
                <a:ext cx="80963" cy="127000"/>
              </a:xfrm>
              <a:custGeom>
                <a:avLst/>
                <a:gdLst>
                  <a:gd name="T0" fmla="*/ 105 w 153"/>
                  <a:gd name="T1" fmla="*/ 73 h 240"/>
                  <a:gd name="T2" fmla="*/ 103 w 153"/>
                  <a:gd name="T3" fmla="*/ 60 h 240"/>
                  <a:gd name="T4" fmla="*/ 99 w 153"/>
                  <a:gd name="T5" fmla="*/ 48 h 240"/>
                  <a:gd name="T6" fmla="*/ 90 w 153"/>
                  <a:gd name="T7" fmla="*/ 37 h 240"/>
                  <a:gd name="T8" fmla="*/ 78 w 153"/>
                  <a:gd name="T9" fmla="*/ 34 h 240"/>
                  <a:gd name="T10" fmla="*/ 71 w 153"/>
                  <a:gd name="T11" fmla="*/ 35 h 240"/>
                  <a:gd name="T12" fmla="*/ 64 w 153"/>
                  <a:gd name="T13" fmla="*/ 38 h 240"/>
                  <a:gd name="T14" fmla="*/ 59 w 153"/>
                  <a:gd name="T15" fmla="*/ 45 h 240"/>
                  <a:gd name="T16" fmla="*/ 51 w 153"/>
                  <a:gd name="T17" fmla="*/ 64 h 240"/>
                  <a:gd name="T18" fmla="*/ 47 w 153"/>
                  <a:gd name="T19" fmla="*/ 95 h 240"/>
                  <a:gd name="T20" fmla="*/ 47 w 153"/>
                  <a:gd name="T21" fmla="*/ 115 h 240"/>
                  <a:gd name="T22" fmla="*/ 48 w 153"/>
                  <a:gd name="T23" fmla="*/ 153 h 240"/>
                  <a:gd name="T24" fmla="*/ 53 w 153"/>
                  <a:gd name="T25" fmla="*/ 181 h 240"/>
                  <a:gd name="T26" fmla="*/ 60 w 153"/>
                  <a:gd name="T27" fmla="*/ 196 h 240"/>
                  <a:gd name="T28" fmla="*/ 66 w 153"/>
                  <a:gd name="T29" fmla="*/ 203 h 240"/>
                  <a:gd name="T30" fmla="*/ 74 w 153"/>
                  <a:gd name="T31" fmla="*/ 206 h 240"/>
                  <a:gd name="T32" fmla="*/ 79 w 153"/>
                  <a:gd name="T33" fmla="*/ 206 h 240"/>
                  <a:gd name="T34" fmla="*/ 88 w 153"/>
                  <a:gd name="T35" fmla="*/ 204 h 240"/>
                  <a:gd name="T36" fmla="*/ 97 w 153"/>
                  <a:gd name="T37" fmla="*/ 196 h 240"/>
                  <a:gd name="T38" fmla="*/ 104 w 153"/>
                  <a:gd name="T39" fmla="*/ 185 h 240"/>
                  <a:gd name="T40" fmla="*/ 107 w 153"/>
                  <a:gd name="T41" fmla="*/ 169 h 240"/>
                  <a:gd name="T42" fmla="*/ 77 w 153"/>
                  <a:gd name="T43" fmla="*/ 146 h 240"/>
                  <a:gd name="T44" fmla="*/ 153 w 153"/>
                  <a:gd name="T45" fmla="*/ 111 h 240"/>
                  <a:gd name="T46" fmla="*/ 118 w 153"/>
                  <a:gd name="T47" fmla="*/ 236 h 240"/>
                  <a:gd name="T48" fmla="*/ 117 w 153"/>
                  <a:gd name="T49" fmla="*/ 215 h 240"/>
                  <a:gd name="T50" fmla="*/ 113 w 153"/>
                  <a:gd name="T51" fmla="*/ 221 h 240"/>
                  <a:gd name="T52" fmla="*/ 103 w 153"/>
                  <a:gd name="T53" fmla="*/ 231 h 240"/>
                  <a:gd name="T54" fmla="*/ 91 w 153"/>
                  <a:gd name="T55" fmla="*/ 237 h 240"/>
                  <a:gd name="T56" fmla="*/ 77 w 153"/>
                  <a:gd name="T57" fmla="*/ 240 h 240"/>
                  <a:gd name="T58" fmla="*/ 69 w 153"/>
                  <a:gd name="T59" fmla="*/ 240 h 240"/>
                  <a:gd name="T60" fmla="*/ 50 w 153"/>
                  <a:gd name="T61" fmla="*/ 238 h 240"/>
                  <a:gd name="T62" fmla="*/ 33 w 153"/>
                  <a:gd name="T63" fmla="*/ 233 h 240"/>
                  <a:gd name="T64" fmla="*/ 21 w 153"/>
                  <a:gd name="T65" fmla="*/ 223 h 240"/>
                  <a:gd name="T66" fmla="*/ 13 w 153"/>
                  <a:gd name="T67" fmla="*/ 209 h 240"/>
                  <a:gd name="T68" fmla="*/ 6 w 153"/>
                  <a:gd name="T69" fmla="*/ 191 h 240"/>
                  <a:gd name="T70" fmla="*/ 3 w 153"/>
                  <a:gd name="T71" fmla="*/ 170 h 240"/>
                  <a:gd name="T72" fmla="*/ 0 w 153"/>
                  <a:gd name="T73" fmla="*/ 117 h 240"/>
                  <a:gd name="T74" fmla="*/ 1 w 153"/>
                  <a:gd name="T75" fmla="*/ 90 h 240"/>
                  <a:gd name="T76" fmla="*/ 4 w 153"/>
                  <a:gd name="T77" fmla="*/ 66 h 240"/>
                  <a:gd name="T78" fmla="*/ 9 w 153"/>
                  <a:gd name="T79" fmla="*/ 46 h 240"/>
                  <a:gd name="T80" fmla="*/ 16 w 153"/>
                  <a:gd name="T81" fmla="*/ 29 h 240"/>
                  <a:gd name="T82" fmla="*/ 27 w 153"/>
                  <a:gd name="T83" fmla="*/ 16 h 240"/>
                  <a:gd name="T84" fmla="*/ 40 w 153"/>
                  <a:gd name="T85" fmla="*/ 7 h 240"/>
                  <a:gd name="T86" fmla="*/ 58 w 153"/>
                  <a:gd name="T87" fmla="*/ 2 h 240"/>
                  <a:gd name="T88" fmla="*/ 78 w 153"/>
                  <a:gd name="T89" fmla="*/ 0 h 240"/>
                  <a:gd name="T90" fmla="*/ 87 w 153"/>
                  <a:gd name="T91" fmla="*/ 0 h 240"/>
                  <a:gd name="T92" fmla="*/ 103 w 153"/>
                  <a:gd name="T93" fmla="*/ 2 h 240"/>
                  <a:gd name="T94" fmla="*/ 117 w 153"/>
                  <a:gd name="T95" fmla="*/ 7 h 240"/>
                  <a:gd name="T96" fmla="*/ 129 w 153"/>
                  <a:gd name="T97" fmla="*/ 14 h 240"/>
                  <a:gd name="T98" fmla="*/ 137 w 153"/>
                  <a:gd name="T99" fmla="*/ 23 h 240"/>
                  <a:gd name="T100" fmla="*/ 144 w 153"/>
                  <a:gd name="T101" fmla="*/ 35 h 240"/>
                  <a:gd name="T102" fmla="*/ 148 w 153"/>
                  <a:gd name="T103" fmla="*/ 49 h 240"/>
                  <a:gd name="T104" fmla="*/ 150 w 153"/>
                  <a:gd name="T105" fmla="*/ 7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3" h="240">
                    <a:moveTo>
                      <a:pt x="105" y="73"/>
                    </a:moveTo>
                    <a:lnTo>
                      <a:pt x="105" y="73"/>
                    </a:lnTo>
                    <a:lnTo>
                      <a:pt x="104" y="67"/>
                    </a:lnTo>
                    <a:lnTo>
                      <a:pt x="103" y="60"/>
                    </a:lnTo>
                    <a:lnTo>
                      <a:pt x="101" y="53"/>
                    </a:lnTo>
                    <a:lnTo>
                      <a:pt x="99" y="48"/>
                    </a:lnTo>
                    <a:lnTo>
                      <a:pt x="95" y="42"/>
                    </a:lnTo>
                    <a:lnTo>
                      <a:pt x="90" y="37"/>
                    </a:lnTo>
                    <a:lnTo>
                      <a:pt x="85" y="35"/>
                    </a:lnTo>
                    <a:lnTo>
                      <a:pt x="78" y="34"/>
                    </a:lnTo>
                    <a:lnTo>
                      <a:pt x="78" y="34"/>
                    </a:lnTo>
                    <a:lnTo>
                      <a:pt x="71" y="35"/>
                    </a:lnTo>
                    <a:lnTo>
                      <a:pt x="67" y="36"/>
                    </a:lnTo>
                    <a:lnTo>
                      <a:pt x="64" y="38"/>
                    </a:lnTo>
                    <a:lnTo>
                      <a:pt x="61" y="42"/>
                    </a:lnTo>
                    <a:lnTo>
                      <a:pt x="59" y="45"/>
                    </a:lnTo>
                    <a:lnTo>
                      <a:pt x="54" y="53"/>
                    </a:lnTo>
                    <a:lnTo>
                      <a:pt x="51" y="64"/>
                    </a:lnTo>
                    <a:lnTo>
                      <a:pt x="49" y="78"/>
                    </a:lnTo>
                    <a:lnTo>
                      <a:pt x="47" y="95"/>
                    </a:lnTo>
                    <a:lnTo>
                      <a:pt x="47" y="115"/>
                    </a:lnTo>
                    <a:lnTo>
                      <a:pt x="47" y="115"/>
                    </a:lnTo>
                    <a:lnTo>
                      <a:pt x="47" y="135"/>
                    </a:lnTo>
                    <a:lnTo>
                      <a:pt x="48" y="153"/>
                    </a:lnTo>
                    <a:lnTo>
                      <a:pt x="50" y="168"/>
                    </a:lnTo>
                    <a:lnTo>
                      <a:pt x="53" y="181"/>
                    </a:lnTo>
                    <a:lnTo>
                      <a:pt x="57" y="192"/>
                    </a:lnTo>
                    <a:lnTo>
                      <a:pt x="60" y="196"/>
                    </a:lnTo>
                    <a:lnTo>
                      <a:pt x="63" y="199"/>
                    </a:lnTo>
                    <a:lnTo>
                      <a:pt x="66" y="203"/>
                    </a:lnTo>
                    <a:lnTo>
                      <a:pt x="70" y="205"/>
                    </a:lnTo>
                    <a:lnTo>
                      <a:pt x="74" y="206"/>
                    </a:lnTo>
                    <a:lnTo>
                      <a:pt x="79" y="206"/>
                    </a:lnTo>
                    <a:lnTo>
                      <a:pt x="79" y="206"/>
                    </a:lnTo>
                    <a:lnTo>
                      <a:pt x="83" y="206"/>
                    </a:lnTo>
                    <a:lnTo>
                      <a:pt x="88" y="204"/>
                    </a:lnTo>
                    <a:lnTo>
                      <a:pt x="93" y="201"/>
                    </a:lnTo>
                    <a:lnTo>
                      <a:pt x="97" y="196"/>
                    </a:lnTo>
                    <a:lnTo>
                      <a:pt x="101" y="191"/>
                    </a:lnTo>
                    <a:lnTo>
                      <a:pt x="104" y="185"/>
                    </a:lnTo>
                    <a:lnTo>
                      <a:pt x="107" y="178"/>
                    </a:lnTo>
                    <a:lnTo>
                      <a:pt x="107" y="169"/>
                    </a:lnTo>
                    <a:lnTo>
                      <a:pt x="107" y="146"/>
                    </a:lnTo>
                    <a:lnTo>
                      <a:pt x="77" y="146"/>
                    </a:lnTo>
                    <a:lnTo>
                      <a:pt x="77" y="111"/>
                    </a:lnTo>
                    <a:lnTo>
                      <a:pt x="153" y="111"/>
                    </a:lnTo>
                    <a:lnTo>
                      <a:pt x="153" y="236"/>
                    </a:lnTo>
                    <a:lnTo>
                      <a:pt x="118" y="236"/>
                    </a:lnTo>
                    <a:lnTo>
                      <a:pt x="118" y="215"/>
                    </a:lnTo>
                    <a:lnTo>
                      <a:pt x="117" y="215"/>
                    </a:lnTo>
                    <a:lnTo>
                      <a:pt x="117" y="215"/>
                    </a:lnTo>
                    <a:lnTo>
                      <a:pt x="113" y="221"/>
                    </a:lnTo>
                    <a:lnTo>
                      <a:pt x="108" y="226"/>
                    </a:lnTo>
                    <a:lnTo>
                      <a:pt x="103" y="231"/>
                    </a:lnTo>
                    <a:lnTo>
                      <a:pt x="97" y="234"/>
                    </a:lnTo>
                    <a:lnTo>
                      <a:pt x="91" y="237"/>
                    </a:lnTo>
                    <a:lnTo>
                      <a:pt x="84" y="239"/>
                    </a:lnTo>
                    <a:lnTo>
                      <a:pt x="77" y="240"/>
                    </a:lnTo>
                    <a:lnTo>
                      <a:pt x="69" y="240"/>
                    </a:lnTo>
                    <a:lnTo>
                      <a:pt x="69" y="240"/>
                    </a:lnTo>
                    <a:lnTo>
                      <a:pt x="59" y="240"/>
                    </a:lnTo>
                    <a:lnTo>
                      <a:pt x="50" y="238"/>
                    </a:lnTo>
                    <a:lnTo>
                      <a:pt x="41" y="236"/>
                    </a:lnTo>
                    <a:lnTo>
                      <a:pt x="33" y="233"/>
                    </a:lnTo>
                    <a:lnTo>
                      <a:pt x="27" y="228"/>
                    </a:lnTo>
                    <a:lnTo>
                      <a:pt x="21" y="223"/>
                    </a:lnTo>
                    <a:lnTo>
                      <a:pt x="17" y="217"/>
                    </a:lnTo>
                    <a:lnTo>
                      <a:pt x="13" y="209"/>
                    </a:lnTo>
                    <a:lnTo>
                      <a:pt x="9" y="201"/>
                    </a:lnTo>
                    <a:lnTo>
                      <a:pt x="6" y="191"/>
                    </a:lnTo>
                    <a:lnTo>
                      <a:pt x="4" y="181"/>
                    </a:lnTo>
                    <a:lnTo>
                      <a:pt x="3" y="170"/>
                    </a:lnTo>
                    <a:lnTo>
                      <a:pt x="1" y="146"/>
                    </a:lnTo>
                    <a:lnTo>
                      <a:pt x="0" y="117"/>
                    </a:lnTo>
                    <a:lnTo>
                      <a:pt x="0" y="117"/>
                    </a:lnTo>
                    <a:lnTo>
                      <a:pt x="1" y="90"/>
                    </a:lnTo>
                    <a:lnTo>
                      <a:pt x="2" y="78"/>
                    </a:lnTo>
                    <a:lnTo>
                      <a:pt x="4" y="66"/>
                    </a:lnTo>
                    <a:lnTo>
                      <a:pt x="6" y="56"/>
                    </a:lnTo>
                    <a:lnTo>
                      <a:pt x="9" y="46"/>
                    </a:lnTo>
                    <a:lnTo>
                      <a:pt x="12" y="37"/>
                    </a:lnTo>
                    <a:lnTo>
                      <a:pt x="16" y="29"/>
                    </a:lnTo>
                    <a:lnTo>
                      <a:pt x="21" y="22"/>
                    </a:lnTo>
                    <a:lnTo>
                      <a:pt x="27" y="16"/>
                    </a:lnTo>
                    <a:lnTo>
                      <a:pt x="33" y="11"/>
                    </a:lnTo>
                    <a:lnTo>
                      <a:pt x="40" y="7"/>
                    </a:lnTo>
                    <a:lnTo>
                      <a:pt x="49" y="4"/>
                    </a:lnTo>
                    <a:lnTo>
                      <a:pt x="58" y="2"/>
                    </a:lnTo>
                    <a:lnTo>
                      <a:pt x="67" y="0"/>
                    </a:lnTo>
                    <a:lnTo>
                      <a:pt x="78" y="0"/>
                    </a:lnTo>
                    <a:lnTo>
                      <a:pt x="78" y="0"/>
                    </a:lnTo>
                    <a:lnTo>
                      <a:pt x="87" y="0"/>
                    </a:lnTo>
                    <a:lnTo>
                      <a:pt x="95" y="1"/>
                    </a:lnTo>
                    <a:lnTo>
                      <a:pt x="103" y="2"/>
                    </a:lnTo>
                    <a:lnTo>
                      <a:pt x="110" y="4"/>
                    </a:lnTo>
                    <a:lnTo>
                      <a:pt x="117" y="7"/>
                    </a:lnTo>
                    <a:lnTo>
                      <a:pt x="123" y="10"/>
                    </a:lnTo>
                    <a:lnTo>
                      <a:pt x="129" y="14"/>
                    </a:lnTo>
                    <a:lnTo>
                      <a:pt x="133" y="18"/>
                    </a:lnTo>
                    <a:lnTo>
                      <a:pt x="137" y="23"/>
                    </a:lnTo>
                    <a:lnTo>
                      <a:pt x="141" y="29"/>
                    </a:lnTo>
                    <a:lnTo>
                      <a:pt x="144" y="35"/>
                    </a:lnTo>
                    <a:lnTo>
                      <a:pt x="146" y="42"/>
                    </a:lnTo>
                    <a:lnTo>
                      <a:pt x="148" y="49"/>
                    </a:lnTo>
                    <a:lnTo>
                      <a:pt x="149" y="57"/>
                    </a:lnTo>
                    <a:lnTo>
                      <a:pt x="150" y="73"/>
                    </a:lnTo>
                    <a:lnTo>
                      <a:pt x="105" y="73"/>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16" name="Freeform 6">
                <a:extLst>
                  <a:ext uri="{FF2B5EF4-FFF2-40B4-BE49-F238E27FC236}">
                    <a16:creationId xmlns:a16="http://schemas.microsoft.com/office/drawing/2014/main" xmlns="" id="{35CBC299-5A4D-4C5B-B780-2E956C69D41A}"/>
                  </a:ext>
                </a:extLst>
              </p:cNvPr>
              <p:cNvSpPr>
                <a:spLocks noEditPoints="1"/>
              </p:cNvSpPr>
              <p:nvPr userDrawn="1"/>
            </p:nvSpPr>
            <p:spPr bwMode="auto">
              <a:xfrm>
                <a:off x="7810500" y="4805363"/>
                <a:ext cx="82550" cy="123825"/>
              </a:xfrm>
              <a:custGeom>
                <a:avLst/>
                <a:gdLst>
                  <a:gd name="T0" fmla="*/ 86 w 157"/>
                  <a:gd name="T1" fmla="*/ 0 h 232"/>
                  <a:gd name="T2" fmla="*/ 99 w 157"/>
                  <a:gd name="T3" fmla="*/ 1 h 232"/>
                  <a:gd name="T4" fmla="*/ 123 w 157"/>
                  <a:gd name="T5" fmla="*/ 9 h 232"/>
                  <a:gd name="T6" fmla="*/ 131 w 157"/>
                  <a:gd name="T7" fmla="*/ 15 h 232"/>
                  <a:gd name="T8" fmla="*/ 138 w 157"/>
                  <a:gd name="T9" fmla="*/ 23 h 232"/>
                  <a:gd name="T10" fmla="*/ 143 w 157"/>
                  <a:gd name="T11" fmla="*/ 33 h 232"/>
                  <a:gd name="T12" fmla="*/ 147 w 157"/>
                  <a:gd name="T13" fmla="*/ 46 h 232"/>
                  <a:gd name="T14" fmla="*/ 148 w 157"/>
                  <a:gd name="T15" fmla="*/ 60 h 232"/>
                  <a:gd name="T16" fmla="*/ 145 w 157"/>
                  <a:gd name="T17" fmla="*/ 81 h 232"/>
                  <a:gd name="T18" fmla="*/ 138 w 157"/>
                  <a:gd name="T19" fmla="*/ 98 h 232"/>
                  <a:gd name="T20" fmla="*/ 126 w 157"/>
                  <a:gd name="T21" fmla="*/ 110 h 232"/>
                  <a:gd name="T22" fmla="*/ 108 w 157"/>
                  <a:gd name="T23" fmla="*/ 118 h 232"/>
                  <a:gd name="T24" fmla="*/ 108 w 157"/>
                  <a:gd name="T25" fmla="*/ 118 h 232"/>
                  <a:gd name="T26" fmla="*/ 128 w 157"/>
                  <a:gd name="T27" fmla="*/ 124 h 232"/>
                  <a:gd name="T28" fmla="*/ 135 w 157"/>
                  <a:gd name="T29" fmla="*/ 129 h 232"/>
                  <a:gd name="T30" fmla="*/ 139 w 157"/>
                  <a:gd name="T31" fmla="*/ 137 h 232"/>
                  <a:gd name="T32" fmla="*/ 145 w 157"/>
                  <a:gd name="T33" fmla="*/ 157 h 232"/>
                  <a:gd name="T34" fmla="*/ 146 w 157"/>
                  <a:gd name="T35" fmla="*/ 188 h 232"/>
                  <a:gd name="T36" fmla="*/ 147 w 157"/>
                  <a:gd name="T37" fmla="*/ 205 h 232"/>
                  <a:gd name="T38" fmla="*/ 150 w 157"/>
                  <a:gd name="T39" fmla="*/ 221 h 232"/>
                  <a:gd name="T40" fmla="*/ 154 w 157"/>
                  <a:gd name="T41" fmla="*/ 228 h 232"/>
                  <a:gd name="T42" fmla="*/ 157 w 157"/>
                  <a:gd name="T43" fmla="*/ 232 h 232"/>
                  <a:gd name="T44" fmla="*/ 106 w 157"/>
                  <a:gd name="T45" fmla="*/ 232 h 232"/>
                  <a:gd name="T46" fmla="*/ 101 w 157"/>
                  <a:gd name="T47" fmla="*/ 221 h 232"/>
                  <a:gd name="T48" fmla="*/ 100 w 157"/>
                  <a:gd name="T49" fmla="*/ 208 h 232"/>
                  <a:gd name="T50" fmla="*/ 99 w 157"/>
                  <a:gd name="T51" fmla="*/ 163 h 232"/>
                  <a:gd name="T52" fmla="*/ 97 w 157"/>
                  <a:gd name="T53" fmla="*/ 151 h 232"/>
                  <a:gd name="T54" fmla="*/ 92 w 157"/>
                  <a:gd name="T55" fmla="*/ 142 h 232"/>
                  <a:gd name="T56" fmla="*/ 83 w 157"/>
                  <a:gd name="T57" fmla="*/ 136 h 232"/>
                  <a:gd name="T58" fmla="*/ 71 w 157"/>
                  <a:gd name="T59" fmla="*/ 134 h 232"/>
                  <a:gd name="T60" fmla="*/ 47 w 157"/>
                  <a:gd name="T61" fmla="*/ 232 h 232"/>
                  <a:gd name="T62" fmla="*/ 0 w 157"/>
                  <a:gd name="T63" fmla="*/ 0 h 232"/>
                  <a:gd name="T64" fmla="*/ 66 w 157"/>
                  <a:gd name="T65" fmla="*/ 101 h 232"/>
                  <a:gd name="T66" fmla="*/ 74 w 157"/>
                  <a:gd name="T67" fmla="*/ 101 h 232"/>
                  <a:gd name="T68" fmla="*/ 87 w 157"/>
                  <a:gd name="T69" fmla="*/ 97 h 232"/>
                  <a:gd name="T70" fmla="*/ 95 w 157"/>
                  <a:gd name="T71" fmla="*/ 89 h 232"/>
                  <a:gd name="T72" fmla="*/ 100 w 157"/>
                  <a:gd name="T73" fmla="*/ 75 h 232"/>
                  <a:gd name="T74" fmla="*/ 100 w 157"/>
                  <a:gd name="T75" fmla="*/ 67 h 232"/>
                  <a:gd name="T76" fmla="*/ 98 w 157"/>
                  <a:gd name="T77" fmla="*/ 53 h 232"/>
                  <a:gd name="T78" fmla="*/ 92 w 157"/>
                  <a:gd name="T79" fmla="*/ 43 h 232"/>
                  <a:gd name="T80" fmla="*/ 82 w 157"/>
                  <a:gd name="T81" fmla="*/ 37 h 232"/>
                  <a:gd name="T82" fmla="*/ 68 w 157"/>
                  <a:gd name="T83" fmla="*/ 34 h 232"/>
                  <a:gd name="T84" fmla="*/ 47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6" y="0"/>
                    </a:lnTo>
                    <a:lnTo>
                      <a:pt x="86" y="0"/>
                    </a:lnTo>
                    <a:lnTo>
                      <a:pt x="99" y="1"/>
                    </a:lnTo>
                    <a:lnTo>
                      <a:pt x="112" y="4"/>
                    </a:lnTo>
                    <a:lnTo>
                      <a:pt x="123" y="9"/>
                    </a:lnTo>
                    <a:lnTo>
                      <a:pt x="127" y="12"/>
                    </a:lnTo>
                    <a:lnTo>
                      <a:pt x="131" y="15"/>
                    </a:lnTo>
                    <a:lnTo>
                      <a:pt x="135" y="19"/>
                    </a:lnTo>
                    <a:lnTo>
                      <a:pt x="138" y="23"/>
                    </a:lnTo>
                    <a:lnTo>
                      <a:pt x="141" y="28"/>
                    </a:lnTo>
                    <a:lnTo>
                      <a:pt x="143" y="33"/>
                    </a:lnTo>
                    <a:lnTo>
                      <a:pt x="145" y="40"/>
                    </a:lnTo>
                    <a:lnTo>
                      <a:pt x="147" y="46"/>
                    </a:lnTo>
                    <a:lnTo>
                      <a:pt x="148" y="60"/>
                    </a:lnTo>
                    <a:lnTo>
                      <a:pt x="148" y="60"/>
                    </a:lnTo>
                    <a:lnTo>
                      <a:pt x="147" y="71"/>
                    </a:lnTo>
                    <a:lnTo>
                      <a:pt x="145" y="81"/>
                    </a:lnTo>
                    <a:lnTo>
                      <a:pt x="142" y="90"/>
                    </a:lnTo>
                    <a:lnTo>
                      <a:pt x="138" y="98"/>
                    </a:lnTo>
                    <a:lnTo>
                      <a:pt x="133" y="104"/>
                    </a:lnTo>
                    <a:lnTo>
                      <a:pt x="126" y="110"/>
                    </a:lnTo>
                    <a:lnTo>
                      <a:pt x="119" y="114"/>
                    </a:lnTo>
                    <a:lnTo>
                      <a:pt x="108" y="118"/>
                    </a:lnTo>
                    <a:lnTo>
                      <a:pt x="108" y="118"/>
                    </a:lnTo>
                    <a:lnTo>
                      <a:pt x="108" y="118"/>
                    </a:lnTo>
                    <a:lnTo>
                      <a:pt x="120" y="120"/>
                    </a:lnTo>
                    <a:lnTo>
                      <a:pt x="128" y="124"/>
                    </a:lnTo>
                    <a:lnTo>
                      <a:pt x="132" y="126"/>
                    </a:lnTo>
                    <a:lnTo>
                      <a:pt x="135" y="129"/>
                    </a:lnTo>
                    <a:lnTo>
                      <a:pt x="137" y="133"/>
                    </a:lnTo>
                    <a:lnTo>
                      <a:pt x="139" y="137"/>
                    </a:lnTo>
                    <a:lnTo>
                      <a:pt x="143" y="146"/>
                    </a:lnTo>
                    <a:lnTo>
                      <a:pt x="145" y="157"/>
                    </a:lnTo>
                    <a:lnTo>
                      <a:pt x="146" y="171"/>
                    </a:lnTo>
                    <a:lnTo>
                      <a:pt x="146" y="188"/>
                    </a:lnTo>
                    <a:lnTo>
                      <a:pt x="146" y="188"/>
                    </a:lnTo>
                    <a:lnTo>
                      <a:pt x="147" y="205"/>
                    </a:lnTo>
                    <a:lnTo>
                      <a:pt x="148" y="217"/>
                    </a:lnTo>
                    <a:lnTo>
                      <a:pt x="150" y="221"/>
                    </a:lnTo>
                    <a:lnTo>
                      <a:pt x="151" y="225"/>
                    </a:lnTo>
                    <a:lnTo>
                      <a:pt x="154" y="228"/>
                    </a:lnTo>
                    <a:lnTo>
                      <a:pt x="157" y="230"/>
                    </a:lnTo>
                    <a:lnTo>
                      <a:pt x="157" y="232"/>
                    </a:lnTo>
                    <a:lnTo>
                      <a:pt x="106" y="232"/>
                    </a:lnTo>
                    <a:lnTo>
                      <a:pt x="106" y="232"/>
                    </a:lnTo>
                    <a:lnTo>
                      <a:pt x="103" y="227"/>
                    </a:lnTo>
                    <a:lnTo>
                      <a:pt x="101" y="221"/>
                    </a:lnTo>
                    <a:lnTo>
                      <a:pt x="100" y="215"/>
                    </a:lnTo>
                    <a:lnTo>
                      <a:pt x="100" y="208"/>
                    </a:lnTo>
                    <a:lnTo>
                      <a:pt x="99" y="163"/>
                    </a:lnTo>
                    <a:lnTo>
                      <a:pt x="99" y="163"/>
                    </a:lnTo>
                    <a:lnTo>
                      <a:pt x="98" y="157"/>
                    </a:lnTo>
                    <a:lnTo>
                      <a:pt x="97" y="151"/>
                    </a:lnTo>
                    <a:lnTo>
                      <a:pt x="95" y="146"/>
                    </a:lnTo>
                    <a:lnTo>
                      <a:pt x="92" y="142"/>
                    </a:lnTo>
                    <a:lnTo>
                      <a:pt x="88" y="139"/>
                    </a:lnTo>
                    <a:lnTo>
                      <a:pt x="83" y="136"/>
                    </a:lnTo>
                    <a:lnTo>
                      <a:pt x="78" y="135"/>
                    </a:lnTo>
                    <a:lnTo>
                      <a:pt x="71" y="134"/>
                    </a:lnTo>
                    <a:lnTo>
                      <a:pt x="47" y="134"/>
                    </a:lnTo>
                    <a:lnTo>
                      <a:pt x="47" y="232"/>
                    </a:lnTo>
                    <a:lnTo>
                      <a:pt x="0" y="232"/>
                    </a:lnTo>
                    <a:lnTo>
                      <a:pt x="0" y="0"/>
                    </a:lnTo>
                    <a:close/>
                    <a:moveTo>
                      <a:pt x="47" y="101"/>
                    </a:moveTo>
                    <a:lnTo>
                      <a:pt x="66" y="101"/>
                    </a:lnTo>
                    <a:lnTo>
                      <a:pt x="66" y="101"/>
                    </a:lnTo>
                    <a:lnTo>
                      <a:pt x="74" y="101"/>
                    </a:lnTo>
                    <a:lnTo>
                      <a:pt x="81" y="99"/>
                    </a:lnTo>
                    <a:lnTo>
                      <a:pt x="87" y="97"/>
                    </a:lnTo>
                    <a:lnTo>
                      <a:pt x="91" y="93"/>
                    </a:lnTo>
                    <a:lnTo>
                      <a:pt x="95" y="89"/>
                    </a:lnTo>
                    <a:lnTo>
                      <a:pt x="98" y="83"/>
                    </a:lnTo>
                    <a:lnTo>
                      <a:pt x="100" y="75"/>
                    </a:lnTo>
                    <a:lnTo>
                      <a:pt x="100" y="67"/>
                    </a:lnTo>
                    <a:lnTo>
                      <a:pt x="100" y="67"/>
                    </a:lnTo>
                    <a:lnTo>
                      <a:pt x="100" y="59"/>
                    </a:lnTo>
                    <a:lnTo>
                      <a:pt x="98" y="53"/>
                    </a:lnTo>
                    <a:lnTo>
                      <a:pt x="96" y="48"/>
                    </a:lnTo>
                    <a:lnTo>
                      <a:pt x="92" y="43"/>
                    </a:lnTo>
                    <a:lnTo>
                      <a:pt x="88" y="40"/>
                    </a:lnTo>
                    <a:lnTo>
                      <a:pt x="82" y="37"/>
                    </a:lnTo>
                    <a:lnTo>
                      <a:pt x="76" y="35"/>
                    </a:lnTo>
                    <a:lnTo>
                      <a:pt x="68" y="34"/>
                    </a:lnTo>
                    <a:lnTo>
                      <a:pt x="47" y="34"/>
                    </a:lnTo>
                    <a:lnTo>
                      <a:pt x="47" y="101"/>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17" name="Freeform 7">
                <a:extLst>
                  <a:ext uri="{FF2B5EF4-FFF2-40B4-BE49-F238E27FC236}">
                    <a16:creationId xmlns:a16="http://schemas.microsoft.com/office/drawing/2014/main" xmlns="" id="{E3C5AA77-A494-4F00-B797-78FD40995583}"/>
                  </a:ext>
                </a:extLst>
              </p:cNvPr>
              <p:cNvSpPr>
                <a:spLocks noEditPoints="1"/>
              </p:cNvSpPr>
              <p:nvPr userDrawn="1"/>
            </p:nvSpPr>
            <p:spPr bwMode="auto">
              <a:xfrm>
                <a:off x="7904163" y="4803775"/>
                <a:ext cx="84138" cy="127000"/>
              </a:xfrm>
              <a:custGeom>
                <a:avLst/>
                <a:gdLst>
                  <a:gd name="T0" fmla="*/ 79 w 158"/>
                  <a:gd name="T1" fmla="*/ 0 h 240"/>
                  <a:gd name="T2" fmla="*/ 102 w 158"/>
                  <a:gd name="T3" fmla="*/ 2 h 240"/>
                  <a:gd name="T4" fmla="*/ 122 w 158"/>
                  <a:gd name="T5" fmla="*/ 8 h 240"/>
                  <a:gd name="T6" fmla="*/ 135 w 158"/>
                  <a:gd name="T7" fmla="*/ 19 h 240"/>
                  <a:gd name="T8" fmla="*/ 145 w 158"/>
                  <a:gd name="T9" fmla="*/ 33 h 240"/>
                  <a:gd name="T10" fmla="*/ 152 w 158"/>
                  <a:gd name="T11" fmla="*/ 51 h 240"/>
                  <a:gd name="T12" fmla="*/ 156 w 158"/>
                  <a:gd name="T13" fmla="*/ 72 h 240"/>
                  <a:gd name="T14" fmla="*/ 158 w 158"/>
                  <a:gd name="T15" fmla="*/ 121 h 240"/>
                  <a:gd name="T16" fmla="*/ 158 w 158"/>
                  <a:gd name="T17" fmla="*/ 146 h 240"/>
                  <a:gd name="T18" fmla="*/ 154 w 158"/>
                  <a:gd name="T19" fmla="*/ 179 h 240"/>
                  <a:gd name="T20" fmla="*/ 149 w 158"/>
                  <a:gd name="T21" fmla="*/ 198 h 240"/>
                  <a:gd name="T22" fmla="*/ 141 w 158"/>
                  <a:gd name="T23" fmla="*/ 215 h 240"/>
                  <a:gd name="T24" fmla="*/ 129 w 158"/>
                  <a:gd name="T25" fmla="*/ 227 h 240"/>
                  <a:gd name="T26" fmla="*/ 113 w 158"/>
                  <a:gd name="T27" fmla="*/ 235 h 240"/>
                  <a:gd name="T28" fmla="*/ 92 w 158"/>
                  <a:gd name="T29" fmla="*/ 240 h 240"/>
                  <a:gd name="T30" fmla="*/ 79 w 158"/>
                  <a:gd name="T31" fmla="*/ 240 h 240"/>
                  <a:gd name="T32" fmla="*/ 56 w 158"/>
                  <a:gd name="T33" fmla="*/ 238 h 240"/>
                  <a:gd name="T34" fmla="*/ 38 w 158"/>
                  <a:gd name="T35" fmla="*/ 232 h 240"/>
                  <a:gd name="T36" fmla="*/ 24 w 158"/>
                  <a:gd name="T37" fmla="*/ 221 h 240"/>
                  <a:gd name="T38" fmla="*/ 13 w 158"/>
                  <a:gd name="T39" fmla="*/ 207 h 240"/>
                  <a:gd name="T40" fmla="*/ 7 w 158"/>
                  <a:gd name="T41" fmla="*/ 189 h 240"/>
                  <a:gd name="T42" fmla="*/ 3 w 158"/>
                  <a:gd name="T43" fmla="*/ 168 h 240"/>
                  <a:gd name="T44" fmla="*/ 0 w 158"/>
                  <a:gd name="T45" fmla="*/ 121 h 240"/>
                  <a:gd name="T46" fmla="*/ 1 w 158"/>
                  <a:gd name="T47" fmla="*/ 94 h 240"/>
                  <a:gd name="T48" fmla="*/ 5 w 158"/>
                  <a:gd name="T49" fmla="*/ 61 h 240"/>
                  <a:gd name="T50" fmla="*/ 10 w 158"/>
                  <a:gd name="T51" fmla="*/ 42 h 240"/>
                  <a:gd name="T52" fmla="*/ 18 w 158"/>
                  <a:gd name="T53" fmla="*/ 26 h 240"/>
                  <a:gd name="T54" fmla="*/ 31 w 158"/>
                  <a:gd name="T55" fmla="*/ 13 h 240"/>
                  <a:gd name="T56" fmla="*/ 46 w 158"/>
                  <a:gd name="T57" fmla="*/ 5 h 240"/>
                  <a:gd name="T58" fmla="*/ 67 w 158"/>
                  <a:gd name="T59" fmla="*/ 0 h 240"/>
                  <a:gd name="T60" fmla="*/ 79 w 158"/>
                  <a:gd name="T61" fmla="*/ 0 h 240"/>
                  <a:gd name="T62" fmla="*/ 79 w 158"/>
                  <a:gd name="T63" fmla="*/ 206 h 240"/>
                  <a:gd name="T64" fmla="*/ 88 w 158"/>
                  <a:gd name="T65" fmla="*/ 205 h 240"/>
                  <a:gd name="T66" fmla="*/ 96 w 158"/>
                  <a:gd name="T67" fmla="*/ 202 h 240"/>
                  <a:gd name="T68" fmla="*/ 101 w 158"/>
                  <a:gd name="T69" fmla="*/ 195 h 240"/>
                  <a:gd name="T70" fmla="*/ 106 w 158"/>
                  <a:gd name="T71" fmla="*/ 186 h 240"/>
                  <a:gd name="T72" fmla="*/ 111 w 158"/>
                  <a:gd name="T73" fmla="*/ 160 h 240"/>
                  <a:gd name="T74" fmla="*/ 112 w 158"/>
                  <a:gd name="T75" fmla="*/ 121 h 240"/>
                  <a:gd name="T76" fmla="*/ 112 w 158"/>
                  <a:gd name="T77" fmla="*/ 98 h 240"/>
                  <a:gd name="T78" fmla="*/ 109 w 158"/>
                  <a:gd name="T79" fmla="*/ 66 h 240"/>
                  <a:gd name="T80" fmla="*/ 103 w 158"/>
                  <a:gd name="T81" fmla="*/ 49 h 240"/>
                  <a:gd name="T82" fmla="*/ 99 w 158"/>
                  <a:gd name="T83" fmla="*/ 42 h 240"/>
                  <a:gd name="T84" fmla="*/ 92 w 158"/>
                  <a:gd name="T85" fmla="*/ 36 h 240"/>
                  <a:gd name="T86" fmla="*/ 84 w 158"/>
                  <a:gd name="T87" fmla="*/ 34 h 240"/>
                  <a:gd name="T88" fmla="*/ 79 w 158"/>
                  <a:gd name="T89" fmla="*/ 34 h 240"/>
                  <a:gd name="T90" fmla="*/ 70 w 158"/>
                  <a:gd name="T91" fmla="*/ 35 h 240"/>
                  <a:gd name="T92" fmla="*/ 63 w 158"/>
                  <a:gd name="T93" fmla="*/ 38 h 240"/>
                  <a:gd name="T94" fmla="*/ 57 w 158"/>
                  <a:gd name="T95" fmla="*/ 45 h 240"/>
                  <a:gd name="T96" fmla="*/ 53 w 158"/>
                  <a:gd name="T97" fmla="*/ 54 h 240"/>
                  <a:gd name="T98" fmla="*/ 49 w 158"/>
                  <a:gd name="T99" fmla="*/ 80 h 240"/>
                  <a:gd name="T100" fmla="*/ 48 w 158"/>
                  <a:gd name="T101" fmla="*/ 121 h 240"/>
                  <a:gd name="T102" fmla="*/ 48 w 158"/>
                  <a:gd name="T103" fmla="*/ 142 h 240"/>
                  <a:gd name="T104" fmla="*/ 50 w 158"/>
                  <a:gd name="T105" fmla="*/ 174 h 240"/>
                  <a:gd name="T106" fmla="*/ 55 w 158"/>
                  <a:gd name="T107" fmla="*/ 191 h 240"/>
                  <a:gd name="T108" fmla="*/ 60 w 158"/>
                  <a:gd name="T109" fmla="*/ 198 h 240"/>
                  <a:gd name="T110" fmla="*/ 66 w 158"/>
                  <a:gd name="T111" fmla="*/ 204 h 240"/>
                  <a:gd name="T112" fmla="*/ 74 w 158"/>
                  <a:gd name="T113" fmla="*/ 206 h 240"/>
                  <a:gd name="T114" fmla="*/ 79 w 158"/>
                  <a:gd name="T115" fmla="*/ 20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240">
                    <a:moveTo>
                      <a:pt x="79" y="0"/>
                    </a:moveTo>
                    <a:lnTo>
                      <a:pt x="79" y="0"/>
                    </a:lnTo>
                    <a:lnTo>
                      <a:pt x="92" y="0"/>
                    </a:lnTo>
                    <a:lnTo>
                      <a:pt x="102" y="2"/>
                    </a:lnTo>
                    <a:lnTo>
                      <a:pt x="113" y="5"/>
                    </a:lnTo>
                    <a:lnTo>
                      <a:pt x="122" y="8"/>
                    </a:lnTo>
                    <a:lnTo>
                      <a:pt x="129" y="13"/>
                    </a:lnTo>
                    <a:lnTo>
                      <a:pt x="135" y="19"/>
                    </a:lnTo>
                    <a:lnTo>
                      <a:pt x="141" y="26"/>
                    </a:lnTo>
                    <a:lnTo>
                      <a:pt x="145" y="33"/>
                    </a:lnTo>
                    <a:lnTo>
                      <a:pt x="149" y="42"/>
                    </a:lnTo>
                    <a:lnTo>
                      <a:pt x="152" y="51"/>
                    </a:lnTo>
                    <a:lnTo>
                      <a:pt x="154" y="61"/>
                    </a:lnTo>
                    <a:lnTo>
                      <a:pt x="156" y="72"/>
                    </a:lnTo>
                    <a:lnTo>
                      <a:pt x="158" y="94"/>
                    </a:lnTo>
                    <a:lnTo>
                      <a:pt x="158" y="121"/>
                    </a:lnTo>
                    <a:lnTo>
                      <a:pt x="158" y="121"/>
                    </a:lnTo>
                    <a:lnTo>
                      <a:pt x="158" y="146"/>
                    </a:lnTo>
                    <a:lnTo>
                      <a:pt x="156" y="168"/>
                    </a:lnTo>
                    <a:lnTo>
                      <a:pt x="154" y="179"/>
                    </a:lnTo>
                    <a:lnTo>
                      <a:pt x="152" y="189"/>
                    </a:lnTo>
                    <a:lnTo>
                      <a:pt x="149" y="198"/>
                    </a:lnTo>
                    <a:lnTo>
                      <a:pt x="145" y="207"/>
                    </a:lnTo>
                    <a:lnTo>
                      <a:pt x="141" y="215"/>
                    </a:lnTo>
                    <a:lnTo>
                      <a:pt x="135" y="221"/>
                    </a:lnTo>
                    <a:lnTo>
                      <a:pt x="129" y="227"/>
                    </a:lnTo>
                    <a:lnTo>
                      <a:pt x="122" y="232"/>
                    </a:lnTo>
                    <a:lnTo>
                      <a:pt x="113" y="235"/>
                    </a:lnTo>
                    <a:lnTo>
                      <a:pt x="102" y="238"/>
                    </a:lnTo>
                    <a:lnTo>
                      <a:pt x="92" y="240"/>
                    </a:lnTo>
                    <a:lnTo>
                      <a:pt x="79" y="240"/>
                    </a:lnTo>
                    <a:lnTo>
                      <a:pt x="79" y="240"/>
                    </a:lnTo>
                    <a:lnTo>
                      <a:pt x="67" y="240"/>
                    </a:lnTo>
                    <a:lnTo>
                      <a:pt x="56" y="238"/>
                    </a:lnTo>
                    <a:lnTo>
                      <a:pt x="46" y="235"/>
                    </a:lnTo>
                    <a:lnTo>
                      <a:pt x="38" y="232"/>
                    </a:lnTo>
                    <a:lnTo>
                      <a:pt x="31" y="227"/>
                    </a:lnTo>
                    <a:lnTo>
                      <a:pt x="24" y="221"/>
                    </a:lnTo>
                    <a:lnTo>
                      <a:pt x="18" y="215"/>
                    </a:lnTo>
                    <a:lnTo>
                      <a:pt x="13" y="207"/>
                    </a:lnTo>
                    <a:lnTo>
                      <a:pt x="10" y="198"/>
                    </a:lnTo>
                    <a:lnTo>
                      <a:pt x="7" y="189"/>
                    </a:lnTo>
                    <a:lnTo>
                      <a:pt x="5" y="179"/>
                    </a:lnTo>
                    <a:lnTo>
                      <a:pt x="3" y="168"/>
                    </a:lnTo>
                    <a:lnTo>
                      <a:pt x="1" y="146"/>
                    </a:lnTo>
                    <a:lnTo>
                      <a:pt x="0" y="121"/>
                    </a:lnTo>
                    <a:lnTo>
                      <a:pt x="0" y="121"/>
                    </a:lnTo>
                    <a:lnTo>
                      <a:pt x="1" y="94"/>
                    </a:lnTo>
                    <a:lnTo>
                      <a:pt x="3" y="72"/>
                    </a:lnTo>
                    <a:lnTo>
                      <a:pt x="5" y="61"/>
                    </a:lnTo>
                    <a:lnTo>
                      <a:pt x="7" y="51"/>
                    </a:lnTo>
                    <a:lnTo>
                      <a:pt x="10" y="42"/>
                    </a:lnTo>
                    <a:lnTo>
                      <a:pt x="13" y="33"/>
                    </a:lnTo>
                    <a:lnTo>
                      <a:pt x="18" y="26"/>
                    </a:lnTo>
                    <a:lnTo>
                      <a:pt x="24" y="19"/>
                    </a:lnTo>
                    <a:lnTo>
                      <a:pt x="31" y="13"/>
                    </a:lnTo>
                    <a:lnTo>
                      <a:pt x="38" y="8"/>
                    </a:lnTo>
                    <a:lnTo>
                      <a:pt x="46" y="5"/>
                    </a:lnTo>
                    <a:lnTo>
                      <a:pt x="56" y="2"/>
                    </a:lnTo>
                    <a:lnTo>
                      <a:pt x="67" y="0"/>
                    </a:lnTo>
                    <a:lnTo>
                      <a:pt x="79" y="0"/>
                    </a:lnTo>
                    <a:lnTo>
                      <a:pt x="79" y="0"/>
                    </a:lnTo>
                    <a:close/>
                    <a:moveTo>
                      <a:pt x="79" y="206"/>
                    </a:moveTo>
                    <a:lnTo>
                      <a:pt x="79" y="206"/>
                    </a:lnTo>
                    <a:lnTo>
                      <a:pt x="84" y="206"/>
                    </a:lnTo>
                    <a:lnTo>
                      <a:pt x="88" y="205"/>
                    </a:lnTo>
                    <a:lnTo>
                      <a:pt x="92" y="204"/>
                    </a:lnTo>
                    <a:lnTo>
                      <a:pt x="96" y="202"/>
                    </a:lnTo>
                    <a:lnTo>
                      <a:pt x="99" y="198"/>
                    </a:lnTo>
                    <a:lnTo>
                      <a:pt x="101" y="195"/>
                    </a:lnTo>
                    <a:lnTo>
                      <a:pt x="103" y="191"/>
                    </a:lnTo>
                    <a:lnTo>
                      <a:pt x="106" y="186"/>
                    </a:lnTo>
                    <a:lnTo>
                      <a:pt x="109" y="174"/>
                    </a:lnTo>
                    <a:lnTo>
                      <a:pt x="111" y="160"/>
                    </a:lnTo>
                    <a:lnTo>
                      <a:pt x="112" y="142"/>
                    </a:lnTo>
                    <a:lnTo>
                      <a:pt x="112" y="121"/>
                    </a:lnTo>
                    <a:lnTo>
                      <a:pt x="112" y="121"/>
                    </a:lnTo>
                    <a:lnTo>
                      <a:pt x="112" y="98"/>
                    </a:lnTo>
                    <a:lnTo>
                      <a:pt x="111" y="80"/>
                    </a:lnTo>
                    <a:lnTo>
                      <a:pt x="109" y="66"/>
                    </a:lnTo>
                    <a:lnTo>
                      <a:pt x="106" y="54"/>
                    </a:lnTo>
                    <a:lnTo>
                      <a:pt x="103" y="49"/>
                    </a:lnTo>
                    <a:lnTo>
                      <a:pt x="101" y="45"/>
                    </a:lnTo>
                    <a:lnTo>
                      <a:pt x="99" y="42"/>
                    </a:lnTo>
                    <a:lnTo>
                      <a:pt x="96" y="38"/>
                    </a:lnTo>
                    <a:lnTo>
                      <a:pt x="92" y="36"/>
                    </a:lnTo>
                    <a:lnTo>
                      <a:pt x="88" y="35"/>
                    </a:lnTo>
                    <a:lnTo>
                      <a:pt x="84" y="34"/>
                    </a:lnTo>
                    <a:lnTo>
                      <a:pt x="79" y="34"/>
                    </a:lnTo>
                    <a:lnTo>
                      <a:pt x="79" y="34"/>
                    </a:lnTo>
                    <a:lnTo>
                      <a:pt x="74" y="34"/>
                    </a:lnTo>
                    <a:lnTo>
                      <a:pt x="70" y="35"/>
                    </a:lnTo>
                    <a:lnTo>
                      <a:pt x="66" y="36"/>
                    </a:lnTo>
                    <a:lnTo>
                      <a:pt x="63" y="38"/>
                    </a:lnTo>
                    <a:lnTo>
                      <a:pt x="60" y="42"/>
                    </a:lnTo>
                    <a:lnTo>
                      <a:pt x="57" y="45"/>
                    </a:lnTo>
                    <a:lnTo>
                      <a:pt x="55" y="49"/>
                    </a:lnTo>
                    <a:lnTo>
                      <a:pt x="53" y="54"/>
                    </a:lnTo>
                    <a:lnTo>
                      <a:pt x="50" y="66"/>
                    </a:lnTo>
                    <a:lnTo>
                      <a:pt x="49" y="80"/>
                    </a:lnTo>
                    <a:lnTo>
                      <a:pt x="48" y="98"/>
                    </a:lnTo>
                    <a:lnTo>
                      <a:pt x="48" y="121"/>
                    </a:lnTo>
                    <a:lnTo>
                      <a:pt x="48" y="121"/>
                    </a:lnTo>
                    <a:lnTo>
                      <a:pt x="48" y="142"/>
                    </a:lnTo>
                    <a:lnTo>
                      <a:pt x="49" y="160"/>
                    </a:lnTo>
                    <a:lnTo>
                      <a:pt x="50" y="174"/>
                    </a:lnTo>
                    <a:lnTo>
                      <a:pt x="53" y="186"/>
                    </a:lnTo>
                    <a:lnTo>
                      <a:pt x="55" y="191"/>
                    </a:lnTo>
                    <a:lnTo>
                      <a:pt x="57" y="195"/>
                    </a:lnTo>
                    <a:lnTo>
                      <a:pt x="60" y="198"/>
                    </a:lnTo>
                    <a:lnTo>
                      <a:pt x="63" y="202"/>
                    </a:lnTo>
                    <a:lnTo>
                      <a:pt x="66" y="204"/>
                    </a:lnTo>
                    <a:lnTo>
                      <a:pt x="70" y="205"/>
                    </a:lnTo>
                    <a:lnTo>
                      <a:pt x="74" y="206"/>
                    </a:lnTo>
                    <a:lnTo>
                      <a:pt x="79" y="206"/>
                    </a:lnTo>
                    <a:lnTo>
                      <a:pt x="79" y="206"/>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18" name="Freeform 8">
                <a:extLst>
                  <a:ext uri="{FF2B5EF4-FFF2-40B4-BE49-F238E27FC236}">
                    <a16:creationId xmlns:a16="http://schemas.microsoft.com/office/drawing/2014/main" xmlns="" id="{A2665FD1-19A9-46A1-8894-4C4E40447F8D}"/>
                  </a:ext>
                </a:extLst>
              </p:cNvPr>
              <p:cNvSpPr>
                <a:spLocks/>
              </p:cNvSpPr>
              <p:nvPr userDrawn="1"/>
            </p:nvSpPr>
            <p:spPr bwMode="auto">
              <a:xfrm>
                <a:off x="8002588" y="4805363"/>
                <a:ext cx="77788" cy="125413"/>
              </a:xfrm>
              <a:custGeom>
                <a:avLst/>
                <a:gdLst>
                  <a:gd name="T0" fmla="*/ 47 w 148"/>
                  <a:gd name="T1" fmla="*/ 0 h 236"/>
                  <a:gd name="T2" fmla="*/ 47 w 148"/>
                  <a:gd name="T3" fmla="*/ 162 h 236"/>
                  <a:gd name="T4" fmla="*/ 47 w 148"/>
                  <a:gd name="T5" fmla="*/ 162 h 236"/>
                  <a:gd name="T6" fmla="*/ 47 w 148"/>
                  <a:gd name="T7" fmla="*/ 170 h 236"/>
                  <a:gd name="T8" fmla="*/ 48 w 148"/>
                  <a:gd name="T9" fmla="*/ 178 h 236"/>
                  <a:gd name="T10" fmla="*/ 50 w 148"/>
                  <a:gd name="T11" fmla="*/ 184 h 236"/>
                  <a:gd name="T12" fmla="*/ 52 w 148"/>
                  <a:gd name="T13" fmla="*/ 190 h 236"/>
                  <a:gd name="T14" fmla="*/ 56 w 148"/>
                  <a:gd name="T15" fmla="*/ 195 h 236"/>
                  <a:gd name="T16" fmla="*/ 60 w 148"/>
                  <a:gd name="T17" fmla="*/ 199 h 236"/>
                  <a:gd name="T18" fmla="*/ 66 w 148"/>
                  <a:gd name="T19" fmla="*/ 202 h 236"/>
                  <a:gd name="T20" fmla="*/ 74 w 148"/>
                  <a:gd name="T21" fmla="*/ 202 h 236"/>
                  <a:gd name="T22" fmla="*/ 74 w 148"/>
                  <a:gd name="T23" fmla="*/ 202 h 236"/>
                  <a:gd name="T24" fmla="*/ 81 w 148"/>
                  <a:gd name="T25" fmla="*/ 202 h 236"/>
                  <a:gd name="T26" fmla="*/ 87 w 148"/>
                  <a:gd name="T27" fmla="*/ 199 h 236"/>
                  <a:gd name="T28" fmla="*/ 93 w 148"/>
                  <a:gd name="T29" fmla="*/ 195 h 236"/>
                  <a:gd name="T30" fmla="*/ 96 w 148"/>
                  <a:gd name="T31" fmla="*/ 190 h 236"/>
                  <a:gd name="T32" fmla="*/ 99 w 148"/>
                  <a:gd name="T33" fmla="*/ 184 h 236"/>
                  <a:gd name="T34" fmla="*/ 100 w 148"/>
                  <a:gd name="T35" fmla="*/ 178 h 236"/>
                  <a:gd name="T36" fmla="*/ 101 w 148"/>
                  <a:gd name="T37" fmla="*/ 170 h 236"/>
                  <a:gd name="T38" fmla="*/ 102 w 148"/>
                  <a:gd name="T39" fmla="*/ 162 h 236"/>
                  <a:gd name="T40" fmla="*/ 102 w 148"/>
                  <a:gd name="T41" fmla="*/ 0 h 236"/>
                  <a:gd name="T42" fmla="*/ 148 w 148"/>
                  <a:gd name="T43" fmla="*/ 0 h 236"/>
                  <a:gd name="T44" fmla="*/ 148 w 148"/>
                  <a:gd name="T45" fmla="*/ 162 h 236"/>
                  <a:gd name="T46" fmla="*/ 148 w 148"/>
                  <a:gd name="T47" fmla="*/ 162 h 236"/>
                  <a:gd name="T48" fmla="*/ 147 w 148"/>
                  <a:gd name="T49" fmla="*/ 172 h 236"/>
                  <a:gd name="T50" fmla="*/ 146 w 148"/>
                  <a:gd name="T51" fmla="*/ 182 h 236"/>
                  <a:gd name="T52" fmla="*/ 144 w 148"/>
                  <a:gd name="T53" fmla="*/ 190 h 236"/>
                  <a:gd name="T54" fmla="*/ 142 w 148"/>
                  <a:gd name="T55" fmla="*/ 199 h 236"/>
                  <a:gd name="T56" fmla="*/ 138 w 148"/>
                  <a:gd name="T57" fmla="*/ 206 h 236"/>
                  <a:gd name="T58" fmla="*/ 135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9 w 148"/>
                  <a:gd name="T73" fmla="*/ 236 h 236"/>
                  <a:gd name="T74" fmla="*/ 74 w 148"/>
                  <a:gd name="T75" fmla="*/ 236 h 236"/>
                  <a:gd name="T76" fmla="*/ 74 w 148"/>
                  <a:gd name="T77" fmla="*/ 236 h 236"/>
                  <a:gd name="T78" fmla="*/ 60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7 w 148"/>
                  <a:gd name="T97" fmla="*/ 200 h 236"/>
                  <a:gd name="T98" fmla="*/ 4 w 148"/>
                  <a:gd name="T99" fmla="*/ 191 h 236"/>
                  <a:gd name="T100" fmla="*/ 1 w 148"/>
                  <a:gd name="T101" fmla="*/ 182 h 236"/>
                  <a:gd name="T102" fmla="*/ 0 w 148"/>
                  <a:gd name="T103" fmla="*/ 173 h 236"/>
                  <a:gd name="T104" fmla="*/ 0 w 148"/>
                  <a:gd name="T105" fmla="*/ 162 h 236"/>
                  <a:gd name="T106" fmla="*/ 0 w 148"/>
                  <a:gd name="T107" fmla="*/ 0 h 236"/>
                  <a:gd name="T108" fmla="*/ 47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7" y="0"/>
                    </a:moveTo>
                    <a:lnTo>
                      <a:pt x="47" y="162"/>
                    </a:lnTo>
                    <a:lnTo>
                      <a:pt x="47" y="162"/>
                    </a:lnTo>
                    <a:lnTo>
                      <a:pt x="47" y="170"/>
                    </a:lnTo>
                    <a:lnTo>
                      <a:pt x="48" y="178"/>
                    </a:lnTo>
                    <a:lnTo>
                      <a:pt x="50" y="184"/>
                    </a:lnTo>
                    <a:lnTo>
                      <a:pt x="52" y="190"/>
                    </a:lnTo>
                    <a:lnTo>
                      <a:pt x="56" y="195"/>
                    </a:lnTo>
                    <a:lnTo>
                      <a:pt x="60" y="199"/>
                    </a:lnTo>
                    <a:lnTo>
                      <a:pt x="66" y="202"/>
                    </a:lnTo>
                    <a:lnTo>
                      <a:pt x="74" y="202"/>
                    </a:lnTo>
                    <a:lnTo>
                      <a:pt x="74" y="202"/>
                    </a:lnTo>
                    <a:lnTo>
                      <a:pt x="81" y="202"/>
                    </a:lnTo>
                    <a:lnTo>
                      <a:pt x="87" y="199"/>
                    </a:lnTo>
                    <a:lnTo>
                      <a:pt x="93" y="195"/>
                    </a:lnTo>
                    <a:lnTo>
                      <a:pt x="96" y="190"/>
                    </a:lnTo>
                    <a:lnTo>
                      <a:pt x="99" y="184"/>
                    </a:lnTo>
                    <a:lnTo>
                      <a:pt x="100" y="178"/>
                    </a:lnTo>
                    <a:lnTo>
                      <a:pt x="101" y="170"/>
                    </a:lnTo>
                    <a:lnTo>
                      <a:pt x="102" y="162"/>
                    </a:lnTo>
                    <a:lnTo>
                      <a:pt x="102" y="0"/>
                    </a:lnTo>
                    <a:lnTo>
                      <a:pt x="148" y="0"/>
                    </a:lnTo>
                    <a:lnTo>
                      <a:pt x="148" y="162"/>
                    </a:lnTo>
                    <a:lnTo>
                      <a:pt x="148" y="162"/>
                    </a:lnTo>
                    <a:lnTo>
                      <a:pt x="147" y="172"/>
                    </a:lnTo>
                    <a:lnTo>
                      <a:pt x="146" y="182"/>
                    </a:lnTo>
                    <a:lnTo>
                      <a:pt x="144" y="190"/>
                    </a:lnTo>
                    <a:lnTo>
                      <a:pt x="142" y="199"/>
                    </a:lnTo>
                    <a:lnTo>
                      <a:pt x="138" y="206"/>
                    </a:lnTo>
                    <a:lnTo>
                      <a:pt x="135" y="212"/>
                    </a:lnTo>
                    <a:lnTo>
                      <a:pt x="130" y="217"/>
                    </a:lnTo>
                    <a:lnTo>
                      <a:pt x="125" y="221"/>
                    </a:lnTo>
                    <a:lnTo>
                      <a:pt x="120" y="225"/>
                    </a:lnTo>
                    <a:lnTo>
                      <a:pt x="114" y="228"/>
                    </a:lnTo>
                    <a:lnTo>
                      <a:pt x="108" y="231"/>
                    </a:lnTo>
                    <a:lnTo>
                      <a:pt x="102" y="233"/>
                    </a:lnTo>
                    <a:lnTo>
                      <a:pt x="89" y="236"/>
                    </a:lnTo>
                    <a:lnTo>
                      <a:pt x="74" y="236"/>
                    </a:lnTo>
                    <a:lnTo>
                      <a:pt x="74" y="236"/>
                    </a:lnTo>
                    <a:lnTo>
                      <a:pt x="60" y="236"/>
                    </a:lnTo>
                    <a:lnTo>
                      <a:pt x="46" y="234"/>
                    </a:lnTo>
                    <a:lnTo>
                      <a:pt x="40" y="232"/>
                    </a:lnTo>
                    <a:lnTo>
                      <a:pt x="34" y="229"/>
                    </a:lnTo>
                    <a:lnTo>
                      <a:pt x="28" y="226"/>
                    </a:lnTo>
                    <a:lnTo>
                      <a:pt x="23" y="223"/>
                    </a:lnTo>
                    <a:lnTo>
                      <a:pt x="18" y="218"/>
                    </a:lnTo>
                    <a:lnTo>
                      <a:pt x="14" y="213"/>
                    </a:lnTo>
                    <a:lnTo>
                      <a:pt x="10" y="207"/>
                    </a:lnTo>
                    <a:lnTo>
                      <a:pt x="7" y="200"/>
                    </a:lnTo>
                    <a:lnTo>
                      <a:pt x="4" y="191"/>
                    </a:lnTo>
                    <a:lnTo>
                      <a:pt x="1" y="182"/>
                    </a:lnTo>
                    <a:lnTo>
                      <a:pt x="0" y="173"/>
                    </a:lnTo>
                    <a:lnTo>
                      <a:pt x="0" y="162"/>
                    </a:lnTo>
                    <a:lnTo>
                      <a:pt x="0" y="0"/>
                    </a:lnTo>
                    <a:lnTo>
                      <a:pt x="47"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19" name="Freeform 9">
                <a:extLst>
                  <a:ext uri="{FF2B5EF4-FFF2-40B4-BE49-F238E27FC236}">
                    <a16:creationId xmlns:a16="http://schemas.microsoft.com/office/drawing/2014/main" xmlns="" id="{E193385B-7A9F-4A30-92AD-D732E33756AE}"/>
                  </a:ext>
                </a:extLst>
              </p:cNvPr>
              <p:cNvSpPr>
                <a:spLocks noEditPoints="1"/>
              </p:cNvSpPr>
              <p:nvPr userDrawn="1"/>
            </p:nvSpPr>
            <p:spPr bwMode="auto">
              <a:xfrm>
                <a:off x="8101013" y="4805363"/>
                <a:ext cx="76200" cy="123825"/>
              </a:xfrm>
              <a:custGeom>
                <a:avLst/>
                <a:gdLst>
                  <a:gd name="T0" fmla="*/ 0 w 144"/>
                  <a:gd name="T1" fmla="*/ 0 h 232"/>
                  <a:gd name="T2" fmla="*/ 82 w 144"/>
                  <a:gd name="T3" fmla="*/ 0 h 232"/>
                  <a:gd name="T4" fmla="*/ 82 w 144"/>
                  <a:gd name="T5" fmla="*/ 0 h 232"/>
                  <a:gd name="T6" fmla="*/ 90 w 144"/>
                  <a:gd name="T7" fmla="*/ 1 h 232"/>
                  <a:gd name="T8" fmla="*/ 98 w 144"/>
                  <a:gd name="T9" fmla="*/ 2 h 232"/>
                  <a:gd name="T10" fmla="*/ 105 w 144"/>
                  <a:gd name="T11" fmla="*/ 4 h 232"/>
                  <a:gd name="T12" fmla="*/ 111 w 144"/>
                  <a:gd name="T13" fmla="*/ 6 h 232"/>
                  <a:gd name="T14" fmla="*/ 117 w 144"/>
                  <a:gd name="T15" fmla="*/ 9 h 232"/>
                  <a:gd name="T16" fmla="*/ 122 w 144"/>
                  <a:gd name="T17" fmla="*/ 13 h 232"/>
                  <a:gd name="T18" fmla="*/ 127 w 144"/>
                  <a:gd name="T19" fmla="*/ 17 h 232"/>
                  <a:gd name="T20" fmla="*/ 131 w 144"/>
                  <a:gd name="T21" fmla="*/ 22 h 232"/>
                  <a:gd name="T22" fmla="*/ 134 w 144"/>
                  <a:gd name="T23" fmla="*/ 27 h 232"/>
                  <a:gd name="T24" fmla="*/ 137 w 144"/>
                  <a:gd name="T25" fmla="*/ 32 h 232"/>
                  <a:gd name="T26" fmla="*/ 141 w 144"/>
                  <a:gd name="T27" fmla="*/ 45 h 232"/>
                  <a:gd name="T28" fmla="*/ 144 w 144"/>
                  <a:gd name="T29" fmla="*/ 57 h 232"/>
                  <a:gd name="T30" fmla="*/ 144 w 144"/>
                  <a:gd name="T31" fmla="*/ 70 h 232"/>
                  <a:gd name="T32" fmla="*/ 144 w 144"/>
                  <a:gd name="T33" fmla="*/ 70 h 232"/>
                  <a:gd name="T34" fmla="*/ 144 w 144"/>
                  <a:gd name="T35" fmla="*/ 78 h 232"/>
                  <a:gd name="T36" fmla="*/ 143 w 144"/>
                  <a:gd name="T37" fmla="*/ 86 h 232"/>
                  <a:gd name="T38" fmla="*/ 141 w 144"/>
                  <a:gd name="T39" fmla="*/ 94 h 232"/>
                  <a:gd name="T40" fmla="*/ 139 w 144"/>
                  <a:gd name="T41" fmla="*/ 101 h 232"/>
                  <a:gd name="T42" fmla="*/ 136 w 144"/>
                  <a:gd name="T43" fmla="*/ 107 h 232"/>
                  <a:gd name="T44" fmla="*/ 133 w 144"/>
                  <a:gd name="T45" fmla="*/ 112 h 232"/>
                  <a:gd name="T46" fmla="*/ 129 w 144"/>
                  <a:gd name="T47" fmla="*/ 118 h 232"/>
                  <a:gd name="T48" fmla="*/ 124 w 144"/>
                  <a:gd name="T49" fmla="*/ 123 h 232"/>
                  <a:gd name="T50" fmla="*/ 119 w 144"/>
                  <a:gd name="T51" fmla="*/ 127 h 232"/>
                  <a:gd name="T52" fmla="*/ 114 w 144"/>
                  <a:gd name="T53" fmla="*/ 130 h 232"/>
                  <a:gd name="T54" fmla="*/ 108 w 144"/>
                  <a:gd name="T55" fmla="*/ 133 h 232"/>
                  <a:gd name="T56" fmla="*/ 101 w 144"/>
                  <a:gd name="T57" fmla="*/ 136 h 232"/>
                  <a:gd name="T58" fmla="*/ 95 w 144"/>
                  <a:gd name="T59" fmla="*/ 137 h 232"/>
                  <a:gd name="T60" fmla="*/ 87 w 144"/>
                  <a:gd name="T61" fmla="*/ 139 h 232"/>
                  <a:gd name="T62" fmla="*/ 71 w 144"/>
                  <a:gd name="T63" fmla="*/ 140 h 232"/>
                  <a:gd name="T64" fmla="*/ 46 w 144"/>
                  <a:gd name="T65" fmla="*/ 140 h 232"/>
                  <a:gd name="T66" fmla="*/ 46 w 144"/>
                  <a:gd name="T67" fmla="*/ 232 h 232"/>
                  <a:gd name="T68" fmla="*/ 0 w 144"/>
                  <a:gd name="T69" fmla="*/ 232 h 232"/>
                  <a:gd name="T70" fmla="*/ 0 w 144"/>
                  <a:gd name="T71" fmla="*/ 0 h 232"/>
                  <a:gd name="T72" fmla="*/ 46 w 144"/>
                  <a:gd name="T73" fmla="*/ 105 h 232"/>
                  <a:gd name="T74" fmla="*/ 67 w 144"/>
                  <a:gd name="T75" fmla="*/ 105 h 232"/>
                  <a:gd name="T76" fmla="*/ 67 w 144"/>
                  <a:gd name="T77" fmla="*/ 105 h 232"/>
                  <a:gd name="T78" fmla="*/ 74 w 144"/>
                  <a:gd name="T79" fmla="*/ 104 h 232"/>
                  <a:gd name="T80" fmla="*/ 80 w 144"/>
                  <a:gd name="T81" fmla="*/ 103 h 232"/>
                  <a:gd name="T82" fmla="*/ 85 w 144"/>
                  <a:gd name="T83" fmla="*/ 100 h 232"/>
                  <a:gd name="T84" fmla="*/ 90 w 144"/>
                  <a:gd name="T85" fmla="*/ 96 h 232"/>
                  <a:gd name="T86" fmla="*/ 93 w 144"/>
                  <a:gd name="T87" fmla="*/ 92 h 232"/>
                  <a:gd name="T88" fmla="*/ 96 w 144"/>
                  <a:gd name="T89" fmla="*/ 86 h 232"/>
                  <a:gd name="T90" fmla="*/ 98 w 144"/>
                  <a:gd name="T91" fmla="*/ 79 h 232"/>
                  <a:gd name="T92" fmla="*/ 98 w 144"/>
                  <a:gd name="T93" fmla="*/ 70 h 232"/>
                  <a:gd name="T94" fmla="*/ 98 w 144"/>
                  <a:gd name="T95" fmla="*/ 70 h 232"/>
                  <a:gd name="T96" fmla="*/ 98 w 144"/>
                  <a:gd name="T97" fmla="*/ 62 h 232"/>
                  <a:gd name="T98" fmla="*/ 97 w 144"/>
                  <a:gd name="T99" fmla="*/ 55 h 232"/>
                  <a:gd name="T100" fmla="*/ 94 w 144"/>
                  <a:gd name="T101" fmla="*/ 49 h 232"/>
                  <a:gd name="T102" fmla="*/ 91 w 144"/>
                  <a:gd name="T103" fmla="*/ 44 h 232"/>
                  <a:gd name="T104" fmla="*/ 87 w 144"/>
                  <a:gd name="T105" fmla="*/ 40 h 232"/>
                  <a:gd name="T106" fmla="*/ 81 w 144"/>
                  <a:gd name="T107" fmla="*/ 37 h 232"/>
                  <a:gd name="T108" fmla="*/ 74 w 144"/>
                  <a:gd name="T109" fmla="*/ 35 h 232"/>
                  <a:gd name="T110" fmla="*/ 65 w 144"/>
                  <a:gd name="T111" fmla="*/ 34 h 232"/>
                  <a:gd name="T112" fmla="*/ 46 w 144"/>
                  <a:gd name="T113" fmla="*/ 34 h 232"/>
                  <a:gd name="T114" fmla="*/ 46 w 144"/>
                  <a:gd name="T115" fmla="*/ 10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 h="232">
                    <a:moveTo>
                      <a:pt x="0" y="0"/>
                    </a:moveTo>
                    <a:lnTo>
                      <a:pt x="82" y="0"/>
                    </a:lnTo>
                    <a:lnTo>
                      <a:pt x="82" y="0"/>
                    </a:lnTo>
                    <a:lnTo>
                      <a:pt x="90" y="1"/>
                    </a:lnTo>
                    <a:lnTo>
                      <a:pt x="98" y="2"/>
                    </a:lnTo>
                    <a:lnTo>
                      <a:pt x="105" y="4"/>
                    </a:lnTo>
                    <a:lnTo>
                      <a:pt x="111" y="6"/>
                    </a:lnTo>
                    <a:lnTo>
                      <a:pt x="117" y="9"/>
                    </a:lnTo>
                    <a:lnTo>
                      <a:pt x="122" y="13"/>
                    </a:lnTo>
                    <a:lnTo>
                      <a:pt x="127" y="17"/>
                    </a:lnTo>
                    <a:lnTo>
                      <a:pt x="131" y="22"/>
                    </a:lnTo>
                    <a:lnTo>
                      <a:pt x="134" y="27"/>
                    </a:lnTo>
                    <a:lnTo>
                      <a:pt x="137" y="32"/>
                    </a:lnTo>
                    <a:lnTo>
                      <a:pt x="141" y="45"/>
                    </a:lnTo>
                    <a:lnTo>
                      <a:pt x="144" y="57"/>
                    </a:lnTo>
                    <a:lnTo>
                      <a:pt x="144" y="70"/>
                    </a:lnTo>
                    <a:lnTo>
                      <a:pt x="144" y="70"/>
                    </a:lnTo>
                    <a:lnTo>
                      <a:pt x="144" y="78"/>
                    </a:lnTo>
                    <a:lnTo>
                      <a:pt x="143" y="86"/>
                    </a:lnTo>
                    <a:lnTo>
                      <a:pt x="141" y="94"/>
                    </a:lnTo>
                    <a:lnTo>
                      <a:pt x="139" y="101"/>
                    </a:lnTo>
                    <a:lnTo>
                      <a:pt x="136" y="107"/>
                    </a:lnTo>
                    <a:lnTo>
                      <a:pt x="133" y="112"/>
                    </a:lnTo>
                    <a:lnTo>
                      <a:pt x="129" y="118"/>
                    </a:lnTo>
                    <a:lnTo>
                      <a:pt x="124" y="123"/>
                    </a:lnTo>
                    <a:lnTo>
                      <a:pt x="119" y="127"/>
                    </a:lnTo>
                    <a:lnTo>
                      <a:pt x="114" y="130"/>
                    </a:lnTo>
                    <a:lnTo>
                      <a:pt x="108" y="133"/>
                    </a:lnTo>
                    <a:lnTo>
                      <a:pt x="101" y="136"/>
                    </a:lnTo>
                    <a:lnTo>
                      <a:pt x="95" y="137"/>
                    </a:lnTo>
                    <a:lnTo>
                      <a:pt x="87" y="139"/>
                    </a:lnTo>
                    <a:lnTo>
                      <a:pt x="71" y="140"/>
                    </a:lnTo>
                    <a:lnTo>
                      <a:pt x="46" y="140"/>
                    </a:lnTo>
                    <a:lnTo>
                      <a:pt x="46" y="232"/>
                    </a:lnTo>
                    <a:lnTo>
                      <a:pt x="0" y="232"/>
                    </a:lnTo>
                    <a:lnTo>
                      <a:pt x="0" y="0"/>
                    </a:lnTo>
                    <a:close/>
                    <a:moveTo>
                      <a:pt x="46" y="105"/>
                    </a:moveTo>
                    <a:lnTo>
                      <a:pt x="67" y="105"/>
                    </a:lnTo>
                    <a:lnTo>
                      <a:pt x="67" y="105"/>
                    </a:lnTo>
                    <a:lnTo>
                      <a:pt x="74" y="104"/>
                    </a:lnTo>
                    <a:lnTo>
                      <a:pt x="80" y="103"/>
                    </a:lnTo>
                    <a:lnTo>
                      <a:pt x="85" y="100"/>
                    </a:lnTo>
                    <a:lnTo>
                      <a:pt x="90" y="96"/>
                    </a:lnTo>
                    <a:lnTo>
                      <a:pt x="93" y="92"/>
                    </a:lnTo>
                    <a:lnTo>
                      <a:pt x="96" y="86"/>
                    </a:lnTo>
                    <a:lnTo>
                      <a:pt x="98" y="79"/>
                    </a:lnTo>
                    <a:lnTo>
                      <a:pt x="98" y="70"/>
                    </a:lnTo>
                    <a:lnTo>
                      <a:pt x="98" y="70"/>
                    </a:lnTo>
                    <a:lnTo>
                      <a:pt x="98" y="62"/>
                    </a:lnTo>
                    <a:lnTo>
                      <a:pt x="97" y="55"/>
                    </a:lnTo>
                    <a:lnTo>
                      <a:pt x="94" y="49"/>
                    </a:lnTo>
                    <a:lnTo>
                      <a:pt x="91" y="44"/>
                    </a:lnTo>
                    <a:lnTo>
                      <a:pt x="87" y="40"/>
                    </a:lnTo>
                    <a:lnTo>
                      <a:pt x="81" y="37"/>
                    </a:lnTo>
                    <a:lnTo>
                      <a:pt x="74" y="35"/>
                    </a:lnTo>
                    <a:lnTo>
                      <a:pt x="65" y="34"/>
                    </a:lnTo>
                    <a:lnTo>
                      <a:pt x="46" y="34"/>
                    </a:lnTo>
                    <a:lnTo>
                      <a:pt x="46" y="105"/>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20" name="Freeform 10">
                <a:extLst>
                  <a:ext uri="{FF2B5EF4-FFF2-40B4-BE49-F238E27FC236}">
                    <a16:creationId xmlns:a16="http://schemas.microsoft.com/office/drawing/2014/main" xmlns="" id="{7557EDDF-A250-4BE6-BAEB-2E15373B20FF}"/>
                  </a:ext>
                </a:extLst>
              </p:cNvPr>
              <p:cNvSpPr>
                <a:spLocks/>
              </p:cNvSpPr>
              <p:nvPr userDrawn="1"/>
            </p:nvSpPr>
            <p:spPr bwMode="auto">
              <a:xfrm>
                <a:off x="8188325"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FFCC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21" name="Freeform 11">
                <a:extLst>
                  <a:ext uri="{FF2B5EF4-FFF2-40B4-BE49-F238E27FC236}">
                    <a16:creationId xmlns:a16="http://schemas.microsoft.com/office/drawing/2014/main" xmlns="" id="{33B75B1A-0989-4958-8A7F-B442BFF6E27B}"/>
                  </a:ext>
                </a:extLst>
              </p:cNvPr>
              <p:cNvSpPr>
                <a:spLocks noEditPoints="1"/>
              </p:cNvSpPr>
              <p:nvPr userDrawn="1"/>
            </p:nvSpPr>
            <p:spPr bwMode="auto">
              <a:xfrm>
                <a:off x="8315325" y="4805363"/>
                <a:ext cx="82550" cy="123825"/>
              </a:xfrm>
              <a:custGeom>
                <a:avLst/>
                <a:gdLst>
                  <a:gd name="T0" fmla="*/ 87 w 157"/>
                  <a:gd name="T1" fmla="*/ 0 h 232"/>
                  <a:gd name="T2" fmla="*/ 101 w 157"/>
                  <a:gd name="T3" fmla="*/ 1 h 232"/>
                  <a:gd name="T4" fmla="*/ 124 w 157"/>
                  <a:gd name="T5" fmla="*/ 9 h 232"/>
                  <a:gd name="T6" fmla="*/ 132 w 157"/>
                  <a:gd name="T7" fmla="*/ 15 h 232"/>
                  <a:gd name="T8" fmla="*/ 139 w 157"/>
                  <a:gd name="T9" fmla="*/ 23 h 232"/>
                  <a:gd name="T10" fmla="*/ 144 w 157"/>
                  <a:gd name="T11" fmla="*/ 33 h 232"/>
                  <a:gd name="T12" fmla="*/ 147 w 157"/>
                  <a:gd name="T13" fmla="*/ 46 h 232"/>
                  <a:gd name="T14" fmla="*/ 149 w 157"/>
                  <a:gd name="T15" fmla="*/ 60 h 232"/>
                  <a:gd name="T16" fmla="*/ 146 w 157"/>
                  <a:gd name="T17" fmla="*/ 81 h 232"/>
                  <a:gd name="T18" fmla="*/ 139 w 157"/>
                  <a:gd name="T19" fmla="*/ 98 h 232"/>
                  <a:gd name="T20" fmla="*/ 127 w 157"/>
                  <a:gd name="T21" fmla="*/ 110 h 232"/>
                  <a:gd name="T22" fmla="*/ 110 w 157"/>
                  <a:gd name="T23" fmla="*/ 118 h 232"/>
                  <a:gd name="T24" fmla="*/ 110 w 157"/>
                  <a:gd name="T25" fmla="*/ 118 h 232"/>
                  <a:gd name="T26" fmla="*/ 129 w 157"/>
                  <a:gd name="T27" fmla="*/ 124 h 232"/>
                  <a:gd name="T28" fmla="*/ 136 w 157"/>
                  <a:gd name="T29" fmla="*/ 129 h 232"/>
                  <a:gd name="T30" fmla="*/ 140 w 157"/>
                  <a:gd name="T31" fmla="*/ 137 h 232"/>
                  <a:gd name="T32" fmla="*/ 146 w 157"/>
                  <a:gd name="T33" fmla="*/ 157 h 232"/>
                  <a:gd name="T34" fmla="*/ 147 w 157"/>
                  <a:gd name="T35" fmla="*/ 188 h 232"/>
                  <a:gd name="T36" fmla="*/ 148 w 157"/>
                  <a:gd name="T37" fmla="*/ 205 h 232"/>
                  <a:gd name="T38" fmla="*/ 151 w 157"/>
                  <a:gd name="T39" fmla="*/ 221 h 232"/>
                  <a:gd name="T40" fmla="*/ 155 w 157"/>
                  <a:gd name="T41" fmla="*/ 228 h 232"/>
                  <a:gd name="T42" fmla="*/ 157 w 157"/>
                  <a:gd name="T43" fmla="*/ 232 h 232"/>
                  <a:gd name="T44" fmla="*/ 108 w 157"/>
                  <a:gd name="T45" fmla="*/ 232 h 232"/>
                  <a:gd name="T46" fmla="*/ 103 w 157"/>
                  <a:gd name="T47" fmla="*/ 221 h 232"/>
                  <a:gd name="T48" fmla="*/ 102 w 157"/>
                  <a:gd name="T49" fmla="*/ 208 h 232"/>
                  <a:gd name="T50" fmla="*/ 100 w 157"/>
                  <a:gd name="T51" fmla="*/ 163 h 232"/>
                  <a:gd name="T52" fmla="*/ 99 w 157"/>
                  <a:gd name="T53" fmla="*/ 151 h 232"/>
                  <a:gd name="T54" fmla="*/ 94 w 157"/>
                  <a:gd name="T55" fmla="*/ 142 h 232"/>
                  <a:gd name="T56" fmla="*/ 84 w 157"/>
                  <a:gd name="T57" fmla="*/ 136 h 232"/>
                  <a:gd name="T58" fmla="*/ 72 w 157"/>
                  <a:gd name="T59" fmla="*/ 134 h 232"/>
                  <a:gd name="T60" fmla="*/ 48 w 157"/>
                  <a:gd name="T61" fmla="*/ 232 h 232"/>
                  <a:gd name="T62" fmla="*/ 0 w 157"/>
                  <a:gd name="T63" fmla="*/ 0 h 232"/>
                  <a:gd name="T64" fmla="*/ 67 w 157"/>
                  <a:gd name="T65" fmla="*/ 101 h 232"/>
                  <a:gd name="T66" fmla="*/ 75 w 157"/>
                  <a:gd name="T67" fmla="*/ 101 h 232"/>
                  <a:gd name="T68" fmla="*/ 87 w 157"/>
                  <a:gd name="T69" fmla="*/ 97 h 232"/>
                  <a:gd name="T70" fmla="*/ 97 w 157"/>
                  <a:gd name="T71" fmla="*/ 89 h 232"/>
                  <a:gd name="T72" fmla="*/ 102 w 157"/>
                  <a:gd name="T73" fmla="*/ 75 h 232"/>
                  <a:gd name="T74" fmla="*/ 102 w 157"/>
                  <a:gd name="T75" fmla="*/ 67 h 232"/>
                  <a:gd name="T76" fmla="*/ 100 w 157"/>
                  <a:gd name="T77" fmla="*/ 53 h 232"/>
                  <a:gd name="T78" fmla="*/ 94 w 157"/>
                  <a:gd name="T79" fmla="*/ 43 h 232"/>
                  <a:gd name="T80" fmla="*/ 83 w 157"/>
                  <a:gd name="T81" fmla="*/ 37 h 232"/>
                  <a:gd name="T82" fmla="*/ 69 w 157"/>
                  <a:gd name="T83" fmla="*/ 34 h 232"/>
                  <a:gd name="T84" fmla="*/ 48 w 157"/>
                  <a:gd name="T85" fmla="*/ 10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232">
                    <a:moveTo>
                      <a:pt x="0" y="0"/>
                    </a:moveTo>
                    <a:lnTo>
                      <a:pt x="87" y="0"/>
                    </a:lnTo>
                    <a:lnTo>
                      <a:pt x="87" y="0"/>
                    </a:lnTo>
                    <a:lnTo>
                      <a:pt x="101" y="1"/>
                    </a:lnTo>
                    <a:lnTo>
                      <a:pt x="113" y="4"/>
                    </a:lnTo>
                    <a:lnTo>
                      <a:pt x="124" y="9"/>
                    </a:lnTo>
                    <a:lnTo>
                      <a:pt x="128" y="12"/>
                    </a:lnTo>
                    <a:lnTo>
                      <a:pt x="132" y="15"/>
                    </a:lnTo>
                    <a:lnTo>
                      <a:pt x="136" y="19"/>
                    </a:lnTo>
                    <a:lnTo>
                      <a:pt x="139" y="23"/>
                    </a:lnTo>
                    <a:lnTo>
                      <a:pt x="142" y="28"/>
                    </a:lnTo>
                    <a:lnTo>
                      <a:pt x="144" y="33"/>
                    </a:lnTo>
                    <a:lnTo>
                      <a:pt x="146" y="40"/>
                    </a:lnTo>
                    <a:lnTo>
                      <a:pt x="147" y="46"/>
                    </a:lnTo>
                    <a:lnTo>
                      <a:pt x="149" y="60"/>
                    </a:lnTo>
                    <a:lnTo>
                      <a:pt x="149" y="60"/>
                    </a:lnTo>
                    <a:lnTo>
                      <a:pt x="148" y="71"/>
                    </a:lnTo>
                    <a:lnTo>
                      <a:pt x="146" y="81"/>
                    </a:lnTo>
                    <a:lnTo>
                      <a:pt x="143" y="90"/>
                    </a:lnTo>
                    <a:lnTo>
                      <a:pt x="139" y="98"/>
                    </a:lnTo>
                    <a:lnTo>
                      <a:pt x="134" y="104"/>
                    </a:lnTo>
                    <a:lnTo>
                      <a:pt x="127" y="110"/>
                    </a:lnTo>
                    <a:lnTo>
                      <a:pt x="119" y="114"/>
                    </a:lnTo>
                    <a:lnTo>
                      <a:pt x="110" y="118"/>
                    </a:lnTo>
                    <a:lnTo>
                      <a:pt x="110" y="118"/>
                    </a:lnTo>
                    <a:lnTo>
                      <a:pt x="110" y="118"/>
                    </a:lnTo>
                    <a:lnTo>
                      <a:pt x="121" y="120"/>
                    </a:lnTo>
                    <a:lnTo>
                      <a:pt x="129" y="124"/>
                    </a:lnTo>
                    <a:lnTo>
                      <a:pt x="133" y="126"/>
                    </a:lnTo>
                    <a:lnTo>
                      <a:pt x="136" y="129"/>
                    </a:lnTo>
                    <a:lnTo>
                      <a:pt x="138" y="133"/>
                    </a:lnTo>
                    <a:lnTo>
                      <a:pt x="140" y="137"/>
                    </a:lnTo>
                    <a:lnTo>
                      <a:pt x="144" y="146"/>
                    </a:lnTo>
                    <a:lnTo>
                      <a:pt x="146" y="157"/>
                    </a:lnTo>
                    <a:lnTo>
                      <a:pt x="147" y="171"/>
                    </a:lnTo>
                    <a:lnTo>
                      <a:pt x="147" y="188"/>
                    </a:lnTo>
                    <a:lnTo>
                      <a:pt x="147" y="188"/>
                    </a:lnTo>
                    <a:lnTo>
                      <a:pt x="148" y="205"/>
                    </a:lnTo>
                    <a:lnTo>
                      <a:pt x="149" y="217"/>
                    </a:lnTo>
                    <a:lnTo>
                      <a:pt x="151" y="221"/>
                    </a:lnTo>
                    <a:lnTo>
                      <a:pt x="152" y="225"/>
                    </a:lnTo>
                    <a:lnTo>
                      <a:pt x="155" y="228"/>
                    </a:lnTo>
                    <a:lnTo>
                      <a:pt x="157" y="230"/>
                    </a:lnTo>
                    <a:lnTo>
                      <a:pt x="157" y="232"/>
                    </a:lnTo>
                    <a:lnTo>
                      <a:pt x="108" y="232"/>
                    </a:lnTo>
                    <a:lnTo>
                      <a:pt x="108" y="232"/>
                    </a:lnTo>
                    <a:lnTo>
                      <a:pt x="105" y="227"/>
                    </a:lnTo>
                    <a:lnTo>
                      <a:pt x="103" y="221"/>
                    </a:lnTo>
                    <a:lnTo>
                      <a:pt x="102" y="215"/>
                    </a:lnTo>
                    <a:lnTo>
                      <a:pt x="102" y="208"/>
                    </a:lnTo>
                    <a:lnTo>
                      <a:pt x="100" y="163"/>
                    </a:lnTo>
                    <a:lnTo>
                      <a:pt x="100" y="163"/>
                    </a:lnTo>
                    <a:lnTo>
                      <a:pt x="100" y="157"/>
                    </a:lnTo>
                    <a:lnTo>
                      <a:pt x="99" y="151"/>
                    </a:lnTo>
                    <a:lnTo>
                      <a:pt x="96" y="146"/>
                    </a:lnTo>
                    <a:lnTo>
                      <a:pt x="94" y="142"/>
                    </a:lnTo>
                    <a:lnTo>
                      <a:pt x="89" y="139"/>
                    </a:lnTo>
                    <a:lnTo>
                      <a:pt x="84" y="136"/>
                    </a:lnTo>
                    <a:lnTo>
                      <a:pt x="79" y="135"/>
                    </a:lnTo>
                    <a:lnTo>
                      <a:pt x="72" y="134"/>
                    </a:lnTo>
                    <a:lnTo>
                      <a:pt x="48" y="134"/>
                    </a:lnTo>
                    <a:lnTo>
                      <a:pt x="48" y="232"/>
                    </a:lnTo>
                    <a:lnTo>
                      <a:pt x="0" y="232"/>
                    </a:lnTo>
                    <a:lnTo>
                      <a:pt x="0" y="0"/>
                    </a:lnTo>
                    <a:close/>
                    <a:moveTo>
                      <a:pt x="48" y="101"/>
                    </a:moveTo>
                    <a:lnTo>
                      <a:pt x="67" y="101"/>
                    </a:lnTo>
                    <a:lnTo>
                      <a:pt x="67" y="101"/>
                    </a:lnTo>
                    <a:lnTo>
                      <a:pt x="75" y="101"/>
                    </a:lnTo>
                    <a:lnTo>
                      <a:pt x="82" y="99"/>
                    </a:lnTo>
                    <a:lnTo>
                      <a:pt x="87" y="97"/>
                    </a:lnTo>
                    <a:lnTo>
                      <a:pt x="92" y="93"/>
                    </a:lnTo>
                    <a:lnTo>
                      <a:pt x="97" y="89"/>
                    </a:lnTo>
                    <a:lnTo>
                      <a:pt x="100" y="83"/>
                    </a:lnTo>
                    <a:lnTo>
                      <a:pt x="102" y="75"/>
                    </a:lnTo>
                    <a:lnTo>
                      <a:pt x="102" y="67"/>
                    </a:lnTo>
                    <a:lnTo>
                      <a:pt x="102" y="67"/>
                    </a:lnTo>
                    <a:lnTo>
                      <a:pt x="102" y="59"/>
                    </a:lnTo>
                    <a:lnTo>
                      <a:pt x="100" y="53"/>
                    </a:lnTo>
                    <a:lnTo>
                      <a:pt x="98" y="48"/>
                    </a:lnTo>
                    <a:lnTo>
                      <a:pt x="94" y="43"/>
                    </a:lnTo>
                    <a:lnTo>
                      <a:pt x="89" y="40"/>
                    </a:lnTo>
                    <a:lnTo>
                      <a:pt x="83" y="37"/>
                    </a:lnTo>
                    <a:lnTo>
                      <a:pt x="77" y="35"/>
                    </a:lnTo>
                    <a:lnTo>
                      <a:pt x="69" y="34"/>
                    </a:lnTo>
                    <a:lnTo>
                      <a:pt x="48" y="34"/>
                    </a:lnTo>
                    <a:lnTo>
                      <a:pt x="48"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22" name="Freeform 12">
                <a:extLst>
                  <a:ext uri="{FF2B5EF4-FFF2-40B4-BE49-F238E27FC236}">
                    <a16:creationId xmlns:a16="http://schemas.microsoft.com/office/drawing/2014/main" xmlns="" id="{D829F500-C543-4B64-A59B-4F30A4E794A1}"/>
                  </a:ext>
                </a:extLst>
              </p:cNvPr>
              <p:cNvSpPr>
                <a:spLocks/>
              </p:cNvSpPr>
              <p:nvPr userDrawn="1"/>
            </p:nvSpPr>
            <p:spPr bwMode="auto">
              <a:xfrm>
                <a:off x="8413750" y="4805363"/>
                <a:ext cx="69850" cy="123825"/>
              </a:xfrm>
              <a:custGeom>
                <a:avLst/>
                <a:gdLst>
                  <a:gd name="T0" fmla="*/ 129 w 132"/>
                  <a:gd name="T1" fmla="*/ 0 h 232"/>
                  <a:gd name="T2" fmla="*/ 129 w 132"/>
                  <a:gd name="T3" fmla="*/ 39 h 232"/>
                  <a:gd name="T4" fmla="*/ 46 w 132"/>
                  <a:gd name="T5" fmla="*/ 39 h 232"/>
                  <a:gd name="T6" fmla="*/ 46 w 132"/>
                  <a:gd name="T7" fmla="*/ 93 h 232"/>
                  <a:gd name="T8" fmla="*/ 124 w 132"/>
                  <a:gd name="T9" fmla="*/ 93 h 232"/>
                  <a:gd name="T10" fmla="*/ 124 w 132"/>
                  <a:gd name="T11" fmla="*/ 132 h 232"/>
                  <a:gd name="T12" fmla="*/ 46 w 132"/>
                  <a:gd name="T13" fmla="*/ 132 h 232"/>
                  <a:gd name="T14" fmla="*/ 46 w 132"/>
                  <a:gd name="T15" fmla="*/ 193 h 232"/>
                  <a:gd name="T16" fmla="*/ 132 w 132"/>
                  <a:gd name="T17" fmla="*/ 193 h 232"/>
                  <a:gd name="T18" fmla="*/ 132 w 132"/>
                  <a:gd name="T19" fmla="*/ 232 h 232"/>
                  <a:gd name="T20" fmla="*/ 0 w 132"/>
                  <a:gd name="T21" fmla="*/ 232 h 232"/>
                  <a:gd name="T22" fmla="*/ 0 w 132"/>
                  <a:gd name="T23" fmla="*/ 0 h 232"/>
                  <a:gd name="T24" fmla="*/ 129 w 132"/>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232">
                    <a:moveTo>
                      <a:pt x="129" y="0"/>
                    </a:moveTo>
                    <a:lnTo>
                      <a:pt x="129" y="39"/>
                    </a:lnTo>
                    <a:lnTo>
                      <a:pt x="46" y="39"/>
                    </a:lnTo>
                    <a:lnTo>
                      <a:pt x="46" y="93"/>
                    </a:lnTo>
                    <a:lnTo>
                      <a:pt x="124" y="93"/>
                    </a:lnTo>
                    <a:lnTo>
                      <a:pt x="124" y="132"/>
                    </a:lnTo>
                    <a:lnTo>
                      <a:pt x="46" y="132"/>
                    </a:lnTo>
                    <a:lnTo>
                      <a:pt x="46" y="193"/>
                    </a:lnTo>
                    <a:lnTo>
                      <a:pt x="132" y="193"/>
                    </a:lnTo>
                    <a:lnTo>
                      <a:pt x="132" y="232"/>
                    </a:lnTo>
                    <a:lnTo>
                      <a:pt x="0" y="232"/>
                    </a:lnTo>
                    <a:lnTo>
                      <a:pt x="0" y="0"/>
                    </a:lnTo>
                    <a:lnTo>
                      <a:pt x="1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23" name="Freeform 13">
                <a:extLst>
                  <a:ext uri="{FF2B5EF4-FFF2-40B4-BE49-F238E27FC236}">
                    <a16:creationId xmlns:a16="http://schemas.microsoft.com/office/drawing/2014/main" xmlns="" id="{F9319234-5061-4AEF-B912-D565ADCEF300}"/>
                  </a:ext>
                </a:extLst>
              </p:cNvPr>
              <p:cNvSpPr>
                <a:spLocks/>
              </p:cNvSpPr>
              <p:nvPr userDrawn="1"/>
            </p:nvSpPr>
            <p:spPr bwMode="auto">
              <a:xfrm>
                <a:off x="8497888" y="4805363"/>
                <a:ext cx="80963" cy="123825"/>
              </a:xfrm>
              <a:custGeom>
                <a:avLst/>
                <a:gdLst>
                  <a:gd name="T0" fmla="*/ 54 w 154"/>
                  <a:gd name="T1" fmla="*/ 0 h 232"/>
                  <a:gd name="T2" fmla="*/ 111 w 154"/>
                  <a:gd name="T3" fmla="*/ 159 h 232"/>
                  <a:gd name="T4" fmla="*/ 112 w 154"/>
                  <a:gd name="T5" fmla="*/ 159 h 232"/>
                  <a:gd name="T6" fmla="*/ 112 w 154"/>
                  <a:gd name="T7" fmla="*/ 0 h 232"/>
                  <a:gd name="T8" fmla="*/ 154 w 154"/>
                  <a:gd name="T9" fmla="*/ 0 h 232"/>
                  <a:gd name="T10" fmla="*/ 154 w 154"/>
                  <a:gd name="T11" fmla="*/ 232 h 232"/>
                  <a:gd name="T12" fmla="*/ 102 w 154"/>
                  <a:gd name="T13" fmla="*/ 232 h 232"/>
                  <a:gd name="T14" fmla="*/ 44 w 154"/>
                  <a:gd name="T15" fmla="*/ 70 h 232"/>
                  <a:gd name="T16" fmla="*/ 44 w 154"/>
                  <a:gd name="T17" fmla="*/ 70 h 232"/>
                  <a:gd name="T18" fmla="*/ 44 w 154"/>
                  <a:gd name="T19" fmla="*/ 232 h 232"/>
                  <a:gd name="T20" fmla="*/ 0 w 154"/>
                  <a:gd name="T21" fmla="*/ 232 h 232"/>
                  <a:gd name="T22" fmla="*/ 0 w 154"/>
                  <a:gd name="T23" fmla="*/ 0 h 232"/>
                  <a:gd name="T24" fmla="*/ 54 w 154"/>
                  <a:gd name="T2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232">
                    <a:moveTo>
                      <a:pt x="54" y="0"/>
                    </a:moveTo>
                    <a:lnTo>
                      <a:pt x="111" y="159"/>
                    </a:lnTo>
                    <a:lnTo>
                      <a:pt x="112" y="159"/>
                    </a:lnTo>
                    <a:lnTo>
                      <a:pt x="112" y="0"/>
                    </a:lnTo>
                    <a:lnTo>
                      <a:pt x="154" y="0"/>
                    </a:lnTo>
                    <a:lnTo>
                      <a:pt x="154" y="232"/>
                    </a:lnTo>
                    <a:lnTo>
                      <a:pt x="102" y="232"/>
                    </a:lnTo>
                    <a:lnTo>
                      <a:pt x="44" y="70"/>
                    </a:lnTo>
                    <a:lnTo>
                      <a:pt x="44" y="70"/>
                    </a:lnTo>
                    <a:lnTo>
                      <a:pt x="44" y="232"/>
                    </a:lnTo>
                    <a:lnTo>
                      <a:pt x="0" y="232"/>
                    </a:lnTo>
                    <a:lnTo>
                      <a:pt x="0"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24" name="Freeform 14">
                <a:extLst>
                  <a:ext uri="{FF2B5EF4-FFF2-40B4-BE49-F238E27FC236}">
                    <a16:creationId xmlns:a16="http://schemas.microsoft.com/office/drawing/2014/main" xmlns="" id="{C9209A0C-E729-4514-B571-CDD35004117F}"/>
                  </a:ext>
                </a:extLst>
              </p:cNvPr>
              <p:cNvSpPr>
                <a:spLocks noEditPoints="1"/>
              </p:cNvSpPr>
              <p:nvPr userDrawn="1"/>
            </p:nvSpPr>
            <p:spPr bwMode="auto">
              <a:xfrm>
                <a:off x="8589963" y="4805363"/>
                <a:ext cx="95250" cy="123825"/>
              </a:xfrm>
              <a:custGeom>
                <a:avLst/>
                <a:gdLst>
                  <a:gd name="T0" fmla="*/ 61 w 180"/>
                  <a:gd name="T1" fmla="*/ 0 h 232"/>
                  <a:gd name="T2" fmla="*/ 119 w 180"/>
                  <a:gd name="T3" fmla="*/ 0 h 232"/>
                  <a:gd name="T4" fmla="*/ 180 w 180"/>
                  <a:gd name="T5" fmla="*/ 232 h 232"/>
                  <a:gd name="T6" fmla="*/ 131 w 180"/>
                  <a:gd name="T7" fmla="*/ 232 h 232"/>
                  <a:gd name="T8" fmla="*/ 121 w 180"/>
                  <a:gd name="T9" fmla="*/ 183 h 232"/>
                  <a:gd name="T10" fmla="*/ 59 w 180"/>
                  <a:gd name="T11" fmla="*/ 183 h 232"/>
                  <a:gd name="T12" fmla="*/ 48 w 180"/>
                  <a:gd name="T13" fmla="*/ 232 h 232"/>
                  <a:gd name="T14" fmla="*/ 0 w 180"/>
                  <a:gd name="T15" fmla="*/ 232 h 232"/>
                  <a:gd name="T16" fmla="*/ 61 w 180"/>
                  <a:gd name="T17" fmla="*/ 0 h 232"/>
                  <a:gd name="T18" fmla="*/ 67 w 180"/>
                  <a:gd name="T19" fmla="*/ 145 h 232"/>
                  <a:gd name="T20" fmla="*/ 113 w 180"/>
                  <a:gd name="T21" fmla="*/ 145 h 232"/>
                  <a:gd name="T22" fmla="*/ 90 w 180"/>
                  <a:gd name="T23" fmla="*/ 41 h 232"/>
                  <a:gd name="T24" fmla="*/ 90 w 180"/>
                  <a:gd name="T25" fmla="*/ 41 h 232"/>
                  <a:gd name="T26" fmla="*/ 67 w 180"/>
                  <a:gd name="T27" fmla="*/ 14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232">
                    <a:moveTo>
                      <a:pt x="61" y="0"/>
                    </a:moveTo>
                    <a:lnTo>
                      <a:pt x="119" y="0"/>
                    </a:lnTo>
                    <a:lnTo>
                      <a:pt x="180" y="232"/>
                    </a:lnTo>
                    <a:lnTo>
                      <a:pt x="131" y="232"/>
                    </a:lnTo>
                    <a:lnTo>
                      <a:pt x="121" y="183"/>
                    </a:lnTo>
                    <a:lnTo>
                      <a:pt x="59" y="183"/>
                    </a:lnTo>
                    <a:lnTo>
                      <a:pt x="48" y="232"/>
                    </a:lnTo>
                    <a:lnTo>
                      <a:pt x="0" y="232"/>
                    </a:lnTo>
                    <a:lnTo>
                      <a:pt x="61" y="0"/>
                    </a:lnTo>
                    <a:close/>
                    <a:moveTo>
                      <a:pt x="67" y="145"/>
                    </a:moveTo>
                    <a:lnTo>
                      <a:pt x="113" y="145"/>
                    </a:lnTo>
                    <a:lnTo>
                      <a:pt x="90" y="41"/>
                    </a:lnTo>
                    <a:lnTo>
                      <a:pt x="90" y="41"/>
                    </a:lnTo>
                    <a:lnTo>
                      <a:pt x="67"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25" name="Freeform 15">
                <a:extLst>
                  <a:ext uri="{FF2B5EF4-FFF2-40B4-BE49-F238E27FC236}">
                    <a16:creationId xmlns:a16="http://schemas.microsoft.com/office/drawing/2014/main" xmlns="" id="{02028FA0-E995-4CD5-BAC0-7D2BE8A95C91}"/>
                  </a:ext>
                </a:extLst>
              </p:cNvPr>
              <p:cNvSpPr>
                <a:spLocks/>
              </p:cNvSpPr>
              <p:nvPr userDrawn="1"/>
            </p:nvSpPr>
            <p:spPr bwMode="auto">
              <a:xfrm>
                <a:off x="8691563" y="4805363"/>
                <a:ext cx="77788" cy="125413"/>
              </a:xfrm>
              <a:custGeom>
                <a:avLst/>
                <a:gdLst>
                  <a:gd name="T0" fmla="*/ 46 w 148"/>
                  <a:gd name="T1" fmla="*/ 0 h 236"/>
                  <a:gd name="T2" fmla="*/ 46 w 148"/>
                  <a:gd name="T3" fmla="*/ 162 h 236"/>
                  <a:gd name="T4" fmla="*/ 46 w 148"/>
                  <a:gd name="T5" fmla="*/ 162 h 236"/>
                  <a:gd name="T6" fmla="*/ 47 w 148"/>
                  <a:gd name="T7" fmla="*/ 170 h 236"/>
                  <a:gd name="T8" fmla="*/ 48 w 148"/>
                  <a:gd name="T9" fmla="*/ 178 h 236"/>
                  <a:gd name="T10" fmla="*/ 49 w 148"/>
                  <a:gd name="T11" fmla="*/ 184 h 236"/>
                  <a:gd name="T12" fmla="*/ 52 w 148"/>
                  <a:gd name="T13" fmla="*/ 190 h 236"/>
                  <a:gd name="T14" fmla="*/ 55 w 148"/>
                  <a:gd name="T15" fmla="*/ 195 h 236"/>
                  <a:gd name="T16" fmla="*/ 60 w 148"/>
                  <a:gd name="T17" fmla="*/ 199 h 236"/>
                  <a:gd name="T18" fmla="*/ 67 w 148"/>
                  <a:gd name="T19" fmla="*/ 202 h 236"/>
                  <a:gd name="T20" fmla="*/ 74 w 148"/>
                  <a:gd name="T21" fmla="*/ 202 h 236"/>
                  <a:gd name="T22" fmla="*/ 74 w 148"/>
                  <a:gd name="T23" fmla="*/ 202 h 236"/>
                  <a:gd name="T24" fmla="*/ 82 w 148"/>
                  <a:gd name="T25" fmla="*/ 202 h 236"/>
                  <a:gd name="T26" fmla="*/ 88 w 148"/>
                  <a:gd name="T27" fmla="*/ 199 h 236"/>
                  <a:gd name="T28" fmla="*/ 92 w 148"/>
                  <a:gd name="T29" fmla="*/ 195 h 236"/>
                  <a:gd name="T30" fmla="*/ 96 w 148"/>
                  <a:gd name="T31" fmla="*/ 190 h 236"/>
                  <a:gd name="T32" fmla="*/ 98 w 148"/>
                  <a:gd name="T33" fmla="*/ 184 h 236"/>
                  <a:gd name="T34" fmla="*/ 100 w 148"/>
                  <a:gd name="T35" fmla="*/ 178 h 236"/>
                  <a:gd name="T36" fmla="*/ 101 w 148"/>
                  <a:gd name="T37" fmla="*/ 170 h 236"/>
                  <a:gd name="T38" fmla="*/ 101 w 148"/>
                  <a:gd name="T39" fmla="*/ 162 h 236"/>
                  <a:gd name="T40" fmla="*/ 101 w 148"/>
                  <a:gd name="T41" fmla="*/ 0 h 236"/>
                  <a:gd name="T42" fmla="*/ 148 w 148"/>
                  <a:gd name="T43" fmla="*/ 0 h 236"/>
                  <a:gd name="T44" fmla="*/ 148 w 148"/>
                  <a:gd name="T45" fmla="*/ 162 h 236"/>
                  <a:gd name="T46" fmla="*/ 148 w 148"/>
                  <a:gd name="T47" fmla="*/ 162 h 236"/>
                  <a:gd name="T48" fmla="*/ 148 w 148"/>
                  <a:gd name="T49" fmla="*/ 172 h 236"/>
                  <a:gd name="T50" fmla="*/ 147 w 148"/>
                  <a:gd name="T51" fmla="*/ 182 h 236"/>
                  <a:gd name="T52" fmla="*/ 144 w 148"/>
                  <a:gd name="T53" fmla="*/ 190 h 236"/>
                  <a:gd name="T54" fmla="*/ 141 w 148"/>
                  <a:gd name="T55" fmla="*/ 199 h 236"/>
                  <a:gd name="T56" fmla="*/ 138 w 148"/>
                  <a:gd name="T57" fmla="*/ 206 h 236"/>
                  <a:gd name="T58" fmla="*/ 134 w 148"/>
                  <a:gd name="T59" fmla="*/ 212 h 236"/>
                  <a:gd name="T60" fmla="*/ 130 w 148"/>
                  <a:gd name="T61" fmla="*/ 217 h 236"/>
                  <a:gd name="T62" fmla="*/ 125 w 148"/>
                  <a:gd name="T63" fmla="*/ 221 h 236"/>
                  <a:gd name="T64" fmla="*/ 120 w 148"/>
                  <a:gd name="T65" fmla="*/ 225 h 236"/>
                  <a:gd name="T66" fmla="*/ 114 w 148"/>
                  <a:gd name="T67" fmla="*/ 228 h 236"/>
                  <a:gd name="T68" fmla="*/ 108 w 148"/>
                  <a:gd name="T69" fmla="*/ 231 h 236"/>
                  <a:gd name="T70" fmla="*/ 102 w 148"/>
                  <a:gd name="T71" fmla="*/ 233 h 236"/>
                  <a:gd name="T72" fmla="*/ 88 w 148"/>
                  <a:gd name="T73" fmla="*/ 236 h 236"/>
                  <a:gd name="T74" fmla="*/ 74 w 148"/>
                  <a:gd name="T75" fmla="*/ 236 h 236"/>
                  <a:gd name="T76" fmla="*/ 74 w 148"/>
                  <a:gd name="T77" fmla="*/ 236 h 236"/>
                  <a:gd name="T78" fmla="*/ 59 w 148"/>
                  <a:gd name="T79" fmla="*/ 236 h 236"/>
                  <a:gd name="T80" fmla="*/ 46 w 148"/>
                  <a:gd name="T81" fmla="*/ 234 h 236"/>
                  <a:gd name="T82" fmla="*/ 40 w 148"/>
                  <a:gd name="T83" fmla="*/ 232 h 236"/>
                  <a:gd name="T84" fmla="*/ 34 w 148"/>
                  <a:gd name="T85" fmla="*/ 229 h 236"/>
                  <a:gd name="T86" fmla="*/ 28 w 148"/>
                  <a:gd name="T87" fmla="*/ 226 h 236"/>
                  <a:gd name="T88" fmla="*/ 23 w 148"/>
                  <a:gd name="T89" fmla="*/ 223 h 236"/>
                  <a:gd name="T90" fmla="*/ 18 w 148"/>
                  <a:gd name="T91" fmla="*/ 218 h 236"/>
                  <a:gd name="T92" fmla="*/ 14 w 148"/>
                  <a:gd name="T93" fmla="*/ 213 h 236"/>
                  <a:gd name="T94" fmla="*/ 10 w 148"/>
                  <a:gd name="T95" fmla="*/ 207 h 236"/>
                  <a:gd name="T96" fmla="*/ 6 w 148"/>
                  <a:gd name="T97" fmla="*/ 200 h 236"/>
                  <a:gd name="T98" fmla="*/ 4 w 148"/>
                  <a:gd name="T99" fmla="*/ 191 h 236"/>
                  <a:gd name="T100" fmla="*/ 2 w 148"/>
                  <a:gd name="T101" fmla="*/ 182 h 236"/>
                  <a:gd name="T102" fmla="*/ 1 w 148"/>
                  <a:gd name="T103" fmla="*/ 173 h 236"/>
                  <a:gd name="T104" fmla="*/ 0 w 148"/>
                  <a:gd name="T105" fmla="*/ 162 h 236"/>
                  <a:gd name="T106" fmla="*/ 0 w 148"/>
                  <a:gd name="T107" fmla="*/ 0 h 236"/>
                  <a:gd name="T108" fmla="*/ 46 w 148"/>
                  <a:gd name="T10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236">
                    <a:moveTo>
                      <a:pt x="46" y="0"/>
                    </a:moveTo>
                    <a:lnTo>
                      <a:pt x="46" y="162"/>
                    </a:lnTo>
                    <a:lnTo>
                      <a:pt x="46" y="162"/>
                    </a:lnTo>
                    <a:lnTo>
                      <a:pt x="47" y="170"/>
                    </a:lnTo>
                    <a:lnTo>
                      <a:pt x="48" y="178"/>
                    </a:lnTo>
                    <a:lnTo>
                      <a:pt x="49" y="184"/>
                    </a:lnTo>
                    <a:lnTo>
                      <a:pt x="52" y="190"/>
                    </a:lnTo>
                    <a:lnTo>
                      <a:pt x="55" y="195"/>
                    </a:lnTo>
                    <a:lnTo>
                      <a:pt x="60" y="199"/>
                    </a:lnTo>
                    <a:lnTo>
                      <a:pt x="67" y="202"/>
                    </a:lnTo>
                    <a:lnTo>
                      <a:pt x="74" y="202"/>
                    </a:lnTo>
                    <a:lnTo>
                      <a:pt x="74" y="202"/>
                    </a:lnTo>
                    <a:lnTo>
                      <a:pt x="82" y="202"/>
                    </a:lnTo>
                    <a:lnTo>
                      <a:pt x="88" y="199"/>
                    </a:lnTo>
                    <a:lnTo>
                      <a:pt x="92" y="195"/>
                    </a:lnTo>
                    <a:lnTo>
                      <a:pt x="96" y="190"/>
                    </a:lnTo>
                    <a:lnTo>
                      <a:pt x="98" y="184"/>
                    </a:lnTo>
                    <a:lnTo>
                      <a:pt x="100" y="178"/>
                    </a:lnTo>
                    <a:lnTo>
                      <a:pt x="101" y="170"/>
                    </a:lnTo>
                    <a:lnTo>
                      <a:pt x="101" y="162"/>
                    </a:lnTo>
                    <a:lnTo>
                      <a:pt x="101" y="0"/>
                    </a:lnTo>
                    <a:lnTo>
                      <a:pt x="148" y="0"/>
                    </a:lnTo>
                    <a:lnTo>
                      <a:pt x="148" y="162"/>
                    </a:lnTo>
                    <a:lnTo>
                      <a:pt x="148" y="162"/>
                    </a:lnTo>
                    <a:lnTo>
                      <a:pt x="148" y="172"/>
                    </a:lnTo>
                    <a:lnTo>
                      <a:pt x="147" y="182"/>
                    </a:lnTo>
                    <a:lnTo>
                      <a:pt x="144" y="190"/>
                    </a:lnTo>
                    <a:lnTo>
                      <a:pt x="141" y="199"/>
                    </a:lnTo>
                    <a:lnTo>
                      <a:pt x="138" y="206"/>
                    </a:lnTo>
                    <a:lnTo>
                      <a:pt x="134" y="212"/>
                    </a:lnTo>
                    <a:lnTo>
                      <a:pt x="130" y="217"/>
                    </a:lnTo>
                    <a:lnTo>
                      <a:pt x="125" y="221"/>
                    </a:lnTo>
                    <a:lnTo>
                      <a:pt x="120" y="225"/>
                    </a:lnTo>
                    <a:lnTo>
                      <a:pt x="114" y="228"/>
                    </a:lnTo>
                    <a:lnTo>
                      <a:pt x="108" y="231"/>
                    </a:lnTo>
                    <a:lnTo>
                      <a:pt x="102" y="233"/>
                    </a:lnTo>
                    <a:lnTo>
                      <a:pt x="88" y="236"/>
                    </a:lnTo>
                    <a:lnTo>
                      <a:pt x="74" y="236"/>
                    </a:lnTo>
                    <a:lnTo>
                      <a:pt x="74" y="236"/>
                    </a:lnTo>
                    <a:lnTo>
                      <a:pt x="59" y="236"/>
                    </a:lnTo>
                    <a:lnTo>
                      <a:pt x="46" y="234"/>
                    </a:lnTo>
                    <a:lnTo>
                      <a:pt x="40" y="232"/>
                    </a:lnTo>
                    <a:lnTo>
                      <a:pt x="34" y="229"/>
                    </a:lnTo>
                    <a:lnTo>
                      <a:pt x="28" y="226"/>
                    </a:lnTo>
                    <a:lnTo>
                      <a:pt x="23" y="223"/>
                    </a:lnTo>
                    <a:lnTo>
                      <a:pt x="18" y="218"/>
                    </a:lnTo>
                    <a:lnTo>
                      <a:pt x="14" y="213"/>
                    </a:lnTo>
                    <a:lnTo>
                      <a:pt x="10" y="207"/>
                    </a:lnTo>
                    <a:lnTo>
                      <a:pt x="6" y="200"/>
                    </a:lnTo>
                    <a:lnTo>
                      <a:pt x="4" y="191"/>
                    </a:lnTo>
                    <a:lnTo>
                      <a:pt x="2" y="182"/>
                    </a:lnTo>
                    <a:lnTo>
                      <a:pt x="1" y="173"/>
                    </a:lnTo>
                    <a:lnTo>
                      <a:pt x="0" y="162"/>
                    </a:lnTo>
                    <a:lnTo>
                      <a:pt x="0" y="0"/>
                    </a:lnTo>
                    <a:lnTo>
                      <a:pt x="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26" name="Freeform 16">
                <a:extLst>
                  <a:ext uri="{FF2B5EF4-FFF2-40B4-BE49-F238E27FC236}">
                    <a16:creationId xmlns:a16="http://schemas.microsoft.com/office/drawing/2014/main" xmlns="" id="{5BCF352F-2138-4AFF-AE5E-B33BC7A1C959}"/>
                  </a:ext>
                </a:extLst>
              </p:cNvPr>
              <p:cNvSpPr>
                <a:spLocks/>
              </p:cNvSpPr>
              <p:nvPr userDrawn="1"/>
            </p:nvSpPr>
            <p:spPr bwMode="auto">
              <a:xfrm>
                <a:off x="8789988" y="4805363"/>
                <a:ext cx="69850" cy="123825"/>
              </a:xfrm>
              <a:custGeom>
                <a:avLst/>
                <a:gdLst>
                  <a:gd name="T0" fmla="*/ 0 w 130"/>
                  <a:gd name="T1" fmla="*/ 232 h 232"/>
                  <a:gd name="T2" fmla="*/ 0 w 130"/>
                  <a:gd name="T3" fmla="*/ 0 h 232"/>
                  <a:gd name="T4" fmla="*/ 47 w 130"/>
                  <a:gd name="T5" fmla="*/ 0 h 232"/>
                  <a:gd name="T6" fmla="*/ 47 w 130"/>
                  <a:gd name="T7" fmla="*/ 193 h 232"/>
                  <a:gd name="T8" fmla="*/ 130 w 130"/>
                  <a:gd name="T9" fmla="*/ 193 h 232"/>
                  <a:gd name="T10" fmla="*/ 130 w 130"/>
                  <a:gd name="T11" fmla="*/ 232 h 232"/>
                  <a:gd name="T12" fmla="*/ 0 w 130"/>
                  <a:gd name="T13" fmla="*/ 232 h 232"/>
                </a:gdLst>
                <a:ahLst/>
                <a:cxnLst>
                  <a:cxn ang="0">
                    <a:pos x="T0" y="T1"/>
                  </a:cxn>
                  <a:cxn ang="0">
                    <a:pos x="T2" y="T3"/>
                  </a:cxn>
                  <a:cxn ang="0">
                    <a:pos x="T4" y="T5"/>
                  </a:cxn>
                  <a:cxn ang="0">
                    <a:pos x="T6" y="T7"/>
                  </a:cxn>
                  <a:cxn ang="0">
                    <a:pos x="T8" y="T9"/>
                  </a:cxn>
                  <a:cxn ang="0">
                    <a:pos x="T10" y="T11"/>
                  </a:cxn>
                  <a:cxn ang="0">
                    <a:pos x="T12" y="T13"/>
                  </a:cxn>
                </a:cxnLst>
                <a:rect l="0" t="0" r="r" b="b"/>
                <a:pathLst>
                  <a:path w="130" h="232">
                    <a:moveTo>
                      <a:pt x="0" y="232"/>
                    </a:moveTo>
                    <a:lnTo>
                      <a:pt x="0" y="0"/>
                    </a:lnTo>
                    <a:lnTo>
                      <a:pt x="47" y="0"/>
                    </a:lnTo>
                    <a:lnTo>
                      <a:pt x="47" y="193"/>
                    </a:lnTo>
                    <a:lnTo>
                      <a:pt x="130" y="193"/>
                    </a:lnTo>
                    <a:lnTo>
                      <a:pt x="130" y="232"/>
                    </a:lnTo>
                    <a:lnTo>
                      <a:pt x="0"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sp>
            <p:nvSpPr>
              <p:cNvPr id="27" name="Freeform 17">
                <a:extLst>
                  <a:ext uri="{FF2B5EF4-FFF2-40B4-BE49-F238E27FC236}">
                    <a16:creationId xmlns:a16="http://schemas.microsoft.com/office/drawing/2014/main" xmlns="" id="{3F96D263-26AA-4886-B1DF-AF0FAFB3EEA5}"/>
                  </a:ext>
                </a:extLst>
              </p:cNvPr>
              <p:cNvSpPr>
                <a:spLocks/>
              </p:cNvSpPr>
              <p:nvPr userDrawn="1"/>
            </p:nvSpPr>
            <p:spPr bwMode="auto">
              <a:xfrm>
                <a:off x="8848725" y="4805363"/>
                <a:ext cx="77788" cy="123825"/>
              </a:xfrm>
              <a:custGeom>
                <a:avLst/>
                <a:gdLst>
                  <a:gd name="T0" fmla="*/ 148 w 148"/>
                  <a:gd name="T1" fmla="*/ 0 h 232"/>
                  <a:gd name="T2" fmla="*/ 148 w 148"/>
                  <a:gd name="T3" fmla="*/ 39 h 232"/>
                  <a:gd name="T4" fmla="*/ 97 w 148"/>
                  <a:gd name="T5" fmla="*/ 39 h 232"/>
                  <a:gd name="T6" fmla="*/ 97 w 148"/>
                  <a:gd name="T7" fmla="*/ 232 h 232"/>
                  <a:gd name="T8" fmla="*/ 51 w 148"/>
                  <a:gd name="T9" fmla="*/ 232 h 232"/>
                  <a:gd name="T10" fmla="*/ 51 w 148"/>
                  <a:gd name="T11" fmla="*/ 39 h 232"/>
                  <a:gd name="T12" fmla="*/ 0 w 148"/>
                  <a:gd name="T13" fmla="*/ 39 h 232"/>
                  <a:gd name="T14" fmla="*/ 0 w 148"/>
                  <a:gd name="T15" fmla="*/ 0 h 232"/>
                  <a:gd name="T16" fmla="*/ 148 w 148"/>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232">
                    <a:moveTo>
                      <a:pt x="148" y="0"/>
                    </a:moveTo>
                    <a:lnTo>
                      <a:pt x="148" y="39"/>
                    </a:lnTo>
                    <a:lnTo>
                      <a:pt x="97" y="39"/>
                    </a:lnTo>
                    <a:lnTo>
                      <a:pt x="97" y="232"/>
                    </a:lnTo>
                    <a:lnTo>
                      <a:pt x="51" y="232"/>
                    </a:lnTo>
                    <a:lnTo>
                      <a:pt x="51" y="39"/>
                    </a:lnTo>
                    <a:lnTo>
                      <a:pt x="0" y="39"/>
                    </a:lnTo>
                    <a:lnTo>
                      <a:pt x="0" y="0"/>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FFCC33"/>
                  </a:solidFill>
                </a:endParaRPr>
              </a:p>
            </p:txBody>
          </p:sp>
        </p:grpSp>
      </p:grpSp>
      <p:sp>
        <p:nvSpPr>
          <p:cNvPr id="2" name="Titre 1"/>
          <p:cNvSpPr>
            <a:spLocks noGrp="1"/>
          </p:cNvSpPr>
          <p:nvPr>
            <p:ph type="ctrTitle"/>
          </p:nvPr>
        </p:nvSpPr>
        <p:spPr>
          <a:xfrm>
            <a:off x="34245" y="358676"/>
            <a:ext cx="7772400" cy="1470025"/>
          </a:xfrm>
        </p:spPr>
        <p:txBody>
          <a:bodyPr>
            <a:noAutofit/>
          </a:bodyPr>
          <a:lstStyle/>
          <a:p>
            <a:r>
              <a:rPr lang="fr-FR" b="1" dirty="0"/>
              <a:t/>
            </a:r>
            <a:br>
              <a:rPr lang="fr-FR" b="1" dirty="0"/>
            </a:br>
            <a:r>
              <a:rPr lang="fr-FR" b="1" dirty="0"/>
              <a:t>Les Ateliers du CR2PA</a:t>
            </a:r>
            <a:br>
              <a:rPr lang="fr-FR" b="1" dirty="0"/>
            </a:br>
            <a:r>
              <a:rPr lang="fr-FR" b="1" dirty="0">
                <a:solidFill>
                  <a:schemeClr val="accent2">
                    <a:lumMod val="75000"/>
                  </a:schemeClr>
                </a:solidFill>
                <a:effectLst>
                  <a:outerShdw blurRad="38100" dist="38100" dir="2700000" algn="tl">
                    <a:srgbClr val="000000">
                      <a:alpha val="43137"/>
                    </a:srgbClr>
                  </a:outerShdw>
                </a:effectLst>
                <a:latin typeface="Calibri" pitchFamily="34" charset="0"/>
              </a:rPr>
              <a:t/>
            </a:r>
            <a:br>
              <a:rPr lang="fr-FR" b="1" dirty="0">
                <a:solidFill>
                  <a:schemeClr val="accent2">
                    <a:lumMod val="75000"/>
                  </a:schemeClr>
                </a:solidFill>
                <a:effectLst>
                  <a:outerShdw blurRad="38100" dist="38100" dir="2700000" algn="tl">
                    <a:srgbClr val="000000">
                      <a:alpha val="43137"/>
                    </a:srgbClr>
                  </a:outerShdw>
                </a:effectLst>
                <a:latin typeface="Calibri" pitchFamily="34" charset="0"/>
              </a:rPr>
            </a:br>
            <a:endParaRPr lang="fr-FR" dirty="0"/>
          </a:p>
        </p:txBody>
      </p:sp>
      <p:sp>
        <p:nvSpPr>
          <p:cNvPr id="3" name="Sous-titre 2"/>
          <p:cNvSpPr>
            <a:spLocks noGrp="1"/>
          </p:cNvSpPr>
          <p:nvPr>
            <p:ph type="subTitle" idx="1"/>
          </p:nvPr>
        </p:nvSpPr>
        <p:spPr>
          <a:xfrm>
            <a:off x="680710" y="1935973"/>
            <a:ext cx="5688632" cy="3351463"/>
          </a:xfrm>
        </p:spPr>
        <p:txBody>
          <a:bodyPr>
            <a:normAutofit/>
          </a:bodyPr>
          <a:lstStyle/>
          <a:p>
            <a:pPr marL="381000" indent="-381000" algn="r" defTabSz="957263" eaLnBrk="0" fontAlgn="base" hangingPunct="0">
              <a:lnSpc>
                <a:spcPct val="120000"/>
              </a:lnSpc>
              <a:spcBef>
                <a:spcPts val="0"/>
              </a:spcBef>
              <a:buClr>
                <a:schemeClr val="tx1"/>
              </a:buClr>
              <a:buSzPct val="80000"/>
              <a:defRPr/>
            </a:pPr>
            <a:r>
              <a:rPr lang="fr-FR" b="1" dirty="0">
                <a:solidFill>
                  <a:schemeClr val="accent2">
                    <a:lumMod val="75000"/>
                  </a:schemeClr>
                </a:solidFill>
                <a:effectLst>
                  <a:outerShdw blurRad="38100" dist="38100" dir="2700000" algn="tl">
                    <a:srgbClr val="000000">
                      <a:alpha val="43137"/>
                    </a:srgbClr>
                  </a:outerShdw>
                </a:effectLst>
                <a:latin typeface="Calibri" pitchFamily="34" charset="0"/>
              </a:rPr>
              <a:t>Atelier </a:t>
            </a:r>
            <a:r>
              <a:rPr lang="fr-FR" b="1" dirty="0" smtClean="0">
                <a:solidFill>
                  <a:schemeClr val="accent2">
                    <a:lumMod val="75000"/>
                  </a:schemeClr>
                </a:solidFill>
                <a:effectLst>
                  <a:outerShdw blurRad="38100" dist="38100" dir="2700000" algn="tl">
                    <a:srgbClr val="000000">
                      <a:alpha val="43137"/>
                    </a:srgbClr>
                  </a:outerShdw>
                </a:effectLst>
                <a:latin typeface="Calibri" pitchFamily="34" charset="0"/>
              </a:rPr>
              <a:t>N°18 </a:t>
            </a:r>
            <a:endParaRPr lang="fr-FR" b="1" dirty="0">
              <a:solidFill>
                <a:schemeClr val="accent2">
                  <a:lumMod val="75000"/>
                </a:schemeClr>
              </a:solidFill>
              <a:effectLst>
                <a:outerShdw blurRad="38100" dist="38100" dir="2700000" algn="tl">
                  <a:srgbClr val="000000">
                    <a:alpha val="43137"/>
                  </a:srgbClr>
                </a:outerShdw>
              </a:effectLst>
              <a:latin typeface="Calibri" pitchFamily="34" charset="0"/>
            </a:endParaRPr>
          </a:p>
          <a:p>
            <a:pPr marL="381000" indent="-381000" algn="r" defTabSz="957263" eaLnBrk="0" fontAlgn="base" hangingPunct="0">
              <a:lnSpc>
                <a:spcPct val="120000"/>
              </a:lnSpc>
              <a:spcBef>
                <a:spcPts val="0"/>
              </a:spcBef>
              <a:buClr>
                <a:schemeClr val="tx1"/>
              </a:buClr>
              <a:buSzPct val="80000"/>
              <a:defRPr/>
            </a:pPr>
            <a:r>
              <a:rPr lang="fr-FR" sz="2400" b="1" dirty="0">
                <a:solidFill>
                  <a:schemeClr val="accent2">
                    <a:lumMod val="75000"/>
                  </a:schemeClr>
                </a:solidFill>
                <a:effectLst>
                  <a:outerShdw blurRad="38100" dist="38100" dir="2700000" algn="tl">
                    <a:srgbClr val="000000">
                      <a:alpha val="43137"/>
                    </a:srgbClr>
                  </a:outerShdw>
                </a:effectLst>
                <a:latin typeface="Calibri" pitchFamily="34" charset="0"/>
              </a:rPr>
              <a:t>Jeudi 22 juin 2017 </a:t>
            </a:r>
          </a:p>
          <a:p>
            <a:pPr marL="381000" indent="-381000" defTabSz="957263" eaLnBrk="0" fontAlgn="base" hangingPunct="0">
              <a:lnSpc>
                <a:spcPct val="120000"/>
              </a:lnSpc>
              <a:spcBef>
                <a:spcPts val="0"/>
              </a:spcBef>
              <a:buClr>
                <a:schemeClr val="tx1"/>
              </a:buClr>
              <a:buSzPct val="80000"/>
              <a:defRPr/>
            </a:pPr>
            <a:r>
              <a:rPr lang="fr-FR" sz="2400" b="1" dirty="0">
                <a:solidFill>
                  <a:schemeClr val="accent2">
                    <a:lumMod val="75000"/>
                  </a:schemeClr>
                </a:solidFill>
                <a:effectLst>
                  <a:outerShdw blurRad="38100" dist="38100" dir="2700000" algn="tl">
                    <a:srgbClr val="000000">
                      <a:alpha val="43137"/>
                    </a:srgbClr>
                  </a:outerShdw>
                </a:effectLst>
                <a:latin typeface="Calibri" pitchFamily="34" charset="0"/>
              </a:rPr>
              <a:t>(14h-17h)</a:t>
            </a:r>
          </a:p>
          <a:p>
            <a:pPr defTabSz="957263" eaLnBrk="0" fontAlgn="base" hangingPunct="0">
              <a:lnSpc>
                <a:spcPct val="120000"/>
              </a:lnSpc>
              <a:spcBef>
                <a:spcPts val="0"/>
              </a:spcBef>
              <a:buClr>
                <a:schemeClr val="tx1"/>
              </a:buClr>
              <a:buSzPct val="80000"/>
              <a:defRPr/>
            </a:pPr>
            <a:endParaRPr lang="fr-FR" sz="1200" b="1" dirty="0">
              <a:solidFill>
                <a:schemeClr val="accent2">
                  <a:lumMod val="75000"/>
                </a:schemeClr>
              </a:solidFill>
              <a:effectLst>
                <a:outerShdw blurRad="38100" dist="38100" dir="2700000" algn="tl">
                  <a:srgbClr val="000000">
                    <a:alpha val="43137"/>
                  </a:srgbClr>
                </a:outerShdw>
              </a:effectLst>
              <a:latin typeface="Calibri" pitchFamily="34" charset="0"/>
            </a:endParaRPr>
          </a:p>
          <a:p>
            <a:pPr defTabSz="957263" eaLnBrk="0" fontAlgn="base" hangingPunct="0">
              <a:lnSpc>
                <a:spcPct val="120000"/>
              </a:lnSpc>
              <a:spcBef>
                <a:spcPts val="0"/>
              </a:spcBef>
              <a:buClr>
                <a:schemeClr val="tx1"/>
              </a:buClr>
              <a:buSzPct val="80000"/>
              <a:defRPr/>
            </a:pPr>
            <a:r>
              <a:rPr lang="fr-FR" b="1" dirty="0">
                <a:solidFill>
                  <a:schemeClr val="accent2">
                    <a:lumMod val="75000"/>
                  </a:schemeClr>
                </a:solidFill>
                <a:effectLst>
                  <a:outerShdw blurRad="38100" dist="38100" dir="2700000" algn="tl">
                    <a:srgbClr val="000000">
                      <a:alpha val="43137"/>
                    </a:srgbClr>
                  </a:outerShdw>
                </a:effectLst>
                <a:latin typeface="Calibri" pitchFamily="34" charset="0"/>
              </a:rPr>
              <a:t>Chez</a:t>
            </a:r>
            <a:r>
              <a:rPr lang="fr-FR" sz="800" b="1" dirty="0">
                <a:solidFill>
                  <a:schemeClr val="bg1"/>
                </a:solidFill>
                <a:latin typeface="Calibri" pitchFamily="34" charset="0"/>
              </a:rPr>
              <a:t>……   </a:t>
            </a:r>
            <a:r>
              <a:rPr lang="fr-FR" sz="900" b="1" dirty="0">
                <a:solidFill>
                  <a:schemeClr val="bg1"/>
                </a:solidFill>
                <a:latin typeface="Calibri" pitchFamily="34" charset="0"/>
              </a:rPr>
              <a:t>                                                                    </a:t>
            </a:r>
            <a:r>
              <a:rPr lang="fr-FR" sz="1100" b="1" dirty="0">
                <a:solidFill>
                  <a:schemeClr val="bg1"/>
                </a:solidFill>
                <a:latin typeface="Calibri" pitchFamily="34" charset="0"/>
              </a:rPr>
              <a:t>………</a:t>
            </a:r>
            <a:endParaRPr lang="fr-FR" sz="2000" b="1" dirty="0">
              <a:solidFill>
                <a:schemeClr val="accent2">
                  <a:lumMod val="75000"/>
                </a:schemeClr>
              </a:solidFill>
              <a:latin typeface="Calibri" pitchFamily="34" charset="0"/>
            </a:endParaRPr>
          </a:p>
        </p:txBody>
      </p:sp>
      <p:sp>
        <p:nvSpPr>
          <p:cNvPr id="6" name="Espace réservé du numéro de diapositive 5"/>
          <p:cNvSpPr>
            <a:spLocks noGrp="1"/>
          </p:cNvSpPr>
          <p:nvPr>
            <p:ph type="sldNum" sz="quarter" idx="12"/>
          </p:nvPr>
        </p:nvSpPr>
        <p:spPr/>
        <p:txBody>
          <a:bodyPr/>
          <a:lstStyle/>
          <a:p>
            <a:fld id="{8052084E-5DB1-4820-A270-72CC0B3C4AB6}" type="slidenum">
              <a:rPr lang="fr-FR" smtClean="0"/>
              <a:pPr/>
              <a:t>1</a:t>
            </a:fld>
            <a:endParaRPr lang="fr-FR"/>
          </a:p>
        </p:txBody>
      </p:sp>
      <p:pic>
        <p:nvPicPr>
          <p:cNvPr id="4" name="Picture 2"/>
          <p:cNvPicPr>
            <a:picLocks noChangeAspect="1" noChangeArrowheads="1"/>
          </p:cNvPicPr>
          <p:nvPr/>
        </p:nvPicPr>
        <p:blipFill>
          <a:blip r:embed="rId2" cstate="print"/>
          <a:srcRect/>
          <a:stretch>
            <a:fillRect/>
          </a:stretch>
        </p:blipFill>
        <p:spPr bwMode="auto">
          <a:xfrm>
            <a:off x="6732240" y="332656"/>
            <a:ext cx="1368152" cy="1375430"/>
          </a:xfrm>
          <a:prstGeom prst="rect">
            <a:avLst/>
          </a:prstGeom>
          <a:noFill/>
          <a:ln w="9525">
            <a:noFill/>
            <a:miter lim="800000"/>
            <a:headEnd/>
            <a:tailEnd/>
          </a:ln>
        </p:spPr>
      </p:pic>
      <p:sp>
        <p:nvSpPr>
          <p:cNvPr id="8" name="ZoneTexte 7"/>
          <p:cNvSpPr txBox="1"/>
          <p:nvPr/>
        </p:nvSpPr>
        <p:spPr>
          <a:xfrm>
            <a:off x="4638293" y="5557627"/>
            <a:ext cx="3168352" cy="369332"/>
          </a:xfrm>
          <a:prstGeom prst="rect">
            <a:avLst/>
          </a:prstGeom>
          <a:noFill/>
        </p:spPr>
        <p:txBody>
          <a:bodyPr wrap="square" rtlCol="0">
            <a:spAutoFit/>
          </a:bodyPr>
          <a:lstStyle/>
          <a:p>
            <a:r>
              <a:rPr lang="fr-FR" dirty="0"/>
              <a:t>9  participants</a:t>
            </a:r>
          </a:p>
        </p:txBody>
      </p:sp>
      <p:sp>
        <p:nvSpPr>
          <p:cNvPr id="11" name="Rectangle 10"/>
          <p:cNvSpPr/>
          <p:nvPr/>
        </p:nvSpPr>
        <p:spPr>
          <a:xfrm>
            <a:off x="317812" y="1352215"/>
            <a:ext cx="6414427" cy="646331"/>
          </a:xfrm>
          <a:prstGeom prst="rect">
            <a:avLst/>
          </a:prstGeom>
        </p:spPr>
        <p:txBody>
          <a:bodyPr wrap="square">
            <a:spAutoFit/>
          </a:bodyPr>
          <a:lstStyle/>
          <a:p>
            <a:r>
              <a:rPr lang="fr-FR" b="1" dirty="0">
                <a:solidFill>
                  <a:schemeClr val="tx2">
                    <a:lumMod val="60000"/>
                    <a:lumOff val="40000"/>
                  </a:schemeClr>
                </a:solidFill>
              </a:rPr>
              <a:t>Baromètre de l’archivage managérial</a:t>
            </a:r>
          </a:p>
          <a:p>
            <a:r>
              <a:rPr lang="fr-FR" b="1" dirty="0">
                <a:solidFill>
                  <a:schemeClr val="tx2">
                    <a:lumMod val="60000"/>
                    <a:lumOff val="40000"/>
                  </a:schemeClr>
                </a:solidFill>
              </a:rPr>
              <a:t>Présentation</a:t>
            </a:r>
            <a:endParaRPr lang="fr-FR" dirty="0">
              <a:solidFill>
                <a:schemeClr val="tx2">
                  <a:lumMod val="60000"/>
                  <a:lumOff val="40000"/>
                </a:schemeClr>
              </a:solidFill>
            </a:endParaRPr>
          </a:p>
        </p:txBody>
      </p:sp>
      <p:sp>
        <p:nvSpPr>
          <p:cNvPr id="10" name="Espace réservé du pied de page 4"/>
          <p:cNvSpPr>
            <a:spLocks noGrp="1"/>
          </p:cNvSpPr>
          <p:nvPr>
            <p:ph type="ftr" sz="quarter" idx="11"/>
          </p:nvPr>
        </p:nvSpPr>
        <p:spPr>
          <a:xfrm>
            <a:off x="1104729" y="6296830"/>
            <a:ext cx="7067128" cy="484163"/>
          </a:xfrm>
        </p:spPr>
        <p:txBody>
          <a:bodyPr/>
          <a:lstStyle/>
          <a:p>
            <a:pPr algn="ctr"/>
            <a:r>
              <a:rPr lang="fr-FR" sz="1100" dirty="0">
                <a:solidFill>
                  <a:prstClr val="black"/>
                </a:solidFill>
              </a:rPr>
              <a:t>CR2PA - Atelier </a:t>
            </a:r>
            <a:r>
              <a:rPr lang="fr-FR" sz="1100" dirty="0">
                <a:solidFill>
                  <a:srgbClr val="FF0000"/>
                </a:solidFill>
              </a:rPr>
              <a:t>du 22 juin 2017 </a:t>
            </a:r>
            <a:r>
              <a:rPr lang="fr-FR" sz="1100" dirty="0">
                <a:solidFill>
                  <a:prstClr val="black"/>
                </a:solidFill>
              </a:rPr>
              <a:t>Bruno Lalande – Hervé Mahe – Nathalie Morand Khalifa</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1 GROUPE, 5 MARQUES, 1 ALLIANCE, DES PARTENARIATS</a:t>
            </a:r>
          </a:p>
        </p:txBody>
      </p:sp>
      <p:pic>
        <p:nvPicPr>
          <p:cNvPr id="6" name="Image 5"/>
          <p:cNvPicPr>
            <a:picLocks noChangeAspect="1"/>
          </p:cNvPicPr>
          <p:nvPr/>
        </p:nvPicPr>
        <p:blipFill>
          <a:blip r:embed="rId2"/>
          <a:stretch>
            <a:fillRect/>
          </a:stretch>
        </p:blipFill>
        <p:spPr>
          <a:xfrm>
            <a:off x="2703007" y="1903770"/>
            <a:ext cx="2134068" cy="457313"/>
          </a:xfrm>
          <a:prstGeom prst="rect">
            <a:avLst/>
          </a:prstGeom>
        </p:spPr>
      </p:pic>
      <p:pic>
        <p:nvPicPr>
          <p:cNvPr id="8" name="Image 7"/>
          <p:cNvPicPr>
            <a:picLocks noChangeAspect="1"/>
          </p:cNvPicPr>
          <p:nvPr/>
        </p:nvPicPr>
        <p:blipFill>
          <a:blip r:embed="rId3"/>
          <a:stretch>
            <a:fillRect/>
          </a:stretch>
        </p:blipFill>
        <p:spPr>
          <a:xfrm>
            <a:off x="5652120" y="3745676"/>
            <a:ext cx="2493589" cy="486567"/>
          </a:xfrm>
          <a:prstGeom prst="rect">
            <a:avLst/>
          </a:prstGeom>
        </p:spPr>
      </p:pic>
      <p:sp>
        <p:nvSpPr>
          <p:cNvPr id="9" name="ZoneTexte 8"/>
          <p:cNvSpPr txBox="1"/>
          <p:nvPr/>
        </p:nvSpPr>
        <p:spPr>
          <a:xfrm>
            <a:off x="5875011" y="4501810"/>
            <a:ext cx="2047806" cy="914400"/>
          </a:xfrm>
          <a:prstGeom prst="rect">
            <a:avLst/>
          </a:prstGeom>
          <a:noFill/>
        </p:spPr>
        <p:txBody>
          <a:bodyPr wrap="none" lIns="0" tIns="0" rIns="0" bIns="0" rtlCol="0">
            <a:noAutofit/>
          </a:bodyPr>
          <a:lstStyle/>
          <a:p>
            <a:r>
              <a:rPr lang="fr-FR" sz="2400" dirty="0">
                <a:latin typeface="+mj-lt"/>
              </a:rPr>
              <a:t>Dong Feng  </a:t>
            </a:r>
            <a:r>
              <a:rPr lang="fr-FR" sz="2400" i="1" dirty="0">
                <a:latin typeface="+mj-lt"/>
              </a:rPr>
              <a:t>Chine</a:t>
            </a:r>
          </a:p>
          <a:p>
            <a:r>
              <a:rPr lang="fr-FR" sz="2400" dirty="0">
                <a:latin typeface="+mj-lt"/>
              </a:rPr>
              <a:t>Daimler</a:t>
            </a:r>
          </a:p>
        </p:txBody>
      </p:sp>
      <p:pic>
        <p:nvPicPr>
          <p:cNvPr id="14" name="Image 13"/>
          <p:cNvPicPr>
            <a:picLocks noChangeAspect="1"/>
          </p:cNvPicPr>
          <p:nvPr/>
        </p:nvPicPr>
        <p:blipFill>
          <a:blip r:embed="rId4"/>
          <a:stretch>
            <a:fillRect/>
          </a:stretch>
        </p:blipFill>
        <p:spPr>
          <a:xfrm>
            <a:off x="2599005" y="2339094"/>
            <a:ext cx="2412961" cy="723908"/>
          </a:xfrm>
          <a:prstGeom prst="rect">
            <a:avLst/>
          </a:prstGeom>
        </p:spPr>
      </p:pic>
      <p:sp>
        <p:nvSpPr>
          <p:cNvPr id="15" name="Espace réservé du texte 2"/>
          <p:cNvSpPr>
            <a:spLocks noGrp="1"/>
          </p:cNvSpPr>
          <p:nvPr>
            <p:ph type="body" sz="quarter" idx="21"/>
          </p:nvPr>
        </p:nvSpPr>
        <p:spPr>
          <a:xfrm>
            <a:off x="180976" y="274876"/>
            <a:ext cx="8423275" cy="161925"/>
          </a:xfrm>
        </p:spPr>
        <p:txBody>
          <a:bodyPr/>
          <a:lstStyle/>
          <a:p>
            <a:r>
              <a:rPr lang="fr-FR" sz="900" dirty="0"/>
              <a:t>1- LE GROUPE RENAULT</a:t>
            </a:r>
          </a:p>
        </p:txBody>
      </p:sp>
      <p:pic>
        <p:nvPicPr>
          <p:cNvPr id="2" name="Image 1">
            <a:extLst>
              <a:ext uri="{FF2B5EF4-FFF2-40B4-BE49-F238E27FC236}">
                <a16:creationId xmlns:a16="http://schemas.microsoft.com/office/drawing/2014/main" xmlns="" id="{948C75CE-E956-4E44-9B6E-77508EB9EA8C}"/>
              </a:ext>
            </a:extLst>
          </p:cNvPr>
          <p:cNvPicPr>
            <a:picLocks noChangeAspect="1"/>
          </p:cNvPicPr>
          <p:nvPr/>
        </p:nvPicPr>
        <p:blipFill>
          <a:blip r:embed="rId5"/>
          <a:stretch>
            <a:fillRect/>
          </a:stretch>
        </p:blipFill>
        <p:spPr>
          <a:xfrm>
            <a:off x="755575" y="4501810"/>
            <a:ext cx="3816291" cy="1049734"/>
          </a:xfrm>
          <a:prstGeom prst="rect">
            <a:avLst/>
          </a:prstGeom>
        </p:spPr>
      </p:pic>
      <p:sp>
        <p:nvSpPr>
          <p:cNvPr id="3" name="ZoneTexte 2">
            <a:extLst>
              <a:ext uri="{FF2B5EF4-FFF2-40B4-BE49-F238E27FC236}">
                <a16:creationId xmlns:a16="http://schemas.microsoft.com/office/drawing/2014/main" xmlns="" id="{017E42E5-6398-4148-9289-95107F731197}"/>
              </a:ext>
            </a:extLst>
          </p:cNvPr>
          <p:cNvSpPr txBox="1"/>
          <p:nvPr/>
        </p:nvSpPr>
        <p:spPr>
          <a:xfrm>
            <a:off x="827584" y="3745676"/>
            <a:ext cx="2785355" cy="496746"/>
          </a:xfrm>
          <a:prstGeom prst="rect">
            <a:avLst/>
          </a:prstGeom>
          <a:noFill/>
        </p:spPr>
        <p:txBody>
          <a:bodyPr wrap="none" lIns="0" tIns="0" rIns="0" bIns="0" rtlCol="0">
            <a:noAutofit/>
          </a:bodyPr>
          <a:lstStyle/>
          <a:p>
            <a:r>
              <a:rPr lang="fr-FR" sz="2800" b="0" dirty="0">
                <a:solidFill>
                  <a:schemeClr val="tx1">
                    <a:lumMod val="65000"/>
                    <a:lumOff val="35000"/>
                  </a:schemeClr>
                </a:solidFill>
                <a:latin typeface="+mj-lt"/>
              </a:rPr>
              <a:t>UN GROUPE, 5 MARQUES</a:t>
            </a:r>
          </a:p>
        </p:txBody>
      </p:sp>
      <p:pic>
        <p:nvPicPr>
          <p:cNvPr id="10" name="Image 9">
            <a:extLst>
              <a:ext uri="{FF2B5EF4-FFF2-40B4-BE49-F238E27FC236}">
                <a16:creationId xmlns:a16="http://schemas.microsoft.com/office/drawing/2014/main" xmlns="" id="{DA692B3C-24A6-4A89-9056-E0F6409D3981}"/>
              </a:ext>
            </a:extLst>
          </p:cNvPr>
          <p:cNvPicPr>
            <a:picLocks noChangeAspect="1"/>
          </p:cNvPicPr>
          <p:nvPr/>
        </p:nvPicPr>
        <p:blipFill>
          <a:blip r:embed="rId6"/>
          <a:stretch>
            <a:fillRect/>
          </a:stretch>
        </p:blipFill>
        <p:spPr>
          <a:xfrm>
            <a:off x="5115968" y="1583532"/>
            <a:ext cx="1892263" cy="1097788"/>
          </a:xfrm>
          <a:prstGeom prst="rect">
            <a:avLst/>
          </a:prstGeom>
        </p:spPr>
      </p:pic>
    </p:spTree>
    <p:extLst>
      <p:ext uri="{BB962C8B-B14F-4D97-AF65-F5344CB8AC3E}">
        <p14:creationId xmlns:p14="http://schemas.microsoft.com/office/powerpoint/2010/main" val="3587889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err="1"/>
              <a:t>rÉalisation</a:t>
            </a:r>
            <a:r>
              <a:rPr lang="fr-FR" dirty="0"/>
              <a:t> 2016 – </a:t>
            </a:r>
            <a:r>
              <a:rPr lang="fr-FR" dirty="0">
                <a:solidFill>
                  <a:srgbClr val="F7B100"/>
                </a:solidFill>
              </a:rPr>
              <a:t>lancement produits</a:t>
            </a:r>
            <a:endParaRPr lang="fr-FR" dirty="0"/>
          </a:p>
        </p:txBody>
      </p:sp>
      <p:sp>
        <p:nvSpPr>
          <p:cNvPr id="50" name="Rectangle 49"/>
          <p:cNvSpPr/>
          <p:nvPr/>
        </p:nvSpPr>
        <p:spPr>
          <a:xfrm>
            <a:off x="2894788" y="3962020"/>
            <a:ext cx="3643805" cy="594595"/>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defTabSz="685800">
              <a:lnSpc>
                <a:spcPct val="150000"/>
              </a:lnSpc>
              <a:buAutoNum type="arabicPeriod" startAt="9"/>
              <a:tabLst>
                <a:tab pos="1752600" algn="r"/>
                <a:tab pos="2620566" algn="r"/>
              </a:tabLst>
            </a:pPr>
            <a:r>
              <a:rPr lang="fr-FR" sz="1100" dirty="0">
                <a:solidFill>
                  <a:schemeClr val="tx1">
                    <a:lumMod val="65000"/>
                    <a:lumOff val="35000"/>
                  </a:schemeClr>
                </a:solidFill>
              </a:rPr>
              <a:t>  KAPTUR </a:t>
            </a:r>
          </a:p>
          <a:p>
            <a:pPr marL="228600" indent="-228600" defTabSz="685800">
              <a:lnSpc>
                <a:spcPct val="150000"/>
              </a:lnSpc>
              <a:buAutoNum type="arabicPeriod" startAt="9"/>
              <a:tabLst>
                <a:tab pos="1752600" algn="r"/>
                <a:tab pos="2620566" algn="r"/>
              </a:tabLst>
            </a:pPr>
            <a:r>
              <a:rPr lang="fr-FR" sz="1100" dirty="0">
                <a:solidFill>
                  <a:schemeClr val="tx1">
                    <a:lumMod val="65000"/>
                    <a:lumOff val="35000"/>
                  </a:schemeClr>
                </a:solidFill>
              </a:rPr>
              <a:t>  ALASKAN</a:t>
            </a:r>
          </a:p>
        </p:txBody>
      </p:sp>
      <p:pic>
        <p:nvPicPr>
          <p:cNvPr id="26" name="Image 25"/>
          <p:cNvPicPr>
            <a:picLocks noChangeAspect="1"/>
          </p:cNvPicPr>
          <p:nvPr/>
        </p:nvPicPr>
        <p:blipFill rotWithShape="1">
          <a:blip r:embed="rId3"/>
          <a:srcRect l="-94" t="-731" r="-66" b="9579"/>
          <a:stretch/>
        </p:blipFill>
        <p:spPr>
          <a:xfrm>
            <a:off x="5418336" y="3753701"/>
            <a:ext cx="1082278" cy="526850"/>
          </a:xfrm>
          <a:prstGeom prst="rect">
            <a:avLst/>
          </a:prstGeom>
        </p:spPr>
      </p:pic>
      <p:sp>
        <p:nvSpPr>
          <p:cNvPr id="47" name="Rectangle 46"/>
          <p:cNvSpPr/>
          <p:nvPr/>
        </p:nvSpPr>
        <p:spPr>
          <a:xfrm>
            <a:off x="647084" y="1529007"/>
            <a:ext cx="3614231" cy="1392558"/>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892" indent="-342892" defTabSz="685800">
              <a:buFontTx/>
              <a:buAutoNum type="arabicPeriod"/>
              <a:tabLst>
                <a:tab pos="2621690" algn="r"/>
              </a:tabLst>
            </a:pPr>
            <a:r>
              <a:rPr lang="fr-FR" sz="1100" dirty="0">
                <a:solidFill>
                  <a:schemeClr val="tx1">
                    <a:lumMod val="65000"/>
                    <a:lumOff val="35000"/>
                  </a:schemeClr>
                </a:solidFill>
              </a:rPr>
              <a:t>MEGANE	</a:t>
            </a:r>
          </a:p>
          <a:p>
            <a:pPr marL="342892" indent="-342892" defTabSz="685800">
              <a:buFontTx/>
              <a:buAutoNum type="arabicPeriod"/>
              <a:tabLst>
                <a:tab pos="2621690" algn="r"/>
              </a:tabLst>
            </a:pPr>
            <a:r>
              <a:rPr lang="fr-FR" sz="1100" dirty="0">
                <a:solidFill>
                  <a:schemeClr val="tx1">
                    <a:lumMod val="65000"/>
                    <a:lumOff val="35000"/>
                  </a:schemeClr>
                </a:solidFill>
              </a:rPr>
              <a:t>TALISMAN SW	</a:t>
            </a:r>
          </a:p>
          <a:p>
            <a:pPr marL="342892" indent="-342892" defTabSz="685800">
              <a:buFontTx/>
              <a:buAutoNum type="arabicPeriod"/>
              <a:tabLst>
                <a:tab pos="2621690" algn="r"/>
              </a:tabLst>
            </a:pPr>
            <a:r>
              <a:rPr lang="fr-FR" sz="1100" dirty="0">
                <a:solidFill>
                  <a:schemeClr val="tx1">
                    <a:lumMod val="65000"/>
                    <a:lumOff val="35000"/>
                  </a:schemeClr>
                </a:solidFill>
              </a:rPr>
              <a:t>MEGANE ESTATE</a:t>
            </a:r>
          </a:p>
          <a:p>
            <a:pPr marL="342892" indent="-342892" defTabSz="685800">
              <a:buFontTx/>
              <a:buAutoNum type="arabicPeriod"/>
              <a:tabLst>
                <a:tab pos="2621690" algn="r"/>
              </a:tabLst>
            </a:pPr>
            <a:r>
              <a:rPr lang="fr-FR" sz="1100" dirty="0">
                <a:solidFill>
                  <a:schemeClr val="tx1">
                    <a:lumMod val="65000"/>
                    <a:lumOff val="35000"/>
                  </a:schemeClr>
                </a:solidFill>
              </a:rPr>
              <a:t>SCENIC		</a:t>
            </a:r>
          </a:p>
          <a:p>
            <a:pPr marL="342892" indent="-342892" defTabSz="685800">
              <a:buFontTx/>
              <a:buAutoNum type="arabicPeriod"/>
              <a:tabLst>
                <a:tab pos="2621690" algn="r"/>
              </a:tabLst>
            </a:pPr>
            <a:r>
              <a:rPr lang="fr-FR" sz="1100" dirty="0">
                <a:solidFill>
                  <a:schemeClr val="tx1">
                    <a:lumMod val="65000"/>
                    <a:lumOff val="35000"/>
                  </a:schemeClr>
                </a:solidFill>
              </a:rPr>
              <a:t>MEGANE SEDAN	</a:t>
            </a:r>
          </a:p>
          <a:p>
            <a:pPr marL="342892" indent="-342892" defTabSz="685800">
              <a:buFontTx/>
              <a:buAutoNum type="arabicPeriod"/>
              <a:tabLst>
                <a:tab pos="2621690" algn="r"/>
              </a:tabLst>
            </a:pPr>
            <a:r>
              <a:rPr lang="fr-FR" sz="1100" dirty="0">
                <a:solidFill>
                  <a:schemeClr val="tx1">
                    <a:lumMod val="65000"/>
                    <a:lumOff val="35000"/>
                  </a:schemeClr>
                </a:solidFill>
              </a:rPr>
              <a:t>SCENIC LONG </a:t>
            </a:r>
            <a:r>
              <a:rPr lang="fr-FR" sz="1100" dirty="0">
                <a:solidFill>
                  <a:srgbClr val="000000"/>
                </a:solidFill>
              </a:rPr>
              <a:t>	</a:t>
            </a:r>
          </a:p>
        </p:txBody>
      </p:sp>
      <p:sp>
        <p:nvSpPr>
          <p:cNvPr id="15" name="Rectangle 14"/>
          <p:cNvSpPr/>
          <p:nvPr/>
        </p:nvSpPr>
        <p:spPr>
          <a:xfrm>
            <a:off x="2286001" y="5068691"/>
            <a:ext cx="4252592" cy="459160"/>
          </a:xfrm>
          <a:prstGeom prst="rect">
            <a:avLst/>
          </a:prstGeom>
          <a:solidFill>
            <a:schemeClr val="accent1">
              <a:lumMod val="75000"/>
            </a:schemeClr>
          </a:solidFill>
          <a:ln w="28575">
            <a:solidFill>
              <a:srgbClr val="E6AA00"/>
            </a:solidFill>
          </a:ln>
        </p:spPr>
        <p:txBody>
          <a:bodyPr wrap="square" anchor="ctr">
            <a:noAutofit/>
          </a:bodyPr>
          <a:lstStyle/>
          <a:p>
            <a:pPr defTabSz="685800"/>
            <a:r>
              <a:rPr lang="en-US" dirty="0">
                <a:solidFill>
                  <a:schemeClr val="bg1"/>
                </a:solidFill>
              </a:rPr>
              <a:t>AUTRES LANCEMENTS À L’INTERNATIONAL</a:t>
            </a:r>
          </a:p>
        </p:txBody>
      </p:sp>
      <p:sp>
        <p:nvSpPr>
          <p:cNvPr id="13" name="Rectangle 12"/>
          <p:cNvSpPr/>
          <p:nvPr/>
        </p:nvSpPr>
        <p:spPr>
          <a:xfrm>
            <a:off x="316302" y="3086476"/>
            <a:ext cx="3933185" cy="646331"/>
          </a:xfrm>
          <a:prstGeom prst="rect">
            <a:avLst/>
          </a:prstGeom>
          <a:solidFill>
            <a:schemeClr val="accent1">
              <a:lumMod val="75000"/>
            </a:schemeClr>
          </a:solidFill>
          <a:ln w="28575">
            <a:solidFill>
              <a:srgbClr val="E6AA00"/>
            </a:solidFill>
          </a:ln>
        </p:spPr>
        <p:txBody>
          <a:bodyPr wrap="square">
            <a:spAutoFit/>
          </a:bodyPr>
          <a:lstStyle/>
          <a:p>
            <a:pPr defTabSz="685800"/>
            <a:r>
              <a:rPr lang="fr-FR" dirty="0">
                <a:solidFill>
                  <a:schemeClr val="bg1"/>
                </a:solidFill>
              </a:rPr>
              <a:t>RENOUVELLEMENT COMPLET</a:t>
            </a:r>
            <a:br>
              <a:rPr lang="fr-FR" dirty="0">
                <a:solidFill>
                  <a:schemeClr val="bg1"/>
                </a:solidFill>
              </a:rPr>
            </a:br>
            <a:r>
              <a:rPr lang="fr-FR" dirty="0">
                <a:solidFill>
                  <a:schemeClr val="bg1"/>
                </a:solidFill>
              </a:rPr>
              <a:t>DES SEGMENTS C &amp; D</a:t>
            </a:r>
            <a:endParaRPr lang="en-US" dirty="0">
              <a:solidFill>
                <a:schemeClr val="bg1"/>
              </a:solidFill>
            </a:endParaRPr>
          </a:p>
        </p:txBody>
      </p:sp>
      <p:pic>
        <p:nvPicPr>
          <p:cNvPr id="2" name="Image 1"/>
          <p:cNvPicPr>
            <a:picLocks noChangeAspect="1"/>
          </p:cNvPicPr>
          <p:nvPr/>
        </p:nvPicPr>
        <p:blipFill>
          <a:blip r:embed="rId4"/>
          <a:stretch>
            <a:fillRect/>
          </a:stretch>
        </p:blipFill>
        <p:spPr>
          <a:xfrm>
            <a:off x="5428390" y="4346317"/>
            <a:ext cx="1082277" cy="581598"/>
          </a:xfrm>
          <a:prstGeom prst="rect">
            <a:avLst/>
          </a:prstGeom>
        </p:spPr>
      </p:pic>
      <p:grpSp>
        <p:nvGrpSpPr>
          <p:cNvPr id="27" name="Groupe 2162"/>
          <p:cNvGrpSpPr>
            <a:grpSpLocks noChangeAspect="1"/>
          </p:cNvGrpSpPr>
          <p:nvPr/>
        </p:nvGrpSpPr>
        <p:grpSpPr bwMode="auto">
          <a:xfrm>
            <a:off x="3380009" y="3123640"/>
            <a:ext cx="771384" cy="396745"/>
            <a:chOff x="7640754" y="2784671"/>
            <a:chExt cx="1162081" cy="668062"/>
          </a:xfrm>
          <a:solidFill>
            <a:srgbClr val="FFF5D6"/>
          </a:solidFill>
        </p:grpSpPr>
        <p:grpSp>
          <p:nvGrpSpPr>
            <p:cNvPr id="28" name="Groupe 3371"/>
            <p:cNvGrpSpPr/>
            <p:nvPr/>
          </p:nvGrpSpPr>
          <p:grpSpPr>
            <a:xfrm>
              <a:off x="7640754" y="2784671"/>
              <a:ext cx="1162081" cy="668062"/>
              <a:chOff x="892175" y="1119188"/>
              <a:chExt cx="8924925" cy="5130800"/>
            </a:xfrm>
            <a:grpFill/>
          </p:grpSpPr>
          <p:sp>
            <p:nvSpPr>
              <p:cNvPr id="30" name="Freeform 296"/>
              <p:cNvSpPr>
                <a:spLocks/>
              </p:cNvSpPr>
              <p:nvPr/>
            </p:nvSpPr>
            <p:spPr bwMode="auto">
              <a:xfrm>
                <a:off x="5499100" y="3162300"/>
                <a:ext cx="53975" cy="104775"/>
              </a:xfrm>
              <a:custGeom>
                <a:avLst/>
                <a:gdLst>
                  <a:gd name="T0" fmla="*/ 0 w 20000"/>
                  <a:gd name="T1" fmla="*/ 4940 h 20000"/>
                  <a:gd name="T2" fmla="*/ 3810 w 20000"/>
                  <a:gd name="T3" fmla="*/ 1928 h 20000"/>
                  <a:gd name="T4" fmla="*/ 7381 w 20000"/>
                  <a:gd name="T5" fmla="*/ 0 h 20000"/>
                  <a:gd name="T6" fmla="*/ 15952 w 20000"/>
                  <a:gd name="T7" fmla="*/ 3133 h 20000"/>
                  <a:gd name="T8" fmla="*/ 15952 w 20000"/>
                  <a:gd name="T9" fmla="*/ 4940 h 20000"/>
                  <a:gd name="T10" fmla="*/ 15952 w 20000"/>
                  <a:gd name="T11" fmla="*/ 6145 h 20000"/>
                  <a:gd name="T12" fmla="*/ 15952 w 20000"/>
                  <a:gd name="T13" fmla="*/ 8072 h 20000"/>
                  <a:gd name="T14" fmla="*/ 17381 w 20000"/>
                  <a:gd name="T15" fmla="*/ 9880 h 20000"/>
                  <a:gd name="T16" fmla="*/ 19762 w 20000"/>
                  <a:gd name="T17" fmla="*/ 13012 h 20000"/>
                  <a:gd name="T18" fmla="*/ 15952 w 20000"/>
                  <a:gd name="T19" fmla="*/ 17952 h 20000"/>
                  <a:gd name="T20" fmla="*/ 11190 w 20000"/>
                  <a:gd name="T21" fmla="*/ 19880 h 20000"/>
                  <a:gd name="T22" fmla="*/ 11190 w 20000"/>
                  <a:gd name="T23" fmla="*/ 19277 h 20000"/>
                  <a:gd name="T24" fmla="*/ 7381 w 20000"/>
                  <a:gd name="T25" fmla="*/ 16747 h 20000"/>
                  <a:gd name="T26" fmla="*/ 1429 w 20000"/>
                  <a:gd name="T27" fmla="*/ 14940 h 20000"/>
                  <a:gd name="T28" fmla="*/ 3810 w 20000"/>
                  <a:gd name="T29" fmla="*/ 14940 h 20000"/>
                  <a:gd name="T30" fmla="*/ 3810 w 20000"/>
                  <a:gd name="T31" fmla="*/ 11807 h 20000"/>
                  <a:gd name="T32" fmla="*/ 4762 w 20000"/>
                  <a:gd name="T33" fmla="*/ 11084 h 20000"/>
                  <a:gd name="T34" fmla="*/ 3810 w 20000"/>
                  <a:gd name="T35" fmla="*/ 9880 h 20000"/>
                  <a:gd name="T36" fmla="*/ 3810 w 20000"/>
                  <a:gd name="T37" fmla="*/ 6867 h 20000"/>
                  <a:gd name="T38" fmla="*/ 0 w 20000"/>
                  <a:gd name="T39" fmla="*/ 494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0" y="4940"/>
                    </a:moveTo>
                    <a:lnTo>
                      <a:pt x="3810" y="1928"/>
                    </a:lnTo>
                    <a:lnTo>
                      <a:pt x="7381" y="0"/>
                    </a:lnTo>
                    <a:lnTo>
                      <a:pt x="15952" y="3133"/>
                    </a:lnTo>
                    <a:lnTo>
                      <a:pt x="15952" y="4940"/>
                    </a:lnTo>
                    <a:lnTo>
                      <a:pt x="15952" y="6145"/>
                    </a:lnTo>
                    <a:lnTo>
                      <a:pt x="15952" y="8072"/>
                    </a:lnTo>
                    <a:lnTo>
                      <a:pt x="17381" y="9880"/>
                    </a:lnTo>
                    <a:lnTo>
                      <a:pt x="19762" y="13012"/>
                    </a:lnTo>
                    <a:lnTo>
                      <a:pt x="15952" y="17952"/>
                    </a:lnTo>
                    <a:lnTo>
                      <a:pt x="11190" y="19880"/>
                    </a:lnTo>
                    <a:lnTo>
                      <a:pt x="11190" y="19277"/>
                    </a:lnTo>
                    <a:lnTo>
                      <a:pt x="7381" y="16747"/>
                    </a:lnTo>
                    <a:lnTo>
                      <a:pt x="1429" y="14940"/>
                    </a:lnTo>
                    <a:lnTo>
                      <a:pt x="3810" y="14940"/>
                    </a:lnTo>
                    <a:lnTo>
                      <a:pt x="3810" y="11807"/>
                    </a:lnTo>
                    <a:lnTo>
                      <a:pt x="4762" y="11084"/>
                    </a:lnTo>
                    <a:lnTo>
                      <a:pt x="3810" y="9880"/>
                    </a:lnTo>
                    <a:lnTo>
                      <a:pt x="3810" y="6867"/>
                    </a:lnTo>
                    <a:lnTo>
                      <a:pt x="0" y="494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 name="Freeform 295"/>
              <p:cNvSpPr>
                <a:spLocks/>
              </p:cNvSpPr>
              <p:nvPr/>
            </p:nvSpPr>
            <p:spPr bwMode="auto">
              <a:xfrm>
                <a:off x="5062538" y="2851150"/>
                <a:ext cx="96837" cy="69850"/>
              </a:xfrm>
              <a:custGeom>
                <a:avLst/>
                <a:gdLst>
                  <a:gd name="T0" fmla="*/ 0 w 20000"/>
                  <a:gd name="T1" fmla="*/ 3670 h 20000"/>
                  <a:gd name="T2" fmla="*/ 3421 w 20000"/>
                  <a:gd name="T3" fmla="*/ 734 h 20000"/>
                  <a:gd name="T4" fmla="*/ 4868 w 20000"/>
                  <a:gd name="T5" fmla="*/ 734 h 20000"/>
                  <a:gd name="T6" fmla="*/ 5395 w 20000"/>
                  <a:gd name="T7" fmla="*/ 2936 h 20000"/>
                  <a:gd name="T8" fmla="*/ 6711 w 20000"/>
                  <a:gd name="T9" fmla="*/ 734 h 20000"/>
                  <a:gd name="T10" fmla="*/ 8816 w 20000"/>
                  <a:gd name="T11" fmla="*/ 0 h 20000"/>
                  <a:gd name="T12" fmla="*/ 10921 w 20000"/>
                  <a:gd name="T13" fmla="*/ 0 h 20000"/>
                  <a:gd name="T14" fmla="*/ 13684 w 20000"/>
                  <a:gd name="T15" fmla="*/ 734 h 20000"/>
                  <a:gd name="T16" fmla="*/ 16447 w 20000"/>
                  <a:gd name="T17" fmla="*/ 2936 h 20000"/>
                  <a:gd name="T18" fmla="*/ 15789 w 20000"/>
                  <a:gd name="T19" fmla="*/ 5688 h 20000"/>
                  <a:gd name="T20" fmla="*/ 19079 w 20000"/>
                  <a:gd name="T21" fmla="*/ 7523 h 20000"/>
                  <a:gd name="T22" fmla="*/ 19868 w 20000"/>
                  <a:gd name="T23" fmla="*/ 12294 h 20000"/>
                  <a:gd name="T24" fmla="*/ 17763 w 20000"/>
                  <a:gd name="T25" fmla="*/ 13211 h 20000"/>
                  <a:gd name="T26" fmla="*/ 16447 w 20000"/>
                  <a:gd name="T27" fmla="*/ 15046 h 20000"/>
                  <a:gd name="T28" fmla="*/ 16447 w 20000"/>
                  <a:gd name="T29" fmla="*/ 19817 h 20000"/>
                  <a:gd name="T30" fmla="*/ 15789 w 20000"/>
                  <a:gd name="T31" fmla="*/ 19817 h 20000"/>
                  <a:gd name="T32" fmla="*/ 12368 w 20000"/>
                  <a:gd name="T33" fmla="*/ 17982 h 20000"/>
                  <a:gd name="T34" fmla="*/ 10921 w 20000"/>
                  <a:gd name="T35" fmla="*/ 13211 h 20000"/>
                  <a:gd name="T36" fmla="*/ 10263 w 20000"/>
                  <a:gd name="T37" fmla="*/ 16147 h 20000"/>
                  <a:gd name="T38" fmla="*/ 5395 w 20000"/>
                  <a:gd name="T39" fmla="*/ 10459 h 20000"/>
                  <a:gd name="T40" fmla="*/ 4868 w 20000"/>
                  <a:gd name="T41" fmla="*/ 8624 h 20000"/>
                  <a:gd name="T42" fmla="*/ 3421 w 20000"/>
                  <a:gd name="T43" fmla="*/ 5688 h 20000"/>
                  <a:gd name="T44" fmla="*/ 2105 w 20000"/>
                  <a:gd name="T45" fmla="*/ 7523 h 20000"/>
                  <a:gd name="T46" fmla="*/ 0 w 20000"/>
                  <a:gd name="T47" fmla="*/ 5688 h 20000"/>
                  <a:gd name="T48" fmla="*/ 0 w 20000"/>
                  <a:gd name="T49" fmla="*/ 367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0" y="3670"/>
                    </a:moveTo>
                    <a:lnTo>
                      <a:pt x="3421" y="734"/>
                    </a:lnTo>
                    <a:lnTo>
                      <a:pt x="4868" y="734"/>
                    </a:lnTo>
                    <a:lnTo>
                      <a:pt x="5395" y="2936"/>
                    </a:lnTo>
                    <a:lnTo>
                      <a:pt x="6711" y="734"/>
                    </a:lnTo>
                    <a:lnTo>
                      <a:pt x="8816" y="0"/>
                    </a:lnTo>
                    <a:lnTo>
                      <a:pt x="10921" y="0"/>
                    </a:lnTo>
                    <a:lnTo>
                      <a:pt x="13684" y="734"/>
                    </a:lnTo>
                    <a:lnTo>
                      <a:pt x="16447" y="2936"/>
                    </a:lnTo>
                    <a:lnTo>
                      <a:pt x="15789" y="5688"/>
                    </a:lnTo>
                    <a:lnTo>
                      <a:pt x="19079" y="7523"/>
                    </a:lnTo>
                    <a:lnTo>
                      <a:pt x="19868" y="12294"/>
                    </a:lnTo>
                    <a:lnTo>
                      <a:pt x="17763" y="13211"/>
                    </a:lnTo>
                    <a:lnTo>
                      <a:pt x="16447" y="15046"/>
                    </a:lnTo>
                    <a:lnTo>
                      <a:pt x="16447" y="19817"/>
                    </a:lnTo>
                    <a:lnTo>
                      <a:pt x="15789" y="19817"/>
                    </a:lnTo>
                    <a:lnTo>
                      <a:pt x="12368" y="17982"/>
                    </a:lnTo>
                    <a:lnTo>
                      <a:pt x="10921" y="13211"/>
                    </a:lnTo>
                    <a:lnTo>
                      <a:pt x="10263" y="16147"/>
                    </a:lnTo>
                    <a:lnTo>
                      <a:pt x="5395" y="10459"/>
                    </a:lnTo>
                    <a:lnTo>
                      <a:pt x="4868" y="8624"/>
                    </a:lnTo>
                    <a:lnTo>
                      <a:pt x="3421" y="5688"/>
                    </a:lnTo>
                    <a:lnTo>
                      <a:pt x="2105" y="7523"/>
                    </a:lnTo>
                    <a:lnTo>
                      <a:pt x="0" y="5688"/>
                    </a:lnTo>
                    <a:lnTo>
                      <a:pt x="0" y="367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 name="Freeform 294"/>
              <p:cNvSpPr>
                <a:spLocks/>
              </p:cNvSpPr>
              <p:nvPr/>
            </p:nvSpPr>
            <p:spPr bwMode="auto">
              <a:xfrm>
                <a:off x="5588000" y="3111500"/>
                <a:ext cx="155575" cy="98425"/>
              </a:xfrm>
              <a:custGeom>
                <a:avLst/>
                <a:gdLst>
                  <a:gd name="T0" fmla="*/ 0 w 20000"/>
                  <a:gd name="T1" fmla="*/ 0 h 20000"/>
                  <a:gd name="T2" fmla="*/ 1306 w 20000"/>
                  <a:gd name="T3" fmla="*/ 513 h 20000"/>
                  <a:gd name="T4" fmla="*/ 898 w 20000"/>
                  <a:gd name="T5" fmla="*/ 1795 h 20000"/>
                  <a:gd name="T6" fmla="*/ 898 w 20000"/>
                  <a:gd name="T7" fmla="*/ 3333 h 20000"/>
                  <a:gd name="T8" fmla="*/ 3020 w 20000"/>
                  <a:gd name="T9" fmla="*/ 1795 h 20000"/>
                  <a:gd name="T10" fmla="*/ 4653 w 20000"/>
                  <a:gd name="T11" fmla="*/ 3333 h 20000"/>
                  <a:gd name="T12" fmla="*/ 5551 w 20000"/>
                  <a:gd name="T13" fmla="*/ 3333 h 20000"/>
                  <a:gd name="T14" fmla="*/ 7673 w 20000"/>
                  <a:gd name="T15" fmla="*/ 3333 h 20000"/>
                  <a:gd name="T16" fmla="*/ 9714 w 20000"/>
                  <a:gd name="T17" fmla="*/ 3846 h 20000"/>
                  <a:gd name="T18" fmla="*/ 10204 w 20000"/>
                  <a:gd name="T19" fmla="*/ 3333 h 20000"/>
                  <a:gd name="T20" fmla="*/ 11837 w 20000"/>
                  <a:gd name="T21" fmla="*/ 1795 h 20000"/>
                  <a:gd name="T22" fmla="*/ 15265 w 20000"/>
                  <a:gd name="T23" fmla="*/ 0 h 20000"/>
                  <a:gd name="T24" fmla="*/ 15673 w 20000"/>
                  <a:gd name="T25" fmla="*/ 513 h 20000"/>
                  <a:gd name="T26" fmla="*/ 18612 w 20000"/>
                  <a:gd name="T27" fmla="*/ 513 h 20000"/>
                  <a:gd name="T28" fmla="*/ 19020 w 20000"/>
                  <a:gd name="T29" fmla="*/ 1795 h 20000"/>
                  <a:gd name="T30" fmla="*/ 19918 w 20000"/>
                  <a:gd name="T31" fmla="*/ 1795 h 20000"/>
                  <a:gd name="T32" fmla="*/ 19918 w 20000"/>
                  <a:gd name="T33" fmla="*/ 5256 h 20000"/>
                  <a:gd name="T34" fmla="*/ 19020 w 20000"/>
                  <a:gd name="T35" fmla="*/ 5256 h 20000"/>
                  <a:gd name="T36" fmla="*/ 17714 w 20000"/>
                  <a:gd name="T37" fmla="*/ 7308 h 20000"/>
                  <a:gd name="T38" fmla="*/ 18612 w 20000"/>
                  <a:gd name="T39" fmla="*/ 10513 h 20000"/>
                  <a:gd name="T40" fmla="*/ 17388 w 20000"/>
                  <a:gd name="T41" fmla="*/ 11795 h 20000"/>
                  <a:gd name="T42" fmla="*/ 19020 w 20000"/>
                  <a:gd name="T43" fmla="*/ 14615 h 20000"/>
                  <a:gd name="T44" fmla="*/ 17714 w 20000"/>
                  <a:gd name="T45" fmla="*/ 14615 h 20000"/>
                  <a:gd name="T46" fmla="*/ 16571 w 20000"/>
                  <a:gd name="T47" fmla="*/ 13846 h 20000"/>
                  <a:gd name="T48" fmla="*/ 13551 w 20000"/>
                  <a:gd name="T49" fmla="*/ 15897 h 20000"/>
                  <a:gd name="T50" fmla="*/ 13061 w 20000"/>
                  <a:gd name="T51" fmla="*/ 15897 h 20000"/>
                  <a:gd name="T52" fmla="*/ 13061 w 20000"/>
                  <a:gd name="T53" fmla="*/ 19103 h 20000"/>
                  <a:gd name="T54" fmla="*/ 11020 w 20000"/>
                  <a:gd name="T55" fmla="*/ 19872 h 20000"/>
                  <a:gd name="T56" fmla="*/ 9714 w 20000"/>
                  <a:gd name="T57" fmla="*/ 19103 h 20000"/>
                  <a:gd name="T58" fmla="*/ 8490 w 20000"/>
                  <a:gd name="T59" fmla="*/ 19103 h 20000"/>
                  <a:gd name="T60" fmla="*/ 7673 w 20000"/>
                  <a:gd name="T61" fmla="*/ 17821 h 20000"/>
                  <a:gd name="T62" fmla="*/ 2204 w 20000"/>
                  <a:gd name="T63" fmla="*/ 19103 h 20000"/>
                  <a:gd name="T64" fmla="*/ 2204 w 20000"/>
                  <a:gd name="T65" fmla="*/ 15897 h 20000"/>
                  <a:gd name="T66" fmla="*/ 0 w 20000"/>
                  <a:gd name="T67" fmla="*/ 12564 h 20000"/>
                  <a:gd name="T68" fmla="*/ 898 w 20000"/>
                  <a:gd name="T69" fmla="*/ 11795 h 20000"/>
                  <a:gd name="T70" fmla="*/ 0 w 20000"/>
                  <a:gd name="T71" fmla="*/ 10513 h 20000"/>
                  <a:gd name="T72" fmla="*/ 0 w 20000"/>
                  <a:gd name="T73" fmla="*/ 9231 h 20000"/>
                  <a:gd name="T74" fmla="*/ 898 w 20000"/>
                  <a:gd name="T75" fmla="*/ 8590 h 20000"/>
                  <a:gd name="T76" fmla="*/ 1306 w 20000"/>
                  <a:gd name="T77" fmla="*/ 7308 h 20000"/>
                  <a:gd name="T78" fmla="*/ 898 w 20000"/>
                  <a:gd name="T79" fmla="*/ 5897 h 20000"/>
                  <a:gd name="T80" fmla="*/ 0 w 20000"/>
                  <a:gd name="T81" fmla="*/ 3846 h 20000"/>
                  <a:gd name="T82" fmla="*/ 0 w 20000"/>
                  <a:gd name="T8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0" y="0"/>
                    </a:moveTo>
                    <a:lnTo>
                      <a:pt x="1306" y="513"/>
                    </a:lnTo>
                    <a:lnTo>
                      <a:pt x="898" y="1795"/>
                    </a:lnTo>
                    <a:lnTo>
                      <a:pt x="898" y="3333"/>
                    </a:lnTo>
                    <a:lnTo>
                      <a:pt x="3020" y="1795"/>
                    </a:lnTo>
                    <a:lnTo>
                      <a:pt x="4653" y="3333"/>
                    </a:lnTo>
                    <a:lnTo>
                      <a:pt x="5551" y="3333"/>
                    </a:lnTo>
                    <a:lnTo>
                      <a:pt x="7673" y="3333"/>
                    </a:lnTo>
                    <a:lnTo>
                      <a:pt x="9714" y="3846"/>
                    </a:lnTo>
                    <a:lnTo>
                      <a:pt x="10204" y="3333"/>
                    </a:lnTo>
                    <a:lnTo>
                      <a:pt x="11837" y="1795"/>
                    </a:lnTo>
                    <a:lnTo>
                      <a:pt x="15265" y="0"/>
                    </a:lnTo>
                    <a:lnTo>
                      <a:pt x="15673" y="513"/>
                    </a:lnTo>
                    <a:lnTo>
                      <a:pt x="18612" y="513"/>
                    </a:lnTo>
                    <a:lnTo>
                      <a:pt x="19020" y="1795"/>
                    </a:lnTo>
                    <a:lnTo>
                      <a:pt x="19918" y="1795"/>
                    </a:lnTo>
                    <a:lnTo>
                      <a:pt x="19918" y="5256"/>
                    </a:lnTo>
                    <a:lnTo>
                      <a:pt x="19020" y="5256"/>
                    </a:lnTo>
                    <a:lnTo>
                      <a:pt x="17714" y="7308"/>
                    </a:lnTo>
                    <a:lnTo>
                      <a:pt x="18612" y="10513"/>
                    </a:lnTo>
                    <a:lnTo>
                      <a:pt x="17388" y="11795"/>
                    </a:lnTo>
                    <a:lnTo>
                      <a:pt x="19020" y="14615"/>
                    </a:lnTo>
                    <a:lnTo>
                      <a:pt x="17714" y="14615"/>
                    </a:lnTo>
                    <a:lnTo>
                      <a:pt x="16571" y="13846"/>
                    </a:lnTo>
                    <a:lnTo>
                      <a:pt x="13551" y="15897"/>
                    </a:lnTo>
                    <a:lnTo>
                      <a:pt x="13061" y="15897"/>
                    </a:lnTo>
                    <a:lnTo>
                      <a:pt x="13061" y="19103"/>
                    </a:lnTo>
                    <a:lnTo>
                      <a:pt x="11020" y="19872"/>
                    </a:lnTo>
                    <a:lnTo>
                      <a:pt x="9714" y="19103"/>
                    </a:lnTo>
                    <a:lnTo>
                      <a:pt x="8490" y="19103"/>
                    </a:lnTo>
                    <a:lnTo>
                      <a:pt x="7673" y="17821"/>
                    </a:lnTo>
                    <a:lnTo>
                      <a:pt x="2204" y="19103"/>
                    </a:lnTo>
                    <a:lnTo>
                      <a:pt x="2204" y="15897"/>
                    </a:lnTo>
                    <a:lnTo>
                      <a:pt x="0" y="12564"/>
                    </a:lnTo>
                    <a:lnTo>
                      <a:pt x="898" y="11795"/>
                    </a:lnTo>
                    <a:lnTo>
                      <a:pt x="0" y="10513"/>
                    </a:lnTo>
                    <a:lnTo>
                      <a:pt x="0" y="9231"/>
                    </a:lnTo>
                    <a:lnTo>
                      <a:pt x="898" y="8590"/>
                    </a:lnTo>
                    <a:lnTo>
                      <a:pt x="1306" y="7308"/>
                    </a:lnTo>
                    <a:lnTo>
                      <a:pt x="898" y="5897"/>
                    </a:lnTo>
                    <a:lnTo>
                      <a:pt x="0" y="3846"/>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3" name="Freeform 293"/>
              <p:cNvSpPr>
                <a:spLocks/>
              </p:cNvSpPr>
              <p:nvPr/>
            </p:nvSpPr>
            <p:spPr bwMode="auto">
              <a:xfrm>
                <a:off x="5197475" y="2630488"/>
                <a:ext cx="69850" cy="85725"/>
              </a:xfrm>
              <a:custGeom>
                <a:avLst/>
                <a:gdLst>
                  <a:gd name="T0" fmla="*/ 2569 w 20000"/>
                  <a:gd name="T1" fmla="*/ 19111 h 20000"/>
                  <a:gd name="T2" fmla="*/ 2569 w 20000"/>
                  <a:gd name="T3" fmla="*/ 13778 h 20000"/>
                  <a:gd name="T4" fmla="*/ 734 w 20000"/>
                  <a:gd name="T5" fmla="*/ 12296 h 20000"/>
                  <a:gd name="T6" fmla="*/ 0 w 20000"/>
                  <a:gd name="T7" fmla="*/ 13778 h 20000"/>
                  <a:gd name="T8" fmla="*/ 0 w 20000"/>
                  <a:gd name="T9" fmla="*/ 7556 h 20000"/>
                  <a:gd name="T10" fmla="*/ 0 w 20000"/>
                  <a:gd name="T11" fmla="*/ 3852 h 20000"/>
                  <a:gd name="T12" fmla="*/ 2569 w 20000"/>
                  <a:gd name="T13" fmla="*/ 5333 h 20000"/>
                  <a:gd name="T14" fmla="*/ 3670 w 20000"/>
                  <a:gd name="T15" fmla="*/ 1481 h 20000"/>
                  <a:gd name="T16" fmla="*/ 7523 w 20000"/>
                  <a:gd name="T17" fmla="*/ 2963 h 20000"/>
                  <a:gd name="T18" fmla="*/ 7523 w 20000"/>
                  <a:gd name="T19" fmla="*/ 0 h 20000"/>
                  <a:gd name="T20" fmla="*/ 13211 w 20000"/>
                  <a:gd name="T21" fmla="*/ 0 h 20000"/>
                  <a:gd name="T22" fmla="*/ 15963 w 20000"/>
                  <a:gd name="T23" fmla="*/ 3852 h 20000"/>
                  <a:gd name="T24" fmla="*/ 19817 w 20000"/>
                  <a:gd name="T25" fmla="*/ 5333 h 20000"/>
                  <a:gd name="T26" fmla="*/ 17982 w 20000"/>
                  <a:gd name="T27" fmla="*/ 7556 h 20000"/>
                  <a:gd name="T28" fmla="*/ 15046 w 20000"/>
                  <a:gd name="T29" fmla="*/ 7556 h 20000"/>
                  <a:gd name="T30" fmla="*/ 15046 w 20000"/>
                  <a:gd name="T31" fmla="*/ 9037 h 20000"/>
                  <a:gd name="T32" fmla="*/ 15046 w 20000"/>
                  <a:gd name="T33" fmla="*/ 9926 h 20000"/>
                  <a:gd name="T34" fmla="*/ 13211 w 20000"/>
                  <a:gd name="T35" fmla="*/ 12296 h 20000"/>
                  <a:gd name="T36" fmla="*/ 10459 w 20000"/>
                  <a:gd name="T37" fmla="*/ 13778 h 20000"/>
                  <a:gd name="T38" fmla="*/ 10459 w 20000"/>
                  <a:gd name="T39" fmla="*/ 17630 h 20000"/>
                  <a:gd name="T40" fmla="*/ 10459 w 20000"/>
                  <a:gd name="T41" fmla="*/ 19852 h 20000"/>
                  <a:gd name="T42" fmla="*/ 7523 w 20000"/>
                  <a:gd name="T43" fmla="*/ 19852 h 20000"/>
                  <a:gd name="T44" fmla="*/ 2569 w 20000"/>
                  <a:gd name="T45" fmla="*/ 1911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00" h="20000">
                    <a:moveTo>
                      <a:pt x="2569" y="19111"/>
                    </a:moveTo>
                    <a:lnTo>
                      <a:pt x="2569" y="13778"/>
                    </a:lnTo>
                    <a:lnTo>
                      <a:pt x="734" y="12296"/>
                    </a:lnTo>
                    <a:lnTo>
                      <a:pt x="0" y="13778"/>
                    </a:lnTo>
                    <a:lnTo>
                      <a:pt x="0" y="7556"/>
                    </a:lnTo>
                    <a:lnTo>
                      <a:pt x="0" y="3852"/>
                    </a:lnTo>
                    <a:lnTo>
                      <a:pt x="2569" y="5333"/>
                    </a:lnTo>
                    <a:lnTo>
                      <a:pt x="3670" y="1481"/>
                    </a:lnTo>
                    <a:lnTo>
                      <a:pt x="7523" y="2963"/>
                    </a:lnTo>
                    <a:lnTo>
                      <a:pt x="7523" y="0"/>
                    </a:lnTo>
                    <a:lnTo>
                      <a:pt x="13211" y="0"/>
                    </a:lnTo>
                    <a:lnTo>
                      <a:pt x="15963" y="3852"/>
                    </a:lnTo>
                    <a:lnTo>
                      <a:pt x="19817" y="5333"/>
                    </a:lnTo>
                    <a:lnTo>
                      <a:pt x="17982" y="7556"/>
                    </a:lnTo>
                    <a:lnTo>
                      <a:pt x="15046" y="7556"/>
                    </a:lnTo>
                    <a:lnTo>
                      <a:pt x="15046" y="9037"/>
                    </a:lnTo>
                    <a:lnTo>
                      <a:pt x="15046" y="9926"/>
                    </a:lnTo>
                    <a:lnTo>
                      <a:pt x="13211" y="12296"/>
                    </a:lnTo>
                    <a:lnTo>
                      <a:pt x="10459" y="13778"/>
                    </a:lnTo>
                    <a:lnTo>
                      <a:pt x="10459" y="17630"/>
                    </a:lnTo>
                    <a:lnTo>
                      <a:pt x="10459" y="19852"/>
                    </a:lnTo>
                    <a:lnTo>
                      <a:pt x="7523" y="19852"/>
                    </a:lnTo>
                    <a:lnTo>
                      <a:pt x="2569" y="1911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4" name="Freeform 292"/>
              <p:cNvSpPr>
                <a:spLocks/>
              </p:cNvSpPr>
              <p:nvPr/>
            </p:nvSpPr>
            <p:spPr bwMode="auto">
              <a:xfrm>
                <a:off x="5268913" y="2670175"/>
                <a:ext cx="36512" cy="44450"/>
              </a:xfrm>
              <a:custGeom>
                <a:avLst/>
                <a:gdLst>
                  <a:gd name="T0" fmla="*/ 14138 w 20000"/>
                  <a:gd name="T1" fmla="*/ 19710 h 20000"/>
                  <a:gd name="T2" fmla="*/ 12414 w 20000"/>
                  <a:gd name="T3" fmla="*/ 19710 h 20000"/>
                  <a:gd name="T4" fmla="*/ 8966 w 20000"/>
                  <a:gd name="T5" fmla="*/ 13623 h 20000"/>
                  <a:gd name="T6" fmla="*/ 0 w 20000"/>
                  <a:gd name="T7" fmla="*/ 4638 h 20000"/>
                  <a:gd name="T8" fmla="*/ 3448 w 20000"/>
                  <a:gd name="T9" fmla="*/ 4638 h 20000"/>
                  <a:gd name="T10" fmla="*/ 5517 w 20000"/>
                  <a:gd name="T11" fmla="*/ 1739 h 20000"/>
                  <a:gd name="T12" fmla="*/ 8966 w 20000"/>
                  <a:gd name="T13" fmla="*/ 4638 h 20000"/>
                  <a:gd name="T14" fmla="*/ 12414 w 20000"/>
                  <a:gd name="T15" fmla="*/ 1739 h 20000"/>
                  <a:gd name="T16" fmla="*/ 14138 w 20000"/>
                  <a:gd name="T17" fmla="*/ 0 h 20000"/>
                  <a:gd name="T18" fmla="*/ 17586 w 20000"/>
                  <a:gd name="T19" fmla="*/ 0 h 20000"/>
                  <a:gd name="T20" fmla="*/ 19655 w 20000"/>
                  <a:gd name="T21" fmla="*/ 6087 h 20000"/>
                  <a:gd name="T22" fmla="*/ 14138 w 20000"/>
                  <a:gd name="T23" fmla="*/ 8986 h 20000"/>
                  <a:gd name="T24" fmla="*/ 17586 w 20000"/>
                  <a:gd name="T25" fmla="*/ 12174 h 20000"/>
                  <a:gd name="T26" fmla="*/ 14138 w 20000"/>
                  <a:gd name="T27" fmla="*/ 13623 h 20000"/>
                  <a:gd name="T28" fmla="*/ 14138 w 20000"/>
                  <a:gd name="T29" fmla="*/ 1971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4138" y="19710"/>
                    </a:moveTo>
                    <a:lnTo>
                      <a:pt x="12414" y="19710"/>
                    </a:lnTo>
                    <a:lnTo>
                      <a:pt x="8966" y="13623"/>
                    </a:lnTo>
                    <a:lnTo>
                      <a:pt x="0" y="4638"/>
                    </a:lnTo>
                    <a:lnTo>
                      <a:pt x="3448" y="4638"/>
                    </a:lnTo>
                    <a:lnTo>
                      <a:pt x="5517" y="1739"/>
                    </a:lnTo>
                    <a:lnTo>
                      <a:pt x="8966" y="4638"/>
                    </a:lnTo>
                    <a:lnTo>
                      <a:pt x="12414" y="1739"/>
                    </a:lnTo>
                    <a:lnTo>
                      <a:pt x="14138" y="0"/>
                    </a:lnTo>
                    <a:lnTo>
                      <a:pt x="17586" y="0"/>
                    </a:lnTo>
                    <a:lnTo>
                      <a:pt x="19655" y="6087"/>
                    </a:lnTo>
                    <a:lnTo>
                      <a:pt x="14138" y="8986"/>
                    </a:lnTo>
                    <a:lnTo>
                      <a:pt x="17586" y="12174"/>
                    </a:lnTo>
                    <a:lnTo>
                      <a:pt x="14138" y="13623"/>
                    </a:lnTo>
                    <a:lnTo>
                      <a:pt x="14138" y="197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5" name="Freeform 291"/>
              <p:cNvSpPr>
                <a:spLocks/>
              </p:cNvSpPr>
              <p:nvPr/>
            </p:nvSpPr>
            <p:spPr bwMode="auto">
              <a:xfrm>
                <a:off x="5235575" y="2689225"/>
                <a:ext cx="23813" cy="17463"/>
              </a:xfrm>
              <a:custGeom>
                <a:avLst/>
                <a:gdLst>
                  <a:gd name="T0" fmla="*/ 19474 w 20000"/>
                  <a:gd name="T1" fmla="*/ 19286 h 20000"/>
                  <a:gd name="T2" fmla="*/ 11053 w 20000"/>
                  <a:gd name="T3" fmla="*/ 19286 h 20000"/>
                  <a:gd name="T4" fmla="*/ 5789 w 20000"/>
                  <a:gd name="T5" fmla="*/ 11429 h 20000"/>
                  <a:gd name="T6" fmla="*/ 0 w 20000"/>
                  <a:gd name="T7" fmla="*/ 7857 h 20000"/>
                  <a:gd name="T8" fmla="*/ 13684 w 20000"/>
                  <a:gd name="T9" fmla="*/ 0 h 20000"/>
                  <a:gd name="T10" fmla="*/ 19474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19474" y="19286"/>
                    </a:moveTo>
                    <a:lnTo>
                      <a:pt x="11053" y="19286"/>
                    </a:lnTo>
                    <a:lnTo>
                      <a:pt x="5789" y="11429"/>
                    </a:lnTo>
                    <a:lnTo>
                      <a:pt x="0" y="7857"/>
                    </a:lnTo>
                    <a:lnTo>
                      <a:pt x="13684" y="0"/>
                    </a:lnTo>
                    <a:lnTo>
                      <a:pt x="19474"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6" name="Freeform 290"/>
              <p:cNvSpPr>
                <a:spLocks/>
              </p:cNvSpPr>
              <p:nvPr/>
            </p:nvSpPr>
            <p:spPr bwMode="auto">
              <a:xfrm>
                <a:off x="5268913" y="2713038"/>
                <a:ext cx="17462" cy="11112"/>
              </a:xfrm>
              <a:custGeom>
                <a:avLst/>
                <a:gdLst>
                  <a:gd name="T0" fmla="*/ 11852 w 20000"/>
                  <a:gd name="T1" fmla="*/ 18824 h 20000"/>
                  <a:gd name="T2" fmla="*/ 0 w 20000"/>
                  <a:gd name="T3" fmla="*/ 18824 h 20000"/>
                  <a:gd name="T4" fmla="*/ 7407 w 20000"/>
                  <a:gd name="T5" fmla="*/ 0 h 20000"/>
                  <a:gd name="T6" fmla="*/ 11852 w 20000"/>
                  <a:gd name="T7" fmla="*/ 5882 h 20000"/>
                  <a:gd name="T8" fmla="*/ 19259 w 20000"/>
                  <a:gd name="T9" fmla="*/ 5882 h 20000"/>
                  <a:gd name="T10" fmla="*/ 19259 w 20000"/>
                  <a:gd name="T11" fmla="*/ 18824 h 20000"/>
                  <a:gd name="T12" fmla="*/ 11852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852" y="18824"/>
                    </a:moveTo>
                    <a:lnTo>
                      <a:pt x="0" y="18824"/>
                    </a:lnTo>
                    <a:lnTo>
                      <a:pt x="7407" y="0"/>
                    </a:lnTo>
                    <a:lnTo>
                      <a:pt x="11852" y="5882"/>
                    </a:lnTo>
                    <a:lnTo>
                      <a:pt x="19259" y="5882"/>
                    </a:lnTo>
                    <a:lnTo>
                      <a:pt x="19259" y="18824"/>
                    </a:lnTo>
                    <a:lnTo>
                      <a:pt x="11852"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7" name="Freeform 289"/>
              <p:cNvSpPr>
                <a:spLocks/>
              </p:cNvSpPr>
              <p:nvPr/>
            </p:nvSpPr>
            <p:spPr bwMode="auto">
              <a:xfrm>
                <a:off x="5146675" y="2713038"/>
                <a:ext cx="234950" cy="285750"/>
              </a:xfrm>
              <a:custGeom>
                <a:avLst/>
                <a:gdLst>
                  <a:gd name="T0" fmla="*/ 6450 w 20000"/>
                  <a:gd name="T1" fmla="*/ 177 h 20000"/>
                  <a:gd name="T2" fmla="*/ 8130 w 20000"/>
                  <a:gd name="T3" fmla="*/ 710 h 20000"/>
                  <a:gd name="T4" fmla="*/ 8130 w 20000"/>
                  <a:gd name="T5" fmla="*/ 1375 h 20000"/>
                  <a:gd name="T6" fmla="*/ 9539 w 20000"/>
                  <a:gd name="T7" fmla="*/ 1818 h 20000"/>
                  <a:gd name="T8" fmla="*/ 10081 w 20000"/>
                  <a:gd name="T9" fmla="*/ 2971 h 20000"/>
                  <a:gd name="T10" fmla="*/ 11762 w 20000"/>
                  <a:gd name="T11" fmla="*/ 2084 h 20000"/>
                  <a:gd name="T12" fmla="*/ 14038 w 20000"/>
                  <a:gd name="T13" fmla="*/ 1818 h 20000"/>
                  <a:gd name="T14" fmla="*/ 16260 w 20000"/>
                  <a:gd name="T15" fmla="*/ 2971 h 20000"/>
                  <a:gd name="T16" fmla="*/ 18266 w 20000"/>
                  <a:gd name="T17" fmla="*/ 4789 h 20000"/>
                  <a:gd name="T18" fmla="*/ 17073 w 20000"/>
                  <a:gd name="T19" fmla="*/ 5721 h 20000"/>
                  <a:gd name="T20" fmla="*/ 18266 w 20000"/>
                  <a:gd name="T21" fmla="*/ 6874 h 20000"/>
                  <a:gd name="T22" fmla="*/ 19079 w 20000"/>
                  <a:gd name="T23" fmla="*/ 7982 h 20000"/>
                  <a:gd name="T24" fmla="*/ 19350 w 20000"/>
                  <a:gd name="T25" fmla="*/ 9623 h 20000"/>
                  <a:gd name="T26" fmla="*/ 19350 w 20000"/>
                  <a:gd name="T27" fmla="*/ 10510 h 20000"/>
                  <a:gd name="T28" fmla="*/ 18266 w 20000"/>
                  <a:gd name="T29" fmla="*/ 10998 h 20000"/>
                  <a:gd name="T30" fmla="*/ 13496 w 20000"/>
                  <a:gd name="T31" fmla="*/ 12151 h 20000"/>
                  <a:gd name="T32" fmla="*/ 13496 w 20000"/>
                  <a:gd name="T33" fmla="*/ 13304 h 20000"/>
                  <a:gd name="T34" fmla="*/ 14580 w 20000"/>
                  <a:gd name="T35" fmla="*/ 14412 h 20000"/>
                  <a:gd name="T36" fmla="*/ 16260 w 20000"/>
                  <a:gd name="T37" fmla="*/ 15344 h 20000"/>
                  <a:gd name="T38" fmla="*/ 17073 w 20000"/>
                  <a:gd name="T39" fmla="*/ 16497 h 20000"/>
                  <a:gd name="T40" fmla="*/ 15393 w 20000"/>
                  <a:gd name="T41" fmla="*/ 17650 h 20000"/>
                  <a:gd name="T42" fmla="*/ 15989 w 20000"/>
                  <a:gd name="T43" fmla="*/ 19468 h 20000"/>
                  <a:gd name="T44" fmla="*/ 14038 w 20000"/>
                  <a:gd name="T45" fmla="*/ 19246 h 20000"/>
                  <a:gd name="T46" fmla="*/ 12629 w 20000"/>
                  <a:gd name="T47" fmla="*/ 19468 h 20000"/>
                  <a:gd name="T48" fmla="*/ 10949 w 20000"/>
                  <a:gd name="T49" fmla="*/ 19468 h 20000"/>
                  <a:gd name="T50" fmla="*/ 10081 w 20000"/>
                  <a:gd name="T51" fmla="*/ 19956 h 20000"/>
                  <a:gd name="T52" fmla="*/ 8130 w 20000"/>
                  <a:gd name="T53" fmla="*/ 19246 h 20000"/>
                  <a:gd name="T54" fmla="*/ 7317 w 20000"/>
                  <a:gd name="T55" fmla="*/ 19246 h 20000"/>
                  <a:gd name="T56" fmla="*/ 6721 w 20000"/>
                  <a:gd name="T57" fmla="*/ 18758 h 20000"/>
                  <a:gd name="T58" fmla="*/ 5854 w 20000"/>
                  <a:gd name="T59" fmla="*/ 18758 h 20000"/>
                  <a:gd name="T60" fmla="*/ 5312 w 20000"/>
                  <a:gd name="T61" fmla="*/ 19468 h 20000"/>
                  <a:gd name="T62" fmla="*/ 4444 w 20000"/>
                  <a:gd name="T63" fmla="*/ 19468 h 20000"/>
                  <a:gd name="T64" fmla="*/ 3631 w 20000"/>
                  <a:gd name="T65" fmla="*/ 19468 h 20000"/>
                  <a:gd name="T66" fmla="*/ 3089 w 20000"/>
                  <a:gd name="T67" fmla="*/ 18315 h 20000"/>
                  <a:gd name="T68" fmla="*/ 5041 w 20000"/>
                  <a:gd name="T69" fmla="*/ 15787 h 20000"/>
                  <a:gd name="T70" fmla="*/ 1409 w 20000"/>
                  <a:gd name="T71" fmla="*/ 14412 h 20000"/>
                  <a:gd name="T72" fmla="*/ 542 w 20000"/>
                  <a:gd name="T73" fmla="*/ 13304 h 20000"/>
                  <a:gd name="T74" fmla="*/ 542 w 20000"/>
                  <a:gd name="T75" fmla="*/ 11441 h 20000"/>
                  <a:gd name="T76" fmla="*/ 867 w 20000"/>
                  <a:gd name="T77" fmla="*/ 9623 h 20000"/>
                  <a:gd name="T78" fmla="*/ 867 w 20000"/>
                  <a:gd name="T79" fmla="*/ 7982 h 20000"/>
                  <a:gd name="T80" fmla="*/ 1409 w 20000"/>
                  <a:gd name="T81" fmla="*/ 6164 h 20000"/>
                  <a:gd name="T82" fmla="*/ 2764 w 20000"/>
                  <a:gd name="T83" fmla="*/ 5055 h 20000"/>
                  <a:gd name="T84" fmla="*/ 4228 w 20000"/>
                  <a:gd name="T85" fmla="*/ 3636 h 20000"/>
                  <a:gd name="T86" fmla="*/ 5041 w 20000"/>
                  <a:gd name="T87" fmla="*/ 3193 h 20000"/>
                  <a:gd name="T88" fmla="*/ 5312 w 20000"/>
                  <a:gd name="T89" fmla="*/ 2971 h 20000"/>
                  <a:gd name="T90" fmla="*/ 5312 w 20000"/>
                  <a:gd name="T91" fmla="*/ 2084 h 20000"/>
                  <a:gd name="T92" fmla="*/ 5312 w 20000"/>
                  <a:gd name="T93" fmla="*/ 887 h 20000"/>
                  <a:gd name="T94" fmla="*/ 4228 w 20000"/>
                  <a:gd name="T95" fmla="*/ 177 h 20000"/>
                  <a:gd name="T96" fmla="*/ 5041 w 20000"/>
                  <a:gd name="T9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5041" y="0"/>
                    </a:moveTo>
                    <a:lnTo>
                      <a:pt x="6450" y="177"/>
                    </a:lnTo>
                    <a:lnTo>
                      <a:pt x="7317" y="177"/>
                    </a:lnTo>
                    <a:lnTo>
                      <a:pt x="8130" y="710"/>
                    </a:lnTo>
                    <a:lnTo>
                      <a:pt x="8130" y="887"/>
                    </a:lnTo>
                    <a:lnTo>
                      <a:pt x="8130" y="1375"/>
                    </a:lnTo>
                    <a:lnTo>
                      <a:pt x="8726" y="1818"/>
                    </a:lnTo>
                    <a:lnTo>
                      <a:pt x="9539" y="1818"/>
                    </a:lnTo>
                    <a:lnTo>
                      <a:pt x="10407" y="1818"/>
                    </a:lnTo>
                    <a:lnTo>
                      <a:pt x="10081" y="2971"/>
                    </a:lnTo>
                    <a:lnTo>
                      <a:pt x="11220" y="2971"/>
                    </a:lnTo>
                    <a:lnTo>
                      <a:pt x="11762" y="2084"/>
                    </a:lnTo>
                    <a:lnTo>
                      <a:pt x="13496" y="887"/>
                    </a:lnTo>
                    <a:lnTo>
                      <a:pt x="14038" y="1818"/>
                    </a:lnTo>
                    <a:lnTo>
                      <a:pt x="15989" y="2528"/>
                    </a:lnTo>
                    <a:lnTo>
                      <a:pt x="16260" y="2971"/>
                    </a:lnTo>
                    <a:lnTo>
                      <a:pt x="17724" y="3636"/>
                    </a:lnTo>
                    <a:lnTo>
                      <a:pt x="18266" y="4789"/>
                    </a:lnTo>
                    <a:lnTo>
                      <a:pt x="17073" y="5499"/>
                    </a:lnTo>
                    <a:lnTo>
                      <a:pt x="17073" y="5721"/>
                    </a:lnTo>
                    <a:lnTo>
                      <a:pt x="18482" y="6608"/>
                    </a:lnTo>
                    <a:lnTo>
                      <a:pt x="18266" y="6874"/>
                    </a:lnTo>
                    <a:lnTo>
                      <a:pt x="18482" y="7982"/>
                    </a:lnTo>
                    <a:lnTo>
                      <a:pt x="19079" y="7982"/>
                    </a:lnTo>
                    <a:lnTo>
                      <a:pt x="19079" y="8514"/>
                    </a:lnTo>
                    <a:lnTo>
                      <a:pt x="19350" y="9623"/>
                    </a:lnTo>
                    <a:lnTo>
                      <a:pt x="19946" y="9845"/>
                    </a:lnTo>
                    <a:lnTo>
                      <a:pt x="19350" y="10510"/>
                    </a:lnTo>
                    <a:lnTo>
                      <a:pt x="18482" y="10510"/>
                    </a:lnTo>
                    <a:lnTo>
                      <a:pt x="18266" y="10998"/>
                    </a:lnTo>
                    <a:lnTo>
                      <a:pt x="14038" y="12594"/>
                    </a:lnTo>
                    <a:lnTo>
                      <a:pt x="13496" y="12151"/>
                    </a:lnTo>
                    <a:lnTo>
                      <a:pt x="13496" y="12594"/>
                    </a:lnTo>
                    <a:lnTo>
                      <a:pt x="13496" y="13304"/>
                    </a:lnTo>
                    <a:lnTo>
                      <a:pt x="14580" y="13525"/>
                    </a:lnTo>
                    <a:lnTo>
                      <a:pt x="14580" y="14412"/>
                    </a:lnTo>
                    <a:lnTo>
                      <a:pt x="15989" y="15122"/>
                    </a:lnTo>
                    <a:lnTo>
                      <a:pt x="16260" y="15344"/>
                    </a:lnTo>
                    <a:lnTo>
                      <a:pt x="17073" y="16231"/>
                    </a:lnTo>
                    <a:lnTo>
                      <a:pt x="17073" y="16497"/>
                    </a:lnTo>
                    <a:lnTo>
                      <a:pt x="17073" y="17428"/>
                    </a:lnTo>
                    <a:lnTo>
                      <a:pt x="15393" y="17650"/>
                    </a:lnTo>
                    <a:lnTo>
                      <a:pt x="15393" y="18758"/>
                    </a:lnTo>
                    <a:lnTo>
                      <a:pt x="15989" y="19468"/>
                    </a:lnTo>
                    <a:lnTo>
                      <a:pt x="15393" y="19246"/>
                    </a:lnTo>
                    <a:lnTo>
                      <a:pt x="14038" y="19246"/>
                    </a:lnTo>
                    <a:lnTo>
                      <a:pt x="13496" y="19468"/>
                    </a:lnTo>
                    <a:lnTo>
                      <a:pt x="12629" y="19468"/>
                    </a:lnTo>
                    <a:lnTo>
                      <a:pt x="11220" y="19956"/>
                    </a:lnTo>
                    <a:lnTo>
                      <a:pt x="10949" y="19468"/>
                    </a:lnTo>
                    <a:lnTo>
                      <a:pt x="10081" y="19468"/>
                    </a:lnTo>
                    <a:lnTo>
                      <a:pt x="10081" y="19956"/>
                    </a:lnTo>
                    <a:lnTo>
                      <a:pt x="8726" y="19468"/>
                    </a:lnTo>
                    <a:lnTo>
                      <a:pt x="8130" y="19246"/>
                    </a:lnTo>
                    <a:lnTo>
                      <a:pt x="7534" y="19246"/>
                    </a:lnTo>
                    <a:lnTo>
                      <a:pt x="7317" y="19246"/>
                    </a:lnTo>
                    <a:lnTo>
                      <a:pt x="6721" y="19246"/>
                    </a:lnTo>
                    <a:lnTo>
                      <a:pt x="6721" y="18758"/>
                    </a:lnTo>
                    <a:lnTo>
                      <a:pt x="6450" y="18758"/>
                    </a:lnTo>
                    <a:lnTo>
                      <a:pt x="5854" y="18758"/>
                    </a:lnTo>
                    <a:lnTo>
                      <a:pt x="5312" y="19246"/>
                    </a:lnTo>
                    <a:lnTo>
                      <a:pt x="5312" y="19468"/>
                    </a:lnTo>
                    <a:lnTo>
                      <a:pt x="5041" y="19468"/>
                    </a:lnTo>
                    <a:lnTo>
                      <a:pt x="4444" y="19468"/>
                    </a:lnTo>
                    <a:lnTo>
                      <a:pt x="4228" y="19468"/>
                    </a:lnTo>
                    <a:lnTo>
                      <a:pt x="3631" y="19468"/>
                    </a:lnTo>
                    <a:lnTo>
                      <a:pt x="3089" y="19468"/>
                    </a:lnTo>
                    <a:lnTo>
                      <a:pt x="3089" y="18315"/>
                    </a:lnTo>
                    <a:lnTo>
                      <a:pt x="4228" y="16940"/>
                    </a:lnTo>
                    <a:lnTo>
                      <a:pt x="5041" y="15787"/>
                    </a:lnTo>
                    <a:lnTo>
                      <a:pt x="3631" y="15344"/>
                    </a:lnTo>
                    <a:lnTo>
                      <a:pt x="1409" y="14412"/>
                    </a:lnTo>
                    <a:lnTo>
                      <a:pt x="1409" y="13525"/>
                    </a:lnTo>
                    <a:lnTo>
                      <a:pt x="542" y="13304"/>
                    </a:lnTo>
                    <a:lnTo>
                      <a:pt x="867" y="12594"/>
                    </a:lnTo>
                    <a:lnTo>
                      <a:pt x="542" y="11441"/>
                    </a:lnTo>
                    <a:lnTo>
                      <a:pt x="542" y="10510"/>
                    </a:lnTo>
                    <a:lnTo>
                      <a:pt x="867" y="9623"/>
                    </a:lnTo>
                    <a:lnTo>
                      <a:pt x="0" y="8514"/>
                    </a:lnTo>
                    <a:lnTo>
                      <a:pt x="867" y="7982"/>
                    </a:lnTo>
                    <a:lnTo>
                      <a:pt x="1680" y="7982"/>
                    </a:lnTo>
                    <a:lnTo>
                      <a:pt x="1409" y="6164"/>
                    </a:lnTo>
                    <a:lnTo>
                      <a:pt x="2222" y="6164"/>
                    </a:lnTo>
                    <a:lnTo>
                      <a:pt x="2764" y="5055"/>
                    </a:lnTo>
                    <a:lnTo>
                      <a:pt x="2222" y="3636"/>
                    </a:lnTo>
                    <a:lnTo>
                      <a:pt x="4228" y="3636"/>
                    </a:lnTo>
                    <a:lnTo>
                      <a:pt x="4444" y="4346"/>
                    </a:lnTo>
                    <a:lnTo>
                      <a:pt x="5041" y="3193"/>
                    </a:lnTo>
                    <a:lnTo>
                      <a:pt x="5854" y="3193"/>
                    </a:lnTo>
                    <a:lnTo>
                      <a:pt x="5312" y="2971"/>
                    </a:lnTo>
                    <a:lnTo>
                      <a:pt x="5854" y="2084"/>
                    </a:lnTo>
                    <a:lnTo>
                      <a:pt x="5312" y="2084"/>
                    </a:lnTo>
                    <a:lnTo>
                      <a:pt x="5312" y="1818"/>
                    </a:lnTo>
                    <a:lnTo>
                      <a:pt x="5312" y="887"/>
                    </a:lnTo>
                    <a:lnTo>
                      <a:pt x="5041" y="177"/>
                    </a:lnTo>
                    <a:lnTo>
                      <a:pt x="4228" y="177"/>
                    </a:lnTo>
                    <a:lnTo>
                      <a:pt x="4444" y="0"/>
                    </a:lnTo>
                    <a:lnTo>
                      <a:pt x="504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8" name="Freeform 288"/>
              <p:cNvSpPr>
                <a:spLocks/>
              </p:cNvSpPr>
              <p:nvPr/>
            </p:nvSpPr>
            <p:spPr bwMode="auto">
              <a:xfrm>
                <a:off x="5457825" y="2036763"/>
                <a:ext cx="292100" cy="469900"/>
              </a:xfrm>
              <a:custGeom>
                <a:avLst/>
                <a:gdLst>
                  <a:gd name="T0" fmla="*/ 12321 w 20000"/>
                  <a:gd name="T1" fmla="*/ 2514 h 20000"/>
                  <a:gd name="T2" fmla="*/ 13666 w 20000"/>
                  <a:gd name="T3" fmla="*/ 3622 h 20000"/>
                  <a:gd name="T4" fmla="*/ 13666 w 20000"/>
                  <a:gd name="T5" fmla="*/ 5297 h 20000"/>
                  <a:gd name="T6" fmla="*/ 15445 w 20000"/>
                  <a:gd name="T7" fmla="*/ 9054 h 20000"/>
                  <a:gd name="T8" fmla="*/ 15445 w 20000"/>
                  <a:gd name="T9" fmla="*/ 9757 h 20000"/>
                  <a:gd name="T10" fmla="*/ 16139 w 20000"/>
                  <a:gd name="T11" fmla="*/ 10189 h 20000"/>
                  <a:gd name="T12" fmla="*/ 17050 w 20000"/>
                  <a:gd name="T13" fmla="*/ 10892 h 20000"/>
                  <a:gd name="T14" fmla="*/ 18178 w 20000"/>
                  <a:gd name="T15" fmla="*/ 12703 h 20000"/>
                  <a:gd name="T16" fmla="*/ 19957 w 20000"/>
                  <a:gd name="T17" fmla="*/ 13405 h 20000"/>
                  <a:gd name="T18" fmla="*/ 14100 w 20000"/>
                  <a:gd name="T19" fmla="*/ 18324 h 20000"/>
                  <a:gd name="T20" fmla="*/ 11410 w 20000"/>
                  <a:gd name="T21" fmla="*/ 18595 h 20000"/>
                  <a:gd name="T22" fmla="*/ 8503 w 20000"/>
                  <a:gd name="T23" fmla="*/ 19270 h 20000"/>
                  <a:gd name="T24" fmla="*/ 5380 w 20000"/>
                  <a:gd name="T25" fmla="*/ 19432 h 20000"/>
                  <a:gd name="T26" fmla="*/ 6030 w 20000"/>
                  <a:gd name="T27" fmla="*/ 19270 h 20000"/>
                  <a:gd name="T28" fmla="*/ 5813 w 20000"/>
                  <a:gd name="T29" fmla="*/ 19270 h 20000"/>
                  <a:gd name="T30" fmla="*/ 5380 w 20000"/>
                  <a:gd name="T31" fmla="*/ 18730 h 20000"/>
                  <a:gd name="T32" fmla="*/ 3774 w 20000"/>
                  <a:gd name="T33" fmla="*/ 18595 h 20000"/>
                  <a:gd name="T34" fmla="*/ 3124 w 20000"/>
                  <a:gd name="T35" fmla="*/ 17595 h 20000"/>
                  <a:gd name="T36" fmla="*/ 3124 w 20000"/>
                  <a:gd name="T37" fmla="*/ 16784 h 20000"/>
                  <a:gd name="T38" fmla="*/ 2907 w 20000"/>
                  <a:gd name="T39" fmla="*/ 15784 h 20000"/>
                  <a:gd name="T40" fmla="*/ 2473 w 20000"/>
                  <a:gd name="T41" fmla="*/ 14243 h 20000"/>
                  <a:gd name="T42" fmla="*/ 3124 w 20000"/>
                  <a:gd name="T43" fmla="*/ 13405 h 20000"/>
                  <a:gd name="T44" fmla="*/ 4252 w 20000"/>
                  <a:gd name="T45" fmla="*/ 13135 h 20000"/>
                  <a:gd name="T46" fmla="*/ 4685 w 20000"/>
                  <a:gd name="T47" fmla="*/ 12703 h 20000"/>
                  <a:gd name="T48" fmla="*/ 5380 w 20000"/>
                  <a:gd name="T49" fmla="*/ 12297 h 20000"/>
                  <a:gd name="T50" fmla="*/ 6725 w 20000"/>
                  <a:gd name="T51" fmla="*/ 10595 h 20000"/>
                  <a:gd name="T52" fmla="*/ 7809 w 20000"/>
                  <a:gd name="T53" fmla="*/ 9757 h 20000"/>
                  <a:gd name="T54" fmla="*/ 8243 w 20000"/>
                  <a:gd name="T55" fmla="*/ 9378 h 20000"/>
                  <a:gd name="T56" fmla="*/ 7158 w 20000"/>
                  <a:gd name="T57" fmla="*/ 8216 h 20000"/>
                  <a:gd name="T58" fmla="*/ 6030 w 20000"/>
                  <a:gd name="T59" fmla="*/ 7946 h 20000"/>
                  <a:gd name="T60" fmla="*/ 5380 w 20000"/>
                  <a:gd name="T61" fmla="*/ 7000 h 20000"/>
                  <a:gd name="T62" fmla="*/ 4946 w 20000"/>
                  <a:gd name="T63" fmla="*/ 5459 h 20000"/>
                  <a:gd name="T64" fmla="*/ 5380 w 20000"/>
                  <a:gd name="T65" fmla="*/ 5027 h 20000"/>
                  <a:gd name="T66" fmla="*/ 4685 w 20000"/>
                  <a:gd name="T67" fmla="*/ 3919 h 20000"/>
                  <a:gd name="T68" fmla="*/ 2473 w 20000"/>
                  <a:gd name="T69" fmla="*/ 3189 h 20000"/>
                  <a:gd name="T70" fmla="*/ 0 w 20000"/>
                  <a:gd name="T71" fmla="*/ 2081 h 20000"/>
                  <a:gd name="T72" fmla="*/ 607 w 20000"/>
                  <a:gd name="T73" fmla="*/ 2081 h 20000"/>
                  <a:gd name="T74" fmla="*/ 607 w 20000"/>
                  <a:gd name="T75" fmla="*/ 1649 h 20000"/>
                  <a:gd name="T76" fmla="*/ 2907 w 20000"/>
                  <a:gd name="T77" fmla="*/ 2514 h 20000"/>
                  <a:gd name="T78" fmla="*/ 4685 w 20000"/>
                  <a:gd name="T79" fmla="*/ 2514 h 20000"/>
                  <a:gd name="T80" fmla="*/ 5813 w 20000"/>
                  <a:gd name="T81" fmla="*/ 2514 h 20000"/>
                  <a:gd name="T82" fmla="*/ 6725 w 20000"/>
                  <a:gd name="T83" fmla="*/ 2784 h 20000"/>
                  <a:gd name="T84" fmla="*/ 7592 w 20000"/>
                  <a:gd name="T85" fmla="*/ 2351 h 20000"/>
                  <a:gd name="T86" fmla="*/ 7592 w 20000"/>
                  <a:gd name="T87" fmla="*/ 973 h 20000"/>
                  <a:gd name="T88" fmla="*/ 8937 w 20000"/>
                  <a:gd name="T89" fmla="*/ 270 h 20000"/>
                  <a:gd name="T90" fmla="*/ 10542 w 20000"/>
                  <a:gd name="T91" fmla="*/ 0 h 20000"/>
                  <a:gd name="T92" fmla="*/ 11887 w 20000"/>
                  <a:gd name="T93" fmla="*/ 541 h 20000"/>
                  <a:gd name="T94" fmla="*/ 12321 w 20000"/>
                  <a:gd name="T95" fmla="*/ 13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1887" y="2081"/>
                    </a:moveTo>
                    <a:lnTo>
                      <a:pt x="12321" y="2514"/>
                    </a:lnTo>
                    <a:lnTo>
                      <a:pt x="12581" y="3189"/>
                    </a:lnTo>
                    <a:lnTo>
                      <a:pt x="13666" y="3622"/>
                    </a:lnTo>
                    <a:lnTo>
                      <a:pt x="14360" y="4027"/>
                    </a:lnTo>
                    <a:lnTo>
                      <a:pt x="13666" y="5297"/>
                    </a:lnTo>
                    <a:lnTo>
                      <a:pt x="15879" y="7676"/>
                    </a:lnTo>
                    <a:lnTo>
                      <a:pt x="15445" y="9054"/>
                    </a:lnTo>
                    <a:lnTo>
                      <a:pt x="15445" y="9378"/>
                    </a:lnTo>
                    <a:lnTo>
                      <a:pt x="15445" y="9757"/>
                    </a:lnTo>
                    <a:lnTo>
                      <a:pt x="16139" y="9757"/>
                    </a:lnTo>
                    <a:lnTo>
                      <a:pt x="16139" y="10189"/>
                    </a:lnTo>
                    <a:lnTo>
                      <a:pt x="16139" y="10595"/>
                    </a:lnTo>
                    <a:lnTo>
                      <a:pt x="17050" y="10892"/>
                    </a:lnTo>
                    <a:lnTo>
                      <a:pt x="16573" y="12027"/>
                    </a:lnTo>
                    <a:lnTo>
                      <a:pt x="18178" y="12703"/>
                    </a:lnTo>
                    <a:lnTo>
                      <a:pt x="18829" y="12865"/>
                    </a:lnTo>
                    <a:lnTo>
                      <a:pt x="19957" y="13405"/>
                    </a:lnTo>
                    <a:lnTo>
                      <a:pt x="17744" y="15622"/>
                    </a:lnTo>
                    <a:lnTo>
                      <a:pt x="14100" y="18324"/>
                    </a:lnTo>
                    <a:lnTo>
                      <a:pt x="13449" y="18595"/>
                    </a:lnTo>
                    <a:lnTo>
                      <a:pt x="11410" y="18595"/>
                    </a:lnTo>
                    <a:lnTo>
                      <a:pt x="10108" y="19000"/>
                    </a:lnTo>
                    <a:lnTo>
                      <a:pt x="8503" y="19270"/>
                    </a:lnTo>
                    <a:lnTo>
                      <a:pt x="6464" y="19973"/>
                    </a:lnTo>
                    <a:lnTo>
                      <a:pt x="5380" y="19432"/>
                    </a:lnTo>
                    <a:lnTo>
                      <a:pt x="5380" y="19270"/>
                    </a:lnTo>
                    <a:lnTo>
                      <a:pt x="6030" y="19270"/>
                    </a:lnTo>
                    <a:lnTo>
                      <a:pt x="6030" y="18730"/>
                    </a:lnTo>
                    <a:lnTo>
                      <a:pt x="5813" y="19270"/>
                    </a:lnTo>
                    <a:lnTo>
                      <a:pt x="5380" y="19000"/>
                    </a:lnTo>
                    <a:lnTo>
                      <a:pt x="5380" y="18730"/>
                    </a:lnTo>
                    <a:lnTo>
                      <a:pt x="4685" y="18595"/>
                    </a:lnTo>
                    <a:lnTo>
                      <a:pt x="3774" y="18595"/>
                    </a:lnTo>
                    <a:lnTo>
                      <a:pt x="3557" y="18324"/>
                    </a:lnTo>
                    <a:lnTo>
                      <a:pt x="3124" y="17595"/>
                    </a:lnTo>
                    <a:lnTo>
                      <a:pt x="3557" y="17459"/>
                    </a:lnTo>
                    <a:lnTo>
                      <a:pt x="3124" y="16784"/>
                    </a:lnTo>
                    <a:lnTo>
                      <a:pt x="3557" y="16784"/>
                    </a:lnTo>
                    <a:lnTo>
                      <a:pt x="2907" y="15784"/>
                    </a:lnTo>
                    <a:lnTo>
                      <a:pt x="2473" y="14514"/>
                    </a:lnTo>
                    <a:lnTo>
                      <a:pt x="2473" y="14243"/>
                    </a:lnTo>
                    <a:lnTo>
                      <a:pt x="3124" y="13838"/>
                    </a:lnTo>
                    <a:lnTo>
                      <a:pt x="3124" y="13405"/>
                    </a:lnTo>
                    <a:lnTo>
                      <a:pt x="3557" y="13405"/>
                    </a:lnTo>
                    <a:lnTo>
                      <a:pt x="4252" y="13135"/>
                    </a:lnTo>
                    <a:lnTo>
                      <a:pt x="3774" y="12865"/>
                    </a:lnTo>
                    <a:lnTo>
                      <a:pt x="4685" y="12703"/>
                    </a:lnTo>
                    <a:lnTo>
                      <a:pt x="4685" y="12432"/>
                    </a:lnTo>
                    <a:lnTo>
                      <a:pt x="5380" y="12297"/>
                    </a:lnTo>
                    <a:lnTo>
                      <a:pt x="5813" y="11595"/>
                    </a:lnTo>
                    <a:lnTo>
                      <a:pt x="6725" y="10595"/>
                    </a:lnTo>
                    <a:lnTo>
                      <a:pt x="7158" y="10189"/>
                    </a:lnTo>
                    <a:lnTo>
                      <a:pt x="7809" y="9757"/>
                    </a:lnTo>
                    <a:lnTo>
                      <a:pt x="8503" y="9757"/>
                    </a:lnTo>
                    <a:lnTo>
                      <a:pt x="8243" y="9378"/>
                    </a:lnTo>
                    <a:lnTo>
                      <a:pt x="8243" y="8649"/>
                    </a:lnTo>
                    <a:lnTo>
                      <a:pt x="7158" y="8216"/>
                    </a:lnTo>
                    <a:lnTo>
                      <a:pt x="6725" y="7946"/>
                    </a:lnTo>
                    <a:lnTo>
                      <a:pt x="6030" y="7946"/>
                    </a:lnTo>
                    <a:lnTo>
                      <a:pt x="5813" y="7541"/>
                    </a:lnTo>
                    <a:lnTo>
                      <a:pt x="5380" y="7000"/>
                    </a:lnTo>
                    <a:lnTo>
                      <a:pt x="5813" y="5865"/>
                    </a:lnTo>
                    <a:lnTo>
                      <a:pt x="4946" y="5459"/>
                    </a:lnTo>
                    <a:lnTo>
                      <a:pt x="4946" y="5297"/>
                    </a:lnTo>
                    <a:lnTo>
                      <a:pt x="5380" y="5027"/>
                    </a:lnTo>
                    <a:lnTo>
                      <a:pt x="4685" y="4730"/>
                    </a:lnTo>
                    <a:lnTo>
                      <a:pt x="4685" y="3919"/>
                    </a:lnTo>
                    <a:lnTo>
                      <a:pt x="3557" y="3189"/>
                    </a:lnTo>
                    <a:lnTo>
                      <a:pt x="2473" y="3189"/>
                    </a:lnTo>
                    <a:lnTo>
                      <a:pt x="1128" y="2784"/>
                    </a:lnTo>
                    <a:lnTo>
                      <a:pt x="0" y="2081"/>
                    </a:lnTo>
                    <a:lnTo>
                      <a:pt x="0" y="1811"/>
                    </a:lnTo>
                    <a:lnTo>
                      <a:pt x="607" y="2081"/>
                    </a:lnTo>
                    <a:lnTo>
                      <a:pt x="174" y="1649"/>
                    </a:lnTo>
                    <a:lnTo>
                      <a:pt x="607" y="1649"/>
                    </a:lnTo>
                    <a:lnTo>
                      <a:pt x="1779" y="1811"/>
                    </a:lnTo>
                    <a:lnTo>
                      <a:pt x="2907" y="2514"/>
                    </a:lnTo>
                    <a:lnTo>
                      <a:pt x="3774" y="2514"/>
                    </a:lnTo>
                    <a:lnTo>
                      <a:pt x="4685" y="2514"/>
                    </a:lnTo>
                    <a:lnTo>
                      <a:pt x="4946" y="2351"/>
                    </a:lnTo>
                    <a:lnTo>
                      <a:pt x="5813" y="2514"/>
                    </a:lnTo>
                    <a:lnTo>
                      <a:pt x="6464" y="2784"/>
                    </a:lnTo>
                    <a:lnTo>
                      <a:pt x="6725" y="2784"/>
                    </a:lnTo>
                    <a:lnTo>
                      <a:pt x="6725" y="2351"/>
                    </a:lnTo>
                    <a:lnTo>
                      <a:pt x="7592" y="2351"/>
                    </a:lnTo>
                    <a:lnTo>
                      <a:pt x="7592" y="1649"/>
                    </a:lnTo>
                    <a:lnTo>
                      <a:pt x="7592" y="973"/>
                    </a:lnTo>
                    <a:lnTo>
                      <a:pt x="8243" y="270"/>
                    </a:lnTo>
                    <a:lnTo>
                      <a:pt x="8937" y="270"/>
                    </a:lnTo>
                    <a:lnTo>
                      <a:pt x="9414" y="270"/>
                    </a:lnTo>
                    <a:lnTo>
                      <a:pt x="10542" y="0"/>
                    </a:lnTo>
                    <a:lnTo>
                      <a:pt x="10759" y="270"/>
                    </a:lnTo>
                    <a:lnTo>
                      <a:pt x="11887" y="541"/>
                    </a:lnTo>
                    <a:lnTo>
                      <a:pt x="12581" y="973"/>
                    </a:lnTo>
                    <a:lnTo>
                      <a:pt x="12321" y="1378"/>
                    </a:lnTo>
                    <a:lnTo>
                      <a:pt x="11887" y="20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9" name="Freeform 287"/>
              <p:cNvSpPr>
                <a:spLocks/>
              </p:cNvSpPr>
              <p:nvPr/>
            </p:nvSpPr>
            <p:spPr bwMode="auto">
              <a:xfrm>
                <a:off x="4864100" y="2863850"/>
                <a:ext cx="342900" cy="309563"/>
              </a:xfrm>
              <a:custGeom>
                <a:avLst/>
                <a:gdLst>
                  <a:gd name="T0" fmla="*/ 11519 w 20000"/>
                  <a:gd name="T1" fmla="*/ 451 h 20000"/>
                  <a:gd name="T2" fmla="*/ 12481 w 20000"/>
                  <a:gd name="T3" fmla="*/ 451 h 20000"/>
                  <a:gd name="T4" fmla="*/ 13074 w 20000"/>
                  <a:gd name="T5" fmla="*/ 1516 h 20000"/>
                  <a:gd name="T6" fmla="*/ 14593 w 20000"/>
                  <a:gd name="T7" fmla="*/ 2131 h 20000"/>
                  <a:gd name="T8" fmla="*/ 15963 w 20000"/>
                  <a:gd name="T9" fmla="*/ 3607 h 20000"/>
                  <a:gd name="T10" fmla="*/ 16889 w 20000"/>
                  <a:gd name="T11" fmla="*/ 3607 h 20000"/>
                  <a:gd name="T12" fmla="*/ 19000 w 20000"/>
                  <a:gd name="T13" fmla="*/ 4467 h 20000"/>
                  <a:gd name="T14" fmla="*/ 19407 w 20000"/>
                  <a:gd name="T15" fmla="*/ 5943 h 20000"/>
                  <a:gd name="T16" fmla="*/ 18630 w 20000"/>
                  <a:gd name="T17" fmla="*/ 8279 h 20000"/>
                  <a:gd name="T18" fmla="*/ 18074 w 20000"/>
                  <a:gd name="T19" fmla="*/ 8893 h 20000"/>
                  <a:gd name="T20" fmla="*/ 16889 w 20000"/>
                  <a:gd name="T21" fmla="*/ 10820 h 20000"/>
                  <a:gd name="T22" fmla="*/ 17481 w 20000"/>
                  <a:gd name="T23" fmla="*/ 10820 h 20000"/>
                  <a:gd name="T24" fmla="*/ 18444 w 20000"/>
                  <a:gd name="T25" fmla="*/ 12090 h 20000"/>
                  <a:gd name="T26" fmla="*/ 18444 w 20000"/>
                  <a:gd name="T27" fmla="*/ 13770 h 20000"/>
                  <a:gd name="T28" fmla="*/ 18074 w 20000"/>
                  <a:gd name="T29" fmla="*/ 14221 h 20000"/>
                  <a:gd name="T30" fmla="*/ 19000 w 20000"/>
                  <a:gd name="T31" fmla="*/ 16107 h 20000"/>
                  <a:gd name="T32" fmla="*/ 19407 w 20000"/>
                  <a:gd name="T33" fmla="*/ 16516 h 20000"/>
                  <a:gd name="T34" fmla="*/ 19000 w 20000"/>
                  <a:gd name="T35" fmla="*/ 17172 h 20000"/>
                  <a:gd name="T36" fmla="*/ 18630 w 20000"/>
                  <a:gd name="T37" fmla="*/ 17172 h 20000"/>
                  <a:gd name="T38" fmla="*/ 18074 w 20000"/>
                  <a:gd name="T39" fmla="*/ 17623 h 20000"/>
                  <a:gd name="T40" fmla="*/ 17481 w 20000"/>
                  <a:gd name="T41" fmla="*/ 18689 h 20000"/>
                  <a:gd name="T42" fmla="*/ 15593 w 20000"/>
                  <a:gd name="T43" fmla="*/ 18279 h 20000"/>
                  <a:gd name="T44" fmla="*/ 15000 w 20000"/>
                  <a:gd name="T45" fmla="*/ 17828 h 20000"/>
                  <a:gd name="T46" fmla="*/ 14407 w 20000"/>
                  <a:gd name="T47" fmla="*/ 17623 h 20000"/>
                  <a:gd name="T48" fmla="*/ 13444 w 20000"/>
                  <a:gd name="T49" fmla="*/ 17623 h 20000"/>
                  <a:gd name="T50" fmla="*/ 12111 w 20000"/>
                  <a:gd name="T51" fmla="*/ 18689 h 20000"/>
                  <a:gd name="T52" fmla="*/ 11519 w 20000"/>
                  <a:gd name="T53" fmla="*/ 19959 h 20000"/>
                  <a:gd name="T54" fmla="*/ 9407 w 20000"/>
                  <a:gd name="T55" fmla="*/ 19303 h 20000"/>
                  <a:gd name="T56" fmla="*/ 8481 w 20000"/>
                  <a:gd name="T57" fmla="*/ 19303 h 20000"/>
                  <a:gd name="T58" fmla="*/ 5370 w 20000"/>
                  <a:gd name="T59" fmla="*/ 18689 h 20000"/>
                  <a:gd name="T60" fmla="*/ 5370 w 20000"/>
                  <a:gd name="T61" fmla="*/ 15287 h 20000"/>
                  <a:gd name="T62" fmla="*/ 5370 w 20000"/>
                  <a:gd name="T63" fmla="*/ 14426 h 20000"/>
                  <a:gd name="T64" fmla="*/ 6370 w 20000"/>
                  <a:gd name="T65" fmla="*/ 13770 h 20000"/>
                  <a:gd name="T66" fmla="*/ 5370 w 20000"/>
                  <a:gd name="T67" fmla="*/ 12500 h 20000"/>
                  <a:gd name="T68" fmla="*/ 4037 w 20000"/>
                  <a:gd name="T69" fmla="*/ 10000 h 20000"/>
                  <a:gd name="T70" fmla="*/ 3481 w 20000"/>
                  <a:gd name="T71" fmla="*/ 8730 h 20000"/>
                  <a:gd name="T72" fmla="*/ 778 w 20000"/>
                  <a:gd name="T73" fmla="*/ 7623 h 20000"/>
                  <a:gd name="T74" fmla="*/ 778 w 20000"/>
                  <a:gd name="T75" fmla="*/ 7049 h 20000"/>
                  <a:gd name="T76" fmla="*/ 1000 w 20000"/>
                  <a:gd name="T77" fmla="*/ 6557 h 20000"/>
                  <a:gd name="T78" fmla="*/ 0 w 20000"/>
                  <a:gd name="T79" fmla="*/ 6393 h 20000"/>
                  <a:gd name="T80" fmla="*/ 1370 w 20000"/>
                  <a:gd name="T81" fmla="*/ 5533 h 20000"/>
                  <a:gd name="T82" fmla="*/ 2519 w 20000"/>
                  <a:gd name="T83" fmla="*/ 5533 h 20000"/>
                  <a:gd name="T84" fmla="*/ 3852 w 20000"/>
                  <a:gd name="T85" fmla="*/ 5943 h 20000"/>
                  <a:gd name="T86" fmla="*/ 5000 w 20000"/>
                  <a:gd name="T87" fmla="*/ 5943 h 20000"/>
                  <a:gd name="T88" fmla="*/ 4407 w 20000"/>
                  <a:gd name="T89" fmla="*/ 3197 h 20000"/>
                  <a:gd name="T90" fmla="*/ 5593 w 20000"/>
                  <a:gd name="T91" fmla="*/ 3197 h 20000"/>
                  <a:gd name="T92" fmla="*/ 6370 w 20000"/>
                  <a:gd name="T93" fmla="*/ 4262 h 20000"/>
                  <a:gd name="T94" fmla="*/ 7481 w 20000"/>
                  <a:gd name="T95" fmla="*/ 3607 h 20000"/>
                  <a:gd name="T96" fmla="*/ 9407 w 20000"/>
                  <a:gd name="T97" fmla="*/ 2787 h 20000"/>
                  <a:gd name="T98" fmla="*/ 9630 w 20000"/>
                  <a:gd name="T99" fmla="*/ 45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40" name="Freeform 286"/>
              <p:cNvSpPr>
                <a:spLocks/>
              </p:cNvSpPr>
              <p:nvPr/>
            </p:nvSpPr>
            <p:spPr bwMode="auto">
              <a:xfrm>
                <a:off x="5216525" y="3152775"/>
                <a:ext cx="34925" cy="57150"/>
              </a:xfrm>
              <a:custGeom>
                <a:avLst/>
                <a:gdLst>
                  <a:gd name="T0" fmla="*/ 11852 w 20000"/>
                  <a:gd name="T1" fmla="*/ 0 h 20000"/>
                  <a:gd name="T2" fmla="*/ 15926 w 20000"/>
                  <a:gd name="T3" fmla="*/ 0 h 20000"/>
                  <a:gd name="T4" fmla="*/ 15926 w 20000"/>
                  <a:gd name="T5" fmla="*/ 1348 h 20000"/>
                  <a:gd name="T6" fmla="*/ 15926 w 20000"/>
                  <a:gd name="T7" fmla="*/ 3596 h 20000"/>
                  <a:gd name="T8" fmla="*/ 19630 w 20000"/>
                  <a:gd name="T9" fmla="*/ 5843 h 20000"/>
                  <a:gd name="T10" fmla="*/ 19630 w 20000"/>
                  <a:gd name="T11" fmla="*/ 9213 h 20000"/>
                  <a:gd name="T12" fmla="*/ 19630 w 20000"/>
                  <a:gd name="T13" fmla="*/ 10562 h 20000"/>
                  <a:gd name="T14" fmla="*/ 15926 w 20000"/>
                  <a:gd name="T15" fmla="*/ 12809 h 20000"/>
                  <a:gd name="T16" fmla="*/ 15926 w 20000"/>
                  <a:gd name="T17" fmla="*/ 15056 h 20000"/>
                  <a:gd name="T18" fmla="*/ 15926 w 20000"/>
                  <a:gd name="T19" fmla="*/ 16180 h 20000"/>
                  <a:gd name="T20" fmla="*/ 11852 w 20000"/>
                  <a:gd name="T21" fmla="*/ 18427 h 20000"/>
                  <a:gd name="T22" fmla="*/ 11852 w 20000"/>
                  <a:gd name="T23" fmla="*/ 19775 h 20000"/>
                  <a:gd name="T24" fmla="*/ 10000 w 20000"/>
                  <a:gd name="T25" fmla="*/ 19775 h 20000"/>
                  <a:gd name="T26" fmla="*/ 5926 w 20000"/>
                  <a:gd name="T27" fmla="*/ 19775 h 20000"/>
                  <a:gd name="T28" fmla="*/ 4074 w 20000"/>
                  <a:gd name="T29" fmla="*/ 18427 h 20000"/>
                  <a:gd name="T30" fmla="*/ 5926 w 20000"/>
                  <a:gd name="T31" fmla="*/ 18427 h 20000"/>
                  <a:gd name="T32" fmla="*/ 5926 w 20000"/>
                  <a:gd name="T33" fmla="*/ 16180 h 20000"/>
                  <a:gd name="T34" fmla="*/ 4074 w 20000"/>
                  <a:gd name="T35" fmla="*/ 16180 h 20000"/>
                  <a:gd name="T36" fmla="*/ 4074 w 20000"/>
                  <a:gd name="T37" fmla="*/ 15056 h 20000"/>
                  <a:gd name="T38" fmla="*/ 0 w 20000"/>
                  <a:gd name="T39" fmla="*/ 15056 h 20000"/>
                  <a:gd name="T40" fmla="*/ 4074 w 20000"/>
                  <a:gd name="T41" fmla="*/ 12809 h 20000"/>
                  <a:gd name="T42" fmla="*/ 4074 w 20000"/>
                  <a:gd name="T43" fmla="*/ 10562 h 20000"/>
                  <a:gd name="T44" fmla="*/ 0 w 20000"/>
                  <a:gd name="T45" fmla="*/ 10562 h 20000"/>
                  <a:gd name="T46" fmla="*/ 0 w 20000"/>
                  <a:gd name="T47" fmla="*/ 9213 h 20000"/>
                  <a:gd name="T48" fmla="*/ 4074 w 20000"/>
                  <a:gd name="T49" fmla="*/ 9213 h 20000"/>
                  <a:gd name="T50" fmla="*/ 0 w 20000"/>
                  <a:gd name="T51" fmla="*/ 6966 h 20000"/>
                  <a:gd name="T52" fmla="*/ 4074 w 20000"/>
                  <a:gd name="T53" fmla="*/ 6966 h 20000"/>
                  <a:gd name="T54" fmla="*/ 4074 w 20000"/>
                  <a:gd name="T55" fmla="*/ 5843 h 20000"/>
                  <a:gd name="T56" fmla="*/ 5926 w 20000"/>
                  <a:gd name="T57" fmla="*/ 3596 h 20000"/>
                  <a:gd name="T58" fmla="*/ 10000 w 20000"/>
                  <a:gd name="T59" fmla="*/ 3596 h 20000"/>
                  <a:gd name="T60" fmla="*/ 11852 w 20000"/>
                  <a:gd name="T61" fmla="*/ 3596 h 20000"/>
                  <a:gd name="T62" fmla="*/ 11852 w 20000"/>
                  <a:gd name="T63" fmla="*/ 1348 h 20000"/>
                  <a:gd name="T64" fmla="*/ 11852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1852" y="0"/>
                    </a:moveTo>
                    <a:lnTo>
                      <a:pt x="15926" y="0"/>
                    </a:lnTo>
                    <a:lnTo>
                      <a:pt x="15926" y="1348"/>
                    </a:lnTo>
                    <a:lnTo>
                      <a:pt x="15926" y="3596"/>
                    </a:lnTo>
                    <a:lnTo>
                      <a:pt x="19630" y="5843"/>
                    </a:lnTo>
                    <a:lnTo>
                      <a:pt x="19630" y="9213"/>
                    </a:lnTo>
                    <a:lnTo>
                      <a:pt x="19630" y="10562"/>
                    </a:lnTo>
                    <a:lnTo>
                      <a:pt x="15926" y="12809"/>
                    </a:lnTo>
                    <a:lnTo>
                      <a:pt x="15926" y="15056"/>
                    </a:lnTo>
                    <a:lnTo>
                      <a:pt x="15926" y="16180"/>
                    </a:lnTo>
                    <a:lnTo>
                      <a:pt x="11852" y="18427"/>
                    </a:lnTo>
                    <a:lnTo>
                      <a:pt x="11852" y="19775"/>
                    </a:lnTo>
                    <a:lnTo>
                      <a:pt x="10000" y="19775"/>
                    </a:lnTo>
                    <a:lnTo>
                      <a:pt x="5926" y="19775"/>
                    </a:lnTo>
                    <a:lnTo>
                      <a:pt x="4074" y="18427"/>
                    </a:lnTo>
                    <a:lnTo>
                      <a:pt x="5926" y="18427"/>
                    </a:lnTo>
                    <a:lnTo>
                      <a:pt x="5926" y="16180"/>
                    </a:lnTo>
                    <a:lnTo>
                      <a:pt x="4074" y="16180"/>
                    </a:lnTo>
                    <a:lnTo>
                      <a:pt x="4074" y="15056"/>
                    </a:lnTo>
                    <a:lnTo>
                      <a:pt x="0" y="15056"/>
                    </a:lnTo>
                    <a:lnTo>
                      <a:pt x="4074" y="12809"/>
                    </a:lnTo>
                    <a:lnTo>
                      <a:pt x="4074" y="10562"/>
                    </a:lnTo>
                    <a:lnTo>
                      <a:pt x="0" y="10562"/>
                    </a:lnTo>
                    <a:lnTo>
                      <a:pt x="0" y="9213"/>
                    </a:lnTo>
                    <a:lnTo>
                      <a:pt x="4074" y="9213"/>
                    </a:lnTo>
                    <a:lnTo>
                      <a:pt x="0" y="6966"/>
                    </a:lnTo>
                    <a:lnTo>
                      <a:pt x="4074" y="6966"/>
                    </a:lnTo>
                    <a:lnTo>
                      <a:pt x="4074" y="5843"/>
                    </a:lnTo>
                    <a:lnTo>
                      <a:pt x="5926" y="3596"/>
                    </a:lnTo>
                    <a:lnTo>
                      <a:pt x="10000" y="3596"/>
                    </a:lnTo>
                    <a:lnTo>
                      <a:pt x="11852" y="3596"/>
                    </a:lnTo>
                    <a:lnTo>
                      <a:pt x="11852" y="1348"/>
                    </a:lnTo>
                    <a:lnTo>
                      <a:pt x="1185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41" name="Freeform 285"/>
              <p:cNvSpPr>
                <a:spLocks/>
              </p:cNvSpPr>
              <p:nvPr/>
            </p:nvSpPr>
            <p:spPr bwMode="auto">
              <a:xfrm>
                <a:off x="4838700" y="2559050"/>
                <a:ext cx="198438" cy="346075"/>
              </a:xfrm>
              <a:custGeom>
                <a:avLst/>
                <a:gdLst>
                  <a:gd name="T0" fmla="*/ 641 w 20000"/>
                  <a:gd name="T1" fmla="*/ 19596 h 20000"/>
                  <a:gd name="T2" fmla="*/ 3974 w 20000"/>
                  <a:gd name="T3" fmla="*/ 17647 h 20000"/>
                  <a:gd name="T4" fmla="*/ 6987 w 20000"/>
                  <a:gd name="T5" fmla="*/ 17500 h 20000"/>
                  <a:gd name="T6" fmla="*/ 6667 w 20000"/>
                  <a:gd name="T7" fmla="*/ 16912 h 20000"/>
                  <a:gd name="T8" fmla="*/ 3974 w 20000"/>
                  <a:gd name="T9" fmla="*/ 16140 h 20000"/>
                  <a:gd name="T10" fmla="*/ 2372 w 20000"/>
                  <a:gd name="T11" fmla="*/ 15993 h 20000"/>
                  <a:gd name="T12" fmla="*/ 5000 w 20000"/>
                  <a:gd name="T13" fmla="*/ 13676 h 20000"/>
                  <a:gd name="T14" fmla="*/ 3333 w 20000"/>
                  <a:gd name="T15" fmla="*/ 13676 h 20000"/>
                  <a:gd name="T16" fmla="*/ 6026 w 20000"/>
                  <a:gd name="T17" fmla="*/ 12904 h 20000"/>
                  <a:gd name="T18" fmla="*/ 7628 w 20000"/>
                  <a:gd name="T19" fmla="*/ 12169 h 20000"/>
                  <a:gd name="T20" fmla="*/ 7628 w 20000"/>
                  <a:gd name="T21" fmla="*/ 11029 h 20000"/>
                  <a:gd name="T22" fmla="*/ 6667 w 20000"/>
                  <a:gd name="T23" fmla="*/ 9669 h 20000"/>
                  <a:gd name="T24" fmla="*/ 7628 w 20000"/>
                  <a:gd name="T25" fmla="*/ 8934 h 20000"/>
                  <a:gd name="T26" fmla="*/ 5000 w 20000"/>
                  <a:gd name="T27" fmla="*/ 9081 h 20000"/>
                  <a:gd name="T28" fmla="*/ 2372 w 20000"/>
                  <a:gd name="T29" fmla="*/ 9081 h 20000"/>
                  <a:gd name="T30" fmla="*/ 3333 w 20000"/>
                  <a:gd name="T31" fmla="*/ 7206 h 20000"/>
                  <a:gd name="T32" fmla="*/ 1667 w 20000"/>
                  <a:gd name="T33" fmla="*/ 6654 h 20000"/>
                  <a:gd name="T34" fmla="*/ 1026 w 20000"/>
                  <a:gd name="T35" fmla="*/ 7022 h 20000"/>
                  <a:gd name="T36" fmla="*/ 2372 w 20000"/>
                  <a:gd name="T37" fmla="*/ 4926 h 20000"/>
                  <a:gd name="T38" fmla="*/ 0 w 20000"/>
                  <a:gd name="T39" fmla="*/ 4559 h 20000"/>
                  <a:gd name="T40" fmla="*/ 1667 w 20000"/>
                  <a:gd name="T41" fmla="*/ 3235 h 20000"/>
                  <a:gd name="T42" fmla="*/ 1026 w 20000"/>
                  <a:gd name="T43" fmla="*/ 2096 h 20000"/>
                  <a:gd name="T44" fmla="*/ 2372 w 20000"/>
                  <a:gd name="T45" fmla="*/ 1103 h 20000"/>
                  <a:gd name="T46" fmla="*/ 3333 w 20000"/>
                  <a:gd name="T47" fmla="*/ 0 h 20000"/>
                  <a:gd name="T48" fmla="*/ 7628 w 20000"/>
                  <a:gd name="T49" fmla="*/ 0 h 20000"/>
                  <a:gd name="T50" fmla="*/ 5256 w 20000"/>
                  <a:gd name="T51" fmla="*/ 1691 h 20000"/>
                  <a:gd name="T52" fmla="*/ 5000 w 20000"/>
                  <a:gd name="T53" fmla="*/ 2647 h 20000"/>
                  <a:gd name="T54" fmla="*/ 10256 w 20000"/>
                  <a:gd name="T55" fmla="*/ 2463 h 20000"/>
                  <a:gd name="T56" fmla="*/ 9615 w 20000"/>
                  <a:gd name="T57" fmla="*/ 3971 h 20000"/>
                  <a:gd name="T58" fmla="*/ 8654 w 20000"/>
                  <a:gd name="T59" fmla="*/ 5699 h 20000"/>
                  <a:gd name="T60" fmla="*/ 6667 w 20000"/>
                  <a:gd name="T61" fmla="*/ 6434 h 20000"/>
                  <a:gd name="T62" fmla="*/ 11282 w 20000"/>
                  <a:gd name="T63" fmla="*/ 7978 h 20000"/>
                  <a:gd name="T64" fmla="*/ 14936 w 20000"/>
                  <a:gd name="T65" fmla="*/ 10662 h 20000"/>
                  <a:gd name="T66" fmla="*/ 14936 w 20000"/>
                  <a:gd name="T67" fmla="*/ 11985 h 20000"/>
                  <a:gd name="T68" fmla="*/ 15577 w 20000"/>
                  <a:gd name="T69" fmla="*/ 13493 h 20000"/>
                  <a:gd name="T70" fmla="*/ 16603 w 20000"/>
                  <a:gd name="T71" fmla="*/ 13676 h 20000"/>
                  <a:gd name="T72" fmla="*/ 19936 w 20000"/>
                  <a:gd name="T73" fmla="*/ 14412 h 20000"/>
                  <a:gd name="T74" fmla="*/ 17949 w 20000"/>
                  <a:gd name="T75" fmla="*/ 16140 h 20000"/>
                  <a:gd name="T76" fmla="*/ 16603 w 20000"/>
                  <a:gd name="T77" fmla="*/ 16912 h 20000"/>
                  <a:gd name="T78" fmla="*/ 17949 w 20000"/>
                  <a:gd name="T79" fmla="*/ 18088 h 20000"/>
                  <a:gd name="T80" fmla="*/ 13910 w 20000"/>
                  <a:gd name="T81" fmla="*/ 18088 h 20000"/>
                  <a:gd name="T82" fmla="*/ 10256 w 20000"/>
                  <a:gd name="T83" fmla="*/ 18456 h 20000"/>
                  <a:gd name="T84" fmla="*/ 6667 w 20000"/>
                  <a:gd name="T85" fmla="*/ 18640 h 20000"/>
                  <a:gd name="T86" fmla="*/ 4359 w 20000"/>
                  <a:gd name="T87"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1667" y="19963"/>
                    </a:moveTo>
                    <a:lnTo>
                      <a:pt x="641" y="19596"/>
                    </a:lnTo>
                    <a:lnTo>
                      <a:pt x="2372" y="19007"/>
                    </a:lnTo>
                    <a:lnTo>
                      <a:pt x="3974" y="17647"/>
                    </a:lnTo>
                    <a:lnTo>
                      <a:pt x="5000" y="17500"/>
                    </a:lnTo>
                    <a:lnTo>
                      <a:pt x="6987" y="17500"/>
                    </a:lnTo>
                    <a:lnTo>
                      <a:pt x="8013" y="16544"/>
                    </a:lnTo>
                    <a:lnTo>
                      <a:pt x="6667" y="16912"/>
                    </a:lnTo>
                    <a:lnTo>
                      <a:pt x="4359" y="16544"/>
                    </a:lnTo>
                    <a:lnTo>
                      <a:pt x="3974" y="16140"/>
                    </a:lnTo>
                    <a:lnTo>
                      <a:pt x="2628" y="16544"/>
                    </a:lnTo>
                    <a:lnTo>
                      <a:pt x="2372" y="15993"/>
                    </a:lnTo>
                    <a:lnTo>
                      <a:pt x="5000" y="14632"/>
                    </a:lnTo>
                    <a:lnTo>
                      <a:pt x="5000" y="13676"/>
                    </a:lnTo>
                    <a:lnTo>
                      <a:pt x="3974" y="13676"/>
                    </a:lnTo>
                    <a:lnTo>
                      <a:pt x="3333" y="13676"/>
                    </a:lnTo>
                    <a:lnTo>
                      <a:pt x="3974" y="13493"/>
                    </a:lnTo>
                    <a:lnTo>
                      <a:pt x="6026" y="12904"/>
                    </a:lnTo>
                    <a:lnTo>
                      <a:pt x="8013" y="12904"/>
                    </a:lnTo>
                    <a:lnTo>
                      <a:pt x="7628" y="12169"/>
                    </a:lnTo>
                    <a:lnTo>
                      <a:pt x="7628" y="11397"/>
                    </a:lnTo>
                    <a:lnTo>
                      <a:pt x="7628" y="11029"/>
                    </a:lnTo>
                    <a:lnTo>
                      <a:pt x="6987" y="11029"/>
                    </a:lnTo>
                    <a:lnTo>
                      <a:pt x="6667" y="9669"/>
                    </a:lnTo>
                    <a:lnTo>
                      <a:pt x="6667" y="9522"/>
                    </a:lnTo>
                    <a:lnTo>
                      <a:pt x="7628" y="8934"/>
                    </a:lnTo>
                    <a:lnTo>
                      <a:pt x="6667" y="8934"/>
                    </a:lnTo>
                    <a:lnTo>
                      <a:pt x="5000" y="9081"/>
                    </a:lnTo>
                    <a:lnTo>
                      <a:pt x="3333" y="9522"/>
                    </a:lnTo>
                    <a:lnTo>
                      <a:pt x="2372" y="9081"/>
                    </a:lnTo>
                    <a:lnTo>
                      <a:pt x="3333" y="7574"/>
                    </a:lnTo>
                    <a:lnTo>
                      <a:pt x="3333" y="7206"/>
                    </a:lnTo>
                    <a:lnTo>
                      <a:pt x="3333" y="6654"/>
                    </a:lnTo>
                    <a:lnTo>
                      <a:pt x="1667" y="6654"/>
                    </a:lnTo>
                    <a:lnTo>
                      <a:pt x="1026" y="7978"/>
                    </a:lnTo>
                    <a:lnTo>
                      <a:pt x="1026" y="7022"/>
                    </a:lnTo>
                    <a:lnTo>
                      <a:pt x="1026" y="5699"/>
                    </a:lnTo>
                    <a:lnTo>
                      <a:pt x="2372" y="4926"/>
                    </a:lnTo>
                    <a:lnTo>
                      <a:pt x="1026" y="5110"/>
                    </a:lnTo>
                    <a:lnTo>
                      <a:pt x="0" y="4559"/>
                    </a:lnTo>
                    <a:lnTo>
                      <a:pt x="1026" y="3971"/>
                    </a:lnTo>
                    <a:lnTo>
                      <a:pt x="1667" y="3235"/>
                    </a:lnTo>
                    <a:lnTo>
                      <a:pt x="641" y="3015"/>
                    </a:lnTo>
                    <a:lnTo>
                      <a:pt x="1026" y="2096"/>
                    </a:lnTo>
                    <a:lnTo>
                      <a:pt x="2372" y="1691"/>
                    </a:lnTo>
                    <a:lnTo>
                      <a:pt x="2372" y="1103"/>
                    </a:lnTo>
                    <a:lnTo>
                      <a:pt x="2628" y="1103"/>
                    </a:lnTo>
                    <a:lnTo>
                      <a:pt x="3333" y="0"/>
                    </a:lnTo>
                    <a:lnTo>
                      <a:pt x="5256" y="147"/>
                    </a:lnTo>
                    <a:lnTo>
                      <a:pt x="7628" y="0"/>
                    </a:lnTo>
                    <a:lnTo>
                      <a:pt x="7628" y="956"/>
                    </a:lnTo>
                    <a:lnTo>
                      <a:pt x="5256" y="1691"/>
                    </a:lnTo>
                    <a:lnTo>
                      <a:pt x="5256" y="2096"/>
                    </a:lnTo>
                    <a:lnTo>
                      <a:pt x="5000" y="2647"/>
                    </a:lnTo>
                    <a:lnTo>
                      <a:pt x="6667" y="2463"/>
                    </a:lnTo>
                    <a:lnTo>
                      <a:pt x="10256" y="2463"/>
                    </a:lnTo>
                    <a:lnTo>
                      <a:pt x="10897" y="3015"/>
                    </a:lnTo>
                    <a:lnTo>
                      <a:pt x="9615" y="3971"/>
                    </a:lnTo>
                    <a:lnTo>
                      <a:pt x="8013" y="5478"/>
                    </a:lnTo>
                    <a:lnTo>
                      <a:pt x="8654" y="5699"/>
                    </a:lnTo>
                    <a:lnTo>
                      <a:pt x="7628" y="6066"/>
                    </a:lnTo>
                    <a:lnTo>
                      <a:pt x="6667" y="6434"/>
                    </a:lnTo>
                    <a:lnTo>
                      <a:pt x="8654" y="6434"/>
                    </a:lnTo>
                    <a:lnTo>
                      <a:pt x="11282" y="7978"/>
                    </a:lnTo>
                    <a:lnTo>
                      <a:pt x="12949" y="9669"/>
                    </a:lnTo>
                    <a:lnTo>
                      <a:pt x="14936" y="10662"/>
                    </a:lnTo>
                    <a:lnTo>
                      <a:pt x="15577" y="11985"/>
                    </a:lnTo>
                    <a:lnTo>
                      <a:pt x="14936" y="11985"/>
                    </a:lnTo>
                    <a:lnTo>
                      <a:pt x="16282" y="13125"/>
                    </a:lnTo>
                    <a:lnTo>
                      <a:pt x="15577" y="13493"/>
                    </a:lnTo>
                    <a:lnTo>
                      <a:pt x="16282" y="14044"/>
                    </a:lnTo>
                    <a:lnTo>
                      <a:pt x="16603" y="13676"/>
                    </a:lnTo>
                    <a:lnTo>
                      <a:pt x="17949" y="13493"/>
                    </a:lnTo>
                    <a:lnTo>
                      <a:pt x="19936" y="14412"/>
                    </a:lnTo>
                    <a:lnTo>
                      <a:pt x="18910" y="15993"/>
                    </a:lnTo>
                    <a:lnTo>
                      <a:pt x="17949" y="16140"/>
                    </a:lnTo>
                    <a:lnTo>
                      <a:pt x="17308" y="16544"/>
                    </a:lnTo>
                    <a:lnTo>
                      <a:pt x="16603" y="16912"/>
                    </a:lnTo>
                    <a:lnTo>
                      <a:pt x="18910" y="17096"/>
                    </a:lnTo>
                    <a:lnTo>
                      <a:pt x="17949" y="18088"/>
                    </a:lnTo>
                    <a:lnTo>
                      <a:pt x="16282" y="18456"/>
                    </a:lnTo>
                    <a:lnTo>
                      <a:pt x="13910" y="18088"/>
                    </a:lnTo>
                    <a:lnTo>
                      <a:pt x="12949" y="18088"/>
                    </a:lnTo>
                    <a:lnTo>
                      <a:pt x="10256" y="18456"/>
                    </a:lnTo>
                    <a:lnTo>
                      <a:pt x="8013" y="18456"/>
                    </a:lnTo>
                    <a:lnTo>
                      <a:pt x="6667" y="18640"/>
                    </a:lnTo>
                    <a:lnTo>
                      <a:pt x="5256" y="19375"/>
                    </a:lnTo>
                    <a:lnTo>
                      <a:pt x="4359" y="19375"/>
                    </a:lnTo>
                    <a:lnTo>
                      <a:pt x="1667" y="1996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42" name="Freeform 284"/>
              <p:cNvSpPr>
                <a:spLocks/>
              </p:cNvSpPr>
              <p:nvPr/>
            </p:nvSpPr>
            <p:spPr bwMode="auto">
              <a:xfrm>
                <a:off x="4792663" y="2698750"/>
                <a:ext cx="63500" cy="50800"/>
              </a:xfrm>
              <a:custGeom>
                <a:avLst/>
                <a:gdLst>
                  <a:gd name="T0" fmla="*/ 5253 w 20000"/>
                  <a:gd name="T1" fmla="*/ 5316 h 20000"/>
                  <a:gd name="T2" fmla="*/ 8283 w 20000"/>
                  <a:gd name="T3" fmla="*/ 2785 h 20000"/>
                  <a:gd name="T4" fmla="*/ 13535 w 20000"/>
                  <a:gd name="T5" fmla="*/ 0 h 20000"/>
                  <a:gd name="T6" fmla="*/ 14545 w 20000"/>
                  <a:gd name="T7" fmla="*/ 0 h 20000"/>
                  <a:gd name="T8" fmla="*/ 17778 w 20000"/>
                  <a:gd name="T9" fmla="*/ 6582 h 20000"/>
                  <a:gd name="T10" fmla="*/ 16566 w 20000"/>
                  <a:gd name="T11" fmla="*/ 9367 h 20000"/>
                  <a:gd name="T12" fmla="*/ 17778 w 20000"/>
                  <a:gd name="T13" fmla="*/ 9367 h 20000"/>
                  <a:gd name="T14" fmla="*/ 19798 w 20000"/>
                  <a:gd name="T15" fmla="*/ 15696 h 20000"/>
                  <a:gd name="T16" fmla="*/ 14545 w 20000"/>
                  <a:gd name="T17" fmla="*/ 19747 h 20000"/>
                  <a:gd name="T18" fmla="*/ 13535 w 20000"/>
                  <a:gd name="T19" fmla="*/ 17215 h 20000"/>
                  <a:gd name="T20" fmla="*/ 11515 w 20000"/>
                  <a:gd name="T21" fmla="*/ 17215 h 20000"/>
                  <a:gd name="T22" fmla="*/ 6263 w 20000"/>
                  <a:gd name="T23" fmla="*/ 10380 h 20000"/>
                  <a:gd name="T24" fmla="*/ 6263 w 20000"/>
                  <a:gd name="T25" fmla="*/ 13165 h 20000"/>
                  <a:gd name="T26" fmla="*/ 6263 w 20000"/>
                  <a:gd name="T27" fmla="*/ 15696 h 20000"/>
                  <a:gd name="T28" fmla="*/ 5253 w 20000"/>
                  <a:gd name="T29" fmla="*/ 17215 h 20000"/>
                  <a:gd name="T30" fmla="*/ 1212 w 20000"/>
                  <a:gd name="T31" fmla="*/ 15696 h 20000"/>
                  <a:gd name="T32" fmla="*/ 0 w 20000"/>
                  <a:gd name="T33" fmla="*/ 10380 h 20000"/>
                  <a:gd name="T34" fmla="*/ 1212 w 20000"/>
                  <a:gd name="T35" fmla="*/ 9367 h 20000"/>
                  <a:gd name="T36" fmla="*/ 1212 w 20000"/>
                  <a:gd name="T37" fmla="*/ 6582 h 20000"/>
                  <a:gd name="T38" fmla="*/ 5253 w 20000"/>
                  <a:gd name="T39" fmla="*/ 531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5253" y="5316"/>
                    </a:moveTo>
                    <a:lnTo>
                      <a:pt x="8283" y="2785"/>
                    </a:lnTo>
                    <a:lnTo>
                      <a:pt x="13535" y="0"/>
                    </a:lnTo>
                    <a:lnTo>
                      <a:pt x="14545" y="0"/>
                    </a:lnTo>
                    <a:lnTo>
                      <a:pt x="17778" y="6582"/>
                    </a:lnTo>
                    <a:lnTo>
                      <a:pt x="16566" y="9367"/>
                    </a:lnTo>
                    <a:lnTo>
                      <a:pt x="17778" y="9367"/>
                    </a:lnTo>
                    <a:lnTo>
                      <a:pt x="19798" y="15696"/>
                    </a:lnTo>
                    <a:lnTo>
                      <a:pt x="14545" y="19747"/>
                    </a:lnTo>
                    <a:lnTo>
                      <a:pt x="13535" y="17215"/>
                    </a:lnTo>
                    <a:lnTo>
                      <a:pt x="11515" y="17215"/>
                    </a:lnTo>
                    <a:lnTo>
                      <a:pt x="6263" y="10380"/>
                    </a:lnTo>
                    <a:lnTo>
                      <a:pt x="6263" y="13165"/>
                    </a:lnTo>
                    <a:lnTo>
                      <a:pt x="6263" y="15696"/>
                    </a:lnTo>
                    <a:lnTo>
                      <a:pt x="5253" y="17215"/>
                    </a:lnTo>
                    <a:lnTo>
                      <a:pt x="1212" y="15696"/>
                    </a:lnTo>
                    <a:lnTo>
                      <a:pt x="0" y="10380"/>
                    </a:lnTo>
                    <a:lnTo>
                      <a:pt x="1212" y="9367"/>
                    </a:lnTo>
                    <a:lnTo>
                      <a:pt x="1212" y="6582"/>
                    </a:lnTo>
                    <a:lnTo>
                      <a:pt x="5253" y="531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43" name="Freeform 283"/>
              <p:cNvSpPr>
                <a:spLocks/>
              </p:cNvSpPr>
              <p:nvPr/>
            </p:nvSpPr>
            <p:spPr bwMode="auto">
              <a:xfrm>
                <a:off x="4818063" y="2568575"/>
                <a:ext cx="17462" cy="26988"/>
              </a:xfrm>
              <a:custGeom>
                <a:avLst/>
                <a:gdLst>
                  <a:gd name="T0" fmla="*/ 0 w 20000"/>
                  <a:gd name="T1" fmla="*/ 19524 h 20000"/>
                  <a:gd name="T2" fmla="*/ 0 w 20000"/>
                  <a:gd name="T3" fmla="*/ 14286 h 20000"/>
                  <a:gd name="T4" fmla="*/ 0 w 20000"/>
                  <a:gd name="T5" fmla="*/ 11905 h 20000"/>
                  <a:gd name="T6" fmla="*/ 0 w 20000"/>
                  <a:gd name="T7" fmla="*/ 6667 h 20000"/>
                  <a:gd name="T8" fmla="*/ 4444 w 20000"/>
                  <a:gd name="T9" fmla="*/ 6667 h 20000"/>
                  <a:gd name="T10" fmla="*/ 4444 w 20000"/>
                  <a:gd name="T11" fmla="*/ 4762 h 20000"/>
                  <a:gd name="T12" fmla="*/ 19259 w 20000"/>
                  <a:gd name="T13" fmla="*/ 0 h 20000"/>
                  <a:gd name="T14" fmla="*/ 19259 w 20000"/>
                  <a:gd name="T15" fmla="*/ 4762 h 20000"/>
                  <a:gd name="T16" fmla="*/ 11852 w 20000"/>
                  <a:gd name="T17" fmla="*/ 11905 h 20000"/>
                  <a:gd name="T18" fmla="*/ 19259 w 20000"/>
                  <a:gd name="T19" fmla="*/ 11905 h 20000"/>
                  <a:gd name="T20" fmla="*/ 11852 w 20000"/>
                  <a:gd name="T21" fmla="*/ 14286 h 20000"/>
                  <a:gd name="T22" fmla="*/ 0 w 20000"/>
                  <a:gd name="T23"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0" y="19524"/>
                    </a:moveTo>
                    <a:lnTo>
                      <a:pt x="0" y="14286"/>
                    </a:lnTo>
                    <a:lnTo>
                      <a:pt x="0" y="11905"/>
                    </a:lnTo>
                    <a:lnTo>
                      <a:pt x="0" y="6667"/>
                    </a:lnTo>
                    <a:lnTo>
                      <a:pt x="4444" y="6667"/>
                    </a:lnTo>
                    <a:lnTo>
                      <a:pt x="4444" y="4762"/>
                    </a:lnTo>
                    <a:lnTo>
                      <a:pt x="19259" y="0"/>
                    </a:lnTo>
                    <a:lnTo>
                      <a:pt x="19259" y="4762"/>
                    </a:lnTo>
                    <a:lnTo>
                      <a:pt x="11852" y="11905"/>
                    </a:lnTo>
                    <a:lnTo>
                      <a:pt x="19259" y="11905"/>
                    </a:lnTo>
                    <a:lnTo>
                      <a:pt x="11852" y="14286"/>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44" name="Freeform 282"/>
              <p:cNvSpPr>
                <a:spLocks/>
              </p:cNvSpPr>
              <p:nvPr/>
            </p:nvSpPr>
            <p:spPr bwMode="auto">
              <a:xfrm>
                <a:off x="4822825" y="2600325"/>
                <a:ext cx="26988" cy="20638"/>
              </a:xfrm>
              <a:custGeom>
                <a:avLst/>
                <a:gdLst>
                  <a:gd name="T0" fmla="*/ 16667 w 20000"/>
                  <a:gd name="T1" fmla="*/ 19375 h 20000"/>
                  <a:gd name="T2" fmla="*/ 11905 w 20000"/>
                  <a:gd name="T3" fmla="*/ 19375 h 20000"/>
                  <a:gd name="T4" fmla="*/ 16667 w 20000"/>
                  <a:gd name="T5" fmla="*/ 19375 h 20000"/>
                  <a:gd name="T6" fmla="*/ 9524 w 20000"/>
                  <a:gd name="T7" fmla="*/ 19375 h 20000"/>
                  <a:gd name="T8" fmla="*/ 4762 w 20000"/>
                  <a:gd name="T9" fmla="*/ 9375 h 20000"/>
                  <a:gd name="T10" fmla="*/ 0 w 20000"/>
                  <a:gd name="T11" fmla="*/ 9375 h 20000"/>
                  <a:gd name="T12" fmla="*/ 4762 w 20000"/>
                  <a:gd name="T13" fmla="*/ 0 h 20000"/>
                  <a:gd name="T14" fmla="*/ 9524 w 20000"/>
                  <a:gd name="T15" fmla="*/ 3750 h 20000"/>
                  <a:gd name="T16" fmla="*/ 9524 w 20000"/>
                  <a:gd name="T17" fmla="*/ 0 h 20000"/>
                  <a:gd name="T18" fmla="*/ 11905 w 20000"/>
                  <a:gd name="T19" fmla="*/ 0 h 20000"/>
                  <a:gd name="T20" fmla="*/ 11905 w 20000"/>
                  <a:gd name="T21" fmla="*/ 13125 h 20000"/>
                  <a:gd name="T22" fmla="*/ 19524 w 20000"/>
                  <a:gd name="T23" fmla="*/ 13125 h 20000"/>
                  <a:gd name="T24" fmla="*/ 16667 w 20000"/>
                  <a:gd name="T25"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6667" y="19375"/>
                    </a:moveTo>
                    <a:lnTo>
                      <a:pt x="11905" y="19375"/>
                    </a:lnTo>
                    <a:lnTo>
                      <a:pt x="16667" y="19375"/>
                    </a:lnTo>
                    <a:lnTo>
                      <a:pt x="9524" y="19375"/>
                    </a:lnTo>
                    <a:lnTo>
                      <a:pt x="4762" y="9375"/>
                    </a:lnTo>
                    <a:lnTo>
                      <a:pt x="0" y="9375"/>
                    </a:lnTo>
                    <a:lnTo>
                      <a:pt x="4762" y="0"/>
                    </a:lnTo>
                    <a:lnTo>
                      <a:pt x="9524" y="3750"/>
                    </a:lnTo>
                    <a:lnTo>
                      <a:pt x="9524" y="0"/>
                    </a:lnTo>
                    <a:lnTo>
                      <a:pt x="11905" y="0"/>
                    </a:lnTo>
                    <a:lnTo>
                      <a:pt x="11905" y="13125"/>
                    </a:lnTo>
                    <a:lnTo>
                      <a:pt x="19524" y="13125"/>
                    </a:lnTo>
                    <a:lnTo>
                      <a:pt x="16667"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45" name="Freeform 281"/>
              <p:cNvSpPr>
                <a:spLocks/>
              </p:cNvSpPr>
              <p:nvPr/>
            </p:nvSpPr>
            <p:spPr bwMode="auto">
              <a:xfrm>
                <a:off x="4949825" y="2473325"/>
                <a:ext cx="17463" cy="33338"/>
              </a:xfrm>
              <a:custGeom>
                <a:avLst/>
                <a:gdLst>
                  <a:gd name="T0" fmla="*/ 7407 w 20000"/>
                  <a:gd name="T1" fmla="*/ 19615 h 20000"/>
                  <a:gd name="T2" fmla="*/ 7407 w 20000"/>
                  <a:gd name="T3" fmla="*/ 11923 h 20000"/>
                  <a:gd name="T4" fmla="*/ 0 w 20000"/>
                  <a:gd name="T5" fmla="*/ 9615 h 20000"/>
                  <a:gd name="T6" fmla="*/ 7407 w 20000"/>
                  <a:gd name="T7" fmla="*/ 9615 h 20000"/>
                  <a:gd name="T8" fmla="*/ 0 w 20000"/>
                  <a:gd name="T9" fmla="*/ 2308 h 20000"/>
                  <a:gd name="T10" fmla="*/ 11852 w 20000"/>
                  <a:gd name="T11" fmla="*/ 0 h 20000"/>
                  <a:gd name="T12" fmla="*/ 11852 w 20000"/>
                  <a:gd name="T13" fmla="*/ 5769 h 20000"/>
                  <a:gd name="T14" fmla="*/ 19259 w 20000"/>
                  <a:gd name="T15" fmla="*/ 11923 h 20000"/>
                  <a:gd name="T16" fmla="*/ 7407 w 20000"/>
                  <a:gd name="T17" fmla="*/ 19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7407" y="19615"/>
                    </a:moveTo>
                    <a:lnTo>
                      <a:pt x="7407" y="11923"/>
                    </a:lnTo>
                    <a:lnTo>
                      <a:pt x="0" y="9615"/>
                    </a:lnTo>
                    <a:lnTo>
                      <a:pt x="7407" y="9615"/>
                    </a:lnTo>
                    <a:lnTo>
                      <a:pt x="0" y="2308"/>
                    </a:lnTo>
                    <a:lnTo>
                      <a:pt x="11852" y="0"/>
                    </a:lnTo>
                    <a:lnTo>
                      <a:pt x="11852" y="5769"/>
                    </a:lnTo>
                    <a:lnTo>
                      <a:pt x="19259" y="11923"/>
                    </a:lnTo>
                    <a:lnTo>
                      <a:pt x="7407"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46" name="Freeform 280"/>
              <p:cNvSpPr>
                <a:spLocks/>
              </p:cNvSpPr>
              <p:nvPr/>
            </p:nvSpPr>
            <p:spPr bwMode="auto">
              <a:xfrm>
                <a:off x="4818063" y="2397125"/>
                <a:ext cx="17462" cy="17463"/>
              </a:xfrm>
              <a:custGeom>
                <a:avLst/>
                <a:gdLst>
                  <a:gd name="T0" fmla="*/ 11852 w 20000"/>
                  <a:gd name="T1" fmla="*/ 19259 h 20000"/>
                  <a:gd name="T2" fmla="*/ 0 w 20000"/>
                  <a:gd name="T3" fmla="*/ 7407 h 20000"/>
                  <a:gd name="T4" fmla="*/ 4444 w 20000"/>
                  <a:gd name="T5" fmla="*/ 0 h 20000"/>
                  <a:gd name="T6" fmla="*/ 19259 w 20000"/>
                  <a:gd name="T7" fmla="*/ 11852 h 20000"/>
                  <a:gd name="T8" fmla="*/ 11852 w 20000"/>
                  <a:gd name="T9" fmla="*/ 19259 h 20000"/>
                </a:gdLst>
                <a:ahLst/>
                <a:cxnLst>
                  <a:cxn ang="0">
                    <a:pos x="T0" y="T1"/>
                  </a:cxn>
                  <a:cxn ang="0">
                    <a:pos x="T2" y="T3"/>
                  </a:cxn>
                  <a:cxn ang="0">
                    <a:pos x="T4" y="T5"/>
                  </a:cxn>
                  <a:cxn ang="0">
                    <a:pos x="T6" y="T7"/>
                  </a:cxn>
                  <a:cxn ang="0">
                    <a:pos x="T8" y="T9"/>
                  </a:cxn>
                </a:cxnLst>
                <a:rect l="0" t="0" r="r" b="b"/>
                <a:pathLst>
                  <a:path w="20000" h="20000">
                    <a:moveTo>
                      <a:pt x="11852" y="19259"/>
                    </a:moveTo>
                    <a:lnTo>
                      <a:pt x="0" y="7407"/>
                    </a:lnTo>
                    <a:lnTo>
                      <a:pt x="4444" y="0"/>
                    </a:lnTo>
                    <a:lnTo>
                      <a:pt x="19259" y="11852"/>
                    </a:lnTo>
                    <a:lnTo>
                      <a:pt x="11852"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49" name="Freeform 279"/>
              <p:cNvSpPr>
                <a:spLocks/>
              </p:cNvSpPr>
              <p:nvPr/>
            </p:nvSpPr>
            <p:spPr bwMode="auto">
              <a:xfrm>
                <a:off x="4908550" y="2535238"/>
                <a:ext cx="17463" cy="11112"/>
              </a:xfrm>
              <a:custGeom>
                <a:avLst/>
                <a:gdLst>
                  <a:gd name="T0" fmla="*/ 19259 w 20000"/>
                  <a:gd name="T1" fmla="*/ 18824 h 20000"/>
                  <a:gd name="T2" fmla="*/ 0 w 20000"/>
                  <a:gd name="T3" fmla="*/ 18824 h 20000"/>
                  <a:gd name="T4" fmla="*/ 0 w 20000"/>
                  <a:gd name="T5" fmla="*/ 0 h 20000"/>
                  <a:gd name="T6" fmla="*/ 7407 w 20000"/>
                  <a:gd name="T7" fmla="*/ 11765 h 20000"/>
                  <a:gd name="T8" fmla="*/ 19259 w 20000"/>
                  <a:gd name="T9" fmla="*/ 11765 h 20000"/>
                  <a:gd name="T10" fmla="*/ 19259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9259" y="18824"/>
                    </a:moveTo>
                    <a:lnTo>
                      <a:pt x="0" y="18824"/>
                    </a:lnTo>
                    <a:lnTo>
                      <a:pt x="0" y="0"/>
                    </a:lnTo>
                    <a:lnTo>
                      <a:pt x="7407" y="11765"/>
                    </a:lnTo>
                    <a:lnTo>
                      <a:pt x="19259" y="11765"/>
                    </a:lnTo>
                    <a:lnTo>
                      <a:pt x="19259"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52" name="Freeform 278"/>
              <p:cNvSpPr>
                <a:spLocks/>
              </p:cNvSpPr>
              <p:nvPr/>
            </p:nvSpPr>
            <p:spPr bwMode="auto">
              <a:xfrm>
                <a:off x="4808538" y="2611438"/>
                <a:ext cx="4762" cy="11112"/>
              </a:xfrm>
              <a:custGeom>
                <a:avLst/>
                <a:gdLst>
                  <a:gd name="T0" fmla="*/ 17143 w 20000"/>
                  <a:gd name="T1" fmla="*/ 18824 h 20000"/>
                  <a:gd name="T2" fmla="*/ 0 w 20000"/>
                  <a:gd name="T3" fmla="*/ 18824 h 20000"/>
                  <a:gd name="T4" fmla="*/ 0 w 20000"/>
                  <a:gd name="T5" fmla="*/ 0 h 20000"/>
                  <a:gd name="T6" fmla="*/ 17143 w 20000"/>
                  <a:gd name="T7" fmla="*/ 7059 h 20000"/>
                  <a:gd name="T8" fmla="*/ 17143 w 20000"/>
                  <a:gd name="T9" fmla="*/ 18824 h 20000"/>
                </a:gdLst>
                <a:ahLst/>
                <a:cxnLst>
                  <a:cxn ang="0">
                    <a:pos x="T0" y="T1"/>
                  </a:cxn>
                  <a:cxn ang="0">
                    <a:pos x="T2" y="T3"/>
                  </a:cxn>
                  <a:cxn ang="0">
                    <a:pos x="T4" y="T5"/>
                  </a:cxn>
                  <a:cxn ang="0">
                    <a:pos x="T6" y="T7"/>
                  </a:cxn>
                  <a:cxn ang="0">
                    <a:pos x="T8" y="T9"/>
                  </a:cxn>
                </a:cxnLst>
                <a:rect l="0" t="0" r="r" b="b"/>
                <a:pathLst>
                  <a:path w="20000" h="20000">
                    <a:moveTo>
                      <a:pt x="17143" y="18824"/>
                    </a:moveTo>
                    <a:lnTo>
                      <a:pt x="0" y="18824"/>
                    </a:lnTo>
                    <a:lnTo>
                      <a:pt x="0" y="0"/>
                    </a:lnTo>
                    <a:lnTo>
                      <a:pt x="17143" y="7059"/>
                    </a:lnTo>
                    <a:lnTo>
                      <a:pt x="1714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53" name="Freeform 277"/>
              <p:cNvSpPr>
                <a:spLocks/>
              </p:cNvSpPr>
              <p:nvPr/>
            </p:nvSpPr>
            <p:spPr bwMode="auto">
              <a:xfrm>
                <a:off x="4802188" y="2600325"/>
                <a:ext cx="11112" cy="4763"/>
              </a:xfrm>
              <a:custGeom>
                <a:avLst/>
                <a:gdLst>
                  <a:gd name="T0" fmla="*/ 18824 w 20000"/>
                  <a:gd name="T1" fmla="*/ 17143 h 20000"/>
                  <a:gd name="T2" fmla="*/ 0 w 20000"/>
                  <a:gd name="T3" fmla="*/ 0 h 20000"/>
                  <a:gd name="T4" fmla="*/ 18824 w 20000"/>
                  <a:gd name="T5" fmla="*/ 0 h 20000"/>
                  <a:gd name="T6" fmla="*/ 18824 w 20000"/>
                  <a:gd name="T7" fmla="*/ 17143 h 20000"/>
                </a:gdLst>
                <a:ahLst/>
                <a:cxnLst>
                  <a:cxn ang="0">
                    <a:pos x="T0" y="T1"/>
                  </a:cxn>
                  <a:cxn ang="0">
                    <a:pos x="T2" y="T3"/>
                  </a:cxn>
                  <a:cxn ang="0">
                    <a:pos x="T4" y="T5"/>
                  </a:cxn>
                  <a:cxn ang="0">
                    <a:pos x="T6" y="T7"/>
                  </a:cxn>
                </a:cxnLst>
                <a:rect l="0" t="0" r="r" b="b"/>
                <a:pathLst>
                  <a:path w="20000" h="20000">
                    <a:moveTo>
                      <a:pt x="18824" y="17143"/>
                    </a:moveTo>
                    <a:lnTo>
                      <a:pt x="0" y="0"/>
                    </a:lnTo>
                    <a:lnTo>
                      <a:pt x="18824" y="0"/>
                    </a:lnTo>
                    <a:lnTo>
                      <a:pt x="18824" y="1714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54" name="Freeform 276"/>
              <p:cNvSpPr>
                <a:spLocks/>
              </p:cNvSpPr>
              <p:nvPr/>
            </p:nvSpPr>
            <p:spPr bwMode="auto">
              <a:xfrm>
                <a:off x="4724400" y="2697163"/>
                <a:ext cx="115888" cy="149225"/>
              </a:xfrm>
              <a:custGeom>
                <a:avLst/>
                <a:gdLst>
                  <a:gd name="T0" fmla="*/ 12527 w 20000"/>
                  <a:gd name="T1" fmla="*/ 2564 h 20000"/>
                  <a:gd name="T2" fmla="*/ 11868 w 20000"/>
                  <a:gd name="T3" fmla="*/ 3932 h 20000"/>
                  <a:gd name="T4" fmla="*/ 14725 w 20000"/>
                  <a:gd name="T5" fmla="*/ 6154 h 20000"/>
                  <a:gd name="T6" fmla="*/ 15385 w 20000"/>
                  <a:gd name="T7" fmla="*/ 4872 h 20000"/>
                  <a:gd name="T8" fmla="*/ 18132 w 20000"/>
                  <a:gd name="T9" fmla="*/ 6154 h 20000"/>
                  <a:gd name="T10" fmla="*/ 19890 w 20000"/>
                  <a:gd name="T11" fmla="*/ 7009 h 20000"/>
                  <a:gd name="T12" fmla="*/ 18132 w 20000"/>
                  <a:gd name="T13" fmla="*/ 7009 h 20000"/>
                  <a:gd name="T14" fmla="*/ 19231 w 20000"/>
                  <a:gd name="T15" fmla="*/ 10598 h 20000"/>
                  <a:gd name="T16" fmla="*/ 19231 w 20000"/>
                  <a:gd name="T17" fmla="*/ 13248 h 20000"/>
                  <a:gd name="T18" fmla="*/ 18132 w 20000"/>
                  <a:gd name="T19" fmla="*/ 14957 h 20000"/>
                  <a:gd name="T20" fmla="*/ 15385 w 20000"/>
                  <a:gd name="T21" fmla="*/ 17265 h 20000"/>
                  <a:gd name="T22" fmla="*/ 9560 w 20000"/>
                  <a:gd name="T23" fmla="*/ 18974 h 20000"/>
                  <a:gd name="T24" fmla="*/ 8022 w 20000"/>
                  <a:gd name="T25" fmla="*/ 18974 h 20000"/>
                  <a:gd name="T26" fmla="*/ 3297 w 20000"/>
                  <a:gd name="T27" fmla="*/ 19915 h 20000"/>
                  <a:gd name="T28" fmla="*/ 3297 w 20000"/>
                  <a:gd name="T29" fmla="*/ 18547 h 20000"/>
                  <a:gd name="T30" fmla="*/ 440 w 20000"/>
                  <a:gd name="T31" fmla="*/ 17607 h 20000"/>
                  <a:gd name="T32" fmla="*/ 0 w 20000"/>
                  <a:gd name="T33" fmla="*/ 17265 h 20000"/>
                  <a:gd name="T34" fmla="*/ 2857 w 20000"/>
                  <a:gd name="T35" fmla="*/ 16325 h 20000"/>
                  <a:gd name="T36" fmla="*/ 3297 w 20000"/>
                  <a:gd name="T37" fmla="*/ 14957 h 20000"/>
                  <a:gd name="T38" fmla="*/ 7363 w 20000"/>
                  <a:gd name="T39" fmla="*/ 14103 h 20000"/>
                  <a:gd name="T40" fmla="*/ 5055 w 20000"/>
                  <a:gd name="T41" fmla="*/ 14103 h 20000"/>
                  <a:gd name="T42" fmla="*/ 4505 w 20000"/>
                  <a:gd name="T43" fmla="*/ 13248 h 20000"/>
                  <a:gd name="T44" fmla="*/ 6264 w 20000"/>
                  <a:gd name="T45" fmla="*/ 11453 h 20000"/>
                  <a:gd name="T46" fmla="*/ 1648 w 20000"/>
                  <a:gd name="T47" fmla="*/ 9231 h 20000"/>
                  <a:gd name="T48" fmla="*/ 4505 w 20000"/>
                  <a:gd name="T49" fmla="*/ 8376 h 20000"/>
                  <a:gd name="T50" fmla="*/ 2857 w 20000"/>
                  <a:gd name="T51" fmla="*/ 6154 h 20000"/>
                  <a:gd name="T52" fmla="*/ 2857 w 20000"/>
                  <a:gd name="T53" fmla="*/ 5726 h 20000"/>
                  <a:gd name="T54" fmla="*/ 6264 w 20000"/>
                  <a:gd name="T55" fmla="*/ 6154 h 20000"/>
                  <a:gd name="T56" fmla="*/ 9121 w 20000"/>
                  <a:gd name="T57" fmla="*/ 5726 h 20000"/>
                  <a:gd name="T58" fmla="*/ 10769 w 20000"/>
                  <a:gd name="T59" fmla="*/ 3932 h 20000"/>
                  <a:gd name="T60" fmla="*/ 8022 w 20000"/>
                  <a:gd name="T61" fmla="*/ 3504 h 20000"/>
                  <a:gd name="T62" fmla="*/ 9560 w 20000"/>
                  <a:gd name="T63" fmla="*/ 2222 h 20000"/>
                  <a:gd name="T64" fmla="*/ 14725 w 20000"/>
                  <a:gd name="T65" fmla="*/ 0 h 20000"/>
                  <a:gd name="T66" fmla="*/ 14725 w 20000"/>
                  <a:gd name="T67" fmla="*/ 222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4725" y="2222"/>
                    </a:moveTo>
                    <a:lnTo>
                      <a:pt x="12527" y="2564"/>
                    </a:lnTo>
                    <a:lnTo>
                      <a:pt x="12527" y="3504"/>
                    </a:lnTo>
                    <a:lnTo>
                      <a:pt x="11868" y="3932"/>
                    </a:lnTo>
                    <a:lnTo>
                      <a:pt x="12527" y="5726"/>
                    </a:lnTo>
                    <a:lnTo>
                      <a:pt x="14725" y="6154"/>
                    </a:lnTo>
                    <a:lnTo>
                      <a:pt x="15385" y="5726"/>
                    </a:lnTo>
                    <a:lnTo>
                      <a:pt x="15385" y="4872"/>
                    </a:lnTo>
                    <a:lnTo>
                      <a:pt x="15385" y="3932"/>
                    </a:lnTo>
                    <a:lnTo>
                      <a:pt x="18132" y="6154"/>
                    </a:lnTo>
                    <a:lnTo>
                      <a:pt x="19231" y="6154"/>
                    </a:lnTo>
                    <a:lnTo>
                      <a:pt x="19890" y="7009"/>
                    </a:lnTo>
                    <a:lnTo>
                      <a:pt x="19231" y="7863"/>
                    </a:lnTo>
                    <a:lnTo>
                      <a:pt x="18132" y="7009"/>
                    </a:lnTo>
                    <a:lnTo>
                      <a:pt x="19231" y="9231"/>
                    </a:lnTo>
                    <a:lnTo>
                      <a:pt x="19231" y="10598"/>
                    </a:lnTo>
                    <a:lnTo>
                      <a:pt x="19231" y="11453"/>
                    </a:lnTo>
                    <a:lnTo>
                      <a:pt x="19231" y="13248"/>
                    </a:lnTo>
                    <a:lnTo>
                      <a:pt x="18132" y="14103"/>
                    </a:lnTo>
                    <a:lnTo>
                      <a:pt x="18132" y="14957"/>
                    </a:lnTo>
                    <a:lnTo>
                      <a:pt x="18132" y="17265"/>
                    </a:lnTo>
                    <a:lnTo>
                      <a:pt x="15385" y="17265"/>
                    </a:lnTo>
                    <a:lnTo>
                      <a:pt x="11868" y="17607"/>
                    </a:lnTo>
                    <a:lnTo>
                      <a:pt x="9560" y="18974"/>
                    </a:lnTo>
                    <a:lnTo>
                      <a:pt x="9560" y="18547"/>
                    </a:lnTo>
                    <a:lnTo>
                      <a:pt x="8022" y="18974"/>
                    </a:lnTo>
                    <a:lnTo>
                      <a:pt x="5055" y="19915"/>
                    </a:lnTo>
                    <a:lnTo>
                      <a:pt x="3297" y="19915"/>
                    </a:lnTo>
                    <a:lnTo>
                      <a:pt x="1648" y="19915"/>
                    </a:lnTo>
                    <a:lnTo>
                      <a:pt x="3297" y="18547"/>
                    </a:lnTo>
                    <a:lnTo>
                      <a:pt x="440" y="18547"/>
                    </a:lnTo>
                    <a:lnTo>
                      <a:pt x="440" y="17607"/>
                    </a:lnTo>
                    <a:lnTo>
                      <a:pt x="2857" y="17265"/>
                    </a:lnTo>
                    <a:lnTo>
                      <a:pt x="0" y="17265"/>
                    </a:lnTo>
                    <a:lnTo>
                      <a:pt x="440" y="16325"/>
                    </a:lnTo>
                    <a:lnTo>
                      <a:pt x="2857" y="16325"/>
                    </a:lnTo>
                    <a:lnTo>
                      <a:pt x="2857" y="15470"/>
                    </a:lnTo>
                    <a:lnTo>
                      <a:pt x="3297" y="14957"/>
                    </a:lnTo>
                    <a:lnTo>
                      <a:pt x="6264" y="14103"/>
                    </a:lnTo>
                    <a:lnTo>
                      <a:pt x="7363" y="14103"/>
                    </a:lnTo>
                    <a:lnTo>
                      <a:pt x="6264" y="13248"/>
                    </a:lnTo>
                    <a:lnTo>
                      <a:pt x="5055" y="14103"/>
                    </a:lnTo>
                    <a:lnTo>
                      <a:pt x="3297" y="14103"/>
                    </a:lnTo>
                    <a:lnTo>
                      <a:pt x="4505" y="13248"/>
                    </a:lnTo>
                    <a:lnTo>
                      <a:pt x="5055" y="11880"/>
                    </a:lnTo>
                    <a:lnTo>
                      <a:pt x="6264" y="11453"/>
                    </a:lnTo>
                    <a:lnTo>
                      <a:pt x="3297" y="10598"/>
                    </a:lnTo>
                    <a:lnTo>
                      <a:pt x="1648" y="9231"/>
                    </a:lnTo>
                    <a:lnTo>
                      <a:pt x="3297" y="8376"/>
                    </a:lnTo>
                    <a:lnTo>
                      <a:pt x="4505" y="8376"/>
                    </a:lnTo>
                    <a:lnTo>
                      <a:pt x="3297" y="7863"/>
                    </a:lnTo>
                    <a:lnTo>
                      <a:pt x="2857" y="6154"/>
                    </a:lnTo>
                    <a:lnTo>
                      <a:pt x="1648" y="7009"/>
                    </a:lnTo>
                    <a:lnTo>
                      <a:pt x="2857" y="5726"/>
                    </a:lnTo>
                    <a:lnTo>
                      <a:pt x="4505" y="5726"/>
                    </a:lnTo>
                    <a:lnTo>
                      <a:pt x="6264" y="6154"/>
                    </a:lnTo>
                    <a:lnTo>
                      <a:pt x="8022" y="5726"/>
                    </a:lnTo>
                    <a:lnTo>
                      <a:pt x="9121" y="5726"/>
                    </a:lnTo>
                    <a:lnTo>
                      <a:pt x="9560" y="4872"/>
                    </a:lnTo>
                    <a:lnTo>
                      <a:pt x="10769" y="3932"/>
                    </a:lnTo>
                    <a:lnTo>
                      <a:pt x="10769" y="3504"/>
                    </a:lnTo>
                    <a:lnTo>
                      <a:pt x="8022" y="3504"/>
                    </a:lnTo>
                    <a:lnTo>
                      <a:pt x="9121" y="2564"/>
                    </a:lnTo>
                    <a:lnTo>
                      <a:pt x="9560" y="2222"/>
                    </a:lnTo>
                    <a:lnTo>
                      <a:pt x="12527" y="342"/>
                    </a:lnTo>
                    <a:lnTo>
                      <a:pt x="14725" y="0"/>
                    </a:lnTo>
                    <a:lnTo>
                      <a:pt x="16484" y="342"/>
                    </a:lnTo>
                    <a:lnTo>
                      <a:pt x="14725" y="222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58" name="Freeform 275"/>
              <p:cNvSpPr>
                <a:spLocks/>
              </p:cNvSpPr>
              <p:nvPr/>
            </p:nvSpPr>
            <p:spPr bwMode="auto">
              <a:xfrm>
                <a:off x="4433888" y="2187575"/>
                <a:ext cx="250825" cy="152400"/>
              </a:xfrm>
              <a:custGeom>
                <a:avLst/>
                <a:gdLst>
                  <a:gd name="T0" fmla="*/ 7342 w 20000"/>
                  <a:gd name="T1" fmla="*/ 18583 h 20000"/>
                  <a:gd name="T2" fmla="*/ 2582 w 20000"/>
                  <a:gd name="T3" fmla="*/ 17333 h 20000"/>
                  <a:gd name="T4" fmla="*/ 3089 w 20000"/>
                  <a:gd name="T5" fmla="*/ 16000 h 20000"/>
                  <a:gd name="T6" fmla="*/ 3392 w 20000"/>
                  <a:gd name="T7" fmla="*/ 12917 h 20000"/>
                  <a:gd name="T8" fmla="*/ 1013 w 20000"/>
                  <a:gd name="T9" fmla="*/ 10750 h 20000"/>
                  <a:gd name="T10" fmla="*/ 2582 w 20000"/>
                  <a:gd name="T11" fmla="*/ 9500 h 20000"/>
                  <a:gd name="T12" fmla="*/ 5266 w 20000"/>
                  <a:gd name="T13" fmla="*/ 9083 h 20000"/>
                  <a:gd name="T14" fmla="*/ 3899 w 20000"/>
                  <a:gd name="T15" fmla="*/ 8167 h 20000"/>
                  <a:gd name="T16" fmla="*/ 3089 w 20000"/>
                  <a:gd name="T17" fmla="*/ 5583 h 20000"/>
                  <a:gd name="T18" fmla="*/ 0 w 20000"/>
                  <a:gd name="T19" fmla="*/ 6083 h 20000"/>
                  <a:gd name="T20" fmla="*/ 1823 w 20000"/>
                  <a:gd name="T21" fmla="*/ 5583 h 20000"/>
                  <a:gd name="T22" fmla="*/ 1316 w 20000"/>
                  <a:gd name="T23" fmla="*/ 3917 h 20000"/>
                  <a:gd name="T24" fmla="*/ 2076 w 20000"/>
                  <a:gd name="T25" fmla="*/ 1750 h 20000"/>
                  <a:gd name="T26" fmla="*/ 3899 w 20000"/>
                  <a:gd name="T27" fmla="*/ 3417 h 20000"/>
                  <a:gd name="T28" fmla="*/ 4456 w 20000"/>
                  <a:gd name="T29" fmla="*/ 0 h 20000"/>
                  <a:gd name="T30" fmla="*/ 5468 w 20000"/>
                  <a:gd name="T31" fmla="*/ 5583 h 20000"/>
                  <a:gd name="T32" fmla="*/ 6785 w 20000"/>
                  <a:gd name="T33" fmla="*/ 5583 h 20000"/>
                  <a:gd name="T34" fmla="*/ 7848 w 20000"/>
                  <a:gd name="T35" fmla="*/ 6083 h 20000"/>
                  <a:gd name="T36" fmla="*/ 8152 w 20000"/>
                  <a:gd name="T37" fmla="*/ 2583 h 20000"/>
                  <a:gd name="T38" fmla="*/ 9418 w 20000"/>
                  <a:gd name="T39" fmla="*/ 4750 h 20000"/>
                  <a:gd name="T40" fmla="*/ 10228 w 20000"/>
                  <a:gd name="T41" fmla="*/ 2583 h 20000"/>
                  <a:gd name="T42" fmla="*/ 12051 w 20000"/>
                  <a:gd name="T43" fmla="*/ 4750 h 20000"/>
                  <a:gd name="T44" fmla="*/ 12810 w 20000"/>
                  <a:gd name="T45" fmla="*/ 3917 h 20000"/>
                  <a:gd name="T46" fmla="*/ 14430 w 20000"/>
                  <a:gd name="T47" fmla="*/ 3417 h 20000"/>
                  <a:gd name="T48" fmla="*/ 14937 w 20000"/>
                  <a:gd name="T49" fmla="*/ 1333 h 20000"/>
                  <a:gd name="T50" fmla="*/ 16253 w 20000"/>
                  <a:gd name="T51" fmla="*/ 2583 h 20000"/>
                  <a:gd name="T52" fmla="*/ 17570 w 20000"/>
                  <a:gd name="T53" fmla="*/ 3417 h 20000"/>
                  <a:gd name="T54" fmla="*/ 17873 w 20000"/>
                  <a:gd name="T55" fmla="*/ 5583 h 20000"/>
                  <a:gd name="T56" fmla="*/ 19949 w 20000"/>
                  <a:gd name="T57" fmla="*/ 8167 h 20000"/>
                  <a:gd name="T58" fmla="*/ 19646 w 20000"/>
                  <a:gd name="T59" fmla="*/ 10333 h 20000"/>
                  <a:gd name="T60" fmla="*/ 18380 w 20000"/>
                  <a:gd name="T61" fmla="*/ 12917 h 20000"/>
                  <a:gd name="T62" fmla="*/ 16253 w 20000"/>
                  <a:gd name="T63" fmla="*/ 15167 h 20000"/>
                  <a:gd name="T64" fmla="*/ 13367 w 20000"/>
                  <a:gd name="T65" fmla="*/ 18167 h 20000"/>
                  <a:gd name="T66" fmla="*/ 9924 w 20000"/>
                  <a:gd name="T67" fmla="*/ 199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9924" y="19917"/>
                    </a:moveTo>
                    <a:lnTo>
                      <a:pt x="7342" y="18583"/>
                    </a:lnTo>
                    <a:lnTo>
                      <a:pt x="6025" y="17333"/>
                    </a:lnTo>
                    <a:lnTo>
                      <a:pt x="2582" y="17333"/>
                    </a:lnTo>
                    <a:lnTo>
                      <a:pt x="2582" y="16000"/>
                    </a:lnTo>
                    <a:lnTo>
                      <a:pt x="3089" y="16000"/>
                    </a:lnTo>
                    <a:lnTo>
                      <a:pt x="4456" y="14667"/>
                    </a:lnTo>
                    <a:lnTo>
                      <a:pt x="3392" y="12917"/>
                    </a:lnTo>
                    <a:lnTo>
                      <a:pt x="3392" y="10750"/>
                    </a:lnTo>
                    <a:lnTo>
                      <a:pt x="1013" y="10750"/>
                    </a:lnTo>
                    <a:lnTo>
                      <a:pt x="506" y="10333"/>
                    </a:lnTo>
                    <a:lnTo>
                      <a:pt x="2582" y="9500"/>
                    </a:lnTo>
                    <a:lnTo>
                      <a:pt x="4709" y="9500"/>
                    </a:lnTo>
                    <a:lnTo>
                      <a:pt x="5266" y="9083"/>
                    </a:lnTo>
                    <a:lnTo>
                      <a:pt x="4709" y="9083"/>
                    </a:lnTo>
                    <a:lnTo>
                      <a:pt x="3899" y="8167"/>
                    </a:lnTo>
                    <a:lnTo>
                      <a:pt x="4709" y="6917"/>
                    </a:lnTo>
                    <a:lnTo>
                      <a:pt x="3089" y="5583"/>
                    </a:lnTo>
                    <a:lnTo>
                      <a:pt x="1316" y="6917"/>
                    </a:lnTo>
                    <a:lnTo>
                      <a:pt x="0" y="6083"/>
                    </a:lnTo>
                    <a:lnTo>
                      <a:pt x="1013" y="4750"/>
                    </a:lnTo>
                    <a:lnTo>
                      <a:pt x="1823" y="5583"/>
                    </a:lnTo>
                    <a:lnTo>
                      <a:pt x="2076" y="4750"/>
                    </a:lnTo>
                    <a:lnTo>
                      <a:pt x="1316" y="3917"/>
                    </a:lnTo>
                    <a:lnTo>
                      <a:pt x="1823" y="3417"/>
                    </a:lnTo>
                    <a:lnTo>
                      <a:pt x="2076" y="1750"/>
                    </a:lnTo>
                    <a:lnTo>
                      <a:pt x="3089" y="3417"/>
                    </a:lnTo>
                    <a:lnTo>
                      <a:pt x="3899" y="3417"/>
                    </a:lnTo>
                    <a:lnTo>
                      <a:pt x="3089" y="1333"/>
                    </a:lnTo>
                    <a:lnTo>
                      <a:pt x="4456" y="0"/>
                    </a:lnTo>
                    <a:lnTo>
                      <a:pt x="6025" y="2583"/>
                    </a:lnTo>
                    <a:lnTo>
                      <a:pt x="5468" y="5583"/>
                    </a:lnTo>
                    <a:lnTo>
                      <a:pt x="6025" y="7333"/>
                    </a:lnTo>
                    <a:lnTo>
                      <a:pt x="6785" y="5583"/>
                    </a:lnTo>
                    <a:lnTo>
                      <a:pt x="7342" y="6083"/>
                    </a:lnTo>
                    <a:lnTo>
                      <a:pt x="7848" y="6083"/>
                    </a:lnTo>
                    <a:lnTo>
                      <a:pt x="7848" y="3417"/>
                    </a:lnTo>
                    <a:lnTo>
                      <a:pt x="8152" y="2583"/>
                    </a:lnTo>
                    <a:lnTo>
                      <a:pt x="8911" y="5583"/>
                    </a:lnTo>
                    <a:lnTo>
                      <a:pt x="9418" y="4750"/>
                    </a:lnTo>
                    <a:lnTo>
                      <a:pt x="9418" y="3417"/>
                    </a:lnTo>
                    <a:lnTo>
                      <a:pt x="10228" y="2583"/>
                    </a:lnTo>
                    <a:lnTo>
                      <a:pt x="11038" y="3917"/>
                    </a:lnTo>
                    <a:lnTo>
                      <a:pt x="12051" y="4750"/>
                    </a:lnTo>
                    <a:lnTo>
                      <a:pt x="11544" y="2583"/>
                    </a:lnTo>
                    <a:lnTo>
                      <a:pt x="12810" y="3917"/>
                    </a:lnTo>
                    <a:lnTo>
                      <a:pt x="13620" y="2583"/>
                    </a:lnTo>
                    <a:lnTo>
                      <a:pt x="14430" y="3417"/>
                    </a:lnTo>
                    <a:lnTo>
                      <a:pt x="14937" y="2583"/>
                    </a:lnTo>
                    <a:lnTo>
                      <a:pt x="14937" y="1333"/>
                    </a:lnTo>
                    <a:lnTo>
                      <a:pt x="15696" y="500"/>
                    </a:lnTo>
                    <a:lnTo>
                      <a:pt x="16253" y="2583"/>
                    </a:lnTo>
                    <a:lnTo>
                      <a:pt x="18380" y="1750"/>
                    </a:lnTo>
                    <a:lnTo>
                      <a:pt x="17570" y="3417"/>
                    </a:lnTo>
                    <a:lnTo>
                      <a:pt x="18380" y="3417"/>
                    </a:lnTo>
                    <a:lnTo>
                      <a:pt x="17873" y="5583"/>
                    </a:lnTo>
                    <a:lnTo>
                      <a:pt x="18380" y="5583"/>
                    </a:lnTo>
                    <a:lnTo>
                      <a:pt x="19949" y="8167"/>
                    </a:lnTo>
                    <a:lnTo>
                      <a:pt x="19949" y="9500"/>
                    </a:lnTo>
                    <a:lnTo>
                      <a:pt x="19646" y="10333"/>
                    </a:lnTo>
                    <a:lnTo>
                      <a:pt x="19139" y="12583"/>
                    </a:lnTo>
                    <a:lnTo>
                      <a:pt x="18380" y="12917"/>
                    </a:lnTo>
                    <a:lnTo>
                      <a:pt x="17873" y="14667"/>
                    </a:lnTo>
                    <a:lnTo>
                      <a:pt x="16253" y="15167"/>
                    </a:lnTo>
                    <a:lnTo>
                      <a:pt x="14430" y="16333"/>
                    </a:lnTo>
                    <a:lnTo>
                      <a:pt x="13367" y="18167"/>
                    </a:lnTo>
                    <a:lnTo>
                      <a:pt x="11544" y="19417"/>
                    </a:lnTo>
                    <a:lnTo>
                      <a:pt x="9924" y="1991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2" name="Freeform 274"/>
              <p:cNvSpPr>
                <a:spLocks/>
              </p:cNvSpPr>
              <p:nvPr/>
            </p:nvSpPr>
            <p:spPr bwMode="auto">
              <a:xfrm>
                <a:off x="5167313" y="3008313"/>
                <a:ext cx="315912" cy="319087"/>
              </a:xfrm>
              <a:custGeom>
                <a:avLst/>
                <a:gdLst>
                  <a:gd name="T0" fmla="*/ 7470 w 20000"/>
                  <a:gd name="T1" fmla="*/ 636 h 20000"/>
                  <a:gd name="T2" fmla="*/ 8514 w 20000"/>
                  <a:gd name="T3" fmla="*/ 0 h 20000"/>
                  <a:gd name="T4" fmla="*/ 10161 w 20000"/>
                  <a:gd name="T5" fmla="*/ 636 h 20000"/>
                  <a:gd name="T6" fmla="*/ 11406 w 20000"/>
                  <a:gd name="T7" fmla="*/ 1431 h 20000"/>
                  <a:gd name="T8" fmla="*/ 12249 w 20000"/>
                  <a:gd name="T9" fmla="*/ 2664 h 20000"/>
                  <a:gd name="T10" fmla="*/ 12249 w 20000"/>
                  <a:gd name="T11" fmla="*/ 3698 h 20000"/>
                  <a:gd name="T12" fmla="*/ 11245 w 20000"/>
                  <a:gd name="T13" fmla="*/ 3062 h 20000"/>
                  <a:gd name="T14" fmla="*/ 10602 w 20000"/>
                  <a:gd name="T15" fmla="*/ 3300 h 20000"/>
                  <a:gd name="T16" fmla="*/ 9116 w 20000"/>
                  <a:gd name="T17" fmla="*/ 3897 h 20000"/>
                  <a:gd name="T18" fmla="*/ 9116 w 20000"/>
                  <a:gd name="T19" fmla="*/ 4930 h 20000"/>
                  <a:gd name="T20" fmla="*/ 11406 w 20000"/>
                  <a:gd name="T21" fmla="*/ 8032 h 20000"/>
                  <a:gd name="T22" fmla="*/ 14940 w 20000"/>
                  <a:gd name="T23" fmla="*/ 11292 h 20000"/>
                  <a:gd name="T24" fmla="*/ 15783 w 20000"/>
                  <a:gd name="T25" fmla="*/ 11690 h 20000"/>
                  <a:gd name="T26" fmla="*/ 15582 w 20000"/>
                  <a:gd name="T27" fmla="*/ 12326 h 20000"/>
                  <a:gd name="T28" fmla="*/ 18474 w 20000"/>
                  <a:gd name="T29" fmla="*/ 13559 h 20000"/>
                  <a:gd name="T30" fmla="*/ 19960 w 20000"/>
                  <a:gd name="T31" fmla="*/ 15626 h 20000"/>
                  <a:gd name="T32" fmla="*/ 18876 w 20000"/>
                  <a:gd name="T33" fmla="*/ 15229 h 20000"/>
                  <a:gd name="T34" fmla="*/ 17430 w 20000"/>
                  <a:gd name="T35" fmla="*/ 14394 h 20000"/>
                  <a:gd name="T36" fmla="*/ 16586 w 20000"/>
                  <a:gd name="T37" fmla="*/ 16064 h 20000"/>
                  <a:gd name="T38" fmla="*/ 17430 w 20000"/>
                  <a:gd name="T39" fmla="*/ 16223 h 20000"/>
                  <a:gd name="T40" fmla="*/ 16827 w 20000"/>
                  <a:gd name="T41" fmla="*/ 17853 h 20000"/>
                  <a:gd name="T42" fmla="*/ 16185 w 20000"/>
                  <a:gd name="T43" fmla="*/ 19563 h 20000"/>
                  <a:gd name="T44" fmla="*/ 15582 w 20000"/>
                  <a:gd name="T45" fmla="*/ 19324 h 20000"/>
                  <a:gd name="T46" fmla="*/ 15783 w 20000"/>
                  <a:gd name="T47" fmla="*/ 18330 h 20000"/>
                  <a:gd name="T48" fmla="*/ 15181 w 20000"/>
                  <a:gd name="T49" fmla="*/ 15229 h 20000"/>
                  <a:gd name="T50" fmla="*/ 14137 w 20000"/>
                  <a:gd name="T51" fmla="*/ 14990 h 20000"/>
                  <a:gd name="T52" fmla="*/ 13896 w 20000"/>
                  <a:gd name="T53" fmla="*/ 13956 h 20000"/>
                  <a:gd name="T54" fmla="*/ 12892 w 20000"/>
                  <a:gd name="T55" fmla="*/ 13559 h 20000"/>
                  <a:gd name="T56" fmla="*/ 12249 w 20000"/>
                  <a:gd name="T57" fmla="*/ 13360 h 20000"/>
                  <a:gd name="T58" fmla="*/ 10763 w 20000"/>
                  <a:gd name="T59" fmla="*/ 12565 h 20000"/>
                  <a:gd name="T60" fmla="*/ 8715 w 20000"/>
                  <a:gd name="T61" fmla="*/ 10895 h 20000"/>
                  <a:gd name="T62" fmla="*/ 7470 w 20000"/>
                  <a:gd name="T63" fmla="*/ 9662 h 20000"/>
                  <a:gd name="T64" fmla="*/ 6225 w 20000"/>
                  <a:gd name="T65" fmla="*/ 9264 h 20000"/>
                  <a:gd name="T66" fmla="*/ 6225 w 20000"/>
                  <a:gd name="T67" fmla="*/ 8191 h 20000"/>
                  <a:gd name="T68" fmla="*/ 5382 w 20000"/>
                  <a:gd name="T69" fmla="*/ 6561 h 20000"/>
                  <a:gd name="T70" fmla="*/ 3534 w 20000"/>
                  <a:gd name="T71" fmla="*/ 6402 h 20000"/>
                  <a:gd name="T72" fmla="*/ 2048 w 20000"/>
                  <a:gd name="T73" fmla="*/ 7396 h 20000"/>
                  <a:gd name="T74" fmla="*/ 1888 w 20000"/>
                  <a:gd name="T75" fmla="*/ 6958 h 20000"/>
                  <a:gd name="T76" fmla="*/ 1446 w 20000"/>
                  <a:gd name="T77" fmla="*/ 6561 h 20000"/>
                  <a:gd name="T78" fmla="*/ 402 w 20000"/>
                  <a:gd name="T79" fmla="*/ 4692 h 20000"/>
                  <a:gd name="T80" fmla="*/ 803 w 20000"/>
                  <a:gd name="T81" fmla="*/ 4294 h 20000"/>
                  <a:gd name="T82" fmla="*/ 803 w 20000"/>
                  <a:gd name="T83" fmla="*/ 2664 h 20000"/>
                  <a:gd name="T84" fmla="*/ 2048 w 20000"/>
                  <a:gd name="T85" fmla="*/ 2664 h 20000"/>
                  <a:gd name="T86" fmla="*/ 4177 w 20000"/>
                  <a:gd name="T87" fmla="*/ 2266 h 20000"/>
                  <a:gd name="T88" fmla="*/ 4337 w 20000"/>
                  <a:gd name="T89" fmla="*/ 1431 h 20000"/>
                  <a:gd name="T90" fmla="*/ 5181 w 20000"/>
                  <a:gd name="T91" fmla="*/ 1630 h 20000"/>
                  <a:gd name="T92" fmla="*/ 5823 w 20000"/>
                  <a:gd name="T93" fmla="*/ 2028 h 20000"/>
                  <a:gd name="T94" fmla="*/ 6225 w 20000"/>
                  <a:gd name="T95" fmla="*/ 14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6426" y="636"/>
                    </a:moveTo>
                    <a:lnTo>
                      <a:pt x="7470" y="636"/>
                    </a:lnTo>
                    <a:lnTo>
                      <a:pt x="7470" y="0"/>
                    </a:lnTo>
                    <a:lnTo>
                      <a:pt x="8514" y="0"/>
                    </a:lnTo>
                    <a:lnTo>
                      <a:pt x="9116" y="0"/>
                    </a:lnTo>
                    <a:lnTo>
                      <a:pt x="10161" y="636"/>
                    </a:lnTo>
                    <a:lnTo>
                      <a:pt x="11245" y="1431"/>
                    </a:lnTo>
                    <a:lnTo>
                      <a:pt x="11406" y="1431"/>
                    </a:lnTo>
                    <a:lnTo>
                      <a:pt x="11245" y="1630"/>
                    </a:lnTo>
                    <a:lnTo>
                      <a:pt x="12249" y="2664"/>
                    </a:lnTo>
                    <a:lnTo>
                      <a:pt x="12450" y="3300"/>
                    </a:lnTo>
                    <a:lnTo>
                      <a:pt x="12249" y="3698"/>
                    </a:lnTo>
                    <a:lnTo>
                      <a:pt x="11406" y="3300"/>
                    </a:lnTo>
                    <a:lnTo>
                      <a:pt x="11245" y="3062"/>
                    </a:lnTo>
                    <a:lnTo>
                      <a:pt x="10602" y="3062"/>
                    </a:lnTo>
                    <a:lnTo>
                      <a:pt x="10602" y="3300"/>
                    </a:lnTo>
                    <a:lnTo>
                      <a:pt x="9759" y="3698"/>
                    </a:lnTo>
                    <a:lnTo>
                      <a:pt x="9116" y="3897"/>
                    </a:lnTo>
                    <a:lnTo>
                      <a:pt x="9518" y="4692"/>
                    </a:lnTo>
                    <a:lnTo>
                      <a:pt x="9116" y="4930"/>
                    </a:lnTo>
                    <a:lnTo>
                      <a:pt x="9116" y="5765"/>
                    </a:lnTo>
                    <a:lnTo>
                      <a:pt x="11406" y="8032"/>
                    </a:lnTo>
                    <a:lnTo>
                      <a:pt x="12892" y="10298"/>
                    </a:lnTo>
                    <a:lnTo>
                      <a:pt x="14940" y="11292"/>
                    </a:lnTo>
                    <a:lnTo>
                      <a:pt x="15582" y="11292"/>
                    </a:lnTo>
                    <a:lnTo>
                      <a:pt x="15783" y="11690"/>
                    </a:lnTo>
                    <a:lnTo>
                      <a:pt x="15582" y="11928"/>
                    </a:lnTo>
                    <a:lnTo>
                      <a:pt x="15582" y="12326"/>
                    </a:lnTo>
                    <a:lnTo>
                      <a:pt x="16827" y="12962"/>
                    </a:lnTo>
                    <a:lnTo>
                      <a:pt x="18474" y="13559"/>
                    </a:lnTo>
                    <a:lnTo>
                      <a:pt x="19960" y="14990"/>
                    </a:lnTo>
                    <a:lnTo>
                      <a:pt x="19960" y="15626"/>
                    </a:lnTo>
                    <a:lnTo>
                      <a:pt x="19317" y="15626"/>
                    </a:lnTo>
                    <a:lnTo>
                      <a:pt x="18876" y="15229"/>
                    </a:lnTo>
                    <a:lnTo>
                      <a:pt x="18474" y="14592"/>
                    </a:lnTo>
                    <a:lnTo>
                      <a:pt x="17430" y="14394"/>
                    </a:lnTo>
                    <a:lnTo>
                      <a:pt x="17229" y="14592"/>
                    </a:lnTo>
                    <a:lnTo>
                      <a:pt x="16586" y="16064"/>
                    </a:lnTo>
                    <a:lnTo>
                      <a:pt x="17229" y="16223"/>
                    </a:lnTo>
                    <a:lnTo>
                      <a:pt x="17430" y="16223"/>
                    </a:lnTo>
                    <a:lnTo>
                      <a:pt x="17871" y="17694"/>
                    </a:lnTo>
                    <a:lnTo>
                      <a:pt x="16827" y="17853"/>
                    </a:lnTo>
                    <a:lnTo>
                      <a:pt x="16827" y="18728"/>
                    </a:lnTo>
                    <a:lnTo>
                      <a:pt x="16185" y="19563"/>
                    </a:lnTo>
                    <a:lnTo>
                      <a:pt x="15582" y="19960"/>
                    </a:lnTo>
                    <a:lnTo>
                      <a:pt x="15582" y="19324"/>
                    </a:lnTo>
                    <a:lnTo>
                      <a:pt x="15783" y="18926"/>
                    </a:lnTo>
                    <a:lnTo>
                      <a:pt x="15783" y="18330"/>
                    </a:lnTo>
                    <a:lnTo>
                      <a:pt x="16185" y="17853"/>
                    </a:lnTo>
                    <a:lnTo>
                      <a:pt x="15181" y="15229"/>
                    </a:lnTo>
                    <a:lnTo>
                      <a:pt x="14940" y="15229"/>
                    </a:lnTo>
                    <a:lnTo>
                      <a:pt x="14137" y="14990"/>
                    </a:lnTo>
                    <a:lnTo>
                      <a:pt x="14137" y="14592"/>
                    </a:lnTo>
                    <a:lnTo>
                      <a:pt x="13896" y="13956"/>
                    </a:lnTo>
                    <a:lnTo>
                      <a:pt x="13052" y="13956"/>
                    </a:lnTo>
                    <a:lnTo>
                      <a:pt x="12892" y="13559"/>
                    </a:lnTo>
                    <a:lnTo>
                      <a:pt x="12450" y="13559"/>
                    </a:lnTo>
                    <a:lnTo>
                      <a:pt x="12249" y="13360"/>
                    </a:lnTo>
                    <a:lnTo>
                      <a:pt x="12249" y="12565"/>
                    </a:lnTo>
                    <a:lnTo>
                      <a:pt x="10763" y="12565"/>
                    </a:lnTo>
                    <a:lnTo>
                      <a:pt x="9759" y="12326"/>
                    </a:lnTo>
                    <a:lnTo>
                      <a:pt x="8715" y="10895"/>
                    </a:lnTo>
                    <a:lnTo>
                      <a:pt x="8514" y="10696"/>
                    </a:lnTo>
                    <a:lnTo>
                      <a:pt x="7470" y="9662"/>
                    </a:lnTo>
                    <a:lnTo>
                      <a:pt x="6827" y="9264"/>
                    </a:lnTo>
                    <a:lnTo>
                      <a:pt x="6225" y="9264"/>
                    </a:lnTo>
                    <a:lnTo>
                      <a:pt x="6426" y="8628"/>
                    </a:lnTo>
                    <a:lnTo>
                      <a:pt x="6225" y="8191"/>
                    </a:lnTo>
                    <a:lnTo>
                      <a:pt x="5823" y="7396"/>
                    </a:lnTo>
                    <a:lnTo>
                      <a:pt x="5382" y="6561"/>
                    </a:lnTo>
                    <a:lnTo>
                      <a:pt x="4337" y="6402"/>
                    </a:lnTo>
                    <a:lnTo>
                      <a:pt x="3534" y="6402"/>
                    </a:lnTo>
                    <a:lnTo>
                      <a:pt x="2691" y="6561"/>
                    </a:lnTo>
                    <a:lnTo>
                      <a:pt x="2048" y="7396"/>
                    </a:lnTo>
                    <a:lnTo>
                      <a:pt x="1888" y="7396"/>
                    </a:lnTo>
                    <a:lnTo>
                      <a:pt x="1888" y="6958"/>
                    </a:lnTo>
                    <a:lnTo>
                      <a:pt x="2048" y="6561"/>
                    </a:lnTo>
                    <a:lnTo>
                      <a:pt x="1446" y="6561"/>
                    </a:lnTo>
                    <a:lnTo>
                      <a:pt x="803" y="6402"/>
                    </a:lnTo>
                    <a:lnTo>
                      <a:pt x="402" y="4692"/>
                    </a:lnTo>
                    <a:lnTo>
                      <a:pt x="0" y="4294"/>
                    </a:lnTo>
                    <a:lnTo>
                      <a:pt x="803" y="4294"/>
                    </a:lnTo>
                    <a:lnTo>
                      <a:pt x="402" y="2664"/>
                    </a:lnTo>
                    <a:lnTo>
                      <a:pt x="803" y="2664"/>
                    </a:lnTo>
                    <a:lnTo>
                      <a:pt x="1888" y="2266"/>
                    </a:lnTo>
                    <a:lnTo>
                      <a:pt x="2048" y="2664"/>
                    </a:lnTo>
                    <a:lnTo>
                      <a:pt x="2691" y="2028"/>
                    </a:lnTo>
                    <a:lnTo>
                      <a:pt x="4177" y="2266"/>
                    </a:lnTo>
                    <a:lnTo>
                      <a:pt x="4337" y="2028"/>
                    </a:lnTo>
                    <a:lnTo>
                      <a:pt x="4337" y="1431"/>
                    </a:lnTo>
                    <a:lnTo>
                      <a:pt x="4779" y="1431"/>
                    </a:lnTo>
                    <a:lnTo>
                      <a:pt x="5181" y="1630"/>
                    </a:lnTo>
                    <a:lnTo>
                      <a:pt x="5382" y="1630"/>
                    </a:lnTo>
                    <a:lnTo>
                      <a:pt x="5823" y="2028"/>
                    </a:lnTo>
                    <a:lnTo>
                      <a:pt x="5823" y="1431"/>
                    </a:lnTo>
                    <a:lnTo>
                      <a:pt x="6225" y="1431"/>
                    </a:lnTo>
                    <a:lnTo>
                      <a:pt x="6426" y="6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3" name="Freeform 273"/>
              <p:cNvSpPr>
                <a:spLocks/>
              </p:cNvSpPr>
              <p:nvPr/>
            </p:nvSpPr>
            <p:spPr bwMode="auto">
              <a:xfrm>
                <a:off x="5327650" y="3317875"/>
                <a:ext cx="76200" cy="47625"/>
              </a:xfrm>
              <a:custGeom>
                <a:avLst/>
                <a:gdLst>
                  <a:gd name="T0" fmla="*/ 18167 w 20000"/>
                  <a:gd name="T1" fmla="*/ 19730 h 20000"/>
                  <a:gd name="T2" fmla="*/ 13833 w 20000"/>
                  <a:gd name="T3" fmla="*/ 18108 h 20000"/>
                  <a:gd name="T4" fmla="*/ 12000 w 20000"/>
                  <a:gd name="T5" fmla="*/ 15405 h 20000"/>
                  <a:gd name="T6" fmla="*/ 8667 w 20000"/>
                  <a:gd name="T7" fmla="*/ 12703 h 20000"/>
                  <a:gd name="T8" fmla="*/ 2667 w 20000"/>
                  <a:gd name="T9" fmla="*/ 8378 h 20000"/>
                  <a:gd name="T10" fmla="*/ 0 w 20000"/>
                  <a:gd name="T11" fmla="*/ 7027 h 20000"/>
                  <a:gd name="T12" fmla="*/ 0 w 20000"/>
                  <a:gd name="T13" fmla="*/ 1622 h 20000"/>
                  <a:gd name="T14" fmla="*/ 1833 w 20000"/>
                  <a:gd name="T15" fmla="*/ 0 h 20000"/>
                  <a:gd name="T16" fmla="*/ 2667 w 20000"/>
                  <a:gd name="T17" fmla="*/ 1622 h 20000"/>
                  <a:gd name="T18" fmla="*/ 4500 w 20000"/>
                  <a:gd name="T19" fmla="*/ 0 h 20000"/>
                  <a:gd name="T20" fmla="*/ 5167 w 20000"/>
                  <a:gd name="T21" fmla="*/ 0 h 20000"/>
                  <a:gd name="T22" fmla="*/ 9500 w 20000"/>
                  <a:gd name="T23" fmla="*/ 1622 h 20000"/>
                  <a:gd name="T24" fmla="*/ 19833 w 20000"/>
                  <a:gd name="T25" fmla="*/ 0 h 20000"/>
                  <a:gd name="T26" fmla="*/ 19833 w 20000"/>
                  <a:gd name="T27" fmla="*/ 4324 h 20000"/>
                  <a:gd name="T28" fmla="*/ 18167 w 20000"/>
                  <a:gd name="T29" fmla="*/ 8378 h 20000"/>
                  <a:gd name="T30" fmla="*/ 19833 w 20000"/>
                  <a:gd name="T31" fmla="*/ 15405 h 20000"/>
                  <a:gd name="T32" fmla="*/ 18167 w 20000"/>
                  <a:gd name="T33" fmla="*/ 197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8167" y="19730"/>
                    </a:moveTo>
                    <a:lnTo>
                      <a:pt x="13833" y="18108"/>
                    </a:lnTo>
                    <a:lnTo>
                      <a:pt x="12000" y="15405"/>
                    </a:lnTo>
                    <a:lnTo>
                      <a:pt x="8667" y="12703"/>
                    </a:lnTo>
                    <a:lnTo>
                      <a:pt x="2667" y="8378"/>
                    </a:lnTo>
                    <a:lnTo>
                      <a:pt x="0" y="7027"/>
                    </a:lnTo>
                    <a:lnTo>
                      <a:pt x="0" y="1622"/>
                    </a:lnTo>
                    <a:lnTo>
                      <a:pt x="1833" y="0"/>
                    </a:lnTo>
                    <a:lnTo>
                      <a:pt x="2667" y="1622"/>
                    </a:lnTo>
                    <a:lnTo>
                      <a:pt x="4500" y="0"/>
                    </a:lnTo>
                    <a:lnTo>
                      <a:pt x="5167" y="0"/>
                    </a:lnTo>
                    <a:lnTo>
                      <a:pt x="9500" y="1622"/>
                    </a:lnTo>
                    <a:lnTo>
                      <a:pt x="19833" y="0"/>
                    </a:lnTo>
                    <a:lnTo>
                      <a:pt x="19833" y="4324"/>
                    </a:lnTo>
                    <a:lnTo>
                      <a:pt x="18167" y="8378"/>
                    </a:lnTo>
                    <a:lnTo>
                      <a:pt x="19833" y="15405"/>
                    </a:lnTo>
                    <a:lnTo>
                      <a:pt x="18167" y="197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4" name="Freeform 272"/>
              <p:cNvSpPr>
                <a:spLocks/>
              </p:cNvSpPr>
              <p:nvPr/>
            </p:nvSpPr>
            <p:spPr bwMode="auto">
              <a:xfrm>
                <a:off x="5207000" y="3216275"/>
                <a:ext cx="47625" cy="76200"/>
              </a:xfrm>
              <a:custGeom>
                <a:avLst/>
                <a:gdLst>
                  <a:gd name="T0" fmla="*/ 8378 w 20000"/>
                  <a:gd name="T1" fmla="*/ 19833 h 20000"/>
                  <a:gd name="T2" fmla="*/ 4324 w 20000"/>
                  <a:gd name="T3" fmla="*/ 18167 h 20000"/>
                  <a:gd name="T4" fmla="*/ 4324 w 20000"/>
                  <a:gd name="T5" fmla="*/ 13667 h 20000"/>
                  <a:gd name="T6" fmla="*/ 4324 w 20000"/>
                  <a:gd name="T7" fmla="*/ 13000 h 20000"/>
                  <a:gd name="T8" fmla="*/ 4324 w 20000"/>
                  <a:gd name="T9" fmla="*/ 9500 h 20000"/>
                  <a:gd name="T10" fmla="*/ 4324 w 20000"/>
                  <a:gd name="T11" fmla="*/ 8500 h 20000"/>
                  <a:gd name="T12" fmla="*/ 0 w 20000"/>
                  <a:gd name="T13" fmla="*/ 4333 h 20000"/>
                  <a:gd name="T14" fmla="*/ 1622 w 20000"/>
                  <a:gd name="T15" fmla="*/ 2667 h 20000"/>
                  <a:gd name="T16" fmla="*/ 4324 w 20000"/>
                  <a:gd name="T17" fmla="*/ 2667 h 20000"/>
                  <a:gd name="T18" fmla="*/ 12703 w 20000"/>
                  <a:gd name="T19" fmla="*/ 0 h 20000"/>
                  <a:gd name="T20" fmla="*/ 15676 w 20000"/>
                  <a:gd name="T21" fmla="*/ 0 h 20000"/>
                  <a:gd name="T22" fmla="*/ 19730 w 20000"/>
                  <a:gd name="T23" fmla="*/ 6167 h 20000"/>
                  <a:gd name="T24" fmla="*/ 18378 w 20000"/>
                  <a:gd name="T25" fmla="*/ 6833 h 20000"/>
                  <a:gd name="T26" fmla="*/ 18378 w 20000"/>
                  <a:gd name="T27" fmla="*/ 8500 h 20000"/>
                  <a:gd name="T28" fmla="*/ 15676 w 20000"/>
                  <a:gd name="T29" fmla="*/ 18167 h 20000"/>
                  <a:gd name="T30" fmla="*/ 11622 w 20000"/>
                  <a:gd name="T31" fmla="*/ 16333 h 20000"/>
                  <a:gd name="T32" fmla="*/ 8378 w 20000"/>
                  <a:gd name="T33" fmla="*/ 198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8378" y="19833"/>
                    </a:moveTo>
                    <a:lnTo>
                      <a:pt x="4324" y="18167"/>
                    </a:lnTo>
                    <a:lnTo>
                      <a:pt x="4324" y="13667"/>
                    </a:lnTo>
                    <a:lnTo>
                      <a:pt x="4324" y="13000"/>
                    </a:lnTo>
                    <a:lnTo>
                      <a:pt x="4324" y="9500"/>
                    </a:lnTo>
                    <a:lnTo>
                      <a:pt x="4324" y="8500"/>
                    </a:lnTo>
                    <a:lnTo>
                      <a:pt x="0" y="4333"/>
                    </a:lnTo>
                    <a:lnTo>
                      <a:pt x="1622" y="2667"/>
                    </a:lnTo>
                    <a:lnTo>
                      <a:pt x="4324" y="2667"/>
                    </a:lnTo>
                    <a:lnTo>
                      <a:pt x="12703" y="0"/>
                    </a:lnTo>
                    <a:lnTo>
                      <a:pt x="15676" y="0"/>
                    </a:lnTo>
                    <a:lnTo>
                      <a:pt x="19730" y="6167"/>
                    </a:lnTo>
                    <a:lnTo>
                      <a:pt x="18378" y="6833"/>
                    </a:lnTo>
                    <a:lnTo>
                      <a:pt x="18378" y="8500"/>
                    </a:lnTo>
                    <a:lnTo>
                      <a:pt x="15676" y="18167"/>
                    </a:lnTo>
                    <a:lnTo>
                      <a:pt x="11622" y="16333"/>
                    </a:lnTo>
                    <a:lnTo>
                      <a:pt x="8378" y="1983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 name="Freeform 271"/>
              <p:cNvSpPr>
                <a:spLocks/>
              </p:cNvSpPr>
              <p:nvPr/>
            </p:nvSpPr>
            <p:spPr bwMode="auto">
              <a:xfrm>
                <a:off x="5140325" y="2892425"/>
                <a:ext cx="23813" cy="26988"/>
              </a:xfrm>
              <a:custGeom>
                <a:avLst/>
                <a:gdLst>
                  <a:gd name="T0" fmla="*/ 0 w 20000"/>
                  <a:gd name="T1" fmla="*/ 19524 h 20000"/>
                  <a:gd name="T2" fmla="*/ 0 w 20000"/>
                  <a:gd name="T3" fmla="*/ 7143 h 20000"/>
                  <a:gd name="T4" fmla="*/ 5405 w 20000"/>
                  <a:gd name="T5" fmla="*/ 2857 h 20000"/>
                  <a:gd name="T6" fmla="*/ 14054 w 20000"/>
                  <a:gd name="T7" fmla="*/ 0 h 20000"/>
                  <a:gd name="T8" fmla="*/ 10811 w 20000"/>
                  <a:gd name="T9" fmla="*/ 7143 h 20000"/>
                  <a:gd name="T10" fmla="*/ 19459 w 20000"/>
                  <a:gd name="T11" fmla="*/ 10000 h 20000"/>
                  <a:gd name="T12" fmla="*/ 19459 w 20000"/>
                  <a:gd name="T13" fmla="*/ 19524 h 20000"/>
                  <a:gd name="T14" fmla="*/ 10811 w 20000"/>
                  <a:gd name="T15" fmla="*/ 19524 h 20000"/>
                  <a:gd name="T16" fmla="*/ 0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9524"/>
                    </a:moveTo>
                    <a:lnTo>
                      <a:pt x="0" y="7143"/>
                    </a:lnTo>
                    <a:lnTo>
                      <a:pt x="5405" y="2857"/>
                    </a:lnTo>
                    <a:lnTo>
                      <a:pt x="14054" y="0"/>
                    </a:lnTo>
                    <a:lnTo>
                      <a:pt x="10811" y="7143"/>
                    </a:lnTo>
                    <a:lnTo>
                      <a:pt x="19459" y="10000"/>
                    </a:lnTo>
                    <a:lnTo>
                      <a:pt x="19459" y="19524"/>
                    </a:lnTo>
                    <a:lnTo>
                      <a:pt x="10811" y="19524"/>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 name="Freeform 270"/>
              <p:cNvSpPr>
                <a:spLocks/>
              </p:cNvSpPr>
              <p:nvPr/>
            </p:nvSpPr>
            <p:spPr bwMode="auto">
              <a:xfrm>
                <a:off x="5373688" y="3386138"/>
                <a:ext cx="7937" cy="11112"/>
              </a:xfrm>
              <a:custGeom>
                <a:avLst/>
                <a:gdLst>
                  <a:gd name="T0" fmla="*/ 18333 w 20000"/>
                  <a:gd name="T1" fmla="*/ 18824 h 20000"/>
                  <a:gd name="T2" fmla="*/ 0 w 20000"/>
                  <a:gd name="T3" fmla="*/ 0 h 20000"/>
                  <a:gd name="T4" fmla="*/ 18333 w 20000"/>
                  <a:gd name="T5" fmla="*/ 7059 h 20000"/>
                  <a:gd name="T6" fmla="*/ 18333 w 20000"/>
                  <a:gd name="T7" fmla="*/ 18824 h 20000"/>
                </a:gdLst>
                <a:ahLst/>
                <a:cxnLst>
                  <a:cxn ang="0">
                    <a:pos x="T0" y="T1"/>
                  </a:cxn>
                  <a:cxn ang="0">
                    <a:pos x="T2" y="T3"/>
                  </a:cxn>
                  <a:cxn ang="0">
                    <a:pos x="T4" y="T5"/>
                  </a:cxn>
                  <a:cxn ang="0">
                    <a:pos x="T6" y="T7"/>
                  </a:cxn>
                </a:cxnLst>
                <a:rect l="0" t="0" r="r" b="b"/>
                <a:pathLst>
                  <a:path w="20000" h="20000">
                    <a:moveTo>
                      <a:pt x="18333" y="18824"/>
                    </a:moveTo>
                    <a:lnTo>
                      <a:pt x="0" y="0"/>
                    </a:lnTo>
                    <a:lnTo>
                      <a:pt x="18333" y="7059"/>
                    </a:lnTo>
                    <a:lnTo>
                      <a:pt x="1833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 name="Freeform 269"/>
              <p:cNvSpPr>
                <a:spLocks/>
              </p:cNvSpPr>
              <p:nvPr/>
            </p:nvSpPr>
            <p:spPr bwMode="auto">
              <a:xfrm>
                <a:off x="5084763" y="2765425"/>
                <a:ext cx="95250" cy="112713"/>
              </a:xfrm>
              <a:custGeom>
                <a:avLst/>
                <a:gdLst>
                  <a:gd name="T0" fmla="*/ 0 w 20000"/>
                  <a:gd name="T1" fmla="*/ 15706 h 20000"/>
                  <a:gd name="T2" fmla="*/ 0 w 20000"/>
                  <a:gd name="T3" fmla="*/ 14124 h 20000"/>
                  <a:gd name="T4" fmla="*/ 1867 w 20000"/>
                  <a:gd name="T5" fmla="*/ 12881 h 20000"/>
                  <a:gd name="T6" fmla="*/ 5467 w 20000"/>
                  <a:gd name="T7" fmla="*/ 12881 h 20000"/>
                  <a:gd name="T8" fmla="*/ 2667 w 20000"/>
                  <a:gd name="T9" fmla="*/ 12316 h 20000"/>
                  <a:gd name="T10" fmla="*/ 1867 w 20000"/>
                  <a:gd name="T11" fmla="*/ 11073 h 20000"/>
                  <a:gd name="T12" fmla="*/ 4000 w 20000"/>
                  <a:gd name="T13" fmla="*/ 8136 h 20000"/>
                  <a:gd name="T14" fmla="*/ 5467 w 20000"/>
                  <a:gd name="T15" fmla="*/ 3503 h 20000"/>
                  <a:gd name="T16" fmla="*/ 7600 w 20000"/>
                  <a:gd name="T17" fmla="*/ 6441 h 20000"/>
                  <a:gd name="T18" fmla="*/ 8933 w 20000"/>
                  <a:gd name="T19" fmla="*/ 9266 h 20000"/>
                  <a:gd name="T20" fmla="*/ 10933 w 20000"/>
                  <a:gd name="T21" fmla="*/ 10621 h 20000"/>
                  <a:gd name="T22" fmla="*/ 9600 w 20000"/>
                  <a:gd name="T23" fmla="*/ 7571 h 20000"/>
                  <a:gd name="T24" fmla="*/ 10933 w 20000"/>
                  <a:gd name="T25" fmla="*/ 5311 h 20000"/>
                  <a:gd name="T26" fmla="*/ 9600 w 20000"/>
                  <a:gd name="T27" fmla="*/ 5311 h 20000"/>
                  <a:gd name="T28" fmla="*/ 9600 w 20000"/>
                  <a:gd name="T29" fmla="*/ 3503 h 20000"/>
                  <a:gd name="T30" fmla="*/ 13067 w 20000"/>
                  <a:gd name="T31" fmla="*/ 1808 h 20000"/>
                  <a:gd name="T32" fmla="*/ 16400 w 20000"/>
                  <a:gd name="T33" fmla="*/ 678 h 20000"/>
                  <a:gd name="T34" fmla="*/ 17200 w 20000"/>
                  <a:gd name="T35" fmla="*/ 2938 h 20000"/>
                  <a:gd name="T36" fmla="*/ 17200 w 20000"/>
                  <a:gd name="T37" fmla="*/ 1808 h 20000"/>
                  <a:gd name="T38" fmla="*/ 18533 w 20000"/>
                  <a:gd name="T39" fmla="*/ 0 h 20000"/>
                  <a:gd name="T40" fmla="*/ 19867 w 20000"/>
                  <a:gd name="T41" fmla="*/ 3503 h 20000"/>
                  <a:gd name="T42" fmla="*/ 18533 w 20000"/>
                  <a:gd name="T43" fmla="*/ 6441 h 20000"/>
                  <a:gd name="T44" fmla="*/ 16400 w 20000"/>
                  <a:gd name="T45" fmla="*/ 6441 h 20000"/>
                  <a:gd name="T46" fmla="*/ 17200 w 20000"/>
                  <a:gd name="T47" fmla="*/ 11073 h 20000"/>
                  <a:gd name="T48" fmla="*/ 15067 w 20000"/>
                  <a:gd name="T49" fmla="*/ 11073 h 20000"/>
                  <a:gd name="T50" fmla="*/ 13067 w 20000"/>
                  <a:gd name="T51" fmla="*/ 12316 h 20000"/>
                  <a:gd name="T52" fmla="*/ 15067 w 20000"/>
                  <a:gd name="T53" fmla="*/ 15254 h 20000"/>
                  <a:gd name="T54" fmla="*/ 14400 w 20000"/>
                  <a:gd name="T55" fmla="*/ 17514 h 20000"/>
                  <a:gd name="T56" fmla="*/ 14400 w 20000"/>
                  <a:gd name="T57" fmla="*/ 19887 h 20000"/>
                  <a:gd name="T58" fmla="*/ 10933 w 20000"/>
                  <a:gd name="T59" fmla="*/ 18757 h 20000"/>
                  <a:gd name="T60" fmla="*/ 11733 w 20000"/>
                  <a:gd name="T61" fmla="*/ 16949 h 20000"/>
                  <a:gd name="T62" fmla="*/ 8933 w 20000"/>
                  <a:gd name="T63" fmla="*/ 15706 h 20000"/>
                  <a:gd name="T64" fmla="*/ 6133 w 20000"/>
                  <a:gd name="T65" fmla="*/ 15254 h 20000"/>
                  <a:gd name="T66" fmla="*/ 4000 w 20000"/>
                  <a:gd name="T67" fmla="*/ 15254 h 20000"/>
                  <a:gd name="T68" fmla="*/ 1867 w 20000"/>
                  <a:gd name="T69" fmla="*/ 15706 h 20000"/>
                  <a:gd name="T70" fmla="*/ 533 w 20000"/>
                  <a:gd name="T71" fmla="*/ 16949 h 20000"/>
                  <a:gd name="T72" fmla="*/ 0 w 20000"/>
                  <a:gd name="T73" fmla="*/ 15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0" y="15706"/>
                    </a:moveTo>
                    <a:lnTo>
                      <a:pt x="0" y="14124"/>
                    </a:lnTo>
                    <a:lnTo>
                      <a:pt x="1867" y="12881"/>
                    </a:lnTo>
                    <a:lnTo>
                      <a:pt x="5467" y="12881"/>
                    </a:lnTo>
                    <a:lnTo>
                      <a:pt x="2667" y="12316"/>
                    </a:lnTo>
                    <a:lnTo>
                      <a:pt x="1867" y="11073"/>
                    </a:lnTo>
                    <a:lnTo>
                      <a:pt x="4000" y="8136"/>
                    </a:lnTo>
                    <a:lnTo>
                      <a:pt x="5467" y="3503"/>
                    </a:lnTo>
                    <a:lnTo>
                      <a:pt x="7600" y="6441"/>
                    </a:lnTo>
                    <a:lnTo>
                      <a:pt x="8933" y="9266"/>
                    </a:lnTo>
                    <a:lnTo>
                      <a:pt x="10933" y="10621"/>
                    </a:lnTo>
                    <a:lnTo>
                      <a:pt x="9600" y="7571"/>
                    </a:lnTo>
                    <a:lnTo>
                      <a:pt x="10933" y="5311"/>
                    </a:lnTo>
                    <a:lnTo>
                      <a:pt x="9600" y="5311"/>
                    </a:lnTo>
                    <a:lnTo>
                      <a:pt x="9600" y="3503"/>
                    </a:lnTo>
                    <a:lnTo>
                      <a:pt x="13067" y="1808"/>
                    </a:lnTo>
                    <a:lnTo>
                      <a:pt x="16400" y="678"/>
                    </a:lnTo>
                    <a:lnTo>
                      <a:pt x="17200" y="2938"/>
                    </a:lnTo>
                    <a:lnTo>
                      <a:pt x="17200" y="1808"/>
                    </a:lnTo>
                    <a:lnTo>
                      <a:pt x="18533" y="0"/>
                    </a:lnTo>
                    <a:lnTo>
                      <a:pt x="19867" y="3503"/>
                    </a:lnTo>
                    <a:lnTo>
                      <a:pt x="18533" y="6441"/>
                    </a:lnTo>
                    <a:lnTo>
                      <a:pt x="16400" y="6441"/>
                    </a:lnTo>
                    <a:lnTo>
                      <a:pt x="17200" y="11073"/>
                    </a:lnTo>
                    <a:lnTo>
                      <a:pt x="15067" y="11073"/>
                    </a:lnTo>
                    <a:lnTo>
                      <a:pt x="13067" y="12316"/>
                    </a:lnTo>
                    <a:lnTo>
                      <a:pt x="15067" y="15254"/>
                    </a:lnTo>
                    <a:lnTo>
                      <a:pt x="14400" y="17514"/>
                    </a:lnTo>
                    <a:lnTo>
                      <a:pt x="14400" y="19887"/>
                    </a:lnTo>
                    <a:lnTo>
                      <a:pt x="10933" y="18757"/>
                    </a:lnTo>
                    <a:lnTo>
                      <a:pt x="11733" y="16949"/>
                    </a:lnTo>
                    <a:lnTo>
                      <a:pt x="8933" y="15706"/>
                    </a:lnTo>
                    <a:lnTo>
                      <a:pt x="6133" y="15254"/>
                    </a:lnTo>
                    <a:lnTo>
                      <a:pt x="4000" y="15254"/>
                    </a:lnTo>
                    <a:lnTo>
                      <a:pt x="1867" y="15706"/>
                    </a:lnTo>
                    <a:lnTo>
                      <a:pt x="533" y="16949"/>
                    </a:lnTo>
                    <a:lnTo>
                      <a:pt x="0" y="15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 name="Freeform 268"/>
              <p:cNvSpPr>
                <a:spLocks/>
              </p:cNvSpPr>
              <p:nvPr/>
            </p:nvSpPr>
            <p:spPr bwMode="auto">
              <a:xfrm>
                <a:off x="5111750" y="1990725"/>
                <a:ext cx="568325" cy="598488"/>
              </a:xfrm>
              <a:custGeom>
                <a:avLst/>
                <a:gdLst>
                  <a:gd name="T0" fmla="*/ 18616 w 20000"/>
                  <a:gd name="T1" fmla="*/ 2293 h 20000"/>
                  <a:gd name="T2" fmla="*/ 16741 w 20000"/>
                  <a:gd name="T3" fmla="*/ 1741 h 20000"/>
                  <a:gd name="T4" fmla="*/ 15603 w 20000"/>
                  <a:gd name="T5" fmla="*/ 3376 h 20000"/>
                  <a:gd name="T6" fmla="*/ 14554 w 20000"/>
                  <a:gd name="T7" fmla="*/ 3503 h 20000"/>
                  <a:gd name="T8" fmla="*/ 12232 w 20000"/>
                  <a:gd name="T9" fmla="*/ 2845 h 20000"/>
                  <a:gd name="T10" fmla="*/ 11674 w 20000"/>
                  <a:gd name="T11" fmla="*/ 3503 h 20000"/>
                  <a:gd name="T12" fmla="*/ 10402 w 20000"/>
                  <a:gd name="T13" fmla="*/ 3843 h 20000"/>
                  <a:gd name="T14" fmla="*/ 9219 w 20000"/>
                  <a:gd name="T15" fmla="*/ 4713 h 20000"/>
                  <a:gd name="T16" fmla="*/ 8304 w 20000"/>
                  <a:gd name="T17" fmla="*/ 6921 h 20000"/>
                  <a:gd name="T18" fmla="*/ 7254 w 20000"/>
                  <a:gd name="T19" fmla="*/ 10106 h 20000"/>
                  <a:gd name="T20" fmla="*/ 6473 w 20000"/>
                  <a:gd name="T21" fmla="*/ 10977 h 20000"/>
                  <a:gd name="T22" fmla="*/ 6116 w 20000"/>
                  <a:gd name="T23" fmla="*/ 13524 h 20000"/>
                  <a:gd name="T24" fmla="*/ 6339 w 20000"/>
                  <a:gd name="T25" fmla="*/ 15605 h 20000"/>
                  <a:gd name="T26" fmla="*/ 6116 w 20000"/>
                  <a:gd name="T27" fmla="*/ 17346 h 20000"/>
                  <a:gd name="T28" fmla="*/ 4955 w 20000"/>
                  <a:gd name="T29" fmla="*/ 17346 h 20000"/>
                  <a:gd name="T30" fmla="*/ 4844 w 20000"/>
                  <a:gd name="T31" fmla="*/ 18132 h 20000"/>
                  <a:gd name="T32" fmla="*/ 3460 w 20000"/>
                  <a:gd name="T33" fmla="*/ 19342 h 20000"/>
                  <a:gd name="T34" fmla="*/ 580 w 20000"/>
                  <a:gd name="T35" fmla="*/ 18556 h 20000"/>
                  <a:gd name="T36" fmla="*/ 692 w 20000"/>
                  <a:gd name="T37" fmla="*/ 18132 h 20000"/>
                  <a:gd name="T38" fmla="*/ 915 w 20000"/>
                  <a:gd name="T39" fmla="*/ 17346 h 20000"/>
                  <a:gd name="T40" fmla="*/ 692 w 20000"/>
                  <a:gd name="T41" fmla="*/ 17028 h 20000"/>
                  <a:gd name="T42" fmla="*/ 89 w 20000"/>
                  <a:gd name="T43" fmla="*/ 15605 h 20000"/>
                  <a:gd name="T44" fmla="*/ 1964 w 20000"/>
                  <a:gd name="T45" fmla="*/ 15372 h 20000"/>
                  <a:gd name="T46" fmla="*/ 89 w 20000"/>
                  <a:gd name="T47" fmla="*/ 15053 h 20000"/>
                  <a:gd name="T48" fmla="*/ 1272 w 20000"/>
                  <a:gd name="T49" fmla="*/ 14480 h 20000"/>
                  <a:gd name="T50" fmla="*/ 915 w 20000"/>
                  <a:gd name="T51" fmla="*/ 13822 h 20000"/>
                  <a:gd name="T52" fmla="*/ 915 w 20000"/>
                  <a:gd name="T53" fmla="*/ 13524 h 20000"/>
                  <a:gd name="T54" fmla="*/ 1607 w 20000"/>
                  <a:gd name="T55" fmla="*/ 12951 h 20000"/>
                  <a:gd name="T56" fmla="*/ 2545 w 20000"/>
                  <a:gd name="T57" fmla="*/ 12611 h 20000"/>
                  <a:gd name="T58" fmla="*/ 3013 w 20000"/>
                  <a:gd name="T59" fmla="*/ 12081 h 20000"/>
                  <a:gd name="T60" fmla="*/ 5201 w 20000"/>
                  <a:gd name="T61" fmla="*/ 11189 h 20000"/>
                  <a:gd name="T62" fmla="*/ 4286 w 20000"/>
                  <a:gd name="T63" fmla="*/ 11189 h 20000"/>
                  <a:gd name="T64" fmla="*/ 5201 w 20000"/>
                  <a:gd name="T65" fmla="*/ 10106 h 20000"/>
                  <a:gd name="T66" fmla="*/ 5893 w 20000"/>
                  <a:gd name="T67" fmla="*/ 9002 h 20000"/>
                  <a:gd name="T68" fmla="*/ 5893 w 20000"/>
                  <a:gd name="T69" fmla="*/ 8450 h 20000"/>
                  <a:gd name="T70" fmla="*/ 7254 w 20000"/>
                  <a:gd name="T71" fmla="*/ 7240 h 20000"/>
                  <a:gd name="T72" fmla="*/ 8214 w 20000"/>
                  <a:gd name="T73" fmla="*/ 6030 h 20000"/>
                  <a:gd name="T74" fmla="*/ 8214 w 20000"/>
                  <a:gd name="T75" fmla="*/ 5711 h 20000"/>
                  <a:gd name="T76" fmla="*/ 7612 w 20000"/>
                  <a:gd name="T77" fmla="*/ 5159 h 20000"/>
                  <a:gd name="T78" fmla="*/ 8772 w 20000"/>
                  <a:gd name="T79" fmla="*/ 4926 h 20000"/>
                  <a:gd name="T80" fmla="*/ 9710 w 20000"/>
                  <a:gd name="T81" fmla="*/ 4289 h 20000"/>
                  <a:gd name="T82" fmla="*/ 9219 w 20000"/>
                  <a:gd name="T83" fmla="*/ 3843 h 20000"/>
                  <a:gd name="T84" fmla="*/ 9219 w 20000"/>
                  <a:gd name="T85" fmla="*/ 3376 h 20000"/>
                  <a:gd name="T86" fmla="*/ 10960 w 20000"/>
                  <a:gd name="T87" fmla="*/ 2951 h 20000"/>
                  <a:gd name="T88" fmla="*/ 11183 w 20000"/>
                  <a:gd name="T89" fmla="*/ 2633 h 20000"/>
                  <a:gd name="T90" fmla="*/ 11897 w 20000"/>
                  <a:gd name="T91" fmla="*/ 2633 h 20000"/>
                  <a:gd name="T92" fmla="*/ 12813 w 20000"/>
                  <a:gd name="T93" fmla="*/ 1741 h 20000"/>
                  <a:gd name="T94" fmla="*/ 13638 w 20000"/>
                  <a:gd name="T95" fmla="*/ 1529 h 20000"/>
                  <a:gd name="T96" fmla="*/ 14330 w 20000"/>
                  <a:gd name="T97" fmla="*/ 637 h 20000"/>
                  <a:gd name="T98" fmla="*/ 15134 w 20000"/>
                  <a:gd name="T99" fmla="*/ 1423 h 20000"/>
                  <a:gd name="T100" fmla="*/ 16161 w 20000"/>
                  <a:gd name="T101" fmla="*/ 1083 h 20000"/>
                  <a:gd name="T102" fmla="*/ 16518 w 20000"/>
                  <a:gd name="T103" fmla="*/ 0 h 20000"/>
                  <a:gd name="T104" fmla="*/ 17567 w 20000"/>
                  <a:gd name="T105" fmla="*/ 637 h 20000"/>
                  <a:gd name="T106" fmla="*/ 18259 w 20000"/>
                  <a:gd name="T107" fmla="*/ 552 h 20000"/>
                  <a:gd name="T108" fmla="*/ 19531 w 20000"/>
                  <a:gd name="T109" fmla="*/ 1083 h 20000"/>
                  <a:gd name="T110" fmla="*/ 19063 w 20000"/>
                  <a:gd name="T111" fmla="*/ 174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00" h="20000">
                    <a:moveTo>
                      <a:pt x="19531" y="2081"/>
                    </a:moveTo>
                    <a:lnTo>
                      <a:pt x="19174" y="2081"/>
                    </a:lnTo>
                    <a:lnTo>
                      <a:pt x="18259" y="3163"/>
                    </a:lnTo>
                    <a:lnTo>
                      <a:pt x="18482" y="2633"/>
                    </a:lnTo>
                    <a:lnTo>
                      <a:pt x="18616" y="2293"/>
                    </a:lnTo>
                    <a:lnTo>
                      <a:pt x="18259" y="1975"/>
                    </a:lnTo>
                    <a:lnTo>
                      <a:pt x="17679" y="1741"/>
                    </a:lnTo>
                    <a:lnTo>
                      <a:pt x="17567" y="1529"/>
                    </a:lnTo>
                    <a:lnTo>
                      <a:pt x="16987" y="1741"/>
                    </a:lnTo>
                    <a:lnTo>
                      <a:pt x="16741" y="1741"/>
                    </a:lnTo>
                    <a:lnTo>
                      <a:pt x="16384" y="1741"/>
                    </a:lnTo>
                    <a:lnTo>
                      <a:pt x="16049" y="2293"/>
                    </a:lnTo>
                    <a:lnTo>
                      <a:pt x="16049" y="2845"/>
                    </a:lnTo>
                    <a:lnTo>
                      <a:pt x="16049" y="3376"/>
                    </a:lnTo>
                    <a:lnTo>
                      <a:pt x="15603" y="3376"/>
                    </a:lnTo>
                    <a:lnTo>
                      <a:pt x="15603" y="3715"/>
                    </a:lnTo>
                    <a:lnTo>
                      <a:pt x="15469" y="3715"/>
                    </a:lnTo>
                    <a:lnTo>
                      <a:pt x="15134" y="3503"/>
                    </a:lnTo>
                    <a:lnTo>
                      <a:pt x="14688" y="3376"/>
                    </a:lnTo>
                    <a:lnTo>
                      <a:pt x="14554" y="3503"/>
                    </a:lnTo>
                    <a:lnTo>
                      <a:pt x="14085" y="3503"/>
                    </a:lnTo>
                    <a:lnTo>
                      <a:pt x="13638" y="3503"/>
                    </a:lnTo>
                    <a:lnTo>
                      <a:pt x="13058" y="2951"/>
                    </a:lnTo>
                    <a:lnTo>
                      <a:pt x="12455" y="2845"/>
                    </a:lnTo>
                    <a:lnTo>
                      <a:pt x="12232" y="2845"/>
                    </a:lnTo>
                    <a:lnTo>
                      <a:pt x="12455" y="3163"/>
                    </a:lnTo>
                    <a:lnTo>
                      <a:pt x="12143" y="2951"/>
                    </a:lnTo>
                    <a:lnTo>
                      <a:pt x="12143" y="3163"/>
                    </a:lnTo>
                    <a:lnTo>
                      <a:pt x="11674" y="3163"/>
                    </a:lnTo>
                    <a:lnTo>
                      <a:pt x="11674" y="3503"/>
                    </a:lnTo>
                    <a:lnTo>
                      <a:pt x="11674" y="3843"/>
                    </a:lnTo>
                    <a:lnTo>
                      <a:pt x="11897" y="4055"/>
                    </a:lnTo>
                    <a:lnTo>
                      <a:pt x="11674" y="4289"/>
                    </a:lnTo>
                    <a:lnTo>
                      <a:pt x="10960" y="4055"/>
                    </a:lnTo>
                    <a:lnTo>
                      <a:pt x="10402" y="3843"/>
                    </a:lnTo>
                    <a:lnTo>
                      <a:pt x="10268" y="4055"/>
                    </a:lnTo>
                    <a:lnTo>
                      <a:pt x="10268" y="4374"/>
                    </a:lnTo>
                    <a:lnTo>
                      <a:pt x="10268" y="4713"/>
                    </a:lnTo>
                    <a:lnTo>
                      <a:pt x="9710" y="4607"/>
                    </a:lnTo>
                    <a:lnTo>
                      <a:pt x="9219" y="4713"/>
                    </a:lnTo>
                    <a:lnTo>
                      <a:pt x="9219" y="5159"/>
                    </a:lnTo>
                    <a:lnTo>
                      <a:pt x="8884" y="5499"/>
                    </a:lnTo>
                    <a:lnTo>
                      <a:pt x="9129" y="6030"/>
                    </a:lnTo>
                    <a:lnTo>
                      <a:pt x="8884" y="6157"/>
                    </a:lnTo>
                    <a:lnTo>
                      <a:pt x="8304" y="6921"/>
                    </a:lnTo>
                    <a:lnTo>
                      <a:pt x="8304" y="7240"/>
                    </a:lnTo>
                    <a:lnTo>
                      <a:pt x="7857" y="7580"/>
                    </a:lnTo>
                    <a:lnTo>
                      <a:pt x="7857" y="8662"/>
                    </a:lnTo>
                    <a:lnTo>
                      <a:pt x="7612" y="9321"/>
                    </a:lnTo>
                    <a:lnTo>
                      <a:pt x="7254" y="10106"/>
                    </a:lnTo>
                    <a:lnTo>
                      <a:pt x="7612" y="10318"/>
                    </a:lnTo>
                    <a:lnTo>
                      <a:pt x="7612" y="10446"/>
                    </a:lnTo>
                    <a:lnTo>
                      <a:pt x="7612" y="10977"/>
                    </a:lnTo>
                    <a:lnTo>
                      <a:pt x="6808" y="10743"/>
                    </a:lnTo>
                    <a:lnTo>
                      <a:pt x="6473" y="10977"/>
                    </a:lnTo>
                    <a:lnTo>
                      <a:pt x="5893" y="11529"/>
                    </a:lnTo>
                    <a:lnTo>
                      <a:pt x="5893" y="12081"/>
                    </a:lnTo>
                    <a:lnTo>
                      <a:pt x="6116" y="12399"/>
                    </a:lnTo>
                    <a:lnTo>
                      <a:pt x="5893" y="12739"/>
                    </a:lnTo>
                    <a:lnTo>
                      <a:pt x="6116" y="13524"/>
                    </a:lnTo>
                    <a:lnTo>
                      <a:pt x="6339" y="14480"/>
                    </a:lnTo>
                    <a:lnTo>
                      <a:pt x="6473" y="14713"/>
                    </a:lnTo>
                    <a:lnTo>
                      <a:pt x="6808" y="15053"/>
                    </a:lnTo>
                    <a:lnTo>
                      <a:pt x="6696" y="15372"/>
                    </a:lnTo>
                    <a:lnTo>
                      <a:pt x="6339" y="15605"/>
                    </a:lnTo>
                    <a:lnTo>
                      <a:pt x="6696" y="16263"/>
                    </a:lnTo>
                    <a:lnTo>
                      <a:pt x="6696" y="16688"/>
                    </a:lnTo>
                    <a:lnTo>
                      <a:pt x="6473" y="17240"/>
                    </a:lnTo>
                    <a:lnTo>
                      <a:pt x="6116" y="17240"/>
                    </a:lnTo>
                    <a:lnTo>
                      <a:pt x="6116" y="17346"/>
                    </a:lnTo>
                    <a:lnTo>
                      <a:pt x="5893" y="17558"/>
                    </a:lnTo>
                    <a:lnTo>
                      <a:pt x="5893" y="18556"/>
                    </a:lnTo>
                    <a:lnTo>
                      <a:pt x="5424" y="18429"/>
                    </a:lnTo>
                    <a:lnTo>
                      <a:pt x="4955" y="18132"/>
                    </a:lnTo>
                    <a:lnTo>
                      <a:pt x="4955" y="17346"/>
                    </a:lnTo>
                    <a:lnTo>
                      <a:pt x="4955" y="17240"/>
                    </a:lnTo>
                    <a:lnTo>
                      <a:pt x="4844" y="17346"/>
                    </a:lnTo>
                    <a:lnTo>
                      <a:pt x="4844" y="17686"/>
                    </a:lnTo>
                    <a:lnTo>
                      <a:pt x="4621" y="17686"/>
                    </a:lnTo>
                    <a:lnTo>
                      <a:pt x="4844" y="18132"/>
                    </a:lnTo>
                    <a:lnTo>
                      <a:pt x="4375" y="18556"/>
                    </a:lnTo>
                    <a:lnTo>
                      <a:pt x="4040" y="18217"/>
                    </a:lnTo>
                    <a:lnTo>
                      <a:pt x="3929" y="18429"/>
                    </a:lnTo>
                    <a:lnTo>
                      <a:pt x="4040" y="18556"/>
                    </a:lnTo>
                    <a:lnTo>
                      <a:pt x="3460" y="19342"/>
                    </a:lnTo>
                    <a:lnTo>
                      <a:pt x="3013" y="19873"/>
                    </a:lnTo>
                    <a:lnTo>
                      <a:pt x="1964" y="19979"/>
                    </a:lnTo>
                    <a:lnTo>
                      <a:pt x="1272" y="19639"/>
                    </a:lnTo>
                    <a:lnTo>
                      <a:pt x="580" y="19002"/>
                    </a:lnTo>
                    <a:lnTo>
                      <a:pt x="580" y="18556"/>
                    </a:lnTo>
                    <a:lnTo>
                      <a:pt x="1049" y="18769"/>
                    </a:lnTo>
                    <a:lnTo>
                      <a:pt x="915" y="18429"/>
                    </a:lnTo>
                    <a:lnTo>
                      <a:pt x="1049" y="17898"/>
                    </a:lnTo>
                    <a:lnTo>
                      <a:pt x="915" y="17898"/>
                    </a:lnTo>
                    <a:lnTo>
                      <a:pt x="692" y="18132"/>
                    </a:lnTo>
                    <a:lnTo>
                      <a:pt x="357" y="18429"/>
                    </a:lnTo>
                    <a:lnTo>
                      <a:pt x="89" y="18132"/>
                    </a:lnTo>
                    <a:lnTo>
                      <a:pt x="580" y="17558"/>
                    </a:lnTo>
                    <a:lnTo>
                      <a:pt x="692" y="17558"/>
                    </a:lnTo>
                    <a:lnTo>
                      <a:pt x="915" y="17346"/>
                    </a:lnTo>
                    <a:lnTo>
                      <a:pt x="692" y="17346"/>
                    </a:lnTo>
                    <a:lnTo>
                      <a:pt x="1049" y="17028"/>
                    </a:lnTo>
                    <a:lnTo>
                      <a:pt x="1607" y="16476"/>
                    </a:lnTo>
                    <a:lnTo>
                      <a:pt x="915" y="16688"/>
                    </a:lnTo>
                    <a:lnTo>
                      <a:pt x="692" y="17028"/>
                    </a:lnTo>
                    <a:lnTo>
                      <a:pt x="580" y="16688"/>
                    </a:lnTo>
                    <a:lnTo>
                      <a:pt x="357" y="17028"/>
                    </a:lnTo>
                    <a:lnTo>
                      <a:pt x="357" y="16476"/>
                    </a:lnTo>
                    <a:lnTo>
                      <a:pt x="89" y="15924"/>
                    </a:lnTo>
                    <a:lnTo>
                      <a:pt x="89" y="15605"/>
                    </a:lnTo>
                    <a:lnTo>
                      <a:pt x="1272" y="15605"/>
                    </a:lnTo>
                    <a:lnTo>
                      <a:pt x="1964" y="15605"/>
                    </a:lnTo>
                    <a:lnTo>
                      <a:pt x="2188" y="15372"/>
                    </a:lnTo>
                    <a:lnTo>
                      <a:pt x="1964" y="15265"/>
                    </a:lnTo>
                    <a:lnTo>
                      <a:pt x="1964" y="15372"/>
                    </a:lnTo>
                    <a:lnTo>
                      <a:pt x="1607" y="15372"/>
                    </a:lnTo>
                    <a:lnTo>
                      <a:pt x="1272" y="15372"/>
                    </a:lnTo>
                    <a:lnTo>
                      <a:pt x="357" y="15372"/>
                    </a:lnTo>
                    <a:lnTo>
                      <a:pt x="89" y="15265"/>
                    </a:lnTo>
                    <a:lnTo>
                      <a:pt x="89" y="15053"/>
                    </a:lnTo>
                    <a:lnTo>
                      <a:pt x="357" y="14926"/>
                    </a:lnTo>
                    <a:lnTo>
                      <a:pt x="0" y="14713"/>
                    </a:lnTo>
                    <a:lnTo>
                      <a:pt x="357" y="14480"/>
                    </a:lnTo>
                    <a:lnTo>
                      <a:pt x="1049" y="14480"/>
                    </a:lnTo>
                    <a:lnTo>
                      <a:pt x="1272" y="14480"/>
                    </a:lnTo>
                    <a:lnTo>
                      <a:pt x="692" y="14161"/>
                    </a:lnTo>
                    <a:lnTo>
                      <a:pt x="89" y="14161"/>
                    </a:lnTo>
                    <a:lnTo>
                      <a:pt x="89" y="13949"/>
                    </a:lnTo>
                    <a:lnTo>
                      <a:pt x="580" y="13949"/>
                    </a:lnTo>
                    <a:lnTo>
                      <a:pt x="915" y="13822"/>
                    </a:lnTo>
                    <a:lnTo>
                      <a:pt x="1607" y="13609"/>
                    </a:lnTo>
                    <a:lnTo>
                      <a:pt x="1607" y="13822"/>
                    </a:lnTo>
                    <a:lnTo>
                      <a:pt x="1830" y="13822"/>
                    </a:lnTo>
                    <a:lnTo>
                      <a:pt x="1607" y="13524"/>
                    </a:lnTo>
                    <a:lnTo>
                      <a:pt x="915" y="13524"/>
                    </a:lnTo>
                    <a:lnTo>
                      <a:pt x="915" y="13270"/>
                    </a:lnTo>
                    <a:lnTo>
                      <a:pt x="1607" y="13057"/>
                    </a:lnTo>
                    <a:lnTo>
                      <a:pt x="1830" y="13270"/>
                    </a:lnTo>
                    <a:lnTo>
                      <a:pt x="2411" y="12951"/>
                    </a:lnTo>
                    <a:lnTo>
                      <a:pt x="1607" y="12951"/>
                    </a:lnTo>
                    <a:lnTo>
                      <a:pt x="1607" y="12739"/>
                    </a:lnTo>
                    <a:lnTo>
                      <a:pt x="2188" y="12951"/>
                    </a:lnTo>
                    <a:lnTo>
                      <a:pt x="2768" y="13057"/>
                    </a:lnTo>
                    <a:lnTo>
                      <a:pt x="2411" y="12739"/>
                    </a:lnTo>
                    <a:lnTo>
                      <a:pt x="2545" y="12611"/>
                    </a:lnTo>
                    <a:lnTo>
                      <a:pt x="3103" y="12951"/>
                    </a:lnTo>
                    <a:lnTo>
                      <a:pt x="3013" y="12611"/>
                    </a:lnTo>
                    <a:lnTo>
                      <a:pt x="2768" y="12399"/>
                    </a:lnTo>
                    <a:lnTo>
                      <a:pt x="3013" y="12399"/>
                    </a:lnTo>
                    <a:lnTo>
                      <a:pt x="3013" y="12081"/>
                    </a:lnTo>
                    <a:lnTo>
                      <a:pt x="3929" y="11635"/>
                    </a:lnTo>
                    <a:lnTo>
                      <a:pt x="4040" y="12081"/>
                    </a:lnTo>
                    <a:lnTo>
                      <a:pt x="4844" y="11868"/>
                    </a:lnTo>
                    <a:lnTo>
                      <a:pt x="5201" y="11316"/>
                    </a:lnTo>
                    <a:lnTo>
                      <a:pt x="5201" y="11189"/>
                    </a:lnTo>
                    <a:lnTo>
                      <a:pt x="5201" y="10977"/>
                    </a:lnTo>
                    <a:lnTo>
                      <a:pt x="4844" y="11316"/>
                    </a:lnTo>
                    <a:lnTo>
                      <a:pt x="4286" y="11868"/>
                    </a:lnTo>
                    <a:lnTo>
                      <a:pt x="3683" y="11529"/>
                    </a:lnTo>
                    <a:lnTo>
                      <a:pt x="4286" y="11189"/>
                    </a:lnTo>
                    <a:lnTo>
                      <a:pt x="4286" y="10977"/>
                    </a:lnTo>
                    <a:lnTo>
                      <a:pt x="4844" y="10318"/>
                    </a:lnTo>
                    <a:lnTo>
                      <a:pt x="5201" y="10446"/>
                    </a:lnTo>
                    <a:lnTo>
                      <a:pt x="5424" y="10106"/>
                    </a:lnTo>
                    <a:lnTo>
                      <a:pt x="5201" y="10106"/>
                    </a:lnTo>
                    <a:lnTo>
                      <a:pt x="5558" y="9533"/>
                    </a:lnTo>
                    <a:lnTo>
                      <a:pt x="5781" y="9214"/>
                    </a:lnTo>
                    <a:lnTo>
                      <a:pt x="6116" y="9321"/>
                    </a:lnTo>
                    <a:lnTo>
                      <a:pt x="6339" y="9002"/>
                    </a:lnTo>
                    <a:lnTo>
                      <a:pt x="5893" y="9002"/>
                    </a:lnTo>
                    <a:lnTo>
                      <a:pt x="5893" y="8896"/>
                    </a:lnTo>
                    <a:lnTo>
                      <a:pt x="5781" y="9002"/>
                    </a:lnTo>
                    <a:lnTo>
                      <a:pt x="5781" y="8450"/>
                    </a:lnTo>
                    <a:lnTo>
                      <a:pt x="6116" y="8662"/>
                    </a:lnTo>
                    <a:lnTo>
                      <a:pt x="5893" y="8450"/>
                    </a:lnTo>
                    <a:lnTo>
                      <a:pt x="6116" y="8004"/>
                    </a:lnTo>
                    <a:lnTo>
                      <a:pt x="6473" y="8004"/>
                    </a:lnTo>
                    <a:lnTo>
                      <a:pt x="6339" y="7580"/>
                    </a:lnTo>
                    <a:lnTo>
                      <a:pt x="7254" y="7452"/>
                    </a:lnTo>
                    <a:lnTo>
                      <a:pt x="7254" y="7240"/>
                    </a:lnTo>
                    <a:lnTo>
                      <a:pt x="6339" y="7452"/>
                    </a:lnTo>
                    <a:lnTo>
                      <a:pt x="6339" y="6921"/>
                    </a:lnTo>
                    <a:lnTo>
                      <a:pt x="6696" y="6369"/>
                    </a:lnTo>
                    <a:lnTo>
                      <a:pt x="7031" y="6030"/>
                    </a:lnTo>
                    <a:lnTo>
                      <a:pt x="8214" y="6030"/>
                    </a:lnTo>
                    <a:lnTo>
                      <a:pt x="8214" y="5817"/>
                    </a:lnTo>
                    <a:lnTo>
                      <a:pt x="7254" y="5817"/>
                    </a:lnTo>
                    <a:lnTo>
                      <a:pt x="7857" y="5499"/>
                    </a:lnTo>
                    <a:lnTo>
                      <a:pt x="7969" y="5499"/>
                    </a:lnTo>
                    <a:lnTo>
                      <a:pt x="8214" y="5711"/>
                    </a:lnTo>
                    <a:lnTo>
                      <a:pt x="8214" y="5499"/>
                    </a:lnTo>
                    <a:lnTo>
                      <a:pt x="7969" y="5244"/>
                    </a:lnTo>
                    <a:lnTo>
                      <a:pt x="8214" y="5159"/>
                    </a:lnTo>
                    <a:lnTo>
                      <a:pt x="7857" y="5244"/>
                    </a:lnTo>
                    <a:lnTo>
                      <a:pt x="7612" y="5159"/>
                    </a:lnTo>
                    <a:lnTo>
                      <a:pt x="8214" y="4926"/>
                    </a:lnTo>
                    <a:lnTo>
                      <a:pt x="8304" y="4926"/>
                    </a:lnTo>
                    <a:lnTo>
                      <a:pt x="8304" y="4713"/>
                    </a:lnTo>
                    <a:lnTo>
                      <a:pt x="8772" y="4713"/>
                    </a:lnTo>
                    <a:lnTo>
                      <a:pt x="8772" y="4926"/>
                    </a:lnTo>
                    <a:lnTo>
                      <a:pt x="8884" y="4713"/>
                    </a:lnTo>
                    <a:lnTo>
                      <a:pt x="8772" y="4713"/>
                    </a:lnTo>
                    <a:lnTo>
                      <a:pt x="8884" y="4289"/>
                    </a:lnTo>
                    <a:lnTo>
                      <a:pt x="9219" y="4289"/>
                    </a:lnTo>
                    <a:lnTo>
                      <a:pt x="9710" y="4289"/>
                    </a:lnTo>
                    <a:lnTo>
                      <a:pt x="9710" y="4055"/>
                    </a:lnTo>
                    <a:lnTo>
                      <a:pt x="9219" y="4289"/>
                    </a:lnTo>
                    <a:lnTo>
                      <a:pt x="8884" y="4289"/>
                    </a:lnTo>
                    <a:lnTo>
                      <a:pt x="9129" y="3843"/>
                    </a:lnTo>
                    <a:lnTo>
                      <a:pt x="9219" y="3843"/>
                    </a:lnTo>
                    <a:lnTo>
                      <a:pt x="9710" y="3503"/>
                    </a:lnTo>
                    <a:lnTo>
                      <a:pt x="9710" y="3376"/>
                    </a:lnTo>
                    <a:lnTo>
                      <a:pt x="9821" y="3163"/>
                    </a:lnTo>
                    <a:lnTo>
                      <a:pt x="9710" y="3163"/>
                    </a:lnTo>
                    <a:lnTo>
                      <a:pt x="9219" y="3376"/>
                    </a:lnTo>
                    <a:lnTo>
                      <a:pt x="9129" y="3163"/>
                    </a:lnTo>
                    <a:lnTo>
                      <a:pt x="9219" y="2845"/>
                    </a:lnTo>
                    <a:lnTo>
                      <a:pt x="10402" y="2633"/>
                    </a:lnTo>
                    <a:lnTo>
                      <a:pt x="10737" y="2951"/>
                    </a:lnTo>
                    <a:lnTo>
                      <a:pt x="10960" y="2951"/>
                    </a:lnTo>
                    <a:lnTo>
                      <a:pt x="10960" y="2845"/>
                    </a:lnTo>
                    <a:lnTo>
                      <a:pt x="10625" y="2845"/>
                    </a:lnTo>
                    <a:lnTo>
                      <a:pt x="10402" y="2420"/>
                    </a:lnTo>
                    <a:lnTo>
                      <a:pt x="10960" y="2081"/>
                    </a:lnTo>
                    <a:lnTo>
                      <a:pt x="11183" y="2633"/>
                    </a:lnTo>
                    <a:lnTo>
                      <a:pt x="11183" y="2293"/>
                    </a:lnTo>
                    <a:lnTo>
                      <a:pt x="11317" y="2081"/>
                    </a:lnTo>
                    <a:lnTo>
                      <a:pt x="11540" y="2845"/>
                    </a:lnTo>
                    <a:lnTo>
                      <a:pt x="11674" y="2845"/>
                    </a:lnTo>
                    <a:lnTo>
                      <a:pt x="11897" y="2633"/>
                    </a:lnTo>
                    <a:lnTo>
                      <a:pt x="11674" y="2293"/>
                    </a:lnTo>
                    <a:lnTo>
                      <a:pt x="12143" y="2081"/>
                    </a:lnTo>
                    <a:lnTo>
                      <a:pt x="12232" y="1975"/>
                    </a:lnTo>
                    <a:lnTo>
                      <a:pt x="12813" y="2293"/>
                    </a:lnTo>
                    <a:lnTo>
                      <a:pt x="12813" y="1741"/>
                    </a:lnTo>
                    <a:lnTo>
                      <a:pt x="12455" y="1741"/>
                    </a:lnTo>
                    <a:lnTo>
                      <a:pt x="12143" y="1423"/>
                    </a:lnTo>
                    <a:lnTo>
                      <a:pt x="12701" y="1423"/>
                    </a:lnTo>
                    <a:lnTo>
                      <a:pt x="13415" y="1423"/>
                    </a:lnTo>
                    <a:lnTo>
                      <a:pt x="13638" y="1529"/>
                    </a:lnTo>
                    <a:lnTo>
                      <a:pt x="13973" y="1210"/>
                    </a:lnTo>
                    <a:lnTo>
                      <a:pt x="13973" y="637"/>
                    </a:lnTo>
                    <a:lnTo>
                      <a:pt x="14330" y="1083"/>
                    </a:lnTo>
                    <a:lnTo>
                      <a:pt x="14554" y="870"/>
                    </a:lnTo>
                    <a:lnTo>
                      <a:pt x="14330" y="637"/>
                    </a:lnTo>
                    <a:lnTo>
                      <a:pt x="14554" y="297"/>
                    </a:lnTo>
                    <a:lnTo>
                      <a:pt x="15134" y="297"/>
                    </a:lnTo>
                    <a:lnTo>
                      <a:pt x="15469" y="297"/>
                    </a:lnTo>
                    <a:lnTo>
                      <a:pt x="15134" y="870"/>
                    </a:lnTo>
                    <a:lnTo>
                      <a:pt x="15134" y="1423"/>
                    </a:lnTo>
                    <a:lnTo>
                      <a:pt x="15246" y="1529"/>
                    </a:lnTo>
                    <a:lnTo>
                      <a:pt x="15246" y="1210"/>
                    </a:lnTo>
                    <a:lnTo>
                      <a:pt x="16049" y="297"/>
                    </a:lnTo>
                    <a:lnTo>
                      <a:pt x="16049" y="637"/>
                    </a:lnTo>
                    <a:lnTo>
                      <a:pt x="16161" y="1083"/>
                    </a:lnTo>
                    <a:lnTo>
                      <a:pt x="16384" y="870"/>
                    </a:lnTo>
                    <a:lnTo>
                      <a:pt x="16518" y="637"/>
                    </a:lnTo>
                    <a:lnTo>
                      <a:pt x="16741" y="552"/>
                    </a:lnTo>
                    <a:lnTo>
                      <a:pt x="16384" y="297"/>
                    </a:lnTo>
                    <a:lnTo>
                      <a:pt x="16518" y="0"/>
                    </a:lnTo>
                    <a:lnTo>
                      <a:pt x="17098" y="0"/>
                    </a:lnTo>
                    <a:lnTo>
                      <a:pt x="17567" y="85"/>
                    </a:lnTo>
                    <a:lnTo>
                      <a:pt x="17567" y="297"/>
                    </a:lnTo>
                    <a:lnTo>
                      <a:pt x="17098" y="552"/>
                    </a:lnTo>
                    <a:lnTo>
                      <a:pt x="17567" y="637"/>
                    </a:lnTo>
                    <a:lnTo>
                      <a:pt x="17098" y="870"/>
                    </a:lnTo>
                    <a:lnTo>
                      <a:pt x="17567" y="870"/>
                    </a:lnTo>
                    <a:lnTo>
                      <a:pt x="17902" y="297"/>
                    </a:lnTo>
                    <a:lnTo>
                      <a:pt x="18013" y="297"/>
                    </a:lnTo>
                    <a:lnTo>
                      <a:pt x="18259" y="552"/>
                    </a:lnTo>
                    <a:lnTo>
                      <a:pt x="18482" y="297"/>
                    </a:lnTo>
                    <a:lnTo>
                      <a:pt x="19063" y="637"/>
                    </a:lnTo>
                    <a:lnTo>
                      <a:pt x="18839" y="637"/>
                    </a:lnTo>
                    <a:lnTo>
                      <a:pt x="19174" y="637"/>
                    </a:lnTo>
                    <a:lnTo>
                      <a:pt x="19531" y="1083"/>
                    </a:lnTo>
                    <a:lnTo>
                      <a:pt x="19063" y="1423"/>
                    </a:lnTo>
                    <a:lnTo>
                      <a:pt x="17902" y="1423"/>
                    </a:lnTo>
                    <a:lnTo>
                      <a:pt x="18482" y="1529"/>
                    </a:lnTo>
                    <a:lnTo>
                      <a:pt x="18839" y="1975"/>
                    </a:lnTo>
                    <a:lnTo>
                      <a:pt x="19063" y="1741"/>
                    </a:lnTo>
                    <a:lnTo>
                      <a:pt x="19397" y="1741"/>
                    </a:lnTo>
                    <a:lnTo>
                      <a:pt x="19754" y="1975"/>
                    </a:lnTo>
                    <a:lnTo>
                      <a:pt x="19978" y="2081"/>
                    </a:lnTo>
                    <a:lnTo>
                      <a:pt x="19531" y="20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 name="Freeform 267"/>
              <p:cNvSpPr>
                <a:spLocks/>
              </p:cNvSpPr>
              <p:nvPr/>
            </p:nvSpPr>
            <p:spPr bwMode="auto">
              <a:xfrm>
                <a:off x="5335588" y="2095500"/>
                <a:ext cx="30162" cy="26988"/>
              </a:xfrm>
              <a:custGeom>
                <a:avLst/>
                <a:gdLst>
                  <a:gd name="T0" fmla="*/ 1702 w 20000"/>
                  <a:gd name="T1" fmla="*/ 19524 h 20000"/>
                  <a:gd name="T2" fmla="*/ 0 w 20000"/>
                  <a:gd name="T3" fmla="*/ 11905 h 20000"/>
                  <a:gd name="T4" fmla="*/ 8511 w 20000"/>
                  <a:gd name="T5" fmla="*/ 0 h 20000"/>
                  <a:gd name="T6" fmla="*/ 13191 w 20000"/>
                  <a:gd name="T7" fmla="*/ 7143 h 20000"/>
                  <a:gd name="T8" fmla="*/ 17447 w 20000"/>
                  <a:gd name="T9" fmla="*/ 0 h 20000"/>
                  <a:gd name="T10" fmla="*/ 19574 w 20000"/>
                  <a:gd name="T11" fmla="*/ 7143 h 20000"/>
                  <a:gd name="T12" fmla="*/ 8511 w 20000"/>
                  <a:gd name="T13" fmla="*/ 17143 h 20000"/>
                  <a:gd name="T14" fmla="*/ 6809 w 20000"/>
                  <a:gd name="T15" fmla="*/ 19524 h 20000"/>
                  <a:gd name="T16" fmla="*/ 1702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702" y="19524"/>
                    </a:moveTo>
                    <a:lnTo>
                      <a:pt x="0" y="11905"/>
                    </a:lnTo>
                    <a:lnTo>
                      <a:pt x="8511" y="0"/>
                    </a:lnTo>
                    <a:lnTo>
                      <a:pt x="13191" y="7143"/>
                    </a:lnTo>
                    <a:lnTo>
                      <a:pt x="17447" y="0"/>
                    </a:lnTo>
                    <a:lnTo>
                      <a:pt x="19574" y="7143"/>
                    </a:lnTo>
                    <a:lnTo>
                      <a:pt x="8511" y="17143"/>
                    </a:lnTo>
                    <a:lnTo>
                      <a:pt x="6809" y="19524"/>
                    </a:lnTo>
                    <a:lnTo>
                      <a:pt x="1702"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 name="Freeform 266"/>
              <p:cNvSpPr>
                <a:spLocks/>
              </p:cNvSpPr>
              <p:nvPr/>
            </p:nvSpPr>
            <p:spPr bwMode="auto">
              <a:xfrm>
                <a:off x="5318125" y="2092325"/>
                <a:ext cx="17463" cy="20638"/>
              </a:xfrm>
              <a:custGeom>
                <a:avLst/>
                <a:gdLst>
                  <a:gd name="T0" fmla="*/ 11429 w 20000"/>
                  <a:gd name="T1" fmla="*/ 19375 h 20000"/>
                  <a:gd name="T2" fmla="*/ 4286 w 20000"/>
                  <a:gd name="T3" fmla="*/ 19375 h 20000"/>
                  <a:gd name="T4" fmla="*/ 19286 w 20000"/>
                  <a:gd name="T5" fmla="*/ 13125 h 20000"/>
                  <a:gd name="T6" fmla="*/ 11429 w 20000"/>
                  <a:gd name="T7" fmla="*/ 13125 h 20000"/>
                  <a:gd name="T8" fmla="*/ 0 w 20000"/>
                  <a:gd name="T9" fmla="*/ 19375 h 20000"/>
                  <a:gd name="T10" fmla="*/ 0 w 20000"/>
                  <a:gd name="T11" fmla="*/ 9375 h 20000"/>
                  <a:gd name="T12" fmla="*/ 11429 w 20000"/>
                  <a:gd name="T13" fmla="*/ 9375 h 20000"/>
                  <a:gd name="T14" fmla="*/ 11429 w 20000"/>
                  <a:gd name="T15" fmla="*/ 0 h 20000"/>
                  <a:gd name="T16" fmla="*/ 19286 w 20000"/>
                  <a:gd name="T17" fmla="*/ 3750 h 20000"/>
                  <a:gd name="T18" fmla="*/ 19286 w 20000"/>
                  <a:gd name="T19" fmla="*/ 13125 h 20000"/>
                  <a:gd name="T20" fmla="*/ 11429 w 20000"/>
                  <a:gd name="T21"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1429" y="19375"/>
                    </a:moveTo>
                    <a:lnTo>
                      <a:pt x="4286" y="19375"/>
                    </a:lnTo>
                    <a:lnTo>
                      <a:pt x="19286" y="13125"/>
                    </a:lnTo>
                    <a:lnTo>
                      <a:pt x="11429" y="13125"/>
                    </a:lnTo>
                    <a:lnTo>
                      <a:pt x="0" y="19375"/>
                    </a:lnTo>
                    <a:lnTo>
                      <a:pt x="0" y="9375"/>
                    </a:lnTo>
                    <a:lnTo>
                      <a:pt x="11429" y="9375"/>
                    </a:lnTo>
                    <a:lnTo>
                      <a:pt x="11429" y="0"/>
                    </a:lnTo>
                    <a:lnTo>
                      <a:pt x="19286" y="3750"/>
                    </a:lnTo>
                    <a:lnTo>
                      <a:pt x="19286" y="13125"/>
                    </a:lnTo>
                    <a:lnTo>
                      <a:pt x="11429"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 name="Freeform 265"/>
              <p:cNvSpPr>
                <a:spLocks/>
              </p:cNvSpPr>
              <p:nvPr/>
            </p:nvSpPr>
            <p:spPr bwMode="auto">
              <a:xfrm>
                <a:off x="5243513" y="2940050"/>
                <a:ext cx="196850" cy="92075"/>
              </a:xfrm>
              <a:custGeom>
                <a:avLst/>
                <a:gdLst>
                  <a:gd name="T0" fmla="*/ 10611 w 20000"/>
                  <a:gd name="T1" fmla="*/ 2192 h 20000"/>
                  <a:gd name="T2" fmla="*/ 12283 w 20000"/>
                  <a:gd name="T3" fmla="*/ 3562 h 20000"/>
                  <a:gd name="T4" fmla="*/ 13248 w 20000"/>
                  <a:gd name="T5" fmla="*/ 3562 h 20000"/>
                  <a:gd name="T6" fmla="*/ 14598 w 20000"/>
                  <a:gd name="T7" fmla="*/ 0 h 20000"/>
                  <a:gd name="T8" fmla="*/ 16270 w 20000"/>
                  <a:gd name="T9" fmla="*/ 1370 h 20000"/>
                  <a:gd name="T10" fmla="*/ 18907 w 20000"/>
                  <a:gd name="T11" fmla="*/ 2192 h 20000"/>
                  <a:gd name="T12" fmla="*/ 18907 w 20000"/>
                  <a:gd name="T13" fmla="*/ 5616 h 20000"/>
                  <a:gd name="T14" fmla="*/ 19936 w 20000"/>
                  <a:gd name="T15" fmla="*/ 7808 h 20000"/>
                  <a:gd name="T16" fmla="*/ 19936 w 20000"/>
                  <a:gd name="T17" fmla="*/ 9178 h 20000"/>
                  <a:gd name="T18" fmla="*/ 19293 w 20000"/>
                  <a:gd name="T19" fmla="*/ 10685 h 20000"/>
                  <a:gd name="T20" fmla="*/ 18264 w 20000"/>
                  <a:gd name="T21" fmla="*/ 10685 h 20000"/>
                  <a:gd name="T22" fmla="*/ 17621 w 20000"/>
                  <a:gd name="T23" fmla="*/ 10685 h 20000"/>
                  <a:gd name="T24" fmla="*/ 18264 w 20000"/>
                  <a:gd name="T25" fmla="*/ 11233 h 20000"/>
                  <a:gd name="T26" fmla="*/ 18264 w 20000"/>
                  <a:gd name="T27" fmla="*/ 16301 h 20000"/>
                  <a:gd name="T28" fmla="*/ 17299 w 20000"/>
                  <a:gd name="T29" fmla="*/ 17123 h 20000"/>
                  <a:gd name="T30" fmla="*/ 17299 w 20000"/>
                  <a:gd name="T31" fmla="*/ 18493 h 20000"/>
                  <a:gd name="T32" fmla="*/ 16270 w 20000"/>
                  <a:gd name="T33" fmla="*/ 18493 h 20000"/>
                  <a:gd name="T34" fmla="*/ 13248 w 20000"/>
                  <a:gd name="T35" fmla="*/ 19863 h 20000"/>
                  <a:gd name="T36" fmla="*/ 10611 w 20000"/>
                  <a:gd name="T37" fmla="*/ 19863 h 20000"/>
                  <a:gd name="T38" fmla="*/ 10354 w 20000"/>
                  <a:gd name="T39" fmla="*/ 19863 h 20000"/>
                  <a:gd name="T40" fmla="*/ 8617 w 20000"/>
                  <a:gd name="T41" fmla="*/ 17123 h 20000"/>
                  <a:gd name="T42" fmla="*/ 6945 w 20000"/>
                  <a:gd name="T43" fmla="*/ 14932 h 20000"/>
                  <a:gd name="T44" fmla="*/ 5981 w 20000"/>
                  <a:gd name="T45" fmla="*/ 14932 h 20000"/>
                  <a:gd name="T46" fmla="*/ 4309 w 20000"/>
                  <a:gd name="T47" fmla="*/ 14932 h 20000"/>
                  <a:gd name="T48" fmla="*/ 4309 w 20000"/>
                  <a:gd name="T49" fmla="*/ 17123 h 20000"/>
                  <a:gd name="T50" fmla="*/ 2637 w 20000"/>
                  <a:gd name="T51" fmla="*/ 17123 h 20000"/>
                  <a:gd name="T52" fmla="*/ 2315 w 20000"/>
                  <a:gd name="T53" fmla="*/ 17123 h 20000"/>
                  <a:gd name="T54" fmla="*/ 2315 w 20000"/>
                  <a:gd name="T55" fmla="*/ 16301 h 20000"/>
                  <a:gd name="T56" fmla="*/ 900 w 20000"/>
                  <a:gd name="T57" fmla="*/ 16301 h 20000"/>
                  <a:gd name="T58" fmla="*/ 900 w 20000"/>
                  <a:gd name="T59" fmla="*/ 14932 h 20000"/>
                  <a:gd name="T60" fmla="*/ 643 w 20000"/>
                  <a:gd name="T61" fmla="*/ 14932 h 20000"/>
                  <a:gd name="T62" fmla="*/ 0 w 20000"/>
                  <a:gd name="T63" fmla="*/ 13425 h 20000"/>
                  <a:gd name="T64" fmla="*/ 0 w 20000"/>
                  <a:gd name="T65" fmla="*/ 12877 h 20000"/>
                  <a:gd name="T66" fmla="*/ 643 w 20000"/>
                  <a:gd name="T67" fmla="*/ 11233 h 20000"/>
                  <a:gd name="T68" fmla="*/ 2315 w 20000"/>
                  <a:gd name="T69" fmla="*/ 12877 h 20000"/>
                  <a:gd name="T70" fmla="*/ 2315 w 20000"/>
                  <a:gd name="T71" fmla="*/ 11233 h 20000"/>
                  <a:gd name="T72" fmla="*/ 3280 w 20000"/>
                  <a:gd name="T73" fmla="*/ 11233 h 20000"/>
                  <a:gd name="T74" fmla="*/ 3666 w 20000"/>
                  <a:gd name="T75" fmla="*/ 12877 h 20000"/>
                  <a:gd name="T76" fmla="*/ 5273 w 20000"/>
                  <a:gd name="T77" fmla="*/ 11233 h 20000"/>
                  <a:gd name="T78" fmla="*/ 6302 w 20000"/>
                  <a:gd name="T79" fmla="*/ 11233 h 20000"/>
                  <a:gd name="T80" fmla="*/ 6945 w 20000"/>
                  <a:gd name="T81" fmla="*/ 10685 h 20000"/>
                  <a:gd name="T82" fmla="*/ 8617 w 20000"/>
                  <a:gd name="T83" fmla="*/ 10685 h 20000"/>
                  <a:gd name="T84" fmla="*/ 9325 w 20000"/>
                  <a:gd name="T85" fmla="*/ 11233 h 20000"/>
                  <a:gd name="T86" fmla="*/ 8617 w 20000"/>
                  <a:gd name="T87" fmla="*/ 9178 h 20000"/>
                  <a:gd name="T88" fmla="*/ 8617 w 20000"/>
                  <a:gd name="T89" fmla="*/ 5616 h 20000"/>
                  <a:gd name="T90" fmla="*/ 10611 w 20000"/>
                  <a:gd name="T91" fmla="*/ 5068 h 20000"/>
                  <a:gd name="T92" fmla="*/ 10611 w 20000"/>
                  <a:gd name="T93" fmla="*/ 21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0" h="20000">
                    <a:moveTo>
                      <a:pt x="10611" y="2192"/>
                    </a:moveTo>
                    <a:lnTo>
                      <a:pt x="12283" y="3562"/>
                    </a:lnTo>
                    <a:lnTo>
                      <a:pt x="13248" y="3562"/>
                    </a:lnTo>
                    <a:lnTo>
                      <a:pt x="14598" y="0"/>
                    </a:lnTo>
                    <a:lnTo>
                      <a:pt x="16270" y="1370"/>
                    </a:lnTo>
                    <a:lnTo>
                      <a:pt x="18907" y="2192"/>
                    </a:lnTo>
                    <a:lnTo>
                      <a:pt x="18907" y="5616"/>
                    </a:lnTo>
                    <a:lnTo>
                      <a:pt x="19936" y="7808"/>
                    </a:lnTo>
                    <a:lnTo>
                      <a:pt x="19936" y="9178"/>
                    </a:lnTo>
                    <a:lnTo>
                      <a:pt x="19293" y="10685"/>
                    </a:lnTo>
                    <a:lnTo>
                      <a:pt x="18264" y="10685"/>
                    </a:lnTo>
                    <a:lnTo>
                      <a:pt x="17621" y="10685"/>
                    </a:lnTo>
                    <a:lnTo>
                      <a:pt x="18264" y="11233"/>
                    </a:lnTo>
                    <a:lnTo>
                      <a:pt x="18264" y="16301"/>
                    </a:lnTo>
                    <a:lnTo>
                      <a:pt x="17299" y="17123"/>
                    </a:lnTo>
                    <a:lnTo>
                      <a:pt x="17299" y="18493"/>
                    </a:lnTo>
                    <a:lnTo>
                      <a:pt x="16270" y="18493"/>
                    </a:lnTo>
                    <a:lnTo>
                      <a:pt x="13248" y="19863"/>
                    </a:lnTo>
                    <a:lnTo>
                      <a:pt x="10611" y="19863"/>
                    </a:lnTo>
                    <a:lnTo>
                      <a:pt x="10354" y="19863"/>
                    </a:lnTo>
                    <a:lnTo>
                      <a:pt x="8617" y="17123"/>
                    </a:lnTo>
                    <a:lnTo>
                      <a:pt x="6945" y="14932"/>
                    </a:lnTo>
                    <a:lnTo>
                      <a:pt x="5981" y="14932"/>
                    </a:lnTo>
                    <a:lnTo>
                      <a:pt x="4309" y="14932"/>
                    </a:lnTo>
                    <a:lnTo>
                      <a:pt x="4309" y="17123"/>
                    </a:lnTo>
                    <a:lnTo>
                      <a:pt x="2637" y="17123"/>
                    </a:lnTo>
                    <a:lnTo>
                      <a:pt x="2315" y="17123"/>
                    </a:lnTo>
                    <a:lnTo>
                      <a:pt x="2315" y="16301"/>
                    </a:lnTo>
                    <a:lnTo>
                      <a:pt x="900" y="16301"/>
                    </a:lnTo>
                    <a:lnTo>
                      <a:pt x="900" y="14932"/>
                    </a:lnTo>
                    <a:lnTo>
                      <a:pt x="643" y="14932"/>
                    </a:lnTo>
                    <a:lnTo>
                      <a:pt x="0" y="13425"/>
                    </a:lnTo>
                    <a:lnTo>
                      <a:pt x="0" y="12877"/>
                    </a:lnTo>
                    <a:lnTo>
                      <a:pt x="643" y="11233"/>
                    </a:lnTo>
                    <a:lnTo>
                      <a:pt x="2315" y="12877"/>
                    </a:lnTo>
                    <a:lnTo>
                      <a:pt x="2315" y="11233"/>
                    </a:lnTo>
                    <a:lnTo>
                      <a:pt x="3280" y="11233"/>
                    </a:lnTo>
                    <a:lnTo>
                      <a:pt x="3666" y="12877"/>
                    </a:lnTo>
                    <a:lnTo>
                      <a:pt x="5273" y="11233"/>
                    </a:lnTo>
                    <a:lnTo>
                      <a:pt x="6302" y="11233"/>
                    </a:lnTo>
                    <a:lnTo>
                      <a:pt x="6945" y="10685"/>
                    </a:lnTo>
                    <a:lnTo>
                      <a:pt x="8617" y="10685"/>
                    </a:lnTo>
                    <a:lnTo>
                      <a:pt x="9325" y="11233"/>
                    </a:lnTo>
                    <a:lnTo>
                      <a:pt x="8617" y="9178"/>
                    </a:lnTo>
                    <a:lnTo>
                      <a:pt x="8617" y="5616"/>
                    </a:lnTo>
                    <a:lnTo>
                      <a:pt x="10611" y="5068"/>
                    </a:lnTo>
                    <a:lnTo>
                      <a:pt x="10611" y="219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 name="Freeform 264"/>
              <p:cNvSpPr>
                <a:spLocks/>
              </p:cNvSpPr>
              <p:nvPr/>
            </p:nvSpPr>
            <p:spPr bwMode="auto">
              <a:xfrm>
                <a:off x="5348288" y="2716213"/>
                <a:ext cx="266700" cy="217487"/>
              </a:xfrm>
              <a:custGeom>
                <a:avLst/>
                <a:gdLst>
                  <a:gd name="T0" fmla="*/ 10309 w 20000"/>
                  <a:gd name="T1" fmla="*/ 933 h 20000"/>
                  <a:gd name="T2" fmla="*/ 16722 w 20000"/>
                  <a:gd name="T3" fmla="*/ 933 h 20000"/>
                  <a:gd name="T4" fmla="*/ 17957 w 20000"/>
                  <a:gd name="T5" fmla="*/ 3615 h 20000"/>
                  <a:gd name="T6" fmla="*/ 18670 w 20000"/>
                  <a:gd name="T7" fmla="*/ 5481 h 20000"/>
                  <a:gd name="T8" fmla="*/ 19192 w 20000"/>
                  <a:gd name="T9" fmla="*/ 7289 h 20000"/>
                  <a:gd name="T10" fmla="*/ 17482 w 20000"/>
                  <a:gd name="T11" fmla="*/ 8455 h 20000"/>
                  <a:gd name="T12" fmla="*/ 18670 w 20000"/>
                  <a:gd name="T13" fmla="*/ 10029 h 20000"/>
                  <a:gd name="T14" fmla="*/ 19192 w 20000"/>
                  <a:gd name="T15" fmla="*/ 11837 h 20000"/>
                  <a:gd name="T16" fmla="*/ 19952 w 20000"/>
                  <a:gd name="T17" fmla="*/ 13586 h 20000"/>
                  <a:gd name="T18" fmla="*/ 17197 w 20000"/>
                  <a:gd name="T19" fmla="*/ 18134 h 20000"/>
                  <a:gd name="T20" fmla="*/ 17482 w 20000"/>
                  <a:gd name="T21" fmla="*/ 19592 h 20000"/>
                  <a:gd name="T22" fmla="*/ 17197 w 20000"/>
                  <a:gd name="T23" fmla="*/ 19942 h 20000"/>
                  <a:gd name="T24" fmla="*/ 16722 w 20000"/>
                  <a:gd name="T25" fmla="*/ 19592 h 20000"/>
                  <a:gd name="T26" fmla="*/ 15487 w 20000"/>
                  <a:gd name="T27" fmla="*/ 19009 h 20000"/>
                  <a:gd name="T28" fmla="*/ 14489 w 20000"/>
                  <a:gd name="T29" fmla="*/ 18717 h 20000"/>
                  <a:gd name="T30" fmla="*/ 14014 w 20000"/>
                  <a:gd name="T31" fmla="*/ 19009 h 20000"/>
                  <a:gd name="T32" fmla="*/ 13302 w 20000"/>
                  <a:gd name="T33" fmla="*/ 19009 h 20000"/>
                  <a:gd name="T34" fmla="*/ 12067 w 20000"/>
                  <a:gd name="T35" fmla="*/ 19592 h 20000"/>
                  <a:gd name="T36" fmla="*/ 11591 w 20000"/>
                  <a:gd name="T37" fmla="*/ 19009 h 20000"/>
                  <a:gd name="T38" fmla="*/ 11306 w 20000"/>
                  <a:gd name="T39" fmla="*/ 18134 h 20000"/>
                  <a:gd name="T40" fmla="*/ 10309 w 20000"/>
                  <a:gd name="T41" fmla="*/ 18717 h 20000"/>
                  <a:gd name="T42" fmla="*/ 9359 w 20000"/>
                  <a:gd name="T43" fmla="*/ 17551 h 20000"/>
                  <a:gd name="T44" fmla="*/ 9359 w 20000"/>
                  <a:gd name="T45" fmla="*/ 17201 h 20000"/>
                  <a:gd name="T46" fmla="*/ 7601 w 20000"/>
                  <a:gd name="T47" fmla="*/ 16618 h 20000"/>
                  <a:gd name="T48" fmla="*/ 7601 w 20000"/>
                  <a:gd name="T49" fmla="*/ 16327 h 20000"/>
                  <a:gd name="T50" fmla="*/ 6888 w 20000"/>
                  <a:gd name="T51" fmla="*/ 15743 h 20000"/>
                  <a:gd name="T52" fmla="*/ 6128 w 20000"/>
                  <a:gd name="T53" fmla="*/ 16327 h 20000"/>
                  <a:gd name="T54" fmla="*/ 5653 w 20000"/>
                  <a:gd name="T55" fmla="*/ 16327 h 20000"/>
                  <a:gd name="T56" fmla="*/ 4941 w 20000"/>
                  <a:gd name="T57" fmla="*/ 15743 h 20000"/>
                  <a:gd name="T58" fmla="*/ 4941 w 20000"/>
                  <a:gd name="T59" fmla="*/ 15102 h 20000"/>
                  <a:gd name="T60" fmla="*/ 4941 w 20000"/>
                  <a:gd name="T61" fmla="*/ 14810 h 20000"/>
                  <a:gd name="T62" fmla="*/ 4466 w 20000"/>
                  <a:gd name="T63" fmla="*/ 14810 h 20000"/>
                  <a:gd name="T64" fmla="*/ 3230 w 20000"/>
                  <a:gd name="T65" fmla="*/ 14227 h 20000"/>
                  <a:gd name="T66" fmla="*/ 3230 w 20000"/>
                  <a:gd name="T67" fmla="*/ 13586 h 20000"/>
                  <a:gd name="T68" fmla="*/ 2470 w 20000"/>
                  <a:gd name="T69" fmla="*/ 13586 h 20000"/>
                  <a:gd name="T70" fmla="*/ 1948 w 20000"/>
                  <a:gd name="T71" fmla="*/ 13586 h 20000"/>
                  <a:gd name="T72" fmla="*/ 2470 w 20000"/>
                  <a:gd name="T73" fmla="*/ 12653 h 20000"/>
                  <a:gd name="T74" fmla="*/ 1948 w 20000"/>
                  <a:gd name="T75" fmla="*/ 12420 h 20000"/>
                  <a:gd name="T76" fmla="*/ 1758 w 20000"/>
                  <a:gd name="T77" fmla="*/ 10904 h 20000"/>
                  <a:gd name="T78" fmla="*/ 1758 w 20000"/>
                  <a:gd name="T79" fmla="*/ 10262 h 20000"/>
                  <a:gd name="T80" fmla="*/ 1235 w 20000"/>
                  <a:gd name="T81" fmla="*/ 10262 h 20000"/>
                  <a:gd name="T82" fmla="*/ 998 w 20000"/>
                  <a:gd name="T83" fmla="*/ 8746 h 20000"/>
                  <a:gd name="T84" fmla="*/ 1235 w 20000"/>
                  <a:gd name="T85" fmla="*/ 8455 h 20000"/>
                  <a:gd name="T86" fmla="*/ 0 w 20000"/>
                  <a:gd name="T87" fmla="*/ 7289 h 20000"/>
                  <a:gd name="T88" fmla="*/ 0 w 20000"/>
                  <a:gd name="T89" fmla="*/ 6939 h 20000"/>
                  <a:gd name="T90" fmla="*/ 998 w 20000"/>
                  <a:gd name="T91" fmla="*/ 6064 h 20000"/>
                  <a:gd name="T92" fmla="*/ 523 w 20000"/>
                  <a:gd name="T93" fmla="*/ 4548 h 20000"/>
                  <a:gd name="T94" fmla="*/ 998 w 20000"/>
                  <a:gd name="T95" fmla="*/ 3965 h 20000"/>
                  <a:gd name="T96" fmla="*/ 1235 w 20000"/>
                  <a:gd name="T97" fmla="*/ 3965 h 20000"/>
                  <a:gd name="T98" fmla="*/ 1235 w 20000"/>
                  <a:gd name="T99" fmla="*/ 3032 h 20000"/>
                  <a:gd name="T100" fmla="*/ 3705 w 20000"/>
                  <a:gd name="T101" fmla="*/ 2157 h 20000"/>
                  <a:gd name="T102" fmla="*/ 4181 w 20000"/>
                  <a:gd name="T103" fmla="*/ 933 h 20000"/>
                  <a:gd name="T104" fmla="*/ 4941 w 20000"/>
                  <a:gd name="T105" fmla="*/ 641 h 20000"/>
                  <a:gd name="T106" fmla="*/ 5178 w 20000"/>
                  <a:gd name="T107" fmla="*/ 641 h 20000"/>
                  <a:gd name="T108" fmla="*/ 7601 w 20000"/>
                  <a:gd name="T109" fmla="*/ 0 h 20000"/>
                  <a:gd name="T110" fmla="*/ 8171 w 20000"/>
                  <a:gd name="T111" fmla="*/ 933 h 20000"/>
                  <a:gd name="T112" fmla="*/ 8361 w 20000"/>
                  <a:gd name="T113" fmla="*/ 1574 h 20000"/>
                  <a:gd name="T114" fmla="*/ 9359 w 20000"/>
                  <a:gd name="T115" fmla="*/ 1574 h 20000"/>
                  <a:gd name="T116" fmla="*/ 10119 w 20000"/>
                  <a:gd name="T117" fmla="*/ 2157 h 20000"/>
                  <a:gd name="T118" fmla="*/ 10309 w 20000"/>
                  <a:gd name="T119" fmla="*/ 9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00" h="20000">
                    <a:moveTo>
                      <a:pt x="10309" y="933"/>
                    </a:moveTo>
                    <a:lnTo>
                      <a:pt x="16722" y="933"/>
                    </a:lnTo>
                    <a:lnTo>
                      <a:pt x="17957" y="3615"/>
                    </a:lnTo>
                    <a:lnTo>
                      <a:pt x="18670" y="5481"/>
                    </a:lnTo>
                    <a:lnTo>
                      <a:pt x="19192" y="7289"/>
                    </a:lnTo>
                    <a:lnTo>
                      <a:pt x="17482" y="8455"/>
                    </a:lnTo>
                    <a:lnTo>
                      <a:pt x="18670" y="10029"/>
                    </a:lnTo>
                    <a:lnTo>
                      <a:pt x="19192" y="11837"/>
                    </a:lnTo>
                    <a:lnTo>
                      <a:pt x="19952" y="13586"/>
                    </a:lnTo>
                    <a:lnTo>
                      <a:pt x="17197" y="18134"/>
                    </a:lnTo>
                    <a:lnTo>
                      <a:pt x="17482" y="19592"/>
                    </a:lnTo>
                    <a:lnTo>
                      <a:pt x="17197" y="19942"/>
                    </a:lnTo>
                    <a:lnTo>
                      <a:pt x="16722" y="19592"/>
                    </a:lnTo>
                    <a:lnTo>
                      <a:pt x="15487" y="19009"/>
                    </a:lnTo>
                    <a:lnTo>
                      <a:pt x="14489" y="18717"/>
                    </a:lnTo>
                    <a:lnTo>
                      <a:pt x="14014" y="19009"/>
                    </a:lnTo>
                    <a:lnTo>
                      <a:pt x="13302" y="19009"/>
                    </a:lnTo>
                    <a:lnTo>
                      <a:pt x="12067" y="19592"/>
                    </a:lnTo>
                    <a:lnTo>
                      <a:pt x="11591" y="19009"/>
                    </a:lnTo>
                    <a:lnTo>
                      <a:pt x="11306" y="18134"/>
                    </a:lnTo>
                    <a:lnTo>
                      <a:pt x="10309" y="18717"/>
                    </a:lnTo>
                    <a:lnTo>
                      <a:pt x="9359" y="17551"/>
                    </a:lnTo>
                    <a:lnTo>
                      <a:pt x="9359" y="17201"/>
                    </a:lnTo>
                    <a:lnTo>
                      <a:pt x="7601" y="16618"/>
                    </a:lnTo>
                    <a:lnTo>
                      <a:pt x="7601" y="16327"/>
                    </a:lnTo>
                    <a:lnTo>
                      <a:pt x="6888" y="15743"/>
                    </a:lnTo>
                    <a:lnTo>
                      <a:pt x="6128" y="16327"/>
                    </a:lnTo>
                    <a:lnTo>
                      <a:pt x="5653" y="16327"/>
                    </a:lnTo>
                    <a:lnTo>
                      <a:pt x="4941" y="15743"/>
                    </a:lnTo>
                    <a:lnTo>
                      <a:pt x="4941" y="15102"/>
                    </a:lnTo>
                    <a:lnTo>
                      <a:pt x="4941" y="14810"/>
                    </a:lnTo>
                    <a:lnTo>
                      <a:pt x="4466" y="14810"/>
                    </a:lnTo>
                    <a:lnTo>
                      <a:pt x="3230" y="14227"/>
                    </a:lnTo>
                    <a:lnTo>
                      <a:pt x="3230" y="13586"/>
                    </a:lnTo>
                    <a:lnTo>
                      <a:pt x="2470" y="13586"/>
                    </a:lnTo>
                    <a:lnTo>
                      <a:pt x="1948" y="13586"/>
                    </a:lnTo>
                    <a:lnTo>
                      <a:pt x="2470" y="12653"/>
                    </a:lnTo>
                    <a:lnTo>
                      <a:pt x="1948" y="12420"/>
                    </a:lnTo>
                    <a:lnTo>
                      <a:pt x="1758" y="10904"/>
                    </a:lnTo>
                    <a:lnTo>
                      <a:pt x="1758" y="10262"/>
                    </a:lnTo>
                    <a:lnTo>
                      <a:pt x="1235" y="10262"/>
                    </a:lnTo>
                    <a:lnTo>
                      <a:pt x="998" y="8746"/>
                    </a:lnTo>
                    <a:lnTo>
                      <a:pt x="1235" y="8455"/>
                    </a:lnTo>
                    <a:lnTo>
                      <a:pt x="0" y="7289"/>
                    </a:lnTo>
                    <a:lnTo>
                      <a:pt x="0" y="6939"/>
                    </a:lnTo>
                    <a:lnTo>
                      <a:pt x="998" y="6064"/>
                    </a:lnTo>
                    <a:lnTo>
                      <a:pt x="523" y="4548"/>
                    </a:lnTo>
                    <a:lnTo>
                      <a:pt x="998" y="3965"/>
                    </a:lnTo>
                    <a:lnTo>
                      <a:pt x="1235" y="3965"/>
                    </a:lnTo>
                    <a:lnTo>
                      <a:pt x="1235" y="3032"/>
                    </a:lnTo>
                    <a:lnTo>
                      <a:pt x="3705" y="2157"/>
                    </a:lnTo>
                    <a:lnTo>
                      <a:pt x="4181" y="933"/>
                    </a:lnTo>
                    <a:lnTo>
                      <a:pt x="4941" y="641"/>
                    </a:lnTo>
                    <a:lnTo>
                      <a:pt x="5178" y="641"/>
                    </a:lnTo>
                    <a:lnTo>
                      <a:pt x="7601" y="0"/>
                    </a:lnTo>
                    <a:lnTo>
                      <a:pt x="8171" y="933"/>
                    </a:lnTo>
                    <a:lnTo>
                      <a:pt x="8361" y="1574"/>
                    </a:lnTo>
                    <a:lnTo>
                      <a:pt x="9359" y="1574"/>
                    </a:lnTo>
                    <a:lnTo>
                      <a:pt x="10119" y="2157"/>
                    </a:lnTo>
                    <a:lnTo>
                      <a:pt x="10309" y="93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 name="Freeform 263"/>
              <p:cNvSpPr>
                <a:spLocks/>
              </p:cNvSpPr>
              <p:nvPr/>
            </p:nvSpPr>
            <p:spPr bwMode="auto">
              <a:xfrm>
                <a:off x="4732338" y="3179763"/>
                <a:ext cx="90487" cy="174625"/>
              </a:xfrm>
              <a:custGeom>
                <a:avLst/>
                <a:gdLst>
                  <a:gd name="T0" fmla="*/ 4366 w 20000"/>
                  <a:gd name="T1" fmla="*/ 0 h 20000"/>
                  <a:gd name="T2" fmla="*/ 5915 w 20000"/>
                  <a:gd name="T3" fmla="*/ 436 h 20000"/>
                  <a:gd name="T4" fmla="*/ 8169 w 20000"/>
                  <a:gd name="T5" fmla="*/ 0 h 20000"/>
                  <a:gd name="T6" fmla="*/ 9577 w 20000"/>
                  <a:gd name="T7" fmla="*/ 1164 h 20000"/>
                  <a:gd name="T8" fmla="*/ 11831 w 20000"/>
                  <a:gd name="T9" fmla="*/ 1164 h 20000"/>
                  <a:gd name="T10" fmla="*/ 14085 w 20000"/>
                  <a:gd name="T11" fmla="*/ 1164 h 20000"/>
                  <a:gd name="T12" fmla="*/ 16901 w 20000"/>
                  <a:gd name="T13" fmla="*/ 1164 h 20000"/>
                  <a:gd name="T14" fmla="*/ 19014 w 20000"/>
                  <a:gd name="T15" fmla="*/ 1891 h 20000"/>
                  <a:gd name="T16" fmla="*/ 19859 w 20000"/>
                  <a:gd name="T17" fmla="*/ 2255 h 20000"/>
                  <a:gd name="T18" fmla="*/ 16901 w 20000"/>
                  <a:gd name="T19" fmla="*/ 4873 h 20000"/>
                  <a:gd name="T20" fmla="*/ 16901 w 20000"/>
                  <a:gd name="T21" fmla="*/ 6836 h 20000"/>
                  <a:gd name="T22" fmla="*/ 15493 w 20000"/>
                  <a:gd name="T23" fmla="*/ 9818 h 20000"/>
                  <a:gd name="T24" fmla="*/ 13239 w 20000"/>
                  <a:gd name="T25" fmla="*/ 9818 h 20000"/>
                  <a:gd name="T26" fmla="*/ 14085 w 20000"/>
                  <a:gd name="T27" fmla="*/ 12073 h 20000"/>
                  <a:gd name="T28" fmla="*/ 14085 w 20000"/>
                  <a:gd name="T29" fmla="*/ 12800 h 20000"/>
                  <a:gd name="T30" fmla="*/ 14085 w 20000"/>
                  <a:gd name="T31" fmla="*/ 13891 h 20000"/>
                  <a:gd name="T32" fmla="*/ 15493 w 20000"/>
                  <a:gd name="T33" fmla="*/ 15055 h 20000"/>
                  <a:gd name="T34" fmla="*/ 15493 w 20000"/>
                  <a:gd name="T35" fmla="*/ 15782 h 20000"/>
                  <a:gd name="T36" fmla="*/ 13239 w 20000"/>
                  <a:gd name="T37" fmla="*/ 16945 h 20000"/>
                  <a:gd name="T38" fmla="*/ 13239 w 20000"/>
                  <a:gd name="T39" fmla="*/ 19200 h 20000"/>
                  <a:gd name="T40" fmla="*/ 8169 w 20000"/>
                  <a:gd name="T41" fmla="*/ 19927 h 20000"/>
                  <a:gd name="T42" fmla="*/ 5915 w 20000"/>
                  <a:gd name="T43" fmla="*/ 19200 h 20000"/>
                  <a:gd name="T44" fmla="*/ 2254 w 20000"/>
                  <a:gd name="T45" fmla="*/ 19200 h 20000"/>
                  <a:gd name="T46" fmla="*/ 3803 w 20000"/>
                  <a:gd name="T47" fmla="*/ 18036 h 20000"/>
                  <a:gd name="T48" fmla="*/ 3803 w 20000"/>
                  <a:gd name="T49" fmla="*/ 14691 h 20000"/>
                  <a:gd name="T50" fmla="*/ 3803 w 20000"/>
                  <a:gd name="T51" fmla="*/ 13891 h 20000"/>
                  <a:gd name="T52" fmla="*/ 2254 w 20000"/>
                  <a:gd name="T53" fmla="*/ 13891 h 20000"/>
                  <a:gd name="T54" fmla="*/ 2254 w 20000"/>
                  <a:gd name="T55" fmla="*/ 13091 h 20000"/>
                  <a:gd name="T56" fmla="*/ 0 w 20000"/>
                  <a:gd name="T57" fmla="*/ 13091 h 20000"/>
                  <a:gd name="T58" fmla="*/ 1549 w 20000"/>
                  <a:gd name="T59" fmla="*/ 10909 h 20000"/>
                  <a:gd name="T60" fmla="*/ 2254 w 20000"/>
                  <a:gd name="T61" fmla="*/ 10109 h 20000"/>
                  <a:gd name="T62" fmla="*/ 5915 w 20000"/>
                  <a:gd name="T63" fmla="*/ 5236 h 20000"/>
                  <a:gd name="T64" fmla="*/ 4366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4366" y="0"/>
                    </a:moveTo>
                    <a:lnTo>
                      <a:pt x="5915" y="436"/>
                    </a:lnTo>
                    <a:lnTo>
                      <a:pt x="8169" y="0"/>
                    </a:lnTo>
                    <a:lnTo>
                      <a:pt x="9577" y="1164"/>
                    </a:lnTo>
                    <a:lnTo>
                      <a:pt x="11831" y="1164"/>
                    </a:lnTo>
                    <a:lnTo>
                      <a:pt x="14085" y="1164"/>
                    </a:lnTo>
                    <a:lnTo>
                      <a:pt x="16901" y="1164"/>
                    </a:lnTo>
                    <a:lnTo>
                      <a:pt x="19014" y="1891"/>
                    </a:lnTo>
                    <a:lnTo>
                      <a:pt x="19859" y="2255"/>
                    </a:lnTo>
                    <a:lnTo>
                      <a:pt x="16901" y="4873"/>
                    </a:lnTo>
                    <a:lnTo>
                      <a:pt x="16901" y="6836"/>
                    </a:lnTo>
                    <a:lnTo>
                      <a:pt x="15493" y="9818"/>
                    </a:lnTo>
                    <a:lnTo>
                      <a:pt x="13239" y="9818"/>
                    </a:lnTo>
                    <a:lnTo>
                      <a:pt x="14085" y="12073"/>
                    </a:lnTo>
                    <a:lnTo>
                      <a:pt x="14085" y="12800"/>
                    </a:lnTo>
                    <a:lnTo>
                      <a:pt x="14085" y="13891"/>
                    </a:lnTo>
                    <a:lnTo>
                      <a:pt x="15493" y="15055"/>
                    </a:lnTo>
                    <a:lnTo>
                      <a:pt x="15493" y="15782"/>
                    </a:lnTo>
                    <a:lnTo>
                      <a:pt x="13239" y="16945"/>
                    </a:lnTo>
                    <a:lnTo>
                      <a:pt x="13239" y="19200"/>
                    </a:lnTo>
                    <a:lnTo>
                      <a:pt x="8169" y="19927"/>
                    </a:lnTo>
                    <a:lnTo>
                      <a:pt x="5915" y="19200"/>
                    </a:lnTo>
                    <a:lnTo>
                      <a:pt x="2254" y="19200"/>
                    </a:lnTo>
                    <a:lnTo>
                      <a:pt x="3803" y="18036"/>
                    </a:lnTo>
                    <a:lnTo>
                      <a:pt x="3803" y="14691"/>
                    </a:lnTo>
                    <a:lnTo>
                      <a:pt x="3803" y="13891"/>
                    </a:lnTo>
                    <a:lnTo>
                      <a:pt x="2254" y="13891"/>
                    </a:lnTo>
                    <a:lnTo>
                      <a:pt x="2254" y="13091"/>
                    </a:lnTo>
                    <a:lnTo>
                      <a:pt x="0" y="13091"/>
                    </a:lnTo>
                    <a:lnTo>
                      <a:pt x="1549" y="10909"/>
                    </a:lnTo>
                    <a:lnTo>
                      <a:pt x="2254" y="10109"/>
                    </a:lnTo>
                    <a:lnTo>
                      <a:pt x="5915" y="5236"/>
                    </a:lnTo>
                    <a:lnTo>
                      <a:pt x="436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 name="Freeform 262"/>
              <p:cNvSpPr>
                <a:spLocks/>
              </p:cNvSpPr>
              <p:nvPr/>
            </p:nvSpPr>
            <p:spPr bwMode="auto">
              <a:xfrm>
                <a:off x="5529263" y="2965450"/>
                <a:ext cx="241300" cy="165100"/>
              </a:xfrm>
              <a:custGeom>
                <a:avLst/>
                <a:gdLst>
                  <a:gd name="T0" fmla="*/ 11979 w 20000"/>
                  <a:gd name="T1" fmla="*/ 846 h 20000"/>
                  <a:gd name="T2" fmla="*/ 13668 w 20000"/>
                  <a:gd name="T3" fmla="*/ 0 h 20000"/>
                  <a:gd name="T4" fmla="*/ 16095 w 20000"/>
                  <a:gd name="T5" fmla="*/ 5231 h 20000"/>
                  <a:gd name="T6" fmla="*/ 16359 w 20000"/>
                  <a:gd name="T7" fmla="*/ 5231 h 20000"/>
                  <a:gd name="T8" fmla="*/ 16939 w 20000"/>
                  <a:gd name="T9" fmla="*/ 11615 h 20000"/>
                  <a:gd name="T10" fmla="*/ 17784 w 20000"/>
                  <a:gd name="T11" fmla="*/ 12769 h 20000"/>
                  <a:gd name="T12" fmla="*/ 19947 w 20000"/>
                  <a:gd name="T13" fmla="*/ 11615 h 20000"/>
                  <a:gd name="T14" fmla="*/ 19947 w 20000"/>
                  <a:gd name="T15" fmla="*/ 14308 h 20000"/>
                  <a:gd name="T16" fmla="*/ 18575 w 20000"/>
                  <a:gd name="T17" fmla="*/ 14769 h 20000"/>
                  <a:gd name="T18" fmla="*/ 18575 w 20000"/>
                  <a:gd name="T19" fmla="*/ 13538 h 20000"/>
                  <a:gd name="T20" fmla="*/ 18311 w 20000"/>
                  <a:gd name="T21" fmla="*/ 13538 h 20000"/>
                  <a:gd name="T22" fmla="*/ 18311 w 20000"/>
                  <a:gd name="T23" fmla="*/ 14769 h 20000"/>
                  <a:gd name="T24" fmla="*/ 18311 w 20000"/>
                  <a:gd name="T25" fmla="*/ 15538 h 20000"/>
                  <a:gd name="T26" fmla="*/ 18311 w 20000"/>
                  <a:gd name="T27" fmla="*/ 16385 h 20000"/>
                  <a:gd name="T28" fmla="*/ 17784 w 20000"/>
                  <a:gd name="T29" fmla="*/ 18692 h 20000"/>
                  <a:gd name="T30" fmla="*/ 17150 w 20000"/>
                  <a:gd name="T31" fmla="*/ 18692 h 20000"/>
                  <a:gd name="T32" fmla="*/ 16939 w 20000"/>
                  <a:gd name="T33" fmla="*/ 17923 h 20000"/>
                  <a:gd name="T34" fmla="*/ 14987 w 20000"/>
                  <a:gd name="T35" fmla="*/ 17923 h 20000"/>
                  <a:gd name="T36" fmla="*/ 14776 w 20000"/>
                  <a:gd name="T37" fmla="*/ 17615 h 20000"/>
                  <a:gd name="T38" fmla="*/ 12507 w 20000"/>
                  <a:gd name="T39" fmla="*/ 18692 h 20000"/>
                  <a:gd name="T40" fmla="*/ 11451 w 20000"/>
                  <a:gd name="T41" fmla="*/ 19538 h 20000"/>
                  <a:gd name="T42" fmla="*/ 11187 w 20000"/>
                  <a:gd name="T43" fmla="*/ 19923 h 20000"/>
                  <a:gd name="T44" fmla="*/ 9815 w 20000"/>
                  <a:gd name="T45" fmla="*/ 19538 h 20000"/>
                  <a:gd name="T46" fmla="*/ 8496 w 20000"/>
                  <a:gd name="T47" fmla="*/ 19538 h 20000"/>
                  <a:gd name="T48" fmla="*/ 7863 w 20000"/>
                  <a:gd name="T49" fmla="*/ 19538 h 20000"/>
                  <a:gd name="T50" fmla="*/ 6807 w 20000"/>
                  <a:gd name="T51" fmla="*/ 18692 h 20000"/>
                  <a:gd name="T52" fmla="*/ 5488 w 20000"/>
                  <a:gd name="T53" fmla="*/ 19538 h 20000"/>
                  <a:gd name="T54" fmla="*/ 5488 w 20000"/>
                  <a:gd name="T55" fmla="*/ 18692 h 20000"/>
                  <a:gd name="T56" fmla="*/ 5699 w 20000"/>
                  <a:gd name="T57" fmla="*/ 17923 h 20000"/>
                  <a:gd name="T58" fmla="*/ 4908 w 20000"/>
                  <a:gd name="T59" fmla="*/ 17615 h 20000"/>
                  <a:gd name="T60" fmla="*/ 4327 w 20000"/>
                  <a:gd name="T61" fmla="*/ 16385 h 20000"/>
                  <a:gd name="T62" fmla="*/ 4908 w 20000"/>
                  <a:gd name="T63" fmla="*/ 15538 h 20000"/>
                  <a:gd name="T64" fmla="*/ 4327 w 20000"/>
                  <a:gd name="T65" fmla="*/ 15538 h 20000"/>
                  <a:gd name="T66" fmla="*/ 4063 w 20000"/>
                  <a:gd name="T67" fmla="*/ 16385 h 20000"/>
                  <a:gd name="T68" fmla="*/ 3219 w 20000"/>
                  <a:gd name="T69" fmla="*/ 15538 h 20000"/>
                  <a:gd name="T70" fmla="*/ 2164 w 20000"/>
                  <a:gd name="T71" fmla="*/ 14769 h 20000"/>
                  <a:gd name="T72" fmla="*/ 2164 w 20000"/>
                  <a:gd name="T73" fmla="*/ 14308 h 20000"/>
                  <a:gd name="T74" fmla="*/ 2164 w 20000"/>
                  <a:gd name="T75" fmla="*/ 12769 h 20000"/>
                  <a:gd name="T76" fmla="*/ 528 w 20000"/>
                  <a:gd name="T77" fmla="*/ 11615 h 20000"/>
                  <a:gd name="T78" fmla="*/ 528 w 20000"/>
                  <a:gd name="T79" fmla="*/ 10385 h 20000"/>
                  <a:gd name="T80" fmla="*/ 0 w 20000"/>
                  <a:gd name="T81" fmla="*/ 9154 h 20000"/>
                  <a:gd name="T82" fmla="*/ 1055 w 20000"/>
                  <a:gd name="T83" fmla="*/ 9154 h 20000"/>
                  <a:gd name="T84" fmla="*/ 1055 w 20000"/>
                  <a:gd name="T85" fmla="*/ 8385 h 20000"/>
                  <a:gd name="T86" fmla="*/ 1900 w 20000"/>
                  <a:gd name="T87" fmla="*/ 8000 h 20000"/>
                  <a:gd name="T88" fmla="*/ 1900 w 20000"/>
                  <a:gd name="T89" fmla="*/ 7231 h 20000"/>
                  <a:gd name="T90" fmla="*/ 2164 w 20000"/>
                  <a:gd name="T91" fmla="*/ 6000 h 20000"/>
                  <a:gd name="T92" fmla="*/ 2691 w 20000"/>
                  <a:gd name="T93" fmla="*/ 3154 h 20000"/>
                  <a:gd name="T94" fmla="*/ 3536 w 20000"/>
                  <a:gd name="T95" fmla="*/ 2000 h 20000"/>
                  <a:gd name="T96" fmla="*/ 4327 w 20000"/>
                  <a:gd name="T97" fmla="*/ 1231 h 20000"/>
                  <a:gd name="T98" fmla="*/ 4908 w 20000"/>
                  <a:gd name="T99" fmla="*/ 846 h 20000"/>
                  <a:gd name="T100" fmla="*/ 5699 w 20000"/>
                  <a:gd name="T101" fmla="*/ 846 h 20000"/>
                  <a:gd name="T102" fmla="*/ 9815 w 20000"/>
                  <a:gd name="T103" fmla="*/ 2000 h 20000"/>
                  <a:gd name="T104" fmla="*/ 11979 w 20000"/>
                  <a:gd name="T105" fmla="*/ 84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1979" y="846"/>
                    </a:moveTo>
                    <a:lnTo>
                      <a:pt x="13668" y="0"/>
                    </a:lnTo>
                    <a:lnTo>
                      <a:pt x="16095" y="5231"/>
                    </a:lnTo>
                    <a:lnTo>
                      <a:pt x="16359" y="5231"/>
                    </a:lnTo>
                    <a:lnTo>
                      <a:pt x="16939" y="11615"/>
                    </a:lnTo>
                    <a:lnTo>
                      <a:pt x="17784" y="12769"/>
                    </a:lnTo>
                    <a:lnTo>
                      <a:pt x="19947" y="11615"/>
                    </a:lnTo>
                    <a:lnTo>
                      <a:pt x="19947" y="14308"/>
                    </a:lnTo>
                    <a:lnTo>
                      <a:pt x="18575" y="14769"/>
                    </a:lnTo>
                    <a:lnTo>
                      <a:pt x="18575" y="13538"/>
                    </a:lnTo>
                    <a:lnTo>
                      <a:pt x="18311" y="13538"/>
                    </a:lnTo>
                    <a:lnTo>
                      <a:pt x="18311" y="14769"/>
                    </a:lnTo>
                    <a:lnTo>
                      <a:pt x="18311" y="15538"/>
                    </a:lnTo>
                    <a:lnTo>
                      <a:pt x="18311" y="16385"/>
                    </a:lnTo>
                    <a:lnTo>
                      <a:pt x="17784" y="18692"/>
                    </a:lnTo>
                    <a:lnTo>
                      <a:pt x="17150" y="18692"/>
                    </a:lnTo>
                    <a:lnTo>
                      <a:pt x="16939" y="17923"/>
                    </a:lnTo>
                    <a:lnTo>
                      <a:pt x="14987" y="17923"/>
                    </a:lnTo>
                    <a:lnTo>
                      <a:pt x="14776" y="17615"/>
                    </a:lnTo>
                    <a:lnTo>
                      <a:pt x="12507" y="18692"/>
                    </a:lnTo>
                    <a:lnTo>
                      <a:pt x="11451" y="19538"/>
                    </a:lnTo>
                    <a:lnTo>
                      <a:pt x="11187" y="19923"/>
                    </a:lnTo>
                    <a:lnTo>
                      <a:pt x="9815" y="19538"/>
                    </a:lnTo>
                    <a:lnTo>
                      <a:pt x="8496" y="19538"/>
                    </a:lnTo>
                    <a:lnTo>
                      <a:pt x="7863" y="19538"/>
                    </a:lnTo>
                    <a:lnTo>
                      <a:pt x="6807" y="18692"/>
                    </a:lnTo>
                    <a:lnTo>
                      <a:pt x="5488" y="19538"/>
                    </a:lnTo>
                    <a:lnTo>
                      <a:pt x="5488" y="18692"/>
                    </a:lnTo>
                    <a:lnTo>
                      <a:pt x="5699" y="17923"/>
                    </a:lnTo>
                    <a:lnTo>
                      <a:pt x="4908" y="17615"/>
                    </a:lnTo>
                    <a:lnTo>
                      <a:pt x="4327" y="16385"/>
                    </a:lnTo>
                    <a:lnTo>
                      <a:pt x="4908" y="15538"/>
                    </a:lnTo>
                    <a:lnTo>
                      <a:pt x="4327" y="15538"/>
                    </a:lnTo>
                    <a:lnTo>
                      <a:pt x="4063" y="16385"/>
                    </a:lnTo>
                    <a:lnTo>
                      <a:pt x="3219" y="15538"/>
                    </a:lnTo>
                    <a:lnTo>
                      <a:pt x="2164" y="14769"/>
                    </a:lnTo>
                    <a:lnTo>
                      <a:pt x="2164" y="14308"/>
                    </a:lnTo>
                    <a:lnTo>
                      <a:pt x="2164" y="12769"/>
                    </a:lnTo>
                    <a:lnTo>
                      <a:pt x="528" y="11615"/>
                    </a:lnTo>
                    <a:lnTo>
                      <a:pt x="528" y="10385"/>
                    </a:lnTo>
                    <a:lnTo>
                      <a:pt x="0" y="9154"/>
                    </a:lnTo>
                    <a:lnTo>
                      <a:pt x="1055" y="9154"/>
                    </a:lnTo>
                    <a:lnTo>
                      <a:pt x="1055" y="8385"/>
                    </a:lnTo>
                    <a:lnTo>
                      <a:pt x="1900" y="8000"/>
                    </a:lnTo>
                    <a:lnTo>
                      <a:pt x="1900" y="7231"/>
                    </a:lnTo>
                    <a:lnTo>
                      <a:pt x="2164" y="6000"/>
                    </a:lnTo>
                    <a:lnTo>
                      <a:pt x="2691" y="3154"/>
                    </a:lnTo>
                    <a:lnTo>
                      <a:pt x="3536" y="2000"/>
                    </a:lnTo>
                    <a:lnTo>
                      <a:pt x="4327" y="1231"/>
                    </a:lnTo>
                    <a:lnTo>
                      <a:pt x="4908" y="846"/>
                    </a:lnTo>
                    <a:lnTo>
                      <a:pt x="5699" y="846"/>
                    </a:lnTo>
                    <a:lnTo>
                      <a:pt x="9815" y="2000"/>
                    </a:lnTo>
                    <a:lnTo>
                      <a:pt x="11979" y="84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 name="Freeform 261"/>
              <p:cNvSpPr>
                <a:spLocks/>
              </p:cNvSpPr>
              <p:nvPr/>
            </p:nvSpPr>
            <p:spPr bwMode="auto">
              <a:xfrm>
                <a:off x="5265738" y="2085975"/>
                <a:ext cx="279400" cy="612775"/>
              </a:xfrm>
              <a:custGeom>
                <a:avLst/>
                <a:gdLst>
                  <a:gd name="T0" fmla="*/ 16190 w 20000"/>
                  <a:gd name="T1" fmla="*/ 851 h 20000"/>
                  <a:gd name="T2" fmla="*/ 18549 w 20000"/>
                  <a:gd name="T3" fmla="*/ 2033 h 20000"/>
                  <a:gd name="T4" fmla="*/ 18776 w 20000"/>
                  <a:gd name="T5" fmla="*/ 2593 h 20000"/>
                  <a:gd name="T6" fmla="*/ 19683 w 20000"/>
                  <a:gd name="T7" fmla="*/ 4191 h 20000"/>
                  <a:gd name="T8" fmla="*/ 18549 w 20000"/>
                  <a:gd name="T9" fmla="*/ 4710 h 20000"/>
                  <a:gd name="T10" fmla="*/ 15692 w 20000"/>
                  <a:gd name="T11" fmla="*/ 5373 h 20000"/>
                  <a:gd name="T12" fmla="*/ 15510 w 20000"/>
                  <a:gd name="T13" fmla="*/ 6452 h 20000"/>
                  <a:gd name="T14" fmla="*/ 15510 w 20000"/>
                  <a:gd name="T15" fmla="*/ 7303 h 20000"/>
                  <a:gd name="T16" fmla="*/ 13651 w 20000"/>
                  <a:gd name="T17" fmla="*/ 8278 h 20000"/>
                  <a:gd name="T18" fmla="*/ 12698 w 20000"/>
                  <a:gd name="T19" fmla="*/ 8485 h 20000"/>
                  <a:gd name="T20" fmla="*/ 11247 w 20000"/>
                  <a:gd name="T21" fmla="*/ 9232 h 20000"/>
                  <a:gd name="T22" fmla="*/ 10794 w 20000"/>
                  <a:gd name="T23" fmla="*/ 9336 h 20000"/>
                  <a:gd name="T24" fmla="*/ 10113 w 20000"/>
                  <a:gd name="T25" fmla="*/ 9876 h 20000"/>
                  <a:gd name="T26" fmla="*/ 10113 w 20000"/>
                  <a:gd name="T27" fmla="*/ 10954 h 20000"/>
                  <a:gd name="T28" fmla="*/ 9841 w 20000"/>
                  <a:gd name="T29" fmla="*/ 11494 h 20000"/>
                  <a:gd name="T30" fmla="*/ 10794 w 20000"/>
                  <a:gd name="T31" fmla="*/ 12780 h 20000"/>
                  <a:gd name="T32" fmla="*/ 12698 w 20000"/>
                  <a:gd name="T33" fmla="*/ 13320 h 20000"/>
                  <a:gd name="T34" fmla="*/ 12426 w 20000"/>
                  <a:gd name="T35" fmla="*/ 14710 h 20000"/>
                  <a:gd name="T36" fmla="*/ 11247 w 20000"/>
                  <a:gd name="T37" fmla="*/ 14917 h 20000"/>
                  <a:gd name="T38" fmla="*/ 8934 w 20000"/>
                  <a:gd name="T39" fmla="*/ 15477 h 20000"/>
                  <a:gd name="T40" fmla="*/ 9841 w 20000"/>
                  <a:gd name="T41" fmla="*/ 16411 h 20000"/>
                  <a:gd name="T42" fmla="*/ 9388 w 20000"/>
                  <a:gd name="T43" fmla="*/ 17822 h 20000"/>
                  <a:gd name="T44" fmla="*/ 6349 w 20000"/>
                  <a:gd name="T45" fmla="*/ 19108 h 20000"/>
                  <a:gd name="T46" fmla="*/ 5850 w 20000"/>
                  <a:gd name="T47" fmla="*/ 19544 h 20000"/>
                  <a:gd name="T48" fmla="*/ 3991 w 20000"/>
                  <a:gd name="T49" fmla="*/ 19979 h 20000"/>
                  <a:gd name="T50" fmla="*/ 2812 w 20000"/>
                  <a:gd name="T51" fmla="*/ 18900 h 20000"/>
                  <a:gd name="T52" fmla="*/ 3265 w 20000"/>
                  <a:gd name="T53" fmla="*/ 18568 h 20000"/>
                  <a:gd name="T54" fmla="*/ 1859 w 20000"/>
                  <a:gd name="T55" fmla="*/ 17178 h 20000"/>
                  <a:gd name="T56" fmla="*/ 952 w 20000"/>
                  <a:gd name="T57" fmla="*/ 15996 h 20000"/>
                  <a:gd name="T58" fmla="*/ 0 w 20000"/>
                  <a:gd name="T59" fmla="*/ 15021 h 20000"/>
                  <a:gd name="T60" fmla="*/ 952 w 20000"/>
                  <a:gd name="T61" fmla="*/ 14066 h 20000"/>
                  <a:gd name="T62" fmla="*/ 2132 w 20000"/>
                  <a:gd name="T63" fmla="*/ 13734 h 20000"/>
                  <a:gd name="T64" fmla="*/ 1859 w 20000"/>
                  <a:gd name="T65" fmla="*/ 12137 h 20000"/>
                  <a:gd name="T66" fmla="*/ 2132 w 20000"/>
                  <a:gd name="T67" fmla="*/ 11286 h 20000"/>
                  <a:gd name="T68" fmla="*/ 952 w 20000"/>
                  <a:gd name="T69" fmla="*/ 9336 h 20000"/>
                  <a:gd name="T70" fmla="*/ 952 w 20000"/>
                  <a:gd name="T71" fmla="*/ 8154 h 20000"/>
                  <a:gd name="T72" fmla="*/ 4444 w 20000"/>
                  <a:gd name="T73" fmla="*/ 7635 h 20000"/>
                  <a:gd name="T74" fmla="*/ 3719 w 20000"/>
                  <a:gd name="T75" fmla="*/ 6784 h 20000"/>
                  <a:gd name="T76" fmla="*/ 4943 w 20000"/>
                  <a:gd name="T77" fmla="*/ 4295 h 20000"/>
                  <a:gd name="T78" fmla="*/ 7029 w 20000"/>
                  <a:gd name="T79" fmla="*/ 2905 h 20000"/>
                  <a:gd name="T80" fmla="*/ 7710 w 20000"/>
                  <a:gd name="T81" fmla="*/ 1950 h 20000"/>
                  <a:gd name="T82" fmla="*/ 9841 w 20000"/>
                  <a:gd name="T83" fmla="*/ 1494 h 20000"/>
                  <a:gd name="T84" fmla="*/ 10113 w 20000"/>
                  <a:gd name="T85" fmla="*/ 643 h 20000"/>
                  <a:gd name="T86" fmla="*/ 13152 w 20000"/>
                  <a:gd name="T87" fmla="*/ 851 h 20000"/>
                  <a:gd name="T88" fmla="*/ 12698 w 20000"/>
                  <a:gd name="T8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3651" y="0"/>
                    </a:moveTo>
                    <a:lnTo>
                      <a:pt x="14785" y="539"/>
                    </a:lnTo>
                    <a:lnTo>
                      <a:pt x="16190" y="851"/>
                    </a:lnTo>
                    <a:lnTo>
                      <a:pt x="17370" y="851"/>
                    </a:lnTo>
                    <a:lnTo>
                      <a:pt x="18549" y="1411"/>
                    </a:lnTo>
                    <a:lnTo>
                      <a:pt x="18549" y="2033"/>
                    </a:lnTo>
                    <a:lnTo>
                      <a:pt x="19229" y="2261"/>
                    </a:lnTo>
                    <a:lnTo>
                      <a:pt x="18776" y="2469"/>
                    </a:lnTo>
                    <a:lnTo>
                      <a:pt x="18776" y="2593"/>
                    </a:lnTo>
                    <a:lnTo>
                      <a:pt x="19683" y="2905"/>
                    </a:lnTo>
                    <a:lnTo>
                      <a:pt x="19229" y="3776"/>
                    </a:lnTo>
                    <a:lnTo>
                      <a:pt x="19683" y="4191"/>
                    </a:lnTo>
                    <a:lnTo>
                      <a:pt x="19955" y="4502"/>
                    </a:lnTo>
                    <a:lnTo>
                      <a:pt x="18549" y="4502"/>
                    </a:lnTo>
                    <a:lnTo>
                      <a:pt x="18549" y="4710"/>
                    </a:lnTo>
                    <a:lnTo>
                      <a:pt x="16916" y="4502"/>
                    </a:lnTo>
                    <a:lnTo>
                      <a:pt x="16689" y="5166"/>
                    </a:lnTo>
                    <a:lnTo>
                      <a:pt x="15692" y="5373"/>
                    </a:lnTo>
                    <a:lnTo>
                      <a:pt x="16190" y="5602"/>
                    </a:lnTo>
                    <a:lnTo>
                      <a:pt x="15692" y="6017"/>
                    </a:lnTo>
                    <a:lnTo>
                      <a:pt x="15510" y="6452"/>
                    </a:lnTo>
                    <a:lnTo>
                      <a:pt x="15692" y="6535"/>
                    </a:lnTo>
                    <a:lnTo>
                      <a:pt x="16190" y="6784"/>
                    </a:lnTo>
                    <a:lnTo>
                      <a:pt x="15510" y="7303"/>
                    </a:lnTo>
                    <a:lnTo>
                      <a:pt x="15011" y="7842"/>
                    </a:lnTo>
                    <a:lnTo>
                      <a:pt x="14785" y="7946"/>
                    </a:lnTo>
                    <a:lnTo>
                      <a:pt x="13651" y="8278"/>
                    </a:lnTo>
                    <a:lnTo>
                      <a:pt x="13152" y="8154"/>
                    </a:lnTo>
                    <a:lnTo>
                      <a:pt x="13152" y="8278"/>
                    </a:lnTo>
                    <a:lnTo>
                      <a:pt x="12698" y="8485"/>
                    </a:lnTo>
                    <a:lnTo>
                      <a:pt x="12426" y="8817"/>
                    </a:lnTo>
                    <a:lnTo>
                      <a:pt x="11701" y="8817"/>
                    </a:lnTo>
                    <a:lnTo>
                      <a:pt x="11247" y="9232"/>
                    </a:lnTo>
                    <a:lnTo>
                      <a:pt x="11701" y="9336"/>
                    </a:lnTo>
                    <a:lnTo>
                      <a:pt x="11247" y="9336"/>
                    </a:lnTo>
                    <a:lnTo>
                      <a:pt x="10794" y="9336"/>
                    </a:lnTo>
                    <a:lnTo>
                      <a:pt x="10794" y="9876"/>
                    </a:lnTo>
                    <a:lnTo>
                      <a:pt x="10567" y="9876"/>
                    </a:lnTo>
                    <a:lnTo>
                      <a:pt x="10113" y="9876"/>
                    </a:lnTo>
                    <a:lnTo>
                      <a:pt x="10113" y="10104"/>
                    </a:lnTo>
                    <a:lnTo>
                      <a:pt x="10113" y="10415"/>
                    </a:lnTo>
                    <a:lnTo>
                      <a:pt x="10113" y="10954"/>
                    </a:lnTo>
                    <a:lnTo>
                      <a:pt x="10113" y="11058"/>
                    </a:lnTo>
                    <a:lnTo>
                      <a:pt x="9841" y="11058"/>
                    </a:lnTo>
                    <a:lnTo>
                      <a:pt x="9841" y="11494"/>
                    </a:lnTo>
                    <a:lnTo>
                      <a:pt x="9841" y="11909"/>
                    </a:lnTo>
                    <a:lnTo>
                      <a:pt x="10567" y="12676"/>
                    </a:lnTo>
                    <a:lnTo>
                      <a:pt x="10794" y="12780"/>
                    </a:lnTo>
                    <a:lnTo>
                      <a:pt x="11247" y="12676"/>
                    </a:lnTo>
                    <a:lnTo>
                      <a:pt x="11973" y="13195"/>
                    </a:lnTo>
                    <a:lnTo>
                      <a:pt x="12698" y="13320"/>
                    </a:lnTo>
                    <a:lnTo>
                      <a:pt x="13152" y="13859"/>
                    </a:lnTo>
                    <a:lnTo>
                      <a:pt x="11973" y="14378"/>
                    </a:lnTo>
                    <a:lnTo>
                      <a:pt x="12426" y="14710"/>
                    </a:lnTo>
                    <a:lnTo>
                      <a:pt x="11701" y="14917"/>
                    </a:lnTo>
                    <a:lnTo>
                      <a:pt x="11701" y="15021"/>
                    </a:lnTo>
                    <a:lnTo>
                      <a:pt x="11247" y="14917"/>
                    </a:lnTo>
                    <a:lnTo>
                      <a:pt x="10567" y="15228"/>
                    </a:lnTo>
                    <a:lnTo>
                      <a:pt x="9841" y="15477"/>
                    </a:lnTo>
                    <a:lnTo>
                      <a:pt x="8934" y="15477"/>
                    </a:lnTo>
                    <a:lnTo>
                      <a:pt x="9841" y="15560"/>
                    </a:lnTo>
                    <a:lnTo>
                      <a:pt x="9841" y="16100"/>
                    </a:lnTo>
                    <a:lnTo>
                      <a:pt x="9841" y="16411"/>
                    </a:lnTo>
                    <a:lnTo>
                      <a:pt x="9388" y="16639"/>
                    </a:lnTo>
                    <a:lnTo>
                      <a:pt x="9841" y="16846"/>
                    </a:lnTo>
                    <a:lnTo>
                      <a:pt x="9388" y="17822"/>
                    </a:lnTo>
                    <a:lnTo>
                      <a:pt x="8707" y="18900"/>
                    </a:lnTo>
                    <a:lnTo>
                      <a:pt x="6803" y="18900"/>
                    </a:lnTo>
                    <a:lnTo>
                      <a:pt x="6349" y="19108"/>
                    </a:lnTo>
                    <a:lnTo>
                      <a:pt x="5669" y="19212"/>
                    </a:lnTo>
                    <a:lnTo>
                      <a:pt x="5669" y="19419"/>
                    </a:lnTo>
                    <a:lnTo>
                      <a:pt x="5850" y="19544"/>
                    </a:lnTo>
                    <a:lnTo>
                      <a:pt x="5669" y="19979"/>
                    </a:lnTo>
                    <a:lnTo>
                      <a:pt x="4943" y="19979"/>
                    </a:lnTo>
                    <a:lnTo>
                      <a:pt x="3991" y="19979"/>
                    </a:lnTo>
                    <a:lnTo>
                      <a:pt x="3719" y="19979"/>
                    </a:lnTo>
                    <a:lnTo>
                      <a:pt x="3719" y="19419"/>
                    </a:lnTo>
                    <a:lnTo>
                      <a:pt x="2812" y="18900"/>
                    </a:lnTo>
                    <a:lnTo>
                      <a:pt x="3265" y="18672"/>
                    </a:lnTo>
                    <a:lnTo>
                      <a:pt x="2812" y="18568"/>
                    </a:lnTo>
                    <a:lnTo>
                      <a:pt x="3265" y="18568"/>
                    </a:lnTo>
                    <a:lnTo>
                      <a:pt x="3265" y="18237"/>
                    </a:lnTo>
                    <a:lnTo>
                      <a:pt x="2585" y="17822"/>
                    </a:lnTo>
                    <a:lnTo>
                      <a:pt x="1859" y="17178"/>
                    </a:lnTo>
                    <a:lnTo>
                      <a:pt x="952" y="16639"/>
                    </a:lnTo>
                    <a:lnTo>
                      <a:pt x="1406" y="16328"/>
                    </a:lnTo>
                    <a:lnTo>
                      <a:pt x="952" y="15996"/>
                    </a:lnTo>
                    <a:lnTo>
                      <a:pt x="726" y="16100"/>
                    </a:lnTo>
                    <a:lnTo>
                      <a:pt x="272" y="15788"/>
                    </a:lnTo>
                    <a:lnTo>
                      <a:pt x="0" y="15021"/>
                    </a:lnTo>
                    <a:lnTo>
                      <a:pt x="0" y="14917"/>
                    </a:lnTo>
                    <a:lnTo>
                      <a:pt x="952" y="15021"/>
                    </a:lnTo>
                    <a:lnTo>
                      <a:pt x="952" y="14066"/>
                    </a:lnTo>
                    <a:lnTo>
                      <a:pt x="1406" y="13859"/>
                    </a:lnTo>
                    <a:lnTo>
                      <a:pt x="1406" y="13734"/>
                    </a:lnTo>
                    <a:lnTo>
                      <a:pt x="2132" y="13734"/>
                    </a:lnTo>
                    <a:lnTo>
                      <a:pt x="2585" y="13195"/>
                    </a:lnTo>
                    <a:lnTo>
                      <a:pt x="2585" y="12780"/>
                    </a:lnTo>
                    <a:lnTo>
                      <a:pt x="1859" y="12137"/>
                    </a:lnTo>
                    <a:lnTo>
                      <a:pt x="2585" y="11909"/>
                    </a:lnTo>
                    <a:lnTo>
                      <a:pt x="2812" y="11598"/>
                    </a:lnTo>
                    <a:lnTo>
                      <a:pt x="2132" y="11286"/>
                    </a:lnTo>
                    <a:lnTo>
                      <a:pt x="1859" y="11058"/>
                    </a:lnTo>
                    <a:lnTo>
                      <a:pt x="1406" y="10104"/>
                    </a:lnTo>
                    <a:lnTo>
                      <a:pt x="952" y="9336"/>
                    </a:lnTo>
                    <a:lnTo>
                      <a:pt x="1406" y="9025"/>
                    </a:lnTo>
                    <a:lnTo>
                      <a:pt x="952" y="8693"/>
                    </a:lnTo>
                    <a:lnTo>
                      <a:pt x="952" y="8154"/>
                    </a:lnTo>
                    <a:lnTo>
                      <a:pt x="2132" y="7635"/>
                    </a:lnTo>
                    <a:lnTo>
                      <a:pt x="2812" y="7407"/>
                    </a:lnTo>
                    <a:lnTo>
                      <a:pt x="4444" y="7635"/>
                    </a:lnTo>
                    <a:lnTo>
                      <a:pt x="4444" y="7095"/>
                    </a:lnTo>
                    <a:lnTo>
                      <a:pt x="4444" y="6992"/>
                    </a:lnTo>
                    <a:lnTo>
                      <a:pt x="3719" y="6784"/>
                    </a:lnTo>
                    <a:lnTo>
                      <a:pt x="4444" y="6017"/>
                    </a:lnTo>
                    <a:lnTo>
                      <a:pt x="4943" y="5373"/>
                    </a:lnTo>
                    <a:lnTo>
                      <a:pt x="4943" y="4295"/>
                    </a:lnTo>
                    <a:lnTo>
                      <a:pt x="5850" y="3983"/>
                    </a:lnTo>
                    <a:lnTo>
                      <a:pt x="5850" y="3651"/>
                    </a:lnTo>
                    <a:lnTo>
                      <a:pt x="7029" y="2905"/>
                    </a:lnTo>
                    <a:lnTo>
                      <a:pt x="7528" y="2801"/>
                    </a:lnTo>
                    <a:lnTo>
                      <a:pt x="7029" y="2261"/>
                    </a:lnTo>
                    <a:lnTo>
                      <a:pt x="7710" y="1950"/>
                    </a:lnTo>
                    <a:lnTo>
                      <a:pt x="7710" y="1494"/>
                    </a:lnTo>
                    <a:lnTo>
                      <a:pt x="8707" y="1411"/>
                    </a:lnTo>
                    <a:lnTo>
                      <a:pt x="9841" y="1494"/>
                    </a:lnTo>
                    <a:lnTo>
                      <a:pt x="9841" y="1183"/>
                    </a:lnTo>
                    <a:lnTo>
                      <a:pt x="9841" y="851"/>
                    </a:lnTo>
                    <a:lnTo>
                      <a:pt x="10113" y="643"/>
                    </a:lnTo>
                    <a:lnTo>
                      <a:pt x="11247" y="851"/>
                    </a:lnTo>
                    <a:lnTo>
                      <a:pt x="12698" y="1079"/>
                    </a:lnTo>
                    <a:lnTo>
                      <a:pt x="13152" y="851"/>
                    </a:lnTo>
                    <a:lnTo>
                      <a:pt x="12698" y="643"/>
                    </a:lnTo>
                    <a:lnTo>
                      <a:pt x="12698" y="332"/>
                    </a:lnTo>
                    <a:lnTo>
                      <a:pt x="12698" y="0"/>
                    </a:lnTo>
                    <a:lnTo>
                      <a:pt x="1365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 name="Freeform 260"/>
              <p:cNvSpPr>
                <a:spLocks/>
              </p:cNvSpPr>
              <p:nvPr/>
            </p:nvSpPr>
            <p:spPr bwMode="auto">
              <a:xfrm>
                <a:off x="5440363" y="2587625"/>
                <a:ext cx="20637" cy="44450"/>
              </a:xfrm>
              <a:custGeom>
                <a:avLst/>
                <a:gdLst>
                  <a:gd name="T0" fmla="*/ 3750 w 20000"/>
                  <a:gd name="T1" fmla="*/ 19710 h 20000"/>
                  <a:gd name="T2" fmla="*/ 0 w 20000"/>
                  <a:gd name="T3" fmla="*/ 6087 h 20000"/>
                  <a:gd name="T4" fmla="*/ 9375 w 20000"/>
                  <a:gd name="T5" fmla="*/ 0 h 20000"/>
                  <a:gd name="T6" fmla="*/ 19375 w 20000"/>
                  <a:gd name="T7" fmla="*/ 0 h 20000"/>
                  <a:gd name="T8" fmla="*/ 16250 w 20000"/>
                  <a:gd name="T9" fmla="*/ 3188 h 20000"/>
                  <a:gd name="T10" fmla="*/ 16250 w 20000"/>
                  <a:gd name="T11" fmla="*/ 10725 h 20000"/>
                  <a:gd name="T12" fmla="*/ 16250 w 20000"/>
                  <a:gd name="T13" fmla="*/ 12174 h 20000"/>
                  <a:gd name="T14" fmla="*/ 3750 w 20000"/>
                  <a:gd name="T15" fmla="*/ 19710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3750" y="19710"/>
                    </a:moveTo>
                    <a:lnTo>
                      <a:pt x="0" y="6087"/>
                    </a:lnTo>
                    <a:lnTo>
                      <a:pt x="9375" y="0"/>
                    </a:lnTo>
                    <a:lnTo>
                      <a:pt x="19375" y="0"/>
                    </a:lnTo>
                    <a:lnTo>
                      <a:pt x="16250" y="3188"/>
                    </a:lnTo>
                    <a:lnTo>
                      <a:pt x="16250" y="10725"/>
                    </a:lnTo>
                    <a:lnTo>
                      <a:pt x="16250" y="12174"/>
                    </a:lnTo>
                    <a:lnTo>
                      <a:pt x="3750" y="197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 name="Freeform 259"/>
              <p:cNvSpPr>
                <a:spLocks/>
              </p:cNvSpPr>
              <p:nvPr/>
            </p:nvSpPr>
            <p:spPr bwMode="auto">
              <a:xfrm>
                <a:off x="5403850" y="2611438"/>
                <a:ext cx="11113" cy="47625"/>
              </a:xfrm>
              <a:custGeom>
                <a:avLst/>
                <a:gdLst>
                  <a:gd name="T0" fmla="*/ 0 w 20000"/>
                  <a:gd name="T1" fmla="*/ 19730 h 20000"/>
                  <a:gd name="T2" fmla="*/ 0 w 20000"/>
                  <a:gd name="T3" fmla="*/ 14054 h 20000"/>
                  <a:gd name="T4" fmla="*/ 7059 w 20000"/>
                  <a:gd name="T5" fmla="*/ 7027 h 20000"/>
                  <a:gd name="T6" fmla="*/ 7059 w 20000"/>
                  <a:gd name="T7" fmla="*/ 1622 h 20000"/>
                  <a:gd name="T8" fmla="*/ 18824 w 20000"/>
                  <a:gd name="T9" fmla="*/ 0 h 20000"/>
                  <a:gd name="T10" fmla="*/ 7059 w 20000"/>
                  <a:gd name="T11" fmla="*/ 8378 h 20000"/>
                  <a:gd name="T12" fmla="*/ 0 w 20000"/>
                  <a:gd name="T13" fmla="*/ 19730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19730"/>
                    </a:moveTo>
                    <a:lnTo>
                      <a:pt x="0" y="14054"/>
                    </a:lnTo>
                    <a:lnTo>
                      <a:pt x="7059" y="7027"/>
                    </a:lnTo>
                    <a:lnTo>
                      <a:pt x="7059" y="1622"/>
                    </a:lnTo>
                    <a:lnTo>
                      <a:pt x="18824" y="0"/>
                    </a:lnTo>
                    <a:lnTo>
                      <a:pt x="7059" y="8378"/>
                    </a:lnTo>
                    <a:lnTo>
                      <a:pt x="0" y="197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 name="Freeform 258"/>
              <p:cNvSpPr>
                <a:spLocks/>
              </p:cNvSpPr>
              <p:nvPr/>
            </p:nvSpPr>
            <p:spPr bwMode="auto">
              <a:xfrm>
                <a:off x="5360988" y="2698750"/>
                <a:ext cx="11112" cy="14288"/>
              </a:xfrm>
              <a:custGeom>
                <a:avLst/>
                <a:gdLst>
                  <a:gd name="T0" fmla="*/ 5882 w 20000"/>
                  <a:gd name="T1" fmla="*/ 19091 h 20000"/>
                  <a:gd name="T2" fmla="*/ 0 w 20000"/>
                  <a:gd name="T3" fmla="*/ 10000 h 20000"/>
                  <a:gd name="T4" fmla="*/ 0 w 20000"/>
                  <a:gd name="T5" fmla="*/ 0 h 20000"/>
                  <a:gd name="T6" fmla="*/ 18824 w 20000"/>
                  <a:gd name="T7" fmla="*/ 10000 h 20000"/>
                  <a:gd name="T8" fmla="*/ 5882 w 20000"/>
                  <a:gd name="T9" fmla="*/ 19091 h 20000"/>
                </a:gdLst>
                <a:ahLst/>
                <a:cxnLst>
                  <a:cxn ang="0">
                    <a:pos x="T0" y="T1"/>
                  </a:cxn>
                  <a:cxn ang="0">
                    <a:pos x="T2" y="T3"/>
                  </a:cxn>
                  <a:cxn ang="0">
                    <a:pos x="T4" y="T5"/>
                  </a:cxn>
                  <a:cxn ang="0">
                    <a:pos x="T6" y="T7"/>
                  </a:cxn>
                  <a:cxn ang="0">
                    <a:pos x="T8" y="T9"/>
                  </a:cxn>
                </a:cxnLst>
                <a:rect l="0" t="0" r="r" b="b"/>
                <a:pathLst>
                  <a:path w="20000" h="20000">
                    <a:moveTo>
                      <a:pt x="5882" y="19091"/>
                    </a:moveTo>
                    <a:lnTo>
                      <a:pt x="0" y="10000"/>
                    </a:lnTo>
                    <a:lnTo>
                      <a:pt x="0" y="0"/>
                    </a:lnTo>
                    <a:lnTo>
                      <a:pt x="18824" y="10000"/>
                    </a:lnTo>
                    <a:lnTo>
                      <a:pt x="5882" y="1909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 name="Freeform 257"/>
              <p:cNvSpPr>
                <a:spLocks/>
              </p:cNvSpPr>
              <p:nvPr/>
            </p:nvSpPr>
            <p:spPr bwMode="auto">
              <a:xfrm>
                <a:off x="5153025" y="2981325"/>
                <a:ext cx="115888" cy="69850"/>
              </a:xfrm>
              <a:custGeom>
                <a:avLst/>
                <a:gdLst>
                  <a:gd name="T0" fmla="*/ 5137 w 20000"/>
                  <a:gd name="T1" fmla="*/ 2909 h 20000"/>
                  <a:gd name="T2" fmla="*/ 6230 w 20000"/>
                  <a:gd name="T3" fmla="*/ 2909 h 20000"/>
                  <a:gd name="T4" fmla="*/ 7432 w 20000"/>
                  <a:gd name="T5" fmla="*/ 2909 h 20000"/>
                  <a:gd name="T6" fmla="*/ 7978 w 20000"/>
                  <a:gd name="T7" fmla="*/ 2909 h 20000"/>
                  <a:gd name="T8" fmla="*/ 9071 w 20000"/>
                  <a:gd name="T9" fmla="*/ 2909 h 20000"/>
                  <a:gd name="T10" fmla="*/ 9617 w 20000"/>
                  <a:gd name="T11" fmla="*/ 2909 h 20000"/>
                  <a:gd name="T12" fmla="*/ 9617 w 20000"/>
                  <a:gd name="T13" fmla="*/ 2000 h 20000"/>
                  <a:gd name="T14" fmla="*/ 10710 w 20000"/>
                  <a:gd name="T15" fmla="*/ 0 h 20000"/>
                  <a:gd name="T16" fmla="*/ 11913 w 20000"/>
                  <a:gd name="T17" fmla="*/ 0 h 20000"/>
                  <a:gd name="T18" fmla="*/ 12459 w 20000"/>
                  <a:gd name="T19" fmla="*/ 0 h 20000"/>
                  <a:gd name="T20" fmla="*/ 12459 w 20000"/>
                  <a:gd name="T21" fmla="*/ 2000 h 20000"/>
                  <a:gd name="T22" fmla="*/ 13661 w 20000"/>
                  <a:gd name="T23" fmla="*/ 2000 h 20000"/>
                  <a:gd name="T24" fmla="*/ 14098 w 20000"/>
                  <a:gd name="T25" fmla="*/ 2000 h 20000"/>
                  <a:gd name="T26" fmla="*/ 15410 w 20000"/>
                  <a:gd name="T27" fmla="*/ 2000 h 20000"/>
                  <a:gd name="T28" fmla="*/ 16503 w 20000"/>
                  <a:gd name="T29" fmla="*/ 2909 h 20000"/>
                  <a:gd name="T30" fmla="*/ 15410 w 20000"/>
                  <a:gd name="T31" fmla="*/ 4909 h 20000"/>
                  <a:gd name="T32" fmla="*/ 15410 w 20000"/>
                  <a:gd name="T33" fmla="*/ 5636 h 20000"/>
                  <a:gd name="T34" fmla="*/ 16503 w 20000"/>
                  <a:gd name="T35" fmla="*/ 7636 h 20000"/>
                  <a:gd name="T36" fmla="*/ 16940 w 20000"/>
                  <a:gd name="T37" fmla="*/ 7636 h 20000"/>
                  <a:gd name="T38" fmla="*/ 16940 w 20000"/>
                  <a:gd name="T39" fmla="*/ 9455 h 20000"/>
                  <a:gd name="T40" fmla="*/ 18142 w 20000"/>
                  <a:gd name="T41" fmla="*/ 9455 h 20000"/>
                  <a:gd name="T42" fmla="*/ 19235 w 20000"/>
                  <a:gd name="T43" fmla="*/ 10545 h 20000"/>
                  <a:gd name="T44" fmla="*/ 19891 w 20000"/>
                  <a:gd name="T45" fmla="*/ 10545 h 20000"/>
                  <a:gd name="T46" fmla="*/ 19235 w 20000"/>
                  <a:gd name="T47" fmla="*/ 14182 h 20000"/>
                  <a:gd name="T48" fmla="*/ 18142 w 20000"/>
                  <a:gd name="T49" fmla="*/ 14182 h 20000"/>
                  <a:gd name="T50" fmla="*/ 18142 w 20000"/>
                  <a:gd name="T51" fmla="*/ 16909 h 20000"/>
                  <a:gd name="T52" fmla="*/ 16940 w 20000"/>
                  <a:gd name="T53" fmla="*/ 15091 h 20000"/>
                  <a:gd name="T54" fmla="*/ 16503 w 20000"/>
                  <a:gd name="T55" fmla="*/ 15091 h 20000"/>
                  <a:gd name="T56" fmla="*/ 15410 w 20000"/>
                  <a:gd name="T57" fmla="*/ 14182 h 20000"/>
                  <a:gd name="T58" fmla="*/ 14098 w 20000"/>
                  <a:gd name="T59" fmla="*/ 14182 h 20000"/>
                  <a:gd name="T60" fmla="*/ 14098 w 20000"/>
                  <a:gd name="T61" fmla="*/ 16909 h 20000"/>
                  <a:gd name="T62" fmla="*/ 13661 w 20000"/>
                  <a:gd name="T63" fmla="*/ 18000 h 20000"/>
                  <a:gd name="T64" fmla="*/ 9617 w 20000"/>
                  <a:gd name="T65" fmla="*/ 16909 h 20000"/>
                  <a:gd name="T66" fmla="*/ 7978 w 20000"/>
                  <a:gd name="T67" fmla="*/ 19818 h 20000"/>
                  <a:gd name="T68" fmla="*/ 7432 w 20000"/>
                  <a:gd name="T69" fmla="*/ 18000 h 20000"/>
                  <a:gd name="T70" fmla="*/ 4481 w 20000"/>
                  <a:gd name="T71" fmla="*/ 19818 h 20000"/>
                  <a:gd name="T72" fmla="*/ 3388 w 20000"/>
                  <a:gd name="T73" fmla="*/ 16909 h 20000"/>
                  <a:gd name="T74" fmla="*/ 1749 w 20000"/>
                  <a:gd name="T75" fmla="*/ 14182 h 20000"/>
                  <a:gd name="T76" fmla="*/ 0 w 20000"/>
                  <a:gd name="T77" fmla="*/ 15091 h 20000"/>
                  <a:gd name="T78" fmla="*/ 0 w 20000"/>
                  <a:gd name="T79" fmla="*/ 14182 h 20000"/>
                  <a:gd name="T80" fmla="*/ 1749 w 20000"/>
                  <a:gd name="T81" fmla="*/ 9455 h 20000"/>
                  <a:gd name="T82" fmla="*/ 3388 w 20000"/>
                  <a:gd name="T83" fmla="*/ 5636 h 20000"/>
                  <a:gd name="T84" fmla="*/ 3388 w 20000"/>
                  <a:gd name="T85" fmla="*/ 2909 h 20000"/>
                  <a:gd name="T86" fmla="*/ 5137 w 20000"/>
                  <a:gd name="T87" fmla="*/ 290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5137" y="2909"/>
                    </a:moveTo>
                    <a:lnTo>
                      <a:pt x="6230" y="2909"/>
                    </a:lnTo>
                    <a:lnTo>
                      <a:pt x="7432" y="2909"/>
                    </a:lnTo>
                    <a:lnTo>
                      <a:pt x="7978" y="2909"/>
                    </a:lnTo>
                    <a:lnTo>
                      <a:pt x="9071" y="2909"/>
                    </a:lnTo>
                    <a:lnTo>
                      <a:pt x="9617" y="2909"/>
                    </a:lnTo>
                    <a:lnTo>
                      <a:pt x="9617" y="2000"/>
                    </a:lnTo>
                    <a:lnTo>
                      <a:pt x="10710" y="0"/>
                    </a:lnTo>
                    <a:lnTo>
                      <a:pt x="11913" y="0"/>
                    </a:lnTo>
                    <a:lnTo>
                      <a:pt x="12459" y="0"/>
                    </a:lnTo>
                    <a:lnTo>
                      <a:pt x="12459" y="2000"/>
                    </a:lnTo>
                    <a:lnTo>
                      <a:pt x="13661" y="2000"/>
                    </a:lnTo>
                    <a:lnTo>
                      <a:pt x="14098" y="2000"/>
                    </a:lnTo>
                    <a:lnTo>
                      <a:pt x="15410" y="2000"/>
                    </a:lnTo>
                    <a:lnTo>
                      <a:pt x="16503" y="2909"/>
                    </a:lnTo>
                    <a:lnTo>
                      <a:pt x="15410" y="4909"/>
                    </a:lnTo>
                    <a:lnTo>
                      <a:pt x="15410" y="5636"/>
                    </a:lnTo>
                    <a:lnTo>
                      <a:pt x="16503" y="7636"/>
                    </a:lnTo>
                    <a:lnTo>
                      <a:pt x="16940" y="7636"/>
                    </a:lnTo>
                    <a:lnTo>
                      <a:pt x="16940" y="9455"/>
                    </a:lnTo>
                    <a:lnTo>
                      <a:pt x="18142" y="9455"/>
                    </a:lnTo>
                    <a:lnTo>
                      <a:pt x="19235" y="10545"/>
                    </a:lnTo>
                    <a:lnTo>
                      <a:pt x="19891" y="10545"/>
                    </a:lnTo>
                    <a:lnTo>
                      <a:pt x="19235" y="14182"/>
                    </a:lnTo>
                    <a:lnTo>
                      <a:pt x="18142" y="14182"/>
                    </a:lnTo>
                    <a:lnTo>
                      <a:pt x="18142" y="16909"/>
                    </a:lnTo>
                    <a:lnTo>
                      <a:pt x="16940" y="15091"/>
                    </a:lnTo>
                    <a:lnTo>
                      <a:pt x="16503" y="15091"/>
                    </a:lnTo>
                    <a:lnTo>
                      <a:pt x="15410" y="14182"/>
                    </a:lnTo>
                    <a:lnTo>
                      <a:pt x="14098" y="14182"/>
                    </a:lnTo>
                    <a:lnTo>
                      <a:pt x="14098" y="16909"/>
                    </a:lnTo>
                    <a:lnTo>
                      <a:pt x="13661" y="18000"/>
                    </a:lnTo>
                    <a:lnTo>
                      <a:pt x="9617" y="16909"/>
                    </a:lnTo>
                    <a:lnTo>
                      <a:pt x="7978" y="19818"/>
                    </a:lnTo>
                    <a:lnTo>
                      <a:pt x="7432" y="18000"/>
                    </a:lnTo>
                    <a:lnTo>
                      <a:pt x="4481" y="19818"/>
                    </a:lnTo>
                    <a:lnTo>
                      <a:pt x="3388" y="16909"/>
                    </a:lnTo>
                    <a:lnTo>
                      <a:pt x="1749" y="14182"/>
                    </a:lnTo>
                    <a:lnTo>
                      <a:pt x="0" y="15091"/>
                    </a:lnTo>
                    <a:lnTo>
                      <a:pt x="0" y="14182"/>
                    </a:lnTo>
                    <a:lnTo>
                      <a:pt x="1749" y="9455"/>
                    </a:lnTo>
                    <a:lnTo>
                      <a:pt x="3388" y="5636"/>
                    </a:lnTo>
                    <a:lnTo>
                      <a:pt x="3388" y="2909"/>
                    </a:lnTo>
                    <a:lnTo>
                      <a:pt x="5137" y="290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 name="Freeform 256"/>
              <p:cNvSpPr>
                <a:spLocks/>
              </p:cNvSpPr>
              <p:nvPr/>
            </p:nvSpPr>
            <p:spPr bwMode="auto">
              <a:xfrm>
                <a:off x="4743450" y="3127375"/>
                <a:ext cx="336550" cy="260350"/>
              </a:xfrm>
              <a:custGeom>
                <a:avLst/>
                <a:gdLst>
                  <a:gd name="T0" fmla="*/ 12703 w 20000"/>
                  <a:gd name="T1" fmla="*/ 2005 h 20000"/>
                  <a:gd name="T2" fmla="*/ 15879 w 20000"/>
                  <a:gd name="T3" fmla="*/ 2787 h 20000"/>
                  <a:gd name="T4" fmla="*/ 16824 w 20000"/>
                  <a:gd name="T5" fmla="*/ 2787 h 20000"/>
                  <a:gd name="T6" fmla="*/ 18034 w 20000"/>
                  <a:gd name="T7" fmla="*/ 3276 h 20000"/>
                  <a:gd name="T8" fmla="*/ 19584 w 20000"/>
                  <a:gd name="T9" fmla="*/ 3276 h 20000"/>
                  <a:gd name="T10" fmla="*/ 19584 w 20000"/>
                  <a:gd name="T11" fmla="*/ 4010 h 20000"/>
                  <a:gd name="T12" fmla="*/ 18979 w 20000"/>
                  <a:gd name="T13" fmla="*/ 5575 h 20000"/>
                  <a:gd name="T14" fmla="*/ 16824 w 20000"/>
                  <a:gd name="T15" fmla="*/ 6797 h 20000"/>
                  <a:gd name="T16" fmla="*/ 15879 w 20000"/>
                  <a:gd name="T17" fmla="*/ 7286 h 20000"/>
                  <a:gd name="T18" fmla="*/ 15274 w 20000"/>
                  <a:gd name="T19" fmla="*/ 9340 h 20000"/>
                  <a:gd name="T20" fmla="*/ 14329 w 20000"/>
                  <a:gd name="T21" fmla="*/ 11589 h 20000"/>
                  <a:gd name="T22" fmla="*/ 14858 w 20000"/>
                  <a:gd name="T23" fmla="*/ 13399 h 20000"/>
                  <a:gd name="T24" fmla="*/ 13724 w 20000"/>
                  <a:gd name="T25" fmla="*/ 14670 h 20000"/>
                  <a:gd name="T26" fmla="*/ 13308 w 20000"/>
                  <a:gd name="T27" fmla="*/ 15892 h 20000"/>
                  <a:gd name="T28" fmla="*/ 12136 w 20000"/>
                  <a:gd name="T29" fmla="*/ 16186 h 20000"/>
                  <a:gd name="T30" fmla="*/ 11153 w 20000"/>
                  <a:gd name="T31" fmla="*/ 18191 h 20000"/>
                  <a:gd name="T32" fmla="*/ 10397 w 20000"/>
                  <a:gd name="T33" fmla="*/ 17946 h 20000"/>
                  <a:gd name="T34" fmla="*/ 9792 w 20000"/>
                  <a:gd name="T35" fmla="*/ 18191 h 20000"/>
                  <a:gd name="T36" fmla="*/ 8809 w 20000"/>
                  <a:gd name="T37" fmla="*/ 18191 h 20000"/>
                  <a:gd name="T38" fmla="*/ 7259 w 20000"/>
                  <a:gd name="T39" fmla="*/ 18680 h 20000"/>
                  <a:gd name="T40" fmla="*/ 5671 w 20000"/>
                  <a:gd name="T41" fmla="*/ 19951 h 20000"/>
                  <a:gd name="T42" fmla="*/ 4121 w 20000"/>
                  <a:gd name="T43" fmla="*/ 18191 h 20000"/>
                  <a:gd name="T44" fmla="*/ 3176 w 20000"/>
                  <a:gd name="T45" fmla="*/ 16968 h 20000"/>
                  <a:gd name="T46" fmla="*/ 2949 w 20000"/>
                  <a:gd name="T47" fmla="*/ 15403 h 20000"/>
                  <a:gd name="T48" fmla="*/ 3554 w 20000"/>
                  <a:gd name="T49" fmla="*/ 14181 h 20000"/>
                  <a:gd name="T50" fmla="*/ 3176 w 20000"/>
                  <a:gd name="T51" fmla="*/ 12665 h 20000"/>
                  <a:gd name="T52" fmla="*/ 2949 w 20000"/>
                  <a:gd name="T53" fmla="*/ 10611 h 20000"/>
                  <a:gd name="T54" fmla="*/ 3932 w 20000"/>
                  <a:gd name="T55" fmla="*/ 8606 h 20000"/>
                  <a:gd name="T56" fmla="*/ 4726 w 20000"/>
                  <a:gd name="T57" fmla="*/ 5575 h 20000"/>
                  <a:gd name="T58" fmla="*/ 3932 w 20000"/>
                  <a:gd name="T59" fmla="*/ 4792 h 20000"/>
                  <a:gd name="T60" fmla="*/ 2571 w 20000"/>
                  <a:gd name="T61" fmla="*/ 4792 h 20000"/>
                  <a:gd name="T62" fmla="*/ 1588 w 20000"/>
                  <a:gd name="T63" fmla="*/ 4010 h 20000"/>
                  <a:gd name="T64" fmla="*/ 605 w 20000"/>
                  <a:gd name="T65" fmla="*/ 4010 h 20000"/>
                  <a:gd name="T66" fmla="*/ 605 w 20000"/>
                  <a:gd name="T67" fmla="*/ 2787 h 20000"/>
                  <a:gd name="T68" fmla="*/ 416 w 20000"/>
                  <a:gd name="T69" fmla="*/ 2298 h 20000"/>
                  <a:gd name="T70" fmla="*/ 605 w 20000"/>
                  <a:gd name="T71" fmla="*/ 782 h 20000"/>
                  <a:gd name="T72" fmla="*/ 1588 w 20000"/>
                  <a:gd name="T73" fmla="*/ 196 h 20000"/>
                  <a:gd name="T74" fmla="*/ 2949 w 20000"/>
                  <a:gd name="T75" fmla="*/ 196 h 20000"/>
                  <a:gd name="T76" fmla="*/ 5482 w 20000"/>
                  <a:gd name="T77" fmla="*/ 196 h 20000"/>
                  <a:gd name="T78" fmla="*/ 8809 w 20000"/>
                  <a:gd name="T79" fmla="*/ 782 h 20000"/>
                  <a:gd name="T80" fmla="*/ 12136 w 20000"/>
                  <a:gd name="T81" fmla="*/ 78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12136" y="782"/>
                    </a:moveTo>
                    <a:lnTo>
                      <a:pt x="12703" y="2005"/>
                    </a:lnTo>
                    <a:lnTo>
                      <a:pt x="14858" y="2787"/>
                    </a:lnTo>
                    <a:lnTo>
                      <a:pt x="15879" y="2787"/>
                    </a:lnTo>
                    <a:lnTo>
                      <a:pt x="15879" y="2298"/>
                    </a:lnTo>
                    <a:lnTo>
                      <a:pt x="16824" y="2787"/>
                    </a:lnTo>
                    <a:lnTo>
                      <a:pt x="17429" y="3521"/>
                    </a:lnTo>
                    <a:lnTo>
                      <a:pt x="18034" y="3276"/>
                    </a:lnTo>
                    <a:lnTo>
                      <a:pt x="18979" y="3521"/>
                    </a:lnTo>
                    <a:lnTo>
                      <a:pt x="19584" y="3276"/>
                    </a:lnTo>
                    <a:lnTo>
                      <a:pt x="19962" y="3521"/>
                    </a:lnTo>
                    <a:lnTo>
                      <a:pt x="19584" y="4010"/>
                    </a:lnTo>
                    <a:lnTo>
                      <a:pt x="19584" y="4792"/>
                    </a:lnTo>
                    <a:lnTo>
                      <a:pt x="18979" y="5575"/>
                    </a:lnTo>
                    <a:lnTo>
                      <a:pt x="18034" y="6797"/>
                    </a:lnTo>
                    <a:lnTo>
                      <a:pt x="16824" y="6797"/>
                    </a:lnTo>
                    <a:lnTo>
                      <a:pt x="16257" y="7286"/>
                    </a:lnTo>
                    <a:lnTo>
                      <a:pt x="15879" y="7286"/>
                    </a:lnTo>
                    <a:lnTo>
                      <a:pt x="15879" y="8606"/>
                    </a:lnTo>
                    <a:lnTo>
                      <a:pt x="15274" y="9340"/>
                    </a:lnTo>
                    <a:lnTo>
                      <a:pt x="13913" y="10856"/>
                    </a:lnTo>
                    <a:lnTo>
                      <a:pt x="14329" y="11589"/>
                    </a:lnTo>
                    <a:lnTo>
                      <a:pt x="14858" y="12861"/>
                    </a:lnTo>
                    <a:lnTo>
                      <a:pt x="14858" y="13399"/>
                    </a:lnTo>
                    <a:lnTo>
                      <a:pt x="14329" y="13888"/>
                    </a:lnTo>
                    <a:lnTo>
                      <a:pt x="13724" y="14670"/>
                    </a:lnTo>
                    <a:lnTo>
                      <a:pt x="13308" y="15403"/>
                    </a:lnTo>
                    <a:lnTo>
                      <a:pt x="13308" y="15892"/>
                    </a:lnTo>
                    <a:lnTo>
                      <a:pt x="12930" y="16186"/>
                    </a:lnTo>
                    <a:lnTo>
                      <a:pt x="12136" y="16186"/>
                    </a:lnTo>
                    <a:lnTo>
                      <a:pt x="11380" y="16968"/>
                    </a:lnTo>
                    <a:lnTo>
                      <a:pt x="11153" y="18191"/>
                    </a:lnTo>
                    <a:lnTo>
                      <a:pt x="10775" y="17946"/>
                    </a:lnTo>
                    <a:lnTo>
                      <a:pt x="10397" y="17946"/>
                    </a:lnTo>
                    <a:lnTo>
                      <a:pt x="10208" y="18191"/>
                    </a:lnTo>
                    <a:lnTo>
                      <a:pt x="9792" y="18191"/>
                    </a:lnTo>
                    <a:lnTo>
                      <a:pt x="9225" y="18191"/>
                    </a:lnTo>
                    <a:lnTo>
                      <a:pt x="8809" y="18191"/>
                    </a:lnTo>
                    <a:lnTo>
                      <a:pt x="8053" y="18191"/>
                    </a:lnTo>
                    <a:lnTo>
                      <a:pt x="7259" y="18680"/>
                    </a:lnTo>
                    <a:lnTo>
                      <a:pt x="6654" y="18680"/>
                    </a:lnTo>
                    <a:lnTo>
                      <a:pt x="5671" y="19951"/>
                    </a:lnTo>
                    <a:lnTo>
                      <a:pt x="4499" y="19218"/>
                    </a:lnTo>
                    <a:lnTo>
                      <a:pt x="4121" y="18191"/>
                    </a:lnTo>
                    <a:lnTo>
                      <a:pt x="4121" y="17457"/>
                    </a:lnTo>
                    <a:lnTo>
                      <a:pt x="3176" y="16968"/>
                    </a:lnTo>
                    <a:lnTo>
                      <a:pt x="2949" y="16968"/>
                    </a:lnTo>
                    <a:lnTo>
                      <a:pt x="2949" y="15403"/>
                    </a:lnTo>
                    <a:lnTo>
                      <a:pt x="3554" y="14670"/>
                    </a:lnTo>
                    <a:lnTo>
                      <a:pt x="3554" y="14181"/>
                    </a:lnTo>
                    <a:lnTo>
                      <a:pt x="3176" y="13399"/>
                    </a:lnTo>
                    <a:lnTo>
                      <a:pt x="3176" y="12665"/>
                    </a:lnTo>
                    <a:lnTo>
                      <a:pt x="3176" y="12176"/>
                    </a:lnTo>
                    <a:lnTo>
                      <a:pt x="2949" y="10611"/>
                    </a:lnTo>
                    <a:lnTo>
                      <a:pt x="3554" y="10611"/>
                    </a:lnTo>
                    <a:lnTo>
                      <a:pt x="3932" y="8606"/>
                    </a:lnTo>
                    <a:lnTo>
                      <a:pt x="3932" y="7286"/>
                    </a:lnTo>
                    <a:lnTo>
                      <a:pt x="4726" y="5575"/>
                    </a:lnTo>
                    <a:lnTo>
                      <a:pt x="4499" y="5281"/>
                    </a:lnTo>
                    <a:lnTo>
                      <a:pt x="3932" y="4792"/>
                    </a:lnTo>
                    <a:lnTo>
                      <a:pt x="3176" y="4792"/>
                    </a:lnTo>
                    <a:lnTo>
                      <a:pt x="2571" y="4792"/>
                    </a:lnTo>
                    <a:lnTo>
                      <a:pt x="1966" y="4792"/>
                    </a:lnTo>
                    <a:lnTo>
                      <a:pt x="1588" y="4010"/>
                    </a:lnTo>
                    <a:lnTo>
                      <a:pt x="1021" y="4303"/>
                    </a:lnTo>
                    <a:lnTo>
                      <a:pt x="605" y="4010"/>
                    </a:lnTo>
                    <a:lnTo>
                      <a:pt x="1021" y="3521"/>
                    </a:lnTo>
                    <a:lnTo>
                      <a:pt x="605" y="2787"/>
                    </a:lnTo>
                    <a:lnTo>
                      <a:pt x="416" y="2787"/>
                    </a:lnTo>
                    <a:lnTo>
                      <a:pt x="416" y="2298"/>
                    </a:lnTo>
                    <a:lnTo>
                      <a:pt x="0" y="978"/>
                    </a:lnTo>
                    <a:lnTo>
                      <a:pt x="605" y="782"/>
                    </a:lnTo>
                    <a:lnTo>
                      <a:pt x="1588" y="782"/>
                    </a:lnTo>
                    <a:lnTo>
                      <a:pt x="1588" y="196"/>
                    </a:lnTo>
                    <a:lnTo>
                      <a:pt x="2155" y="0"/>
                    </a:lnTo>
                    <a:lnTo>
                      <a:pt x="2949" y="196"/>
                    </a:lnTo>
                    <a:lnTo>
                      <a:pt x="4499" y="196"/>
                    </a:lnTo>
                    <a:lnTo>
                      <a:pt x="5482" y="196"/>
                    </a:lnTo>
                    <a:lnTo>
                      <a:pt x="7070" y="782"/>
                    </a:lnTo>
                    <a:lnTo>
                      <a:pt x="8809" y="782"/>
                    </a:lnTo>
                    <a:lnTo>
                      <a:pt x="10397" y="782"/>
                    </a:lnTo>
                    <a:lnTo>
                      <a:pt x="12136" y="7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 name="Freeform 255"/>
              <p:cNvSpPr>
                <a:spLocks/>
              </p:cNvSpPr>
              <p:nvPr/>
            </p:nvSpPr>
            <p:spPr bwMode="auto">
              <a:xfrm>
                <a:off x="5054600" y="3257550"/>
                <a:ext cx="30163" cy="20638"/>
              </a:xfrm>
              <a:custGeom>
                <a:avLst/>
                <a:gdLst>
                  <a:gd name="T0" fmla="*/ 10833 w 20000"/>
                  <a:gd name="T1" fmla="*/ 19375 h 20000"/>
                  <a:gd name="T2" fmla="*/ 8333 w 20000"/>
                  <a:gd name="T3" fmla="*/ 16250 h 20000"/>
                  <a:gd name="T4" fmla="*/ 8333 w 20000"/>
                  <a:gd name="T5" fmla="*/ 9375 h 20000"/>
                  <a:gd name="T6" fmla="*/ 0 w 20000"/>
                  <a:gd name="T7" fmla="*/ 9375 h 20000"/>
                  <a:gd name="T8" fmla="*/ 10833 w 20000"/>
                  <a:gd name="T9" fmla="*/ 0 h 20000"/>
                  <a:gd name="T10" fmla="*/ 10833 w 20000"/>
                  <a:gd name="T11" fmla="*/ 6875 h 20000"/>
                  <a:gd name="T12" fmla="*/ 19583 w 20000"/>
                  <a:gd name="T13" fmla="*/ 6875 h 20000"/>
                  <a:gd name="T14" fmla="*/ 15000 w 20000"/>
                  <a:gd name="T15" fmla="*/ 9375 h 20000"/>
                  <a:gd name="T16" fmla="*/ 10833 w 20000"/>
                  <a:gd name="T17"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0833" y="19375"/>
                    </a:moveTo>
                    <a:lnTo>
                      <a:pt x="8333" y="16250"/>
                    </a:lnTo>
                    <a:lnTo>
                      <a:pt x="8333" y="9375"/>
                    </a:lnTo>
                    <a:lnTo>
                      <a:pt x="0" y="9375"/>
                    </a:lnTo>
                    <a:lnTo>
                      <a:pt x="10833" y="0"/>
                    </a:lnTo>
                    <a:lnTo>
                      <a:pt x="10833" y="6875"/>
                    </a:lnTo>
                    <a:lnTo>
                      <a:pt x="19583" y="6875"/>
                    </a:lnTo>
                    <a:lnTo>
                      <a:pt x="15000" y="9375"/>
                    </a:lnTo>
                    <a:lnTo>
                      <a:pt x="10833"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 name="Freeform 254"/>
              <p:cNvSpPr>
                <a:spLocks/>
              </p:cNvSpPr>
              <p:nvPr/>
            </p:nvSpPr>
            <p:spPr bwMode="auto">
              <a:xfrm>
                <a:off x="5087938" y="3251200"/>
                <a:ext cx="11112" cy="6350"/>
              </a:xfrm>
              <a:custGeom>
                <a:avLst/>
                <a:gdLst>
                  <a:gd name="T0" fmla="*/ 18824 w 20000"/>
                  <a:gd name="T1" fmla="*/ 18182 h 20000"/>
                  <a:gd name="T2" fmla="*/ 0 w 20000"/>
                  <a:gd name="T3" fmla="*/ 0 h 20000"/>
                  <a:gd name="T4" fmla="*/ 18824 w 20000"/>
                  <a:gd name="T5" fmla="*/ 0 h 20000"/>
                  <a:gd name="T6" fmla="*/ 18824 w 20000"/>
                  <a:gd name="T7" fmla="*/ 18182 h 20000"/>
                </a:gdLst>
                <a:ahLst/>
                <a:cxnLst>
                  <a:cxn ang="0">
                    <a:pos x="T0" y="T1"/>
                  </a:cxn>
                  <a:cxn ang="0">
                    <a:pos x="T2" y="T3"/>
                  </a:cxn>
                  <a:cxn ang="0">
                    <a:pos x="T4" y="T5"/>
                  </a:cxn>
                  <a:cxn ang="0">
                    <a:pos x="T6" y="T7"/>
                  </a:cxn>
                </a:cxnLst>
                <a:rect l="0" t="0" r="r" b="b"/>
                <a:pathLst>
                  <a:path w="20000" h="20000">
                    <a:moveTo>
                      <a:pt x="18824" y="18182"/>
                    </a:moveTo>
                    <a:lnTo>
                      <a:pt x="0" y="0"/>
                    </a:lnTo>
                    <a:lnTo>
                      <a:pt x="18824" y="0"/>
                    </a:lnTo>
                    <a:lnTo>
                      <a:pt x="18824" y="181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 name="Freeform 253"/>
              <p:cNvSpPr>
                <a:spLocks/>
              </p:cNvSpPr>
              <p:nvPr/>
            </p:nvSpPr>
            <p:spPr bwMode="auto">
              <a:xfrm>
                <a:off x="5019675" y="3284538"/>
                <a:ext cx="11113" cy="9525"/>
              </a:xfrm>
              <a:custGeom>
                <a:avLst/>
                <a:gdLst>
                  <a:gd name="T0" fmla="*/ 18824 w 20000"/>
                  <a:gd name="T1" fmla="*/ 18750 h 20000"/>
                  <a:gd name="T2" fmla="*/ 0 w 20000"/>
                  <a:gd name="T3" fmla="*/ 12500 h 20000"/>
                  <a:gd name="T4" fmla="*/ 18824 w 20000"/>
                  <a:gd name="T5" fmla="*/ 0 h 20000"/>
                  <a:gd name="T6" fmla="*/ 18824 w 20000"/>
                  <a:gd name="T7" fmla="*/ 18750 h 20000"/>
                </a:gdLst>
                <a:ahLst/>
                <a:cxnLst>
                  <a:cxn ang="0">
                    <a:pos x="T0" y="T1"/>
                  </a:cxn>
                  <a:cxn ang="0">
                    <a:pos x="T2" y="T3"/>
                  </a:cxn>
                  <a:cxn ang="0">
                    <a:pos x="T4" y="T5"/>
                  </a:cxn>
                  <a:cxn ang="0">
                    <a:pos x="T6" y="T7"/>
                  </a:cxn>
                </a:cxnLst>
                <a:rect l="0" t="0" r="r" b="b"/>
                <a:pathLst>
                  <a:path w="20000" h="20000">
                    <a:moveTo>
                      <a:pt x="18824" y="18750"/>
                    </a:moveTo>
                    <a:lnTo>
                      <a:pt x="0" y="12500"/>
                    </a:lnTo>
                    <a:lnTo>
                      <a:pt x="18824" y="0"/>
                    </a:lnTo>
                    <a:lnTo>
                      <a:pt x="18824" y="1875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 name="Freeform 252"/>
              <p:cNvSpPr>
                <a:spLocks/>
              </p:cNvSpPr>
              <p:nvPr/>
            </p:nvSpPr>
            <p:spPr bwMode="auto">
              <a:xfrm>
                <a:off x="5026025" y="3162300"/>
                <a:ext cx="20638" cy="11113"/>
              </a:xfrm>
              <a:custGeom>
                <a:avLst/>
                <a:gdLst>
                  <a:gd name="T0" fmla="*/ 0 w 20000"/>
                  <a:gd name="T1" fmla="*/ 0 h 20000"/>
                  <a:gd name="T2" fmla="*/ 9375 w 20000"/>
                  <a:gd name="T3" fmla="*/ 18824 h 20000"/>
                  <a:gd name="T4" fmla="*/ 19375 w 20000"/>
                  <a:gd name="T5" fmla="*/ 11765 h 20000"/>
                  <a:gd name="T6" fmla="*/ 0 w 20000"/>
                  <a:gd name="T7" fmla="*/ 0 h 20000"/>
                </a:gdLst>
                <a:ahLst/>
                <a:cxnLst>
                  <a:cxn ang="0">
                    <a:pos x="T0" y="T1"/>
                  </a:cxn>
                  <a:cxn ang="0">
                    <a:pos x="T2" y="T3"/>
                  </a:cxn>
                  <a:cxn ang="0">
                    <a:pos x="T4" y="T5"/>
                  </a:cxn>
                  <a:cxn ang="0">
                    <a:pos x="T6" y="T7"/>
                  </a:cxn>
                </a:cxnLst>
                <a:rect l="0" t="0" r="r" b="b"/>
                <a:pathLst>
                  <a:path w="20000" h="20000">
                    <a:moveTo>
                      <a:pt x="0" y="0"/>
                    </a:moveTo>
                    <a:lnTo>
                      <a:pt x="9375" y="18824"/>
                    </a:lnTo>
                    <a:lnTo>
                      <a:pt x="19375" y="11765"/>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 name="Freeform 251"/>
              <p:cNvSpPr>
                <a:spLocks/>
              </p:cNvSpPr>
              <p:nvPr/>
            </p:nvSpPr>
            <p:spPr bwMode="auto">
              <a:xfrm>
                <a:off x="5689600" y="3179763"/>
                <a:ext cx="517525" cy="207962"/>
              </a:xfrm>
              <a:custGeom>
                <a:avLst/>
                <a:gdLst>
                  <a:gd name="T0" fmla="*/ 1031 w 20000"/>
                  <a:gd name="T1" fmla="*/ 0 h 20000"/>
                  <a:gd name="T2" fmla="*/ 1767 w 20000"/>
                  <a:gd name="T3" fmla="*/ 367 h 20000"/>
                  <a:gd name="T4" fmla="*/ 2822 w 20000"/>
                  <a:gd name="T5" fmla="*/ 2875 h 20000"/>
                  <a:gd name="T6" fmla="*/ 4074 w 20000"/>
                  <a:gd name="T7" fmla="*/ 2875 h 20000"/>
                  <a:gd name="T8" fmla="*/ 5080 w 20000"/>
                  <a:gd name="T9" fmla="*/ 3486 h 20000"/>
                  <a:gd name="T10" fmla="*/ 5988 w 20000"/>
                  <a:gd name="T11" fmla="*/ 1896 h 20000"/>
                  <a:gd name="T12" fmla="*/ 7387 w 20000"/>
                  <a:gd name="T13" fmla="*/ 367 h 20000"/>
                  <a:gd name="T14" fmla="*/ 8785 w 20000"/>
                  <a:gd name="T15" fmla="*/ 0 h 20000"/>
                  <a:gd name="T16" fmla="*/ 9031 w 20000"/>
                  <a:gd name="T17" fmla="*/ 367 h 20000"/>
                  <a:gd name="T18" fmla="*/ 10037 w 20000"/>
                  <a:gd name="T19" fmla="*/ 1590 h 20000"/>
                  <a:gd name="T20" fmla="*/ 10699 w 20000"/>
                  <a:gd name="T21" fmla="*/ 1896 h 20000"/>
                  <a:gd name="T22" fmla="*/ 11706 w 20000"/>
                  <a:gd name="T23" fmla="*/ 3486 h 20000"/>
                  <a:gd name="T24" fmla="*/ 12344 w 20000"/>
                  <a:gd name="T25" fmla="*/ 3486 h 20000"/>
                  <a:gd name="T26" fmla="*/ 13988 w 20000"/>
                  <a:gd name="T27" fmla="*/ 3486 h 20000"/>
                  <a:gd name="T28" fmla="*/ 15755 w 20000"/>
                  <a:gd name="T29" fmla="*/ 1590 h 20000"/>
                  <a:gd name="T30" fmla="*/ 18061 w 20000"/>
                  <a:gd name="T31" fmla="*/ 2508 h 20000"/>
                  <a:gd name="T32" fmla="*/ 18307 w 20000"/>
                  <a:gd name="T33" fmla="*/ 5994 h 20000"/>
                  <a:gd name="T34" fmla="*/ 18822 w 20000"/>
                  <a:gd name="T35" fmla="*/ 8257 h 20000"/>
                  <a:gd name="T36" fmla="*/ 19460 w 20000"/>
                  <a:gd name="T37" fmla="*/ 12355 h 20000"/>
                  <a:gd name="T38" fmla="*/ 19706 w 20000"/>
                  <a:gd name="T39" fmla="*/ 14251 h 20000"/>
                  <a:gd name="T40" fmla="*/ 19460 w 20000"/>
                  <a:gd name="T41" fmla="*/ 15841 h 20000"/>
                  <a:gd name="T42" fmla="*/ 17816 w 20000"/>
                  <a:gd name="T43" fmla="*/ 14862 h 20000"/>
                  <a:gd name="T44" fmla="*/ 17055 w 20000"/>
                  <a:gd name="T45" fmla="*/ 15229 h 20000"/>
                  <a:gd name="T46" fmla="*/ 16147 w 20000"/>
                  <a:gd name="T47" fmla="*/ 15841 h 20000"/>
                  <a:gd name="T48" fmla="*/ 14748 w 20000"/>
                  <a:gd name="T49" fmla="*/ 17431 h 20000"/>
                  <a:gd name="T50" fmla="*/ 13104 w 20000"/>
                  <a:gd name="T51" fmla="*/ 16820 h 20000"/>
                  <a:gd name="T52" fmla="*/ 11951 w 20000"/>
                  <a:gd name="T53" fmla="*/ 17431 h 20000"/>
                  <a:gd name="T54" fmla="*/ 11436 w 20000"/>
                  <a:gd name="T55" fmla="*/ 16820 h 20000"/>
                  <a:gd name="T56" fmla="*/ 11436 w 20000"/>
                  <a:gd name="T57" fmla="*/ 19021 h 20000"/>
                  <a:gd name="T58" fmla="*/ 10798 w 20000"/>
                  <a:gd name="T59" fmla="*/ 19939 h 20000"/>
                  <a:gd name="T60" fmla="*/ 10429 w 20000"/>
                  <a:gd name="T61" fmla="*/ 18349 h 20000"/>
                  <a:gd name="T62" fmla="*/ 10699 w 20000"/>
                  <a:gd name="T63" fmla="*/ 16820 h 20000"/>
                  <a:gd name="T64" fmla="*/ 9031 w 20000"/>
                  <a:gd name="T65" fmla="*/ 16820 h 20000"/>
                  <a:gd name="T66" fmla="*/ 7387 w 20000"/>
                  <a:gd name="T67" fmla="*/ 19327 h 20000"/>
                  <a:gd name="T68" fmla="*/ 6626 w 20000"/>
                  <a:gd name="T69" fmla="*/ 18349 h 20000"/>
                  <a:gd name="T70" fmla="*/ 4982 w 20000"/>
                  <a:gd name="T71" fmla="*/ 17431 h 20000"/>
                  <a:gd name="T72" fmla="*/ 4712 w 20000"/>
                  <a:gd name="T73" fmla="*/ 19021 h 20000"/>
                  <a:gd name="T74" fmla="*/ 3436 w 20000"/>
                  <a:gd name="T75" fmla="*/ 19021 h 20000"/>
                  <a:gd name="T76" fmla="*/ 2675 w 20000"/>
                  <a:gd name="T77" fmla="*/ 17431 h 20000"/>
                  <a:gd name="T78" fmla="*/ 2307 w 20000"/>
                  <a:gd name="T79" fmla="*/ 17737 h 20000"/>
                  <a:gd name="T80" fmla="*/ 1669 w 20000"/>
                  <a:gd name="T81" fmla="*/ 17431 h 20000"/>
                  <a:gd name="T82" fmla="*/ 1399 w 20000"/>
                  <a:gd name="T83" fmla="*/ 16820 h 20000"/>
                  <a:gd name="T84" fmla="*/ 1669 w 20000"/>
                  <a:gd name="T85" fmla="*/ 16208 h 20000"/>
                  <a:gd name="T86" fmla="*/ 1276 w 20000"/>
                  <a:gd name="T87" fmla="*/ 15841 h 20000"/>
                  <a:gd name="T88" fmla="*/ 1276 w 20000"/>
                  <a:gd name="T89" fmla="*/ 13639 h 20000"/>
                  <a:gd name="T90" fmla="*/ 147 w 20000"/>
                  <a:gd name="T91" fmla="*/ 12722 h 20000"/>
                  <a:gd name="T92" fmla="*/ 147 w 20000"/>
                  <a:gd name="T93" fmla="*/ 11743 h 20000"/>
                  <a:gd name="T94" fmla="*/ 663 w 20000"/>
                  <a:gd name="T95" fmla="*/ 12355 h 20000"/>
                  <a:gd name="T96" fmla="*/ 761 w 20000"/>
                  <a:gd name="T97" fmla="*/ 11743 h 20000"/>
                  <a:gd name="T98" fmla="*/ 761 w 20000"/>
                  <a:gd name="T99" fmla="*/ 10765 h 20000"/>
                  <a:gd name="T100" fmla="*/ 761 w 20000"/>
                  <a:gd name="T101" fmla="*/ 8563 h 20000"/>
                  <a:gd name="T102" fmla="*/ 0 w 20000"/>
                  <a:gd name="T103" fmla="*/ 6972 h 20000"/>
                  <a:gd name="T104" fmla="*/ 1031 w 20000"/>
                  <a:gd name="T105" fmla="*/ 5749 h 20000"/>
                  <a:gd name="T106" fmla="*/ 1669 w 20000"/>
                  <a:gd name="T107" fmla="*/ 5749 h 20000"/>
                  <a:gd name="T108" fmla="*/ 2061 w 20000"/>
                  <a:gd name="T109" fmla="*/ 5749 h 20000"/>
                  <a:gd name="T110" fmla="*/ 2822 w 20000"/>
                  <a:gd name="T111" fmla="*/ 5076 h 20000"/>
                  <a:gd name="T112" fmla="*/ 3313 w 20000"/>
                  <a:gd name="T113" fmla="*/ 4098 h 20000"/>
                  <a:gd name="T114" fmla="*/ 1276 w 20000"/>
                  <a:gd name="T115" fmla="*/ 4098 h 20000"/>
                  <a:gd name="T116" fmla="*/ 393 w 20000"/>
                  <a:gd name="T117" fmla="*/ 5749 h 20000"/>
                  <a:gd name="T118" fmla="*/ 0 w 20000"/>
                  <a:gd name="T119" fmla="*/ 5749 h 20000"/>
                  <a:gd name="T120" fmla="*/ 0 w 20000"/>
                  <a:gd name="T121" fmla="*/ 4465 h 20000"/>
                  <a:gd name="T122" fmla="*/ 393 w 20000"/>
                  <a:gd name="T123" fmla="*/ 2875 h 20000"/>
                  <a:gd name="T124" fmla="*/ 663 w 20000"/>
                  <a:gd name="T125" fmla="*/ 189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47" y="979"/>
                    </a:moveTo>
                    <a:lnTo>
                      <a:pt x="1031" y="0"/>
                    </a:lnTo>
                    <a:lnTo>
                      <a:pt x="1399" y="367"/>
                    </a:lnTo>
                    <a:lnTo>
                      <a:pt x="1767" y="367"/>
                    </a:lnTo>
                    <a:lnTo>
                      <a:pt x="1669" y="1590"/>
                    </a:lnTo>
                    <a:lnTo>
                      <a:pt x="2822" y="2875"/>
                    </a:lnTo>
                    <a:lnTo>
                      <a:pt x="3951" y="2875"/>
                    </a:lnTo>
                    <a:lnTo>
                      <a:pt x="4074" y="2875"/>
                    </a:lnTo>
                    <a:lnTo>
                      <a:pt x="4466" y="3486"/>
                    </a:lnTo>
                    <a:lnTo>
                      <a:pt x="5080" y="3486"/>
                    </a:lnTo>
                    <a:lnTo>
                      <a:pt x="5325" y="2508"/>
                    </a:lnTo>
                    <a:lnTo>
                      <a:pt x="5988" y="1896"/>
                    </a:lnTo>
                    <a:lnTo>
                      <a:pt x="6626" y="979"/>
                    </a:lnTo>
                    <a:lnTo>
                      <a:pt x="7387" y="367"/>
                    </a:lnTo>
                    <a:lnTo>
                      <a:pt x="8785" y="367"/>
                    </a:lnTo>
                    <a:lnTo>
                      <a:pt x="8785" y="0"/>
                    </a:lnTo>
                    <a:lnTo>
                      <a:pt x="9031" y="0"/>
                    </a:lnTo>
                    <a:lnTo>
                      <a:pt x="9031" y="367"/>
                    </a:lnTo>
                    <a:lnTo>
                      <a:pt x="9669" y="1590"/>
                    </a:lnTo>
                    <a:lnTo>
                      <a:pt x="10037" y="1590"/>
                    </a:lnTo>
                    <a:lnTo>
                      <a:pt x="10699" y="2508"/>
                    </a:lnTo>
                    <a:lnTo>
                      <a:pt x="10699" y="1896"/>
                    </a:lnTo>
                    <a:lnTo>
                      <a:pt x="10798" y="2508"/>
                    </a:lnTo>
                    <a:lnTo>
                      <a:pt x="11706" y="3486"/>
                    </a:lnTo>
                    <a:lnTo>
                      <a:pt x="11951" y="2875"/>
                    </a:lnTo>
                    <a:lnTo>
                      <a:pt x="12344" y="3486"/>
                    </a:lnTo>
                    <a:lnTo>
                      <a:pt x="13497" y="2875"/>
                    </a:lnTo>
                    <a:lnTo>
                      <a:pt x="13988" y="3486"/>
                    </a:lnTo>
                    <a:lnTo>
                      <a:pt x="15018" y="2875"/>
                    </a:lnTo>
                    <a:lnTo>
                      <a:pt x="15755" y="1590"/>
                    </a:lnTo>
                    <a:lnTo>
                      <a:pt x="17301" y="979"/>
                    </a:lnTo>
                    <a:lnTo>
                      <a:pt x="18061" y="2508"/>
                    </a:lnTo>
                    <a:lnTo>
                      <a:pt x="18307" y="4098"/>
                    </a:lnTo>
                    <a:lnTo>
                      <a:pt x="18307" y="5994"/>
                    </a:lnTo>
                    <a:lnTo>
                      <a:pt x="19337" y="6972"/>
                    </a:lnTo>
                    <a:lnTo>
                      <a:pt x="18822" y="8257"/>
                    </a:lnTo>
                    <a:lnTo>
                      <a:pt x="19337" y="10765"/>
                    </a:lnTo>
                    <a:lnTo>
                      <a:pt x="19460" y="12355"/>
                    </a:lnTo>
                    <a:lnTo>
                      <a:pt x="19460" y="12722"/>
                    </a:lnTo>
                    <a:lnTo>
                      <a:pt x="19706" y="14251"/>
                    </a:lnTo>
                    <a:lnTo>
                      <a:pt x="19975" y="15841"/>
                    </a:lnTo>
                    <a:lnTo>
                      <a:pt x="19460" y="15841"/>
                    </a:lnTo>
                    <a:lnTo>
                      <a:pt x="18429" y="15229"/>
                    </a:lnTo>
                    <a:lnTo>
                      <a:pt x="17816" y="14862"/>
                    </a:lnTo>
                    <a:lnTo>
                      <a:pt x="17301" y="15841"/>
                    </a:lnTo>
                    <a:lnTo>
                      <a:pt x="17055" y="15229"/>
                    </a:lnTo>
                    <a:lnTo>
                      <a:pt x="16663" y="15841"/>
                    </a:lnTo>
                    <a:lnTo>
                      <a:pt x="16147" y="15841"/>
                    </a:lnTo>
                    <a:lnTo>
                      <a:pt x="15656" y="15841"/>
                    </a:lnTo>
                    <a:lnTo>
                      <a:pt x="14748" y="17431"/>
                    </a:lnTo>
                    <a:lnTo>
                      <a:pt x="13988" y="17431"/>
                    </a:lnTo>
                    <a:lnTo>
                      <a:pt x="13104" y="16820"/>
                    </a:lnTo>
                    <a:lnTo>
                      <a:pt x="12466" y="17431"/>
                    </a:lnTo>
                    <a:lnTo>
                      <a:pt x="11951" y="17431"/>
                    </a:lnTo>
                    <a:lnTo>
                      <a:pt x="11706" y="16820"/>
                    </a:lnTo>
                    <a:lnTo>
                      <a:pt x="11436" y="16820"/>
                    </a:lnTo>
                    <a:lnTo>
                      <a:pt x="11436" y="18349"/>
                    </a:lnTo>
                    <a:lnTo>
                      <a:pt x="11436" y="19021"/>
                    </a:lnTo>
                    <a:lnTo>
                      <a:pt x="11337" y="19327"/>
                    </a:lnTo>
                    <a:lnTo>
                      <a:pt x="10798" y="19939"/>
                    </a:lnTo>
                    <a:lnTo>
                      <a:pt x="10699" y="19327"/>
                    </a:lnTo>
                    <a:lnTo>
                      <a:pt x="10429" y="18349"/>
                    </a:lnTo>
                    <a:lnTo>
                      <a:pt x="10699" y="17431"/>
                    </a:lnTo>
                    <a:lnTo>
                      <a:pt x="10699" y="16820"/>
                    </a:lnTo>
                    <a:lnTo>
                      <a:pt x="10037" y="17737"/>
                    </a:lnTo>
                    <a:lnTo>
                      <a:pt x="9031" y="16820"/>
                    </a:lnTo>
                    <a:lnTo>
                      <a:pt x="8393" y="19021"/>
                    </a:lnTo>
                    <a:lnTo>
                      <a:pt x="7387" y="19327"/>
                    </a:lnTo>
                    <a:lnTo>
                      <a:pt x="6748" y="19327"/>
                    </a:lnTo>
                    <a:lnTo>
                      <a:pt x="6626" y="18349"/>
                    </a:lnTo>
                    <a:lnTo>
                      <a:pt x="5472" y="17431"/>
                    </a:lnTo>
                    <a:lnTo>
                      <a:pt x="4982" y="17431"/>
                    </a:lnTo>
                    <a:lnTo>
                      <a:pt x="4982" y="19021"/>
                    </a:lnTo>
                    <a:lnTo>
                      <a:pt x="4712" y="19021"/>
                    </a:lnTo>
                    <a:lnTo>
                      <a:pt x="4074" y="19327"/>
                    </a:lnTo>
                    <a:lnTo>
                      <a:pt x="3436" y="19021"/>
                    </a:lnTo>
                    <a:lnTo>
                      <a:pt x="3313" y="17737"/>
                    </a:lnTo>
                    <a:lnTo>
                      <a:pt x="2675" y="17431"/>
                    </a:lnTo>
                    <a:lnTo>
                      <a:pt x="2429" y="17431"/>
                    </a:lnTo>
                    <a:lnTo>
                      <a:pt x="2307" y="17737"/>
                    </a:lnTo>
                    <a:lnTo>
                      <a:pt x="1669" y="17737"/>
                    </a:lnTo>
                    <a:lnTo>
                      <a:pt x="1669" y="17431"/>
                    </a:lnTo>
                    <a:lnTo>
                      <a:pt x="2429" y="16820"/>
                    </a:lnTo>
                    <a:lnTo>
                      <a:pt x="1399" y="16820"/>
                    </a:lnTo>
                    <a:lnTo>
                      <a:pt x="1276" y="16208"/>
                    </a:lnTo>
                    <a:lnTo>
                      <a:pt x="1669" y="16208"/>
                    </a:lnTo>
                    <a:lnTo>
                      <a:pt x="1669" y="15841"/>
                    </a:lnTo>
                    <a:lnTo>
                      <a:pt x="1276" y="15841"/>
                    </a:lnTo>
                    <a:lnTo>
                      <a:pt x="1276" y="14862"/>
                    </a:lnTo>
                    <a:lnTo>
                      <a:pt x="1276" y="13639"/>
                    </a:lnTo>
                    <a:lnTo>
                      <a:pt x="761" y="12722"/>
                    </a:lnTo>
                    <a:lnTo>
                      <a:pt x="147" y="12722"/>
                    </a:lnTo>
                    <a:lnTo>
                      <a:pt x="393" y="12355"/>
                    </a:lnTo>
                    <a:lnTo>
                      <a:pt x="147" y="11743"/>
                    </a:lnTo>
                    <a:lnTo>
                      <a:pt x="393" y="11743"/>
                    </a:lnTo>
                    <a:lnTo>
                      <a:pt x="663" y="12355"/>
                    </a:lnTo>
                    <a:lnTo>
                      <a:pt x="1031" y="12355"/>
                    </a:lnTo>
                    <a:lnTo>
                      <a:pt x="761" y="11743"/>
                    </a:lnTo>
                    <a:lnTo>
                      <a:pt x="1031" y="10765"/>
                    </a:lnTo>
                    <a:lnTo>
                      <a:pt x="761" y="10765"/>
                    </a:lnTo>
                    <a:lnTo>
                      <a:pt x="663" y="9480"/>
                    </a:lnTo>
                    <a:lnTo>
                      <a:pt x="761" y="8563"/>
                    </a:lnTo>
                    <a:lnTo>
                      <a:pt x="0" y="8563"/>
                    </a:lnTo>
                    <a:lnTo>
                      <a:pt x="0" y="6972"/>
                    </a:lnTo>
                    <a:lnTo>
                      <a:pt x="663" y="5994"/>
                    </a:lnTo>
                    <a:lnTo>
                      <a:pt x="1031" y="5749"/>
                    </a:lnTo>
                    <a:lnTo>
                      <a:pt x="1669" y="5994"/>
                    </a:lnTo>
                    <a:lnTo>
                      <a:pt x="1669" y="5749"/>
                    </a:lnTo>
                    <a:lnTo>
                      <a:pt x="1767" y="5076"/>
                    </a:lnTo>
                    <a:lnTo>
                      <a:pt x="2061" y="5749"/>
                    </a:lnTo>
                    <a:lnTo>
                      <a:pt x="2822" y="5749"/>
                    </a:lnTo>
                    <a:lnTo>
                      <a:pt x="2822" y="5076"/>
                    </a:lnTo>
                    <a:lnTo>
                      <a:pt x="3706" y="4098"/>
                    </a:lnTo>
                    <a:lnTo>
                      <a:pt x="3313" y="4098"/>
                    </a:lnTo>
                    <a:lnTo>
                      <a:pt x="2307" y="3486"/>
                    </a:lnTo>
                    <a:lnTo>
                      <a:pt x="1276" y="4098"/>
                    </a:lnTo>
                    <a:lnTo>
                      <a:pt x="1031" y="4465"/>
                    </a:lnTo>
                    <a:lnTo>
                      <a:pt x="393" y="5749"/>
                    </a:lnTo>
                    <a:lnTo>
                      <a:pt x="0" y="6606"/>
                    </a:lnTo>
                    <a:lnTo>
                      <a:pt x="0" y="5749"/>
                    </a:lnTo>
                    <a:lnTo>
                      <a:pt x="393" y="4465"/>
                    </a:lnTo>
                    <a:lnTo>
                      <a:pt x="0" y="4465"/>
                    </a:lnTo>
                    <a:lnTo>
                      <a:pt x="393" y="4098"/>
                    </a:lnTo>
                    <a:lnTo>
                      <a:pt x="393" y="2875"/>
                    </a:lnTo>
                    <a:lnTo>
                      <a:pt x="663" y="2508"/>
                    </a:lnTo>
                    <a:lnTo>
                      <a:pt x="663" y="1896"/>
                    </a:lnTo>
                    <a:lnTo>
                      <a:pt x="147" y="97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 name="Freeform 250"/>
              <p:cNvSpPr>
                <a:spLocks/>
              </p:cNvSpPr>
              <p:nvPr/>
            </p:nvSpPr>
            <p:spPr bwMode="auto">
              <a:xfrm>
                <a:off x="5416550" y="2955925"/>
                <a:ext cx="171450" cy="103188"/>
              </a:xfrm>
              <a:custGeom>
                <a:avLst/>
                <a:gdLst>
                  <a:gd name="T0" fmla="*/ 17630 w 20000"/>
                  <a:gd name="T1" fmla="*/ 1358 h 20000"/>
                  <a:gd name="T2" fmla="*/ 19926 w 20000"/>
                  <a:gd name="T3" fmla="*/ 3333 h 20000"/>
                  <a:gd name="T4" fmla="*/ 19185 w 20000"/>
                  <a:gd name="T5" fmla="*/ 3827 h 20000"/>
                  <a:gd name="T6" fmla="*/ 18000 w 20000"/>
                  <a:gd name="T7" fmla="*/ 5062 h 20000"/>
                  <a:gd name="T8" fmla="*/ 16889 w 20000"/>
                  <a:gd name="T9" fmla="*/ 7037 h 20000"/>
                  <a:gd name="T10" fmla="*/ 16148 w 20000"/>
                  <a:gd name="T11" fmla="*/ 11605 h 20000"/>
                  <a:gd name="T12" fmla="*/ 15704 w 20000"/>
                  <a:gd name="T13" fmla="*/ 13457 h 20000"/>
                  <a:gd name="T14" fmla="*/ 15704 w 20000"/>
                  <a:gd name="T15" fmla="*/ 14815 h 20000"/>
                  <a:gd name="T16" fmla="*/ 14519 w 20000"/>
                  <a:gd name="T17" fmla="*/ 15432 h 20000"/>
                  <a:gd name="T18" fmla="*/ 14519 w 20000"/>
                  <a:gd name="T19" fmla="*/ 16667 h 20000"/>
                  <a:gd name="T20" fmla="*/ 13037 w 20000"/>
                  <a:gd name="T21" fmla="*/ 16667 h 20000"/>
                  <a:gd name="T22" fmla="*/ 10741 w 20000"/>
                  <a:gd name="T23" fmla="*/ 16667 h 20000"/>
                  <a:gd name="T24" fmla="*/ 10000 w 20000"/>
                  <a:gd name="T25" fmla="*/ 17407 h 20000"/>
                  <a:gd name="T26" fmla="*/ 7704 w 20000"/>
                  <a:gd name="T27" fmla="*/ 17407 h 20000"/>
                  <a:gd name="T28" fmla="*/ 6889 w 20000"/>
                  <a:gd name="T29" fmla="*/ 18642 h 20000"/>
                  <a:gd name="T30" fmla="*/ 6519 w 20000"/>
                  <a:gd name="T31" fmla="*/ 19877 h 20000"/>
                  <a:gd name="T32" fmla="*/ 3778 w 20000"/>
                  <a:gd name="T33" fmla="*/ 18642 h 20000"/>
                  <a:gd name="T34" fmla="*/ 1926 w 20000"/>
                  <a:gd name="T35" fmla="*/ 16667 h 20000"/>
                  <a:gd name="T36" fmla="*/ 1481 w 20000"/>
                  <a:gd name="T37" fmla="*/ 16667 h 20000"/>
                  <a:gd name="T38" fmla="*/ 1481 w 20000"/>
                  <a:gd name="T39" fmla="*/ 14815 h 20000"/>
                  <a:gd name="T40" fmla="*/ 741 w 20000"/>
                  <a:gd name="T41" fmla="*/ 13457 h 20000"/>
                  <a:gd name="T42" fmla="*/ 741 w 20000"/>
                  <a:gd name="T43" fmla="*/ 11605 h 20000"/>
                  <a:gd name="T44" fmla="*/ 741 w 20000"/>
                  <a:gd name="T45" fmla="*/ 7037 h 20000"/>
                  <a:gd name="T46" fmla="*/ 0 w 20000"/>
                  <a:gd name="T47" fmla="*/ 6543 h 20000"/>
                  <a:gd name="T48" fmla="*/ 741 w 20000"/>
                  <a:gd name="T49" fmla="*/ 6543 h 20000"/>
                  <a:gd name="T50" fmla="*/ 1926 w 20000"/>
                  <a:gd name="T51" fmla="*/ 6543 h 20000"/>
                  <a:gd name="T52" fmla="*/ 2667 w 20000"/>
                  <a:gd name="T53" fmla="*/ 5062 h 20000"/>
                  <a:gd name="T54" fmla="*/ 2667 w 20000"/>
                  <a:gd name="T55" fmla="*/ 3827 h 20000"/>
                  <a:gd name="T56" fmla="*/ 3037 w 20000"/>
                  <a:gd name="T57" fmla="*/ 5062 h 20000"/>
                  <a:gd name="T58" fmla="*/ 5704 w 20000"/>
                  <a:gd name="T59" fmla="*/ 6543 h 20000"/>
                  <a:gd name="T60" fmla="*/ 7704 w 20000"/>
                  <a:gd name="T61" fmla="*/ 3827 h 20000"/>
                  <a:gd name="T62" fmla="*/ 10000 w 20000"/>
                  <a:gd name="T63" fmla="*/ 1975 h 20000"/>
                  <a:gd name="T64" fmla="*/ 10741 w 20000"/>
                  <a:gd name="T65" fmla="*/ 1975 h 20000"/>
                  <a:gd name="T66" fmla="*/ 13037 w 20000"/>
                  <a:gd name="T67" fmla="*/ 0 h 20000"/>
                  <a:gd name="T68" fmla="*/ 13778 w 20000"/>
                  <a:gd name="T69" fmla="*/ 0 h 20000"/>
                  <a:gd name="T70" fmla="*/ 15704 w 20000"/>
                  <a:gd name="T71" fmla="*/ 0 h 20000"/>
                  <a:gd name="T72" fmla="*/ 16148 w 20000"/>
                  <a:gd name="T73" fmla="*/ 1358 h 20000"/>
                  <a:gd name="T74" fmla="*/ 17630 w 20000"/>
                  <a:gd name="T75" fmla="*/ 135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17630" y="1358"/>
                    </a:moveTo>
                    <a:lnTo>
                      <a:pt x="19926" y="3333"/>
                    </a:lnTo>
                    <a:lnTo>
                      <a:pt x="19185" y="3827"/>
                    </a:lnTo>
                    <a:lnTo>
                      <a:pt x="18000" y="5062"/>
                    </a:lnTo>
                    <a:lnTo>
                      <a:pt x="16889" y="7037"/>
                    </a:lnTo>
                    <a:lnTo>
                      <a:pt x="16148" y="11605"/>
                    </a:lnTo>
                    <a:lnTo>
                      <a:pt x="15704" y="13457"/>
                    </a:lnTo>
                    <a:lnTo>
                      <a:pt x="15704" y="14815"/>
                    </a:lnTo>
                    <a:lnTo>
                      <a:pt x="14519" y="15432"/>
                    </a:lnTo>
                    <a:lnTo>
                      <a:pt x="14519" y="16667"/>
                    </a:lnTo>
                    <a:lnTo>
                      <a:pt x="13037" y="16667"/>
                    </a:lnTo>
                    <a:lnTo>
                      <a:pt x="10741" y="16667"/>
                    </a:lnTo>
                    <a:lnTo>
                      <a:pt x="10000" y="17407"/>
                    </a:lnTo>
                    <a:lnTo>
                      <a:pt x="7704" y="17407"/>
                    </a:lnTo>
                    <a:lnTo>
                      <a:pt x="6889" y="18642"/>
                    </a:lnTo>
                    <a:lnTo>
                      <a:pt x="6519" y="19877"/>
                    </a:lnTo>
                    <a:lnTo>
                      <a:pt x="3778" y="18642"/>
                    </a:lnTo>
                    <a:lnTo>
                      <a:pt x="1926" y="16667"/>
                    </a:lnTo>
                    <a:lnTo>
                      <a:pt x="1481" y="16667"/>
                    </a:lnTo>
                    <a:lnTo>
                      <a:pt x="1481" y="14815"/>
                    </a:lnTo>
                    <a:lnTo>
                      <a:pt x="741" y="13457"/>
                    </a:lnTo>
                    <a:lnTo>
                      <a:pt x="741" y="11605"/>
                    </a:lnTo>
                    <a:lnTo>
                      <a:pt x="741" y="7037"/>
                    </a:lnTo>
                    <a:lnTo>
                      <a:pt x="0" y="6543"/>
                    </a:lnTo>
                    <a:lnTo>
                      <a:pt x="741" y="6543"/>
                    </a:lnTo>
                    <a:lnTo>
                      <a:pt x="1926" y="6543"/>
                    </a:lnTo>
                    <a:lnTo>
                      <a:pt x="2667" y="5062"/>
                    </a:lnTo>
                    <a:lnTo>
                      <a:pt x="2667" y="3827"/>
                    </a:lnTo>
                    <a:lnTo>
                      <a:pt x="3037" y="5062"/>
                    </a:lnTo>
                    <a:lnTo>
                      <a:pt x="5704" y="6543"/>
                    </a:lnTo>
                    <a:lnTo>
                      <a:pt x="7704" y="3827"/>
                    </a:lnTo>
                    <a:lnTo>
                      <a:pt x="10000" y="1975"/>
                    </a:lnTo>
                    <a:lnTo>
                      <a:pt x="10741" y="1975"/>
                    </a:lnTo>
                    <a:lnTo>
                      <a:pt x="13037" y="0"/>
                    </a:lnTo>
                    <a:lnTo>
                      <a:pt x="13778" y="0"/>
                    </a:lnTo>
                    <a:lnTo>
                      <a:pt x="15704" y="0"/>
                    </a:lnTo>
                    <a:lnTo>
                      <a:pt x="16148" y="1358"/>
                    </a:lnTo>
                    <a:lnTo>
                      <a:pt x="17630" y="135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 name="Freeform 249"/>
              <p:cNvSpPr>
                <a:spLocks/>
              </p:cNvSpPr>
              <p:nvPr/>
            </p:nvSpPr>
            <p:spPr bwMode="auto">
              <a:xfrm>
                <a:off x="5864225" y="3395663"/>
                <a:ext cx="60325" cy="36512"/>
              </a:xfrm>
              <a:custGeom>
                <a:avLst/>
                <a:gdLst>
                  <a:gd name="T0" fmla="*/ 7660 w 20000"/>
                  <a:gd name="T1" fmla="*/ 19655 h 20000"/>
                  <a:gd name="T2" fmla="*/ 2128 w 20000"/>
                  <a:gd name="T3" fmla="*/ 17931 h 20000"/>
                  <a:gd name="T4" fmla="*/ 0 w 20000"/>
                  <a:gd name="T5" fmla="*/ 10690 h 20000"/>
                  <a:gd name="T6" fmla="*/ 2128 w 20000"/>
                  <a:gd name="T7" fmla="*/ 10690 h 20000"/>
                  <a:gd name="T8" fmla="*/ 3404 w 20000"/>
                  <a:gd name="T9" fmla="*/ 9310 h 20000"/>
                  <a:gd name="T10" fmla="*/ 5532 w 20000"/>
                  <a:gd name="T11" fmla="*/ 9310 h 20000"/>
                  <a:gd name="T12" fmla="*/ 7660 w 20000"/>
                  <a:gd name="T13" fmla="*/ 5517 h 20000"/>
                  <a:gd name="T14" fmla="*/ 10851 w 20000"/>
                  <a:gd name="T15" fmla="*/ 5517 h 20000"/>
                  <a:gd name="T16" fmla="*/ 19787 w 20000"/>
                  <a:gd name="T17" fmla="*/ 0 h 20000"/>
                  <a:gd name="T18" fmla="*/ 16383 w 20000"/>
                  <a:gd name="T19" fmla="*/ 9310 h 20000"/>
                  <a:gd name="T20" fmla="*/ 16383 w 20000"/>
                  <a:gd name="T21" fmla="*/ 10690 h 20000"/>
                  <a:gd name="T22" fmla="*/ 14255 w 20000"/>
                  <a:gd name="T23" fmla="*/ 10690 h 20000"/>
                  <a:gd name="T24" fmla="*/ 10851 w 20000"/>
                  <a:gd name="T25" fmla="*/ 17931 h 20000"/>
                  <a:gd name="T26" fmla="*/ 7660 w 20000"/>
                  <a:gd name="T27" fmla="*/ 17931 h 20000"/>
                  <a:gd name="T28" fmla="*/ 7660 w 20000"/>
                  <a:gd name="T29" fmla="*/ 1965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7660" y="19655"/>
                    </a:moveTo>
                    <a:lnTo>
                      <a:pt x="2128" y="17931"/>
                    </a:lnTo>
                    <a:lnTo>
                      <a:pt x="0" y="10690"/>
                    </a:lnTo>
                    <a:lnTo>
                      <a:pt x="2128" y="10690"/>
                    </a:lnTo>
                    <a:lnTo>
                      <a:pt x="3404" y="9310"/>
                    </a:lnTo>
                    <a:lnTo>
                      <a:pt x="5532" y="9310"/>
                    </a:lnTo>
                    <a:lnTo>
                      <a:pt x="7660" y="5517"/>
                    </a:lnTo>
                    <a:lnTo>
                      <a:pt x="10851" y="5517"/>
                    </a:lnTo>
                    <a:lnTo>
                      <a:pt x="19787" y="0"/>
                    </a:lnTo>
                    <a:lnTo>
                      <a:pt x="16383" y="9310"/>
                    </a:lnTo>
                    <a:lnTo>
                      <a:pt x="16383" y="10690"/>
                    </a:lnTo>
                    <a:lnTo>
                      <a:pt x="14255" y="10690"/>
                    </a:lnTo>
                    <a:lnTo>
                      <a:pt x="10851" y="17931"/>
                    </a:lnTo>
                    <a:lnTo>
                      <a:pt x="7660" y="17931"/>
                    </a:lnTo>
                    <a:lnTo>
                      <a:pt x="7660" y="1965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 name="Freeform 248"/>
              <p:cNvSpPr>
                <a:spLocks/>
              </p:cNvSpPr>
              <p:nvPr/>
            </p:nvSpPr>
            <p:spPr bwMode="auto">
              <a:xfrm>
                <a:off x="5529263" y="3189288"/>
                <a:ext cx="177800" cy="180975"/>
              </a:xfrm>
              <a:custGeom>
                <a:avLst/>
                <a:gdLst>
                  <a:gd name="T0" fmla="*/ 13238 w 20000"/>
                  <a:gd name="T1" fmla="*/ 1123 h 20000"/>
                  <a:gd name="T2" fmla="*/ 15089 w 20000"/>
                  <a:gd name="T3" fmla="*/ 1825 h 20000"/>
                  <a:gd name="T4" fmla="*/ 18007 w 20000"/>
                  <a:gd name="T5" fmla="*/ 1825 h 20000"/>
                  <a:gd name="T6" fmla="*/ 18434 w 20000"/>
                  <a:gd name="T7" fmla="*/ 0 h 20000"/>
                  <a:gd name="T8" fmla="*/ 19929 w 20000"/>
                  <a:gd name="T9" fmla="*/ 1825 h 20000"/>
                  <a:gd name="T10" fmla="*/ 19146 w 20000"/>
                  <a:gd name="T11" fmla="*/ 3579 h 20000"/>
                  <a:gd name="T12" fmla="*/ 18007 w 20000"/>
                  <a:gd name="T13" fmla="*/ 4702 h 20000"/>
                  <a:gd name="T14" fmla="*/ 15089 w 20000"/>
                  <a:gd name="T15" fmla="*/ 3579 h 20000"/>
                  <a:gd name="T16" fmla="*/ 13238 w 20000"/>
                  <a:gd name="T17" fmla="*/ 3579 h 20000"/>
                  <a:gd name="T18" fmla="*/ 12171 w 20000"/>
                  <a:gd name="T19" fmla="*/ 4000 h 20000"/>
                  <a:gd name="T20" fmla="*/ 12171 w 20000"/>
                  <a:gd name="T21" fmla="*/ 6456 h 20000"/>
                  <a:gd name="T22" fmla="*/ 10605 w 20000"/>
                  <a:gd name="T23" fmla="*/ 5754 h 20000"/>
                  <a:gd name="T24" fmla="*/ 11459 w 20000"/>
                  <a:gd name="T25" fmla="*/ 6877 h 20000"/>
                  <a:gd name="T26" fmla="*/ 7687 w 20000"/>
                  <a:gd name="T27" fmla="*/ 5474 h 20000"/>
                  <a:gd name="T28" fmla="*/ 8470 w 20000"/>
                  <a:gd name="T29" fmla="*/ 4702 h 20000"/>
                  <a:gd name="T30" fmla="*/ 7402 w 20000"/>
                  <a:gd name="T31" fmla="*/ 6877 h 20000"/>
                  <a:gd name="T32" fmla="*/ 8470 w 20000"/>
                  <a:gd name="T33" fmla="*/ 11228 h 20000"/>
                  <a:gd name="T34" fmla="*/ 9181 w 20000"/>
                  <a:gd name="T35" fmla="*/ 11579 h 20000"/>
                  <a:gd name="T36" fmla="*/ 12171 w 20000"/>
                  <a:gd name="T37" fmla="*/ 15930 h 20000"/>
                  <a:gd name="T38" fmla="*/ 9181 w 20000"/>
                  <a:gd name="T39" fmla="*/ 15228 h 20000"/>
                  <a:gd name="T40" fmla="*/ 9609 w 20000"/>
                  <a:gd name="T41" fmla="*/ 17053 h 20000"/>
                  <a:gd name="T42" fmla="*/ 9609 w 20000"/>
                  <a:gd name="T43" fmla="*/ 18807 h 20000"/>
                  <a:gd name="T44" fmla="*/ 9609 w 20000"/>
                  <a:gd name="T45" fmla="*/ 19930 h 20000"/>
                  <a:gd name="T46" fmla="*/ 7687 w 20000"/>
                  <a:gd name="T47" fmla="*/ 19228 h 20000"/>
                  <a:gd name="T48" fmla="*/ 7402 w 20000"/>
                  <a:gd name="T49" fmla="*/ 19930 h 20000"/>
                  <a:gd name="T50" fmla="*/ 5480 w 20000"/>
                  <a:gd name="T51" fmla="*/ 18105 h 20000"/>
                  <a:gd name="T52" fmla="*/ 5480 w 20000"/>
                  <a:gd name="T53" fmla="*/ 18807 h 20000"/>
                  <a:gd name="T54" fmla="*/ 4769 w 20000"/>
                  <a:gd name="T55" fmla="*/ 16351 h 20000"/>
                  <a:gd name="T56" fmla="*/ 4342 w 20000"/>
                  <a:gd name="T57" fmla="*/ 14175 h 20000"/>
                  <a:gd name="T58" fmla="*/ 8470 w 20000"/>
                  <a:gd name="T59" fmla="*/ 14526 h 20000"/>
                  <a:gd name="T60" fmla="*/ 7402 w 20000"/>
                  <a:gd name="T61" fmla="*/ 13053 h 20000"/>
                  <a:gd name="T62" fmla="*/ 2918 w 20000"/>
                  <a:gd name="T63" fmla="*/ 13404 h 20000"/>
                  <a:gd name="T64" fmla="*/ 2918 w 20000"/>
                  <a:gd name="T65" fmla="*/ 11228 h 20000"/>
                  <a:gd name="T66" fmla="*/ 1851 w 20000"/>
                  <a:gd name="T67" fmla="*/ 10526 h 20000"/>
                  <a:gd name="T68" fmla="*/ 1423 w 20000"/>
                  <a:gd name="T69" fmla="*/ 7579 h 20000"/>
                  <a:gd name="T70" fmla="*/ 3630 w 20000"/>
                  <a:gd name="T71" fmla="*/ 3579 h 20000"/>
                  <a:gd name="T72" fmla="*/ 5907 w 20000"/>
                  <a:gd name="T73" fmla="*/ 2175 h 20000"/>
                  <a:gd name="T74" fmla="*/ 8470 w 20000"/>
                  <a:gd name="T75" fmla="*/ 182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8470" y="1825"/>
                    </a:moveTo>
                    <a:lnTo>
                      <a:pt x="13238" y="1123"/>
                    </a:lnTo>
                    <a:lnTo>
                      <a:pt x="13950" y="1825"/>
                    </a:lnTo>
                    <a:lnTo>
                      <a:pt x="15089" y="1825"/>
                    </a:lnTo>
                    <a:lnTo>
                      <a:pt x="16157" y="2175"/>
                    </a:lnTo>
                    <a:lnTo>
                      <a:pt x="18007" y="1825"/>
                    </a:lnTo>
                    <a:lnTo>
                      <a:pt x="18007" y="0"/>
                    </a:lnTo>
                    <a:lnTo>
                      <a:pt x="18434" y="0"/>
                    </a:lnTo>
                    <a:lnTo>
                      <a:pt x="19929" y="1123"/>
                    </a:lnTo>
                    <a:lnTo>
                      <a:pt x="19929" y="1825"/>
                    </a:lnTo>
                    <a:lnTo>
                      <a:pt x="19146" y="2175"/>
                    </a:lnTo>
                    <a:lnTo>
                      <a:pt x="19146" y="3579"/>
                    </a:lnTo>
                    <a:lnTo>
                      <a:pt x="18007" y="4000"/>
                    </a:lnTo>
                    <a:lnTo>
                      <a:pt x="18007" y="4702"/>
                    </a:lnTo>
                    <a:lnTo>
                      <a:pt x="17295" y="4000"/>
                    </a:lnTo>
                    <a:lnTo>
                      <a:pt x="15089" y="3579"/>
                    </a:lnTo>
                    <a:lnTo>
                      <a:pt x="14377" y="2877"/>
                    </a:lnTo>
                    <a:lnTo>
                      <a:pt x="13238" y="3579"/>
                    </a:lnTo>
                    <a:lnTo>
                      <a:pt x="12527" y="3579"/>
                    </a:lnTo>
                    <a:lnTo>
                      <a:pt x="12171" y="4000"/>
                    </a:lnTo>
                    <a:lnTo>
                      <a:pt x="10605" y="4702"/>
                    </a:lnTo>
                    <a:lnTo>
                      <a:pt x="12171" y="6456"/>
                    </a:lnTo>
                    <a:lnTo>
                      <a:pt x="11459" y="5754"/>
                    </a:lnTo>
                    <a:lnTo>
                      <a:pt x="10605" y="5754"/>
                    </a:lnTo>
                    <a:lnTo>
                      <a:pt x="11459" y="6456"/>
                    </a:lnTo>
                    <a:lnTo>
                      <a:pt x="11459" y="6877"/>
                    </a:lnTo>
                    <a:lnTo>
                      <a:pt x="9609" y="6456"/>
                    </a:lnTo>
                    <a:lnTo>
                      <a:pt x="7687" y="5474"/>
                    </a:lnTo>
                    <a:lnTo>
                      <a:pt x="8470" y="5474"/>
                    </a:lnTo>
                    <a:lnTo>
                      <a:pt x="8470" y="4702"/>
                    </a:lnTo>
                    <a:lnTo>
                      <a:pt x="7402" y="5474"/>
                    </a:lnTo>
                    <a:lnTo>
                      <a:pt x="7402" y="6877"/>
                    </a:lnTo>
                    <a:lnTo>
                      <a:pt x="9609" y="9754"/>
                    </a:lnTo>
                    <a:lnTo>
                      <a:pt x="8470" y="11228"/>
                    </a:lnTo>
                    <a:lnTo>
                      <a:pt x="7402" y="11228"/>
                    </a:lnTo>
                    <a:lnTo>
                      <a:pt x="9181" y="11579"/>
                    </a:lnTo>
                    <a:lnTo>
                      <a:pt x="11459" y="13404"/>
                    </a:lnTo>
                    <a:lnTo>
                      <a:pt x="12171" y="15930"/>
                    </a:lnTo>
                    <a:lnTo>
                      <a:pt x="10320" y="14526"/>
                    </a:lnTo>
                    <a:lnTo>
                      <a:pt x="9181" y="15228"/>
                    </a:lnTo>
                    <a:lnTo>
                      <a:pt x="10320" y="17053"/>
                    </a:lnTo>
                    <a:lnTo>
                      <a:pt x="9609" y="17053"/>
                    </a:lnTo>
                    <a:lnTo>
                      <a:pt x="7687" y="15930"/>
                    </a:lnTo>
                    <a:lnTo>
                      <a:pt x="9609" y="18807"/>
                    </a:lnTo>
                    <a:lnTo>
                      <a:pt x="9609" y="19228"/>
                    </a:lnTo>
                    <a:lnTo>
                      <a:pt x="9609" y="19930"/>
                    </a:lnTo>
                    <a:lnTo>
                      <a:pt x="7687" y="18807"/>
                    </a:lnTo>
                    <a:lnTo>
                      <a:pt x="7687" y="19228"/>
                    </a:lnTo>
                    <a:lnTo>
                      <a:pt x="7687" y="19930"/>
                    </a:lnTo>
                    <a:lnTo>
                      <a:pt x="7402" y="19930"/>
                    </a:lnTo>
                    <a:lnTo>
                      <a:pt x="6619" y="18105"/>
                    </a:lnTo>
                    <a:lnTo>
                      <a:pt x="5480" y="18105"/>
                    </a:lnTo>
                    <a:lnTo>
                      <a:pt x="5907" y="19228"/>
                    </a:lnTo>
                    <a:lnTo>
                      <a:pt x="5480" y="18807"/>
                    </a:lnTo>
                    <a:lnTo>
                      <a:pt x="4769" y="17404"/>
                    </a:lnTo>
                    <a:lnTo>
                      <a:pt x="4769" y="16351"/>
                    </a:lnTo>
                    <a:lnTo>
                      <a:pt x="2918" y="15228"/>
                    </a:lnTo>
                    <a:lnTo>
                      <a:pt x="4342" y="14175"/>
                    </a:lnTo>
                    <a:lnTo>
                      <a:pt x="5907" y="13404"/>
                    </a:lnTo>
                    <a:lnTo>
                      <a:pt x="8470" y="14526"/>
                    </a:lnTo>
                    <a:lnTo>
                      <a:pt x="9181" y="14175"/>
                    </a:lnTo>
                    <a:lnTo>
                      <a:pt x="7402" y="13053"/>
                    </a:lnTo>
                    <a:lnTo>
                      <a:pt x="5907" y="13053"/>
                    </a:lnTo>
                    <a:lnTo>
                      <a:pt x="2918" y="13404"/>
                    </a:lnTo>
                    <a:lnTo>
                      <a:pt x="1851" y="11228"/>
                    </a:lnTo>
                    <a:lnTo>
                      <a:pt x="2918" y="11228"/>
                    </a:lnTo>
                    <a:lnTo>
                      <a:pt x="2918" y="10526"/>
                    </a:lnTo>
                    <a:lnTo>
                      <a:pt x="1851" y="10526"/>
                    </a:lnTo>
                    <a:lnTo>
                      <a:pt x="0" y="8702"/>
                    </a:lnTo>
                    <a:lnTo>
                      <a:pt x="1423" y="7579"/>
                    </a:lnTo>
                    <a:lnTo>
                      <a:pt x="2562" y="4702"/>
                    </a:lnTo>
                    <a:lnTo>
                      <a:pt x="3630" y="3579"/>
                    </a:lnTo>
                    <a:lnTo>
                      <a:pt x="5480" y="3579"/>
                    </a:lnTo>
                    <a:lnTo>
                      <a:pt x="5907" y="2175"/>
                    </a:lnTo>
                    <a:lnTo>
                      <a:pt x="7402" y="2877"/>
                    </a:lnTo>
                    <a:lnTo>
                      <a:pt x="8470" y="182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 name="Freeform 247"/>
              <p:cNvSpPr>
                <a:spLocks/>
              </p:cNvSpPr>
              <p:nvPr/>
            </p:nvSpPr>
            <p:spPr bwMode="auto">
              <a:xfrm>
                <a:off x="5624513" y="3395663"/>
                <a:ext cx="76200" cy="20637"/>
              </a:xfrm>
              <a:custGeom>
                <a:avLst/>
                <a:gdLst>
                  <a:gd name="T0" fmla="*/ 10333 w 20000"/>
                  <a:gd name="T1" fmla="*/ 19375 h 20000"/>
                  <a:gd name="T2" fmla="*/ 8667 w 20000"/>
                  <a:gd name="T3" fmla="*/ 16250 h 20000"/>
                  <a:gd name="T4" fmla="*/ 3500 w 20000"/>
                  <a:gd name="T5" fmla="*/ 16250 h 20000"/>
                  <a:gd name="T6" fmla="*/ 0 w 20000"/>
                  <a:gd name="T7" fmla="*/ 16250 h 20000"/>
                  <a:gd name="T8" fmla="*/ 0 w 20000"/>
                  <a:gd name="T9" fmla="*/ 6875 h 20000"/>
                  <a:gd name="T10" fmla="*/ 3500 w 20000"/>
                  <a:gd name="T11" fmla="*/ 6875 h 20000"/>
                  <a:gd name="T12" fmla="*/ 4500 w 20000"/>
                  <a:gd name="T13" fmla="*/ 0 h 20000"/>
                  <a:gd name="T14" fmla="*/ 6167 w 20000"/>
                  <a:gd name="T15" fmla="*/ 9375 h 20000"/>
                  <a:gd name="T16" fmla="*/ 10333 w 20000"/>
                  <a:gd name="T17" fmla="*/ 9375 h 20000"/>
                  <a:gd name="T18" fmla="*/ 11333 w 20000"/>
                  <a:gd name="T19" fmla="*/ 9375 h 20000"/>
                  <a:gd name="T20" fmla="*/ 15500 w 20000"/>
                  <a:gd name="T21" fmla="*/ 9375 h 20000"/>
                  <a:gd name="T22" fmla="*/ 17167 w 20000"/>
                  <a:gd name="T23" fmla="*/ 16250 h 20000"/>
                  <a:gd name="T24" fmla="*/ 19833 w 20000"/>
                  <a:gd name="T25" fmla="*/ 16250 h 20000"/>
                  <a:gd name="T26" fmla="*/ 19833 w 20000"/>
                  <a:gd name="T27" fmla="*/ 19375 h 20000"/>
                  <a:gd name="T28" fmla="*/ 10333 w 20000"/>
                  <a:gd name="T29"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0333" y="19375"/>
                    </a:moveTo>
                    <a:lnTo>
                      <a:pt x="8667" y="16250"/>
                    </a:lnTo>
                    <a:lnTo>
                      <a:pt x="3500" y="16250"/>
                    </a:lnTo>
                    <a:lnTo>
                      <a:pt x="0" y="16250"/>
                    </a:lnTo>
                    <a:lnTo>
                      <a:pt x="0" y="6875"/>
                    </a:lnTo>
                    <a:lnTo>
                      <a:pt x="3500" y="6875"/>
                    </a:lnTo>
                    <a:lnTo>
                      <a:pt x="4500" y="0"/>
                    </a:lnTo>
                    <a:lnTo>
                      <a:pt x="6167" y="9375"/>
                    </a:lnTo>
                    <a:lnTo>
                      <a:pt x="10333" y="9375"/>
                    </a:lnTo>
                    <a:lnTo>
                      <a:pt x="11333" y="9375"/>
                    </a:lnTo>
                    <a:lnTo>
                      <a:pt x="15500" y="9375"/>
                    </a:lnTo>
                    <a:lnTo>
                      <a:pt x="17167" y="16250"/>
                    </a:lnTo>
                    <a:lnTo>
                      <a:pt x="19833" y="16250"/>
                    </a:lnTo>
                    <a:lnTo>
                      <a:pt x="19833" y="19375"/>
                    </a:lnTo>
                    <a:lnTo>
                      <a:pt x="10333"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 name="Freeform 246"/>
              <p:cNvSpPr>
                <a:spLocks/>
              </p:cNvSpPr>
              <p:nvPr/>
            </p:nvSpPr>
            <p:spPr bwMode="auto">
              <a:xfrm>
                <a:off x="5611813" y="3284538"/>
                <a:ext cx="36512" cy="36512"/>
              </a:xfrm>
              <a:custGeom>
                <a:avLst/>
                <a:gdLst>
                  <a:gd name="T0" fmla="*/ 10690 w 20000"/>
                  <a:gd name="T1" fmla="*/ 14138 h 20000"/>
                  <a:gd name="T2" fmla="*/ 5517 w 20000"/>
                  <a:gd name="T3" fmla="*/ 8966 h 20000"/>
                  <a:gd name="T4" fmla="*/ 0 w 20000"/>
                  <a:gd name="T5" fmla="*/ 3448 h 20000"/>
                  <a:gd name="T6" fmla="*/ 2069 w 20000"/>
                  <a:gd name="T7" fmla="*/ 0 h 20000"/>
                  <a:gd name="T8" fmla="*/ 6897 w 20000"/>
                  <a:gd name="T9" fmla="*/ 5172 h 20000"/>
                  <a:gd name="T10" fmla="*/ 14138 w 20000"/>
                  <a:gd name="T11" fmla="*/ 5172 h 20000"/>
                  <a:gd name="T12" fmla="*/ 16207 w 20000"/>
                  <a:gd name="T13" fmla="*/ 14138 h 20000"/>
                  <a:gd name="T14" fmla="*/ 19655 w 20000"/>
                  <a:gd name="T15" fmla="*/ 17586 h 20000"/>
                  <a:gd name="T16" fmla="*/ 19655 w 20000"/>
                  <a:gd name="T17" fmla="*/ 19655 h 20000"/>
                  <a:gd name="T18" fmla="*/ 16207 w 20000"/>
                  <a:gd name="T19" fmla="*/ 19655 h 20000"/>
                  <a:gd name="T20" fmla="*/ 10690 w 20000"/>
                  <a:gd name="T21" fmla="*/ 1413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0690" y="14138"/>
                    </a:moveTo>
                    <a:lnTo>
                      <a:pt x="5517" y="8966"/>
                    </a:lnTo>
                    <a:lnTo>
                      <a:pt x="0" y="3448"/>
                    </a:lnTo>
                    <a:lnTo>
                      <a:pt x="2069" y="0"/>
                    </a:lnTo>
                    <a:lnTo>
                      <a:pt x="6897" y="5172"/>
                    </a:lnTo>
                    <a:lnTo>
                      <a:pt x="14138" y="5172"/>
                    </a:lnTo>
                    <a:lnTo>
                      <a:pt x="16207" y="14138"/>
                    </a:lnTo>
                    <a:lnTo>
                      <a:pt x="19655" y="17586"/>
                    </a:lnTo>
                    <a:lnTo>
                      <a:pt x="19655" y="19655"/>
                    </a:lnTo>
                    <a:lnTo>
                      <a:pt x="16207" y="19655"/>
                    </a:lnTo>
                    <a:lnTo>
                      <a:pt x="10690" y="1413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 name="Freeform 245"/>
              <p:cNvSpPr>
                <a:spLocks/>
              </p:cNvSpPr>
              <p:nvPr/>
            </p:nvSpPr>
            <p:spPr bwMode="auto">
              <a:xfrm>
                <a:off x="5680075" y="3275013"/>
                <a:ext cx="20638" cy="11112"/>
              </a:xfrm>
              <a:custGeom>
                <a:avLst/>
                <a:gdLst>
                  <a:gd name="T0" fmla="*/ 19375 w 20000"/>
                  <a:gd name="T1" fmla="*/ 18824 h 20000"/>
                  <a:gd name="T2" fmla="*/ 9375 w 20000"/>
                  <a:gd name="T3" fmla="*/ 18824 h 20000"/>
                  <a:gd name="T4" fmla="*/ 9375 w 20000"/>
                  <a:gd name="T5" fmla="*/ 5882 h 20000"/>
                  <a:gd name="T6" fmla="*/ 3750 w 20000"/>
                  <a:gd name="T7" fmla="*/ 18824 h 20000"/>
                  <a:gd name="T8" fmla="*/ 0 w 20000"/>
                  <a:gd name="T9" fmla="*/ 5882 h 20000"/>
                  <a:gd name="T10" fmla="*/ 13125 w 20000"/>
                  <a:gd name="T11" fmla="*/ 0 h 20000"/>
                  <a:gd name="T12" fmla="*/ 19375 w 20000"/>
                  <a:gd name="T13" fmla="*/ 5882 h 20000"/>
                  <a:gd name="T14" fmla="*/ 19375 w 20000"/>
                  <a:gd name="T15" fmla="*/ 18824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375" y="18824"/>
                    </a:moveTo>
                    <a:lnTo>
                      <a:pt x="9375" y="18824"/>
                    </a:lnTo>
                    <a:lnTo>
                      <a:pt x="9375" y="5882"/>
                    </a:lnTo>
                    <a:lnTo>
                      <a:pt x="3750" y="18824"/>
                    </a:lnTo>
                    <a:lnTo>
                      <a:pt x="0" y="5882"/>
                    </a:lnTo>
                    <a:lnTo>
                      <a:pt x="13125" y="0"/>
                    </a:lnTo>
                    <a:lnTo>
                      <a:pt x="19375" y="5882"/>
                    </a:lnTo>
                    <a:lnTo>
                      <a:pt x="19375"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 name="Freeform 244"/>
              <p:cNvSpPr>
                <a:spLocks/>
              </p:cNvSpPr>
              <p:nvPr/>
            </p:nvSpPr>
            <p:spPr bwMode="auto">
              <a:xfrm>
                <a:off x="5743575" y="3376613"/>
                <a:ext cx="11113" cy="12700"/>
              </a:xfrm>
              <a:custGeom>
                <a:avLst/>
                <a:gdLst>
                  <a:gd name="T0" fmla="*/ 0 w 20000"/>
                  <a:gd name="T1" fmla="*/ 19048 h 20000"/>
                  <a:gd name="T2" fmla="*/ 0 w 20000"/>
                  <a:gd name="T3" fmla="*/ 3810 h 20000"/>
                  <a:gd name="T4" fmla="*/ 18824 w 20000"/>
                  <a:gd name="T5" fmla="*/ 0 h 20000"/>
                  <a:gd name="T6" fmla="*/ 11765 w 20000"/>
                  <a:gd name="T7" fmla="*/ 13333 h 20000"/>
                  <a:gd name="T8" fmla="*/ 0 w 20000"/>
                  <a:gd name="T9" fmla="*/ 19048 h 20000"/>
                </a:gdLst>
                <a:ahLst/>
                <a:cxnLst>
                  <a:cxn ang="0">
                    <a:pos x="T0" y="T1"/>
                  </a:cxn>
                  <a:cxn ang="0">
                    <a:pos x="T2" y="T3"/>
                  </a:cxn>
                  <a:cxn ang="0">
                    <a:pos x="T4" y="T5"/>
                  </a:cxn>
                  <a:cxn ang="0">
                    <a:pos x="T6" y="T7"/>
                  </a:cxn>
                  <a:cxn ang="0">
                    <a:pos x="T8" y="T9"/>
                  </a:cxn>
                </a:cxnLst>
                <a:rect l="0" t="0" r="r" b="b"/>
                <a:pathLst>
                  <a:path w="20000" h="20000">
                    <a:moveTo>
                      <a:pt x="0" y="19048"/>
                    </a:moveTo>
                    <a:lnTo>
                      <a:pt x="0" y="3810"/>
                    </a:lnTo>
                    <a:lnTo>
                      <a:pt x="18824" y="0"/>
                    </a:lnTo>
                    <a:lnTo>
                      <a:pt x="11765" y="13333"/>
                    </a:lnTo>
                    <a:lnTo>
                      <a:pt x="0" y="190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 name="Freeform 243"/>
              <p:cNvSpPr>
                <a:spLocks/>
              </p:cNvSpPr>
              <p:nvPr/>
            </p:nvSpPr>
            <p:spPr bwMode="auto">
              <a:xfrm>
                <a:off x="5683250" y="3300413"/>
                <a:ext cx="11113" cy="11112"/>
              </a:xfrm>
              <a:custGeom>
                <a:avLst/>
                <a:gdLst>
                  <a:gd name="T0" fmla="*/ 18824 w 20000"/>
                  <a:gd name="T1" fmla="*/ 18824 h 20000"/>
                  <a:gd name="T2" fmla="*/ 0 w 20000"/>
                  <a:gd name="T3" fmla="*/ 18824 h 20000"/>
                  <a:gd name="T4" fmla="*/ 11765 w 20000"/>
                  <a:gd name="T5" fmla="*/ 18824 h 20000"/>
                  <a:gd name="T6" fmla="*/ 0 w 20000"/>
                  <a:gd name="T7" fmla="*/ 0 h 20000"/>
                  <a:gd name="T8" fmla="*/ 11765 w 20000"/>
                  <a:gd name="T9" fmla="*/ 11765 h 20000"/>
                  <a:gd name="T10" fmla="*/ 18824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8824" y="18824"/>
                    </a:moveTo>
                    <a:lnTo>
                      <a:pt x="0" y="18824"/>
                    </a:lnTo>
                    <a:lnTo>
                      <a:pt x="11765" y="18824"/>
                    </a:lnTo>
                    <a:lnTo>
                      <a:pt x="0" y="0"/>
                    </a:lnTo>
                    <a:lnTo>
                      <a:pt x="11765" y="11765"/>
                    </a:lnTo>
                    <a:lnTo>
                      <a:pt x="18824"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4" name="Freeform 242"/>
              <p:cNvSpPr>
                <a:spLocks/>
              </p:cNvSpPr>
              <p:nvPr/>
            </p:nvSpPr>
            <p:spPr bwMode="auto">
              <a:xfrm>
                <a:off x="5183188" y="3127375"/>
                <a:ext cx="6350" cy="11113"/>
              </a:xfrm>
              <a:custGeom>
                <a:avLst/>
                <a:gdLst>
                  <a:gd name="T0" fmla="*/ 18182 w 20000"/>
                  <a:gd name="T1" fmla="*/ 5882 h 20000"/>
                  <a:gd name="T2" fmla="*/ 0 w 20000"/>
                  <a:gd name="T3" fmla="*/ 5882 h 20000"/>
                  <a:gd name="T4" fmla="*/ 0 w 20000"/>
                  <a:gd name="T5" fmla="*/ 18824 h 20000"/>
                  <a:gd name="T6" fmla="*/ 0 w 20000"/>
                  <a:gd name="T7" fmla="*/ 5882 h 20000"/>
                  <a:gd name="T8" fmla="*/ 0 w 20000"/>
                  <a:gd name="T9" fmla="*/ 0 h 20000"/>
                  <a:gd name="T10" fmla="*/ 18182 w 20000"/>
                  <a:gd name="T11" fmla="*/ 5882 h 20000"/>
                </a:gdLst>
                <a:ahLst/>
                <a:cxnLst>
                  <a:cxn ang="0">
                    <a:pos x="T0" y="T1"/>
                  </a:cxn>
                  <a:cxn ang="0">
                    <a:pos x="T2" y="T3"/>
                  </a:cxn>
                  <a:cxn ang="0">
                    <a:pos x="T4" y="T5"/>
                  </a:cxn>
                  <a:cxn ang="0">
                    <a:pos x="T6" y="T7"/>
                  </a:cxn>
                  <a:cxn ang="0">
                    <a:pos x="T8" y="T9"/>
                  </a:cxn>
                  <a:cxn ang="0">
                    <a:pos x="T10" y="T11"/>
                  </a:cxn>
                </a:cxnLst>
                <a:rect l="0" t="0" r="r" b="b"/>
                <a:pathLst>
                  <a:path w="20000" h="20000">
                    <a:moveTo>
                      <a:pt x="18182" y="5882"/>
                    </a:moveTo>
                    <a:lnTo>
                      <a:pt x="0" y="5882"/>
                    </a:lnTo>
                    <a:lnTo>
                      <a:pt x="0" y="18824"/>
                    </a:lnTo>
                    <a:lnTo>
                      <a:pt x="0" y="5882"/>
                    </a:lnTo>
                    <a:lnTo>
                      <a:pt x="0" y="0"/>
                    </a:lnTo>
                    <a:lnTo>
                      <a:pt x="18182" y="58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5" name="Freeform 241"/>
              <p:cNvSpPr>
                <a:spLocks/>
              </p:cNvSpPr>
              <p:nvPr/>
            </p:nvSpPr>
            <p:spPr bwMode="auto">
              <a:xfrm>
                <a:off x="5251450" y="3014663"/>
                <a:ext cx="14288" cy="4762"/>
              </a:xfrm>
              <a:custGeom>
                <a:avLst/>
                <a:gdLst>
                  <a:gd name="T0" fmla="*/ 19091 w 20000"/>
                  <a:gd name="T1" fmla="*/ 17143 h 20000"/>
                  <a:gd name="T2" fmla="*/ 10000 w 20000"/>
                  <a:gd name="T3" fmla="*/ 0 h 20000"/>
                  <a:gd name="T4" fmla="*/ 0 w 20000"/>
                  <a:gd name="T5" fmla="*/ 0 h 20000"/>
                  <a:gd name="T6" fmla="*/ 19091 w 20000"/>
                  <a:gd name="T7" fmla="*/ 0 h 20000"/>
                  <a:gd name="T8" fmla="*/ 19091 w 20000"/>
                  <a:gd name="T9" fmla="*/ 17143 h 20000"/>
                </a:gdLst>
                <a:ahLst/>
                <a:cxnLst>
                  <a:cxn ang="0">
                    <a:pos x="T0" y="T1"/>
                  </a:cxn>
                  <a:cxn ang="0">
                    <a:pos x="T2" y="T3"/>
                  </a:cxn>
                  <a:cxn ang="0">
                    <a:pos x="T4" y="T5"/>
                  </a:cxn>
                  <a:cxn ang="0">
                    <a:pos x="T6" y="T7"/>
                  </a:cxn>
                  <a:cxn ang="0">
                    <a:pos x="T8" y="T9"/>
                  </a:cxn>
                </a:cxnLst>
                <a:rect l="0" t="0" r="r" b="b"/>
                <a:pathLst>
                  <a:path w="20000" h="20000">
                    <a:moveTo>
                      <a:pt x="19091" y="17143"/>
                    </a:moveTo>
                    <a:lnTo>
                      <a:pt x="10000" y="0"/>
                    </a:lnTo>
                    <a:lnTo>
                      <a:pt x="0" y="0"/>
                    </a:lnTo>
                    <a:lnTo>
                      <a:pt x="19091" y="0"/>
                    </a:lnTo>
                    <a:lnTo>
                      <a:pt x="19091" y="1714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 name="Freeform 240"/>
              <p:cNvSpPr>
                <a:spLocks/>
              </p:cNvSpPr>
              <p:nvPr/>
            </p:nvSpPr>
            <p:spPr bwMode="auto">
              <a:xfrm>
                <a:off x="6156325" y="3205163"/>
                <a:ext cx="119063" cy="79375"/>
              </a:xfrm>
              <a:custGeom>
                <a:avLst/>
                <a:gdLst>
                  <a:gd name="T0" fmla="*/ 8770 w 20000"/>
                  <a:gd name="T1" fmla="*/ 18095 h 20000"/>
                  <a:gd name="T2" fmla="*/ 5561 w 20000"/>
                  <a:gd name="T3" fmla="*/ 11429 h 20000"/>
                  <a:gd name="T4" fmla="*/ 1070 w 20000"/>
                  <a:gd name="T5" fmla="*/ 9048 h 20000"/>
                  <a:gd name="T6" fmla="*/ 1070 w 20000"/>
                  <a:gd name="T7" fmla="*/ 4127 h 20000"/>
                  <a:gd name="T8" fmla="*/ 0 w 20000"/>
                  <a:gd name="T9" fmla="*/ 0 h 20000"/>
                  <a:gd name="T10" fmla="*/ 15508 w 20000"/>
                  <a:gd name="T11" fmla="*/ 952 h 20000"/>
                  <a:gd name="T12" fmla="*/ 16043 w 20000"/>
                  <a:gd name="T13" fmla="*/ 8254 h 20000"/>
                  <a:gd name="T14" fmla="*/ 19893 w 20000"/>
                  <a:gd name="T15" fmla="*/ 9048 h 20000"/>
                  <a:gd name="T16" fmla="*/ 17754 w 20000"/>
                  <a:gd name="T17" fmla="*/ 11429 h 20000"/>
                  <a:gd name="T18" fmla="*/ 18824 w 20000"/>
                  <a:gd name="T19" fmla="*/ 18095 h 20000"/>
                  <a:gd name="T20" fmla="*/ 15508 w 20000"/>
                  <a:gd name="T21" fmla="*/ 19841 h 20000"/>
                  <a:gd name="T22" fmla="*/ 8770 w 20000"/>
                  <a:gd name="T23" fmla="*/ 1809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8770" y="18095"/>
                    </a:moveTo>
                    <a:lnTo>
                      <a:pt x="5561" y="11429"/>
                    </a:lnTo>
                    <a:lnTo>
                      <a:pt x="1070" y="9048"/>
                    </a:lnTo>
                    <a:lnTo>
                      <a:pt x="1070" y="4127"/>
                    </a:lnTo>
                    <a:lnTo>
                      <a:pt x="0" y="0"/>
                    </a:lnTo>
                    <a:lnTo>
                      <a:pt x="15508" y="952"/>
                    </a:lnTo>
                    <a:lnTo>
                      <a:pt x="16043" y="8254"/>
                    </a:lnTo>
                    <a:lnTo>
                      <a:pt x="19893" y="9048"/>
                    </a:lnTo>
                    <a:lnTo>
                      <a:pt x="17754" y="11429"/>
                    </a:lnTo>
                    <a:lnTo>
                      <a:pt x="18824" y="18095"/>
                    </a:lnTo>
                    <a:lnTo>
                      <a:pt x="15508" y="19841"/>
                    </a:lnTo>
                    <a:lnTo>
                      <a:pt x="8770" y="1809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 name="Freeform 239"/>
              <p:cNvSpPr>
                <a:spLocks/>
              </p:cNvSpPr>
              <p:nvPr/>
            </p:nvSpPr>
            <p:spPr bwMode="auto">
              <a:xfrm>
                <a:off x="6248400" y="3189288"/>
                <a:ext cx="90488" cy="104775"/>
              </a:xfrm>
              <a:custGeom>
                <a:avLst/>
                <a:gdLst>
                  <a:gd name="T0" fmla="*/ 8873 w 20000"/>
                  <a:gd name="T1" fmla="*/ 0 h 20000"/>
                  <a:gd name="T2" fmla="*/ 13803 w 20000"/>
                  <a:gd name="T3" fmla="*/ 4940 h 20000"/>
                  <a:gd name="T4" fmla="*/ 19859 w 20000"/>
                  <a:gd name="T5" fmla="*/ 6867 h 20000"/>
                  <a:gd name="T6" fmla="*/ 13803 w 20000"/>
                  <a:gd name="T7" fmla="*/ 9398 h 20000"/>
                  <a:gd name="T8" fmla="*/ 13803 w 20000"/>
                  <a:gd name="T9" fmla="*/ 13012 h 20000"/>
                  <a:gd name="T10" fmla="*/ 13803 w 20000"/>
                  <a:gd name="T11" fmla="*/ 14940 h 20000"/>
                  <a:gd name="T12" fmla="*/ 12394 w 20000"/>
                  <a:gd name="T13" fmla="*/ 14337 h 20000"/>
                  <a:gd name="T14" fmla="*/ 10282 w 20000"/>
                  <a:gd name="T15" fmla="*/ 14940 h 20000"/>
                  <a:gd name="T16" fmla="*/ 12394 w 20000"/>
                  <a:gd name="T17" fmla="*/ 19880 h 20000"/>
                  <a:gd name="T18" fmla="*/ 4366 w 20000"/>
                  <a:gd name="T19" fmla="*/ 16747 h 20000"/>
                  <a:gd name="T20" fmla="*/ 2958 w 20000"/>
                  <a:gd name="T21" fmla="*/ 11807 h 20000"/>
                  <a:gd name="T22" fmla="*/ 5775 w 20000"/>
                  <a:gd name="T23" fmla="*/ 9880 h 20000"/>
                  <a:gd name="T24" fmla="*/ 845 w 20000"/>
                  <a:gd name="T25" fmla="*/ 9398 h 20000"/>
                  <a:gd name="T26" fmla="*/ 0 w 20000"/>
                  <a:gd name="T27" fmla="*/ 3735 h 20000"/>
                  <a:gd name="T28" fmla="*/ 0 w 20000"/>
                  <a:gd name="T29" fmla="*/ 1205 h 20000"/>
                  <a:gd name="T30" fmla="*/ 8873 w 20000"/>
                  <a:gd name="T3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8873" y="0"/>
                    </a:moveTo>
                    <a:lnTo>
                      <a:pt x="13803" y="4940"/>
                    </a:lnTo>
                    <a:lnTo>
                      <a:pt x="19859" y="6867"/>
                    </a:lnTo>
                    <a:lnTo>
                      <a:pt x="13803" y="9398"/>
                    </a:lnTo>
                    <a:lnTo>
                      <a:pt x="13803" y="13012"/>
                    </a:lnTo>
                    <a:lnTo>
                      <a:pt x="13803" y="14940"/>
                    </a:lnTo>
                    <a:lnTo>
                      <a:pt x="12394" y="14337"/>
                    </a:lnTo>
                    <a:lnTo>
                      <a:pt x="10282" y="14940"/>
                    </a:lnTo>
                    <a:lnTo>
                      <a:pt x="12394" y="19880"/>
                    </a:lnTo>
                    <a:lnTo>
                      <a:pt x="4366" y="16747"/>
                    </a:lnTo>
                    <a:lnTo>
                      <a:pt x="2958" y="11807"/>
                    </a:lnTo>
                    <a:lnTo>
                      <a:pt x="5775" y="9880"/>
                    </a:lnTo>
                    <a:lnTo>
                      <a:pt x="845" y="9398"/>
                    </a:lnTo>
                    <a:lnTo>
                      <a:pt x="0" y="3735"/>
                    </a:lnTo>
                    <a:lnTo>
                      <a:pt x="0" y="1205"/>
                    </a:lnTo>
                    <a:lnTo>
                      <a:pt x="8873"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 name="Freeform 238"/>
              <p:cNvSpPr>
                <a:spLocks/>
              </p:cNvSpPr>
              <p:nvPr/>
            </p:nvSpPr>
            <p:spPr bwMode="auto">
              <a:xfrm>
                <a:off x="5581650" y="2663825"/>
                <a:ext cx="247650" cy="201613"/>
              </a:xfrm>
              <a:custGeom>
                <a:avLst/>
                <a:gdLst>
                  <a:gd name="T0" fmla="*/ 1902 w 20000"/>
                  <a:gd name="T1" fmla="*/ 18044 h 20000"/>
                  <a:gd name="T2" fmla="*/ 1337 w 20000"/>
                  <a:gd name="T3" fmla="*/ 16025 h 20000"/>
                  <a:gd name="T4" fmla="*/ 0 w 20000"/>
                  <a:gd name="T5" fmla="*/ 14385 h 20000"/>
                  <a:gd name="T6" fmla="*/ 1902 w 20000"/>
                  <a:gd name="T7" fmla="*/ 13123 h 20000"/>
                  <a:gd name="T8" fmla="*/ 1337 w 20000"/>
                  <a:gd name="T9" fmla="*/ 11104 h 20000"/>
                  <a:gd name="T10" fmla="*/ 514 w 20000"/>
                  <a:gd name="T11" fmla="*/ 9148 h 20000"/>
                  <a:gd name="T12" fmla="*/ 3445 w 20000"/>
                  <a:gd name="T13" fmla="*/ 7508 h 20000"/>
                  <a:gd name="T14" fmla="*/ 5347 w 20000"/>
                  <a:gd name="T15" fmla="*/ 5237 h 20000"/>
                  <a:gd name="T16" fmla="*/ 5861 w 20000"/>
                  <a:gd name="T17" fmla="*/ 1956 h 20000"/>
                  <a:gd name="T18" fmla="*/ 9049 w 20000"/>
                  <a:gd name="T19" fmla="*/ 631 h 20000"/>
                  <a:gd name="T20" fmla="*/ 10129 w 20000"/>
                  <a:gd name="T21" fmla="*/ 0 h 20000"/>
                  <a:gd name="T22" fmla="*/ 15681 w 20000"/>
                  <a:gd name="T23" fmla="*/ 1009 h 20000"/>
                  <a:gd name="T24" fmla="*/ 17326 w 20000"/>
                  <a:gd name="T25" fmla="*/ 6877 h 20000"/>
                  <a:gd name="T26" fmla="*/ 19177 w 20000"/>
                  <a:gd name="T27" fmla="*/ 9148 h 20000"/>
                  <a:gd name="T28" fmla="*/ 19949 w 20000"/>
                  <a:gd name="T29" fmla="*/ 12744 h 20000"/>
                  <a:gd name="T30" fmla="*/ 18098 w 20000"/>
                  <a:gd name="T31" fmla="*/ 11735 h 20000"/>
                  <a:gd name="T32" fmla="*/ 17326 w 20000"/>
                  <a:gd name="T33" fmla="*/ 12114 h 20000"/>
                  <a:gd name="T34" fmla="*/ 18612 w 20000"/>
                  <a:gd name="T35" fmla="*/ 15331 h 20000"/>
                  <a:gd name="T36" fmla="*/ 18098 w 20000"/>
                  <a:gd name="T37" fmla="*/ 18675 h 20000"/>
                  <a:gd name="T38" fmla="*/ 16504 w 20000"/>
                  <a:gd name="T39" fmla="*/ 18675 h 20000"/>
                  <a:gd name="T40" fmla="*/ 15681 w 20000"/>
                  <a:gd name="T41" fmla="*/ 19621 h 20000"/>
                  <a:gd name="T42" fmla="*/ 15681 w 20000"/>
                  <a:gd name="T43" fmla="*/ 19937 h 20000"/>
                  <a:gd name="T44" fmla="*/ 11671 w 20000"/>
                  <a:gd name="T45" fmla="*/ 18927 h 20000"/>
                  <a:gd name="T46" fmla="*/ 11671 w 20000"/>
                  <a:gd name="T47" fmla="*/ 18044 h 20000"/>
                  <a:gd name="T48" fmla="*/ 3445 w 20000"/>
                  <a:gd name="T49" fmla="*/ 18675 h 20000"/>
                  <a:gd name="T50" fmla="*/ 2674 w 20000"/>
                  <a:gd name="T51" fmla="*/ 18044 h 20000"/>
                  <a:gd name="T52" fmla="*/ 1902 w 20000"/>
                  <a:gd name="T53" fmla="*/ 1804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1902" y="18044"/>
                    </a:moveTo>
                    <a:lnTo>
                      <a:pt x="1337" y="16025"/>
                    </a:lnTo>
                    <a:lnTo>
                      <a:pt x="0" y="14385"/>
                    </a:lnTo>
                    <a:lnTo>
                      <a:pt x="1902" y="13123"/>
                    </a:lnTo>
                    <a:lnTo>
                      <a:pt x="1337" y="11104"/>
                    </a:lnTo>
                    <a:lnTo>
                      <a:pt x="514" y="9148"/>
                    </a:lnTo>
                    <a:lnTo>
                      <a:pt x="3445" y="7508"/>
                    </a:lnTo>
                    <a:lnTo>
                      <a:pt x="5347" y="5237"/>
                    </a:lnTo>
                    <a:lnTo>
                      <a:pt x="5861" y="1956"/>
                    </a:lnTo>
                    <a:lnTo>
                      <a:pt x="9049" y="631"/>
                    </a:lnTo>
                    <a:lnTo>
                      <a:pt x="10129" y="0"/>
                    </a:lnTo>
                    <a:lnTo>
                      <a:pt x="15681" y="1009"/>
                    </a:lnTo>
                    <a:lnTo>
                      <a:pt x="17326" y="6877"/>
                    </a:lnTo>
                    <a:lnTo>
                      <a:pt x="19177" y="9148"/>
                    </a:lnTo>
                    <a:lnTo>
                      <a:pt x="19949" y="12744"/>
                    </a:lnTo>
                    <a:lnTo>
                      <a:pt x="18098" y="11735"/>
                    </a:lnTo>
                    <a:lnTo>
                      <a:pt x="17326" y="12114"/>
                    </a:lnTo>
                    <a:lnTo>
                      <a:pt x="18612" y="15331"/>
                    </a:lnTo>
                    <a:lnTo>
                      <a:pt x="18098" y="18675"/>
                    </a:lnTo>
                    <a:lnTo>
                      <a:pt x="16504" y="18675"/>
                    </a:lnTo>
                    <a:lnTo>
                      <a:pt x="15681" y="19621"/>
                    </a:lnTo>
                    <a:lnTo>
                      <a:pt x="15681" y="19937"/>
                    </a:lnTo>
                    <a:lnTo>
                      <a:pt x="11671" y="18927"/>
                    </a:lnTo>
                    <a:lnTo>
                      <a:pt x="11671" y="18044"/>
                    </a:lnTo>
                    <a:lnTo>
                      <a:pt x="3445" y="18675"/>
                    </a:lnTo>
                    <a:lnTo>
                      <a:pt x="2674" y="18044"/>
                    </a:lnTo>
                    <a:lnTo>
                      <a:pt x="1902" y="1804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 name="Freeform 237"/>
              <p:cNvSpPr>
                <a:spLocks/>
              </p:cNvSpPr>
              <p:nvPr/>
            </p:nvSpPr>
            <p:spPr bwMode="auto">
              <a:xfrm>
                <a:off x="5561013" y="2508250"/>
                <a:ext cx="112712" cy="85725"/>
              </a:xfrm>
              <a:custGeom>
                <a:avLst/>
                <a:gdLst>
                  <a:gd name="T0" fmla="*/ 4633 w 20000"/>
                  <a:gd name="T1" fmla="*/ 18235 h 20000"/>
                  <a:gd name="T2" fmla="*/ 4633 w 20000"/>
                  <a:gd name="T3" fmla="*/ 13824 h 20000"/>
                  <a:gd name="T4" fmla="*/ 3503 w 20000"/>
                  <a:gd name="T5" fmla="*/ 15294 h 20000"/>
                  <a:gd name="T6" fmla="*/ 1130 w 20000"/>
                  <a:gd name="T7" fmla="*/ 9853 h 20000"/>
                  <a:gd name="T8" fmla="*/ 0 w 20000"/>
                  <a:gd name="T9" fmla="*/ 5441 h 20000"/>
                  <a:gd name="T10" fmla="*/ 10621 w 20000"/>
                  <a:gd name="T11" fmla="*/ 0 h 20000"/>
                  <a:gd name="T12" fmla="*/ 16384 w 20000"/>
                  <a:gd name="T13" fmla="*/ 1471 h 20000"/>
                  <a:gd name="T14" fmla="*/ 15254 w 20000"/>
                  <a:gd name="T15" fmla="*/ 2353 h 20000"/>
                  <a:gd name="T16" fmla="*/ 16949 w 20000"/>
                  <a:gd name="T17" fmla="*/ 7500 h 20000"/>
                  <a:gd name="T18" fmla="*/ 16949 w 20000"/>
                  <a:gd name="T19" fmla="*/ 11471 h 20000"/>
                  <a:gd name="T20" fmla="*/ 19887 w 20000"/>
                  <a:gd name="T21" fmla="*/ 17500 h 20000"/>
                  <a:gd name="T22" fmla="*/ 15254 w 20000"/>
                  <a:gd name="T23" fmla="*/ 19853 h 20000"/>
                  <a:gd name="T24" fmla="*/ 8814 w 20000"/>
                  <a:gd name="T25" fmla="*/ 18235 h 20000"/>
                  <a:gd name="T26" fmla="*/ 4633 w 20000"/>
                  <a:gd name="T27" fmla="*/ 182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4633" y="18235"/>
                    </a:moveTo>
                    <a:lnTo>
                      <a:pt x="4633" y="13824"/>
                    </a:lnTo>
                    <a:lnTo>
                      <a:pt x="3503" y="15294"/>
                    </a:lnTo>
                    <a:lnTo>
                      <a:pt x="1130" y="9853"/>
                    </a:lnTo>
                    <a:lnTo>
                      <a:pt x="0" y="5441"/>
                    </a:lnTo>
                    <a:lnTo>
                      <a:pt x="10621" y="0"/>
                    </a:lnTo>
                    <a:lnTo>
                      <a:pt x="16384" y="1471"/>
                    </a:lnTo>
                    <a:lnTo>
                      <a:pt x="15254" y="2353"/>
                    </a:lnTo>
                    <a:lnTo>
                      <a:pt x="16949" y="7500"/>
                    </a:lnTo>
                    <a:lnTo>
                      <a:pt x="16949" y="11471"/>
                    </a:lnTo>
                    <a:lnTo>
                      <a:pt x="19887" y="17500"/>
                    </a:lnTo>
                    <a:lnTo>
                      <a:pt x="15254" y="19853"/>
                    </a:lnTo>
                    <a:lnTo>
                      <a:pt x="8814" y="18235"/>
                    </a:lnTo>
                    <a:lnTo>
                      <a:pt x="4633" y="182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 name="Freeform 236"/>
              <p:cNvSpPr>
                <a:spLocks/>
              </p:cNvSpPr>
              <p:nvPr/>
            </p:nvSpPr>
            <p:spPr bwMode="auto">
              <a:xfrm>
                <a:off x="6051550" y="3130550"/>
                <a:ext cx="198438" cy="79375"/>
              </a:xfrm>
              <a:custGeom>
                <a:avLst/>
                <a:gdLst>
                  <a:gd name="T0" fmla="*/ 10641 w 20000"/>
                  <a:gd name="T1" fmla="*/ 18889 h 20000"/>
                  <a:gd name="T2" fmla="*/ 8654 w 20000"/>
                  <a:gd name="T3" fmla="*/ 14921 h 20000"/>
                  <a:gd name="T4" fmla="*/ 4615 w 20000"/>
                  <a:gd name="T5" fmla="*/ 16508 h 20000"/>
                  <a:gd name="T6" fmla="*/ 4615 w 20000"/>
                  <a:gd name="T7" fmla="*/ 10794 h 20000"/>
                  <a:gd name="T8" fmla="*/ 3013 w 20000"/>
                  <a:gd name="T9" fmla="*/ 4286 h 20000"/>
                  <a:gd name="T10" fmla="*/ 0 w 20000"/>
                  <a:gd name="T11" fmla="*/ 0 h 20000"/>
                  <a:gd name="T12" fmla="*/ 9615 w 20000"/>
                  <a:gd name="T13" fmla="*/ 0 h 20000"/>
                  <a:gd name="T14" fmla="*/ 17628 w 20000"/>
                  <a:gd name="T15" fmla="*/ 10794 h 20000"/>
                  <a:gd name="T16" fmla="*/ 19936 w 20000"/>
                  <a:gd name="T17" fmla="*/ 16508 h 20000"/>
                  <a:gd name="T18" fmla="*/ 19936 w 20000"/>
                  <a:gd name="T19" fmla="*/ 19841 h 20000"/>
                  <a:gd name="T20" fmla="*/ 10641 w 20000"/>
                  <a:gd name="T21" fmla="*/ 1888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0641" y="18889"/>
                    </a:moveTo>
                    <a:lnTo>
                      <a:pt x="8654" y="14921"/>
                    </a:lnTo>
                    <a:lnTo>
                      <a:pt x="4615" y="16508"/>
                    </a:lnTo>
                    <a:lnTo>
                      <a:pt x="4615" y="10794"/>
                    </a:lnTo>
                    <a:lnTo>
                      <a:pt x="3013" y="4286"/>
                    </a:lnTo>
                    <a:lnTo>
                      <a:pt x="0" y="0"/>
                    </a:lnTo>
                    <a:lnTo>
                      <a:pt x="9615" y="0"/>
                    </a:lnTo>
                    <a:lnTo>
                      <a:pt x="17628" y="10794"/>
                    </a:lnTo>
                    <a:lnTo>
                      <a:pt x="19936" y="16508"/>
                    </a:lnTo>
                    <a:lnTo>
                      <a:pt x="19936" y="19841"/>
                    </a:lnTo>
                    <a:lnTo>
                      <a:pt x="10641" y="1888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 name="Freeform 235"/>
              <p:cNvSpPr>
                <a:spLocks/>
              </p:cNvSpPr>
              <p:nvPr/>
            </p:nvSpPr>
            <p:spPr bwMode="auto">
              <a:xfrm>
                <a:off x="5508625" y="2584450"/>
                <a:ext cx="207963" cy="98425"/>
              </a:xfrm>
              <a:custGeom>
                <a:avLst/>
                <a:gdLst>
                  <a:gd name="T0" fmla="*/ 0 w 20000"/>
                  <a:gd name="T1" fmla="*/ 13846 h 20000"/>
                  <a:gd name="T2" fmla="*/ 976 w 20000"/>
                  <a:gd name="T3" fmla="*/ 5256 h 20000"/>
                  <a:gd name="T4" fmla="*/ 3476 w 20000"/>
                  <a:gd name="T5" fmla="*/ 513 h 20000"/>
                  <a:gd name="T6" fmla="*/ 5671 w 20000"/>
                  <a:gd name="T7" fmla="*/ 7308 h 20000"/>
                  <a:gd name="T8" fmla="*/ 6585 w 20000"/>
                  <a:gd name="T9" fmla="*/ 7308 h 20000"/>
                  <a:gd name="T10" fmla="*/ 7561 w 20000"/>
                  <a:gd name="T11" fmla="*/ 6026 h 20000"/>
                  <a:gd name="T12" fmla="*/ 7561 w 20000"/>
                  <a:gd name="T13" fmla="*/ 513 h 20000"/>
                  <a:gd name="T14" fmla="*/ 9817 w 20000"/>
                  <a:gd name="T15" fmla="*/ 513 h 20000"/>
                  <a:gd name="T16" fmla="*/ 13293 w 20000"/>
                  <a:gd name="T17" fmla="*/ 2051 h 20000"/>
                  <a:gd name="T18" fmla="*/ 15793 w 20000"/>
                  <a:gd name="T19" fmla="*/ 0 h 20000"/>
                  <a:gd name="T20" fmla="*/ 17683 w 20000"/>
                  <a:gd name="T21" fmla="*/ 513 h 20000"/>
                  <a:gd name="T22" fmla="*/ 19939 w 20000"/>
                  <a:gd name="T23" fmla="*/ 6026 h 20000"/>
                  <a:gd name="T24" fmla="*/ 18963 w 20000"/>
                  <a:gd name="T25" fmla="*/ 15897 h 20000"/>
                  <a:gd name="T26" fmla="*/ 17683 w 20000"/>
                  <a:gd name="T27" fmla="*/ 17179 h 20000"/>
                  <a:gd name="T28" fmla="*/ 13902 w 20000"/>
                  <a:gd name="T29" fmla="*/ 19872 h 20000"/>
                  <a:gd name="T30" fmla="*/ 12683 w 20000"/>
                  <a:gd name="T31" fmla="*/ 17821 h 20000"/>
                  <a:gd name="T32" fmla="*/ 11707 w 20000"/>
                  <a:gd name="T33" fmla="*/ 17179 h 20000"/>
                  <a:gd name="T34" fmla="*/ 10122 w 20000"/>
                  <a:gd name="T35" fmla="*/ 14615 h 20000"/>
                  <a:gd name="T36" fmla="*/ 6585 w 20000"/>
                  <a:gd name="T37" fmla="*/ 12564 h 20000"/>
                  <a:gd name="T38" fmla="*/ 4085 w 20000"/>
                  <a:gd name="T39" fmla="*/ 12564 h 20000"/>
                  <a:gd name="T40" fmla="*/ 0 w 20000"/>
                  <a:gd name="T41" fmla="*/ 1384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0" y="13846"/>
                    </a:moveTo>
                    <a:lnTo>
                      <a:pt x="976" y="5256"/>
                    </a:lnTo>
                    <a:lnTo>
                      <a:pt x="3476" y="513"/>
                    </a:lnTo>
                    <a:lnTo>
                      <a:pt x="5671" y="7308"/>
                    </a:lnTo>
                    <a:lnTo>
                      <a:pt x="6585" y="7308"/>
                    </a:lnTo>
                    <a:lnTo>
                      <a:pt x="7561" y="6026"/>
                    </a:lnTo>
                    <a:lnTo>
                      <a:pt x="7561" y="513"/>
                    </a:lnTo>
                    <a:lnTo>
                      <a:pt x="9817" y="513"/>
                    </a:lnTo>
                    <a:lnTo>
                      <a:pt x="13293" y="2051"/>
                    </a:lnTo>
                    <a:lnTo>
                      <a:pt x="15793" y="0"/>
                    </a:lnTo>
                    <a:lnTo>
                      <a:pt x="17683" y="513"/>
                    </a:lnTo>
                    <a:lnTo>
                      <a:pt x="19939" y="6026"/>
                    </a:lnTo>
                    <a:lnTo>
                      <a:pt x="18963" y="15897"/>
                    </a:lnTo>
                    <a:lnTo>
                      <a:pt x="17683" y="17179"/>
                    </a:lnTo>
                    <a:lnTo>
                      <a:pt x="13902" y="19872"/>
                    </a:lnTo>
                    <a:lnTo>
                      <a:pt x="12683" y="17821"/>
                    </a:lnTo>
                    <a:lnTo>
                      <a:pt x="11707" y="17179"/>
                    </a:lnTo>
                    <a:lnTo>
                      <a:pt x="10122" y="14615"/>
                    </a:lnTo>
                    <a:lnTo>
                      <a:pt x="6585" y="12564"/>
                    </a:lnTo>
                    <a:lnTo>
                      <a:pt x="4085" y="12564"/>
                    </a:lnTo>
                    <a:lnTo>
                      <a:pt x="0" y="1384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 name="Freeform 234"/>
              <p:cNvSpPr>
                <a:spLocks/>
              </p:cNvSpPr>
              <p:nvPr/>
            </p:nvSpPr>
            <p:spPr bwMode="auto">
              <a:xfrm>
                <a:off x="5486400" y="2647950"/>
                <a:ext cx="168275" cy="109538"/>
              </a:xfrm>
              <a:custGeom>
                <a:avLst/>
                <a:gdLst>
                  <a:gd name="T0" fmla="*/ 12075 w 20000"/>
                  <a:gd name="T1" fmla="*/ 19884 h 20000"/>
                  <a:gd name="T2" fmla="*/ 10189 w 20000"/>
                  <a:gd name="T3" fmla="*/ 14419 h 20000"/>
                  <a:gd name="T4" fmla="*/ 0 w 20000"/>
                  <a:gd name="T5" fmla="*/ 14419 h 20000"/>
                  <a:gd name="T6" fmla="*/ 2038 w 20000"/>
                  <a:gd name="T7" fmla="*/ 12558 h 20000"/>
                  <a:gd name="T8" fmla="*/ 0 w 20000"/>
                  <a:gd name="T9" fmla="*/ 13953 h 20000"/>
                  <a:gd name="T10" fmla="*/ 830 w 20000"/>
                  <a:gd name="T11" fmla="*/ 12093 h 20000"/>
                  <a:gd name="T12" fmla="*/ 4679 w 20000"/>
                  <a:gd name="T13" fmla="*/ 12093 h 20000"/>
                  <a:gd name="T14" fmla="*/ 2792 w 20000"/>
                  <a:gd name="T15" fmla="*/ 1163 h 20000"/>
                  <a:gd name="T16" fmla="*/ 7849 w 20000"/>
                  <a:gd name="T17" fmla="*/ 0 h 20000"/>
                  <a:gd name="T18" fmla="*/ 10943 w 20000"/>
                  <a:gd name="T19" fmla="*/ 0 h 20000"/>
                  <a:gd name="T20" fmla="*/ 15321 w 20000"/>
                  <a:gd name="T21" fmla="*/ 1860 h 20000"/>
                  <a:gd name="T22" fmla="*/ 17208 w 20000"/>
                  <a:gd name="T23" fmla="*/ 4186 h 20000"/>
                  <a:gd name="T24" fmla="*/ 18415 w 20000"/>
                  <a:gd name="T25" fmla="*/ 4767 h 20000"/>
                  <a:gd name="T26" fmla="*/ 19925 w 20000"/>
                  <a:gd name="T27" fmla="*/ 6628 h 20000"/>
                  <a:gd name="T28" fmla="*/ 19170 w 20000"/>
                  <a:gd name="T29" fmla="*/ 12558 h 20000"/>
                  <a:gd name="T30" fmla="*/ 16377 w 20000"/>
                  <a:gd name="T31" fmla="*/ 16860 h 20000"/>
                  <a:gd name="T32" fmla="*/ 12075 w 20000"/>
                  <a:gd name="T33" fmla="*/ 198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2075" y="19884"/>
                    </a:moveTo>
                    <a:lnTo>
                      <a:pt x="10189" y="14419"/>
                    </a:lnTo>
                    <a:lnTo>
                      <a:pt x="0" y="14419"/>
                    </a:lnTo>
                    <a:lnTo>
                      <a:pt x="2038" y="12558"/>
                    </a:lnTo>
                    <a:lnTo>
                      <a:pt x="0" y="13953"/>
                    </a:lnTo>
                    <a:lnTo>
                      <a:pt x="830" y="12093"/>
                    </a:lnTo>
                    <a:lnTo>
                      <a:pt x="4679" y="12093"/>
                    </a:lnTo>
                    <a:lnTo>
                      <a:pt x="2792" y="1163"/>
                    </a:lnTo>
                    <a:lnTo>
                      <a:pt x="7849" y="0"/>
                    </a:lnTo>
                    <a:lnTo>
                      <a:pt x="10943" y="0"/>
                    </a:lnTo>
                    <a:lnTo>
                      <a:pt x="15321" y="1860"/>
                    </a:lnTo>
                    <a:lnTo>
                      <a:pt x="17208" y="4186"/>
                    </a:lnTo>
                    <a:lnTo>
                      <a:pt x="18415" y="4767"/>
                    </a:lnTo>
                    <a:lnTo>
                      <a:pt x="19925" y="6628"/>
                    </a:lnTo>
                    <a:lnTo>
                      <a:pt x="19170" y="12558"/>
                    </a:lnTo>
                    <a:lnTo>
                      <a:pt x="16377" y="16860"/>
                    </a:lnTo>
                    <a:lnTo>
                      <a:pt x="12075" y="198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 name="Freeform 233"/>
              <p:cNvSpPr>
                <a:spLocks/>
              </p:cNvSpPr>
              <p:nvPr/>
            </p:nvSpPr>
            <p:spPr bwMode="auto">
              <a:xfrm>
                <a:off x="5692775" y="2965450"/>
                <a:ext cx="92075" cy="96838"/>
              </a:xfrm>
              <a:custGeom>
                <a:avLst/>
                <a:gdLst>
                  <a:gd name="T0" fmla="*/ 0 w 20000"/>
                  <a:gd name="T1" fmla="*/ 0 h 20000"/>
                  <a:gd name="T2" fmla="*/ 6986 w 20000"/>
                  <a:gd name="T3" fmla="*/ 2105 h 20000"/>
                  <a:gd name="T4" fmla="*/ 10685 w 20000"/>
                  <a:gd name="T5" fmla="*/ 2105 h 20000"/>
                  <a:gd name="T6" fmla="*/ 14247 w 20000"/>
                  <a:gd name="T7" fmla="*/ 7500 h 20000"/>
                  <a:gd name="T8" fmla="*/ 14932 w 20000"/>
                  <a:gd name="T9" fmla="*/ 10263 h 20000"/>
                  <a:gd name="T10" fmla="*/ 19863 w 20000"/>
                  <a:gd name="T11" fmla="*/ 13684 h 20000"/>
                  <a:gd name="T12" fmla="*/ 12877 w 20000"/>
                  <a:gd name="T13" fmla="*/ 14474 h 20000"/>
                  <a:gd name="T14" fmla="*/ 10685 w 20000"/>
                  <a:gd name="T15" fmla="*/ 16447 h 20000"/>
                  <a:gd name="T16" fmla="*/ 8493 w 20000"/>
                  <a:gd name="T17" fmla="*/ 19868 h 20000"/>
                  <a:gd name="T18" fmla="*/ 6986 w 20000"/>
                  <a:gd name="T19" fmla="*/ 8947 h 20000"/>
                  <a:gd name="T20" fmla="*/ 6438 w 20000"/>
                  <a:gd name="T21" fmla="*/ 8947 h 20000"/>
                  <a:gd name="T22" fmla="*/ 0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0" y="0"/>
                    </a:moveTo>
                    <a:lnTo>
                      <a:pt x="6986" y="2105"/>
                    </a:lnTo>
                    <a:lnTo>
                      <a:pt x="10685" y="2105"/>
                    </a:lnTo>
                    <a:lnTo>
                      <a:pt x="14247" y="7500"/>
                    </a:lnTo>
                    <a:lnTo>
                      <a:pt x="14932" y="10263"/>
                    </a:lnTo>
                    <a:lnTo>
                      <a:pt x="19863" y="13684"/>
                    </a:lnTo>
                    <a:lnTo>
                      <a:pt x="12877" y="14474"/>
                    </a:lnTo>
                    <a:lnTo>
                      <a:pt x="10685" y="16447"/>
                    </a:lnTo>
                    <a:lnTo>
                      <a:pt x="8493" y="19868"/>
                    </a:lnTo>
                    <a:lnTo>
                      <a:pt x="6986" y="8947"/>
                    </a:lnTo>
                    <a:lnTo>
                      <a:pt x="6438" y="8947"/>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 name="Freeform 232"/>
              <p:cNvSpPr>
                <a:spLocks/>
              </p:cNvSpPr>
              <p:nvPr/>
            </p:nvSpPr>
            <p:spPr bwMode="auto">
              <a:xfrm>
                <a:off x="5630863" y="1336675"/>
                <a:ext cx="3771900" cy="1860550"/>
              </a:xfrm>
              <a:custGeom>
                <a:avLst/>
                <a:gdLst>
                  <a:gd name="T0" fmla="*/ 1603 w 20000"/>
                  <a:gd name="T1" fmla="*/ 8692 h 20000"/>
                  <a:gd name="T2" fmla="*/ 1148 w 20000"/>
                  <a:gd name="T3" fmla="*/ 9710 h 20000"/>
                  <a:gd name="T4" fmla="*/ 1741 w 20000"/>
                  <a:gd name="T5" fmla="*/ 7948 h 20000"/>
                  <a:gd name="T6" fmla="*/ 2875 w 20000"/>
                  <a:gd name="T7" fmla="*/ 7812 h 20000"/>
                  <a:gd name="T8" fmla="*/ 3380 w 20000"/>
                  <a:gd name="T9" fmla="*/ 7661 h 20000"/>
                  <a:gd name="T10" fmla="*/ 4586 w 20000"/>
                  <a:gd name="T11" fmla="*/ 7033 h 20000"/>
                  <a:gd name="T12" fmla="*/ 4391 w 20000"/>
                  <a:gd name="T13" fmla="*/ 5579 h 20000"/>
                  <a:gd name="T14" fmla="*/ 5178 w 20000"/>
                  <a:gd name="T15" fmla="*/ 8228 h 20000"/>
                  <a:gd name="T16" fmla="*/ 6118 w 20000"/>
                  <a:gd name="T17" fmla="*/ 7491 h 20000"/>
                  <a:gd name="T18" fmla="*/ 4983 w 20000"/>
                  <a:gd name="T19" fmla="*/ 4841 h 20000"/>
                  <a:gd name="T20" fmla="*/ 5859 w 20000"/>
                  <a:gd name="T21" fmla="*/ 5189 h 20000"/>
                  <a:gd name="T22" fmla="*/ 6259 w 20000"/>
                  <a:gd name="T23" fmla="*/ 5934 h 20000"/>
                  <a:gd name="T24" fmla="*/ 6222 w 20000"/>
                  <a:gd name="T25" fmla="*/ 3988 h 20000"/>
                  <a:gd name="T26" fmla="*/ 6051 w 20000"/>
                  <a:gd name="T27" fmla="*/ 3073 h 20000"/>
                  <a:gd name="T28" fmla="*/ 6902 w 20000"/>
                  <a:gd name="T29" fmla="*/ 2219 h 20000"/>
                  <a:gd name="T30" fmla="*/ 7165 w 20000"/>
                  <a:gd name="T31" fmla="*/ 1311 h 20000"/>
                  <a:gd name="T32" fmla="*/ 7549 w 20000"/>
                  <a:gd name="T33" fmla="*/ 990 h 20000"/>
                  <a:gd name="T34" fmla="*/ 8700 w 20000"/>
                  <a:gd name="T35" fmla="*/ 1379 h 20000"/>
                  <a:gd name="T36" fmla="*/ 8316 w 20000"/>
                  <a:gd name="T37" fmla="*/ 2970 h 20000"/>
                  <a:gd name="T38" fmla="*/ 8818 w 20000"/>
                  <a:gd name="T39" fmla="*/ 2684 h 20000"/>
                  <a:gd name="T40" fmla="*/ 9414 w 20000"/>
                  <a:gd name="T41" fmla="*/ 2506 h 20000"/>
                  <a:gd name="T42" fmla="*/ 10202 w 20000"/>
                  <a:gd name="T43" fmla="*/ 1939 h 20000"/>
                  <a:gd name="T44" fmla="*/ 11246 w 20000"/>
                  <a:gd name="T45" fmla="*/ 2608 h 20000"/>
                  <a:gd name="T46" fmla="*/ 12364 w 20000"/>
                  <a:gd name="T47" fmla="*/ 2048 h 20000"/>
                  <a:gd name="T48" fmla="*/ 13040 w 20000"/>
                  <a:gd name="T49" fmla="*/ 990 h 20000"/>
                  <a:gd name="T50" fmla="*/ 13407 w 20000"/>
                  <a:gd name="T51" fmla="*/ 990 h 20000"/>
                  <a:gd name="T52" fmla="*/ 15502 w 20000"/>
                  <a:gd name="T53" fmla="*/ 1550 h 20000"/>
                  <a:gd name="T54" fmla="*/ 16475 w 20000"/>
                  <a:gd name="T55" fmla="*/ 669 h 20000"/>
                  <a:gd name="T56" fmla="*/ 18657 w 20000"/>
                  <a:gd name="T57" fmla="*/ 526 h 20000"/>
                  <a:gd name="T58" fmla="*/ 19354 w 20000"/>
                  <a:gd name="T59" fmla="*/ 635 h 20000"/>
                  <a:gd name="T60" fmla="*/ 19997 w 20000"/>
                  <a:gd name="T61" fmla="*/ 2581 h 20000"/>
                  <a:gd name="T62" fmla="*/ 18966 w 20000"/>
                  <a:gd name="T63" fmla="*/ 2219 h 20000"/>
                  <a:gd name="T64" fmla="*/ 18532 w 20000"/>
                  <a:gd name="T65" fmla="*/ 2970 h 20000"/>
                  <a:gd name="T66" fmla="*/ 19108 w 20000"/>
                  <a:gd name="T67" fmla="*/ 3878 h 20000"/>
                  <a:gd name="T68" fmla="*/ 18848 w 20000"/>
                  <a:gd name="T69" fmla="*/ 5900 h 20000"/>
                  <a:gd name="T70" fmla="*/ 18290 w 20000"/>
                  <a:gd name="T71" fmla="*/ 6958 h 20000"/>
                  <a:gd name="T72" fmla="*/ 18098 w 20000"/>
                  <a:gd name="T73" fmla="*/ 8863 h 20000"/>
                  <a:gd name="T74" fmla="*/ 18465 w 20000"/>
                  <a:gd name="T75" fmla="*/ 10953 h 20000"/>
                  <a:gd name="T76" fmla="*/ 17384 w 20000"/>
                  <a:gd name="T77" fmla="*/ 9990 h 20000"/>
                  <a:gd name="T78" fmla="*/ 17663 w 20000"/>
                  <a:gd name="T79" fmla="*/ 5756 h 20000"/>
                  <a:gd name="T80" fmla="*/ 17242 w 20000"/>
                  <a:gd name="T81" fmla="*/ 7060 h 20000"/>
                  <a:gd name="T82" fmla="*/ 16599 w 20000"/>
                  <a:gd name="T83" fmla="*/ 8720 h 20000"/>
                  <a:gd name="T84" fmla="*/ 15916 w 20000"/>
                  <a:gd name="T85" fmla="*/ 8904 h 20000"/>
                  <a:gd name="T86" fmla="*/ 15131 w 20000"/>
                  <a:gd name="T87" fmla="*/ 12571 h 20000"/>
                  <a:gd name="T88" fmla="*/ 15778 w 20000"/>
                  <a:gd name="T89" fmla="*/ 12714 h 20000"/>
                  <a:gd name="T90" fmla="*/ 15185 w 20000"/>
                  <a:gd name="T91" fmla="*/ 18334 h 20000"/>
                  <a:gd name="T92" fmla="*/ 15131 w 20000"/>
                  <a:gd name="T93" fmla="*/ 15575 h 20000"/>
                  <a:gd name="T94" fmla="*/ 13721 w 20000"/>
                  <a:gd name="T95" fmla="*/ 13424 h 20000"/>
                  <a:gd name="T96" fmla="*/ 12990 w 20000"/>
                  <a:gd name="T97" fmla="*/ 14906 h 20000"/>
                  <a:gd name="T98" fmla="*/ 11488 w 20000"/>
                  <a:gd name="T99" fmla="*/ 15541 h 20000"/>
                  <a:gd name="T100" fmla="*/ 10148 w 20000"/>
                  <a:gd name="T101" fmla="*/ 15753 h 20000"/>
                  <a:gd name="T102" fmla="*/ 8771 w 20000"/>
                  <a:gd name="T103" fmla="*/ 16217 h 20000"/>
                  <a:gd name="T104" fmla="*/ 4758 w 20000"/>
                  <a:gd name="T105" fmla="*/ 14660 h 20000"/>
                  <a:gd name="T106" fmla="*/ 3118 w 20000"/>
                  <a:gd name="T107" fmla="*/ 18791 h 20000"/>
                  <a:gd name="T108" fmla="*/ 2091 w 20000"/>
                  <a:gd name="T109" fmla="*/ 19078 h 20000"/>
                  <a:gd name="T110" fmla="*/ 1832 w 20000"/>
                  <a:gd name="T111" fmla="*/ 16886 h 20000"/>
                  <a:gd name="T112" fmla="*/ 455 w 20000"/>
                  <a:gd name="T113" fmla="*/ 13745 h 20000"/>
                  <a:gd name="T114" fmla="*/ 313 w 20000"/>
                  <a:gd name="T115" fmla="*/ 12332 h 20000"/>
                  <a:gd name="T116" fmla="*/ 276 w 20000"/>
                  <a:gd name="T117" fmla="*/ 99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138" y="7702"/>
                    </a:moveTo>
                    <a:lnTo>
                      <a:pt x="192" y="7702"/>
                    </a:lnTo>
                    <a:lnTo>
                      <a:pt x="259" y="7702"/>
                    </a:lnTo>
                    <a:lnTo>
                      <a:pt x="226" y="7661"/>
                    </a:lnTo>
                    <a:lnTo>
                      <a:pt x="488" y="7661"/>
                    </a:lnTo>
                    <a:lnTo>
                      <a:pt x="401" y="7702"/>
                    </a:lnTo>
                    <a:lnTo>
                      <a:pt x="542" y="7771"/>
                    </a:lnTo>
                    <a:lnTo>
                      <a:pt x="542" y="7948"/>
                    </a:lnTo>
                    <a:lnTo>
                      <a:pt x="556" y="7812"/>
                    </a:lnTo>
                    <a:lnTo>
                      <a:pt x="785" y="7812"/>
                    </a:lnTo>
                    <a:lnTo>
                      <a:pt x="1377" y="8262"/>
                    </a:lnTo>
                    <a:lnTo>
                      <a:pt x="1603" y="8692"/>
                    </a:lnTo>
                    <a:lnTo>
                      <a:pt x="1465" y="9082"/>
                    </a:lnTo>
                    <a:lnTo>
                      <a:pt x="1273" y="9252"/>
                    </a:lnTo>
                    <a:lnTo>
                      <a:pt x="488" y="8795"/>
                    </a:lnTo>
                    <a:lnTo>
                      <a:pt x="872" y="9430"/>
                    </a:lnTo>
                    <a:lnTo>
                      <a:pt x="852" y="9710"/>
                    </a:lnTo>
                    <a:lnTo>
                      <a:pt x="923" y="10174"/>
                    </a:lnTo>
                    <a:lnTo>
                      <a:pt x="1273" y="10454"/>
                    </a:lnTo>
                    <a:lnTo>
                      <a:pt x="1360" y="10386"/>
                    </a:lnTo>
                    <a:lnTo>
                      <a:pt x="1290" y="10174"/>
                    </a:lnTo>
                    <a:lnTo>
                      <a:pt x="1219" y="10099"/>
                    </a:lnTo>
                    <a:lnTo>
                      <a:pt x="1094" y="9894"/>
                    </a:lnTo>
                    <a:lnTo>
                      <a:pt x="1148" y="9710"/>
                    </a:lnTo>
                    <a:lnTo>
                      <a:pt x="1323" y="9894"/>
                    </a:lnTo>
                    <a:lnTo>
                      <a:pt x="1323" y="9990"/>
                    </a:lnTo>
                    <a:lnTo>
                      <a:pt x="1636" y="9990"/>
                    </a:lnTo>
                    <a:lnTo>
                      <a:pt x="1498" y="9464"/>
                    </a:lnTo>
                    <a:lnTo>
                      <a:pt x="1586" y="9252"/>
                    </a:lnTo>
                    <a:lnTo>
                      <a:pt x="1727" y="8972"/>
                    </a:lnTo>
                    <a:lnTo>
                      <a:pt x="1879" y="8972"/>
                    </a:lnTo>
                    <a:lnTo>
                      <a:pt x="2003" y="9150"/>
                    </a:lnTo>
                    <a:lnTo>
                      <a:pt x="2003" y="8720"/>
                    </a:lnTo>
                    <a:lnTo>
                      <a:pt x="1879" y="8549"/>
                    </a:lnTo>
                    <a:lnTo>
                      <a:pt x="1865" y="8051"/>
                    </a:lnTo>
                    <a:lnTo>
                      <a:pt x="1741" y="7948"/>
                    </a:lnTo>
                    <a:lnTo>
                      <a:pt x="2091" y="7982"/>
                    </a:lnTo>
                    <a:lnTo>
                      <a:pt x="2195" y="8228"/>
                    </a:lnTo>
                    <a:lnTo>
                      <a:pt x="2024" y="8330"/>
                    </a:lnTo>
                    <a:lnTo>
                      <a:pt x="2024" y="8440"/>
                    </a:lnTo>
                    <a:lnTo>
                      <a:pt x="2229" y="8720"/>
                    </a:lnTo>
                    <a:lnTo>
                      <a:pt x="2370" y="8617"/>
                    </a:lnTo>
                    <a:lnTo>
                      <a:pt x="2370" y="8330"/>
                    </a:lnTo>
                    <a:lnTo>
                      <a:pt x="2475" y="8262"/>
                    </a:lnTo>
                    <a:lnTo>
                      <a:pt x="2424" y="8160"/>
                    </a:lnTo>
                    <a:lnTo>
                      <a:pt x="2788" y="7771"/>
                    </a:lnTo>
                    <a:lnTo>
                      <a:pt x="2842" y="7948"/>
                    </a:lnTo>
                    <a:lnTo>
                      <a:pt x="2875" y="7812"/>
                    </a:lnTo>
                    <a:lnTo>
                      <a:pt x="2822" y="7771"/>
                    </a:lnTo>
                    <a:lnTo>
                      <a:pt x="2980" y="7525"/>
                    </a:lnTo>
                    <a:lnTo>
                      <a:pt x="3051" y="7525"/>
                    </a:lnTo>
                    <a:lnTo>
                      <a:pt x="2966" y="7593"/>
                    </a:lnTo>
                    <a:lnTo>
                      <a:pt x="3013" y="7812"/>
                    </a:lnTo>
                    <a:lnTo>
                      <a:pt x="2966" y="7982"/>
                    </a:lnTo>
                    <a:lnTo>
                      <a:pt x="2980" y="8051"/>
                    </a:lnTo>
                    <a:lnTo>
                      <a:pt x="3104" y="7880"/>
                    </a:lnTo>
                    <a:lnTo>
                      <a:pt x="3155" y="7948"/>
                    </a:lnTo>
                    <a:lnTo>
                      <a:pt x="3155" y="7702"/>
                    </a:lnTo>
                    <a:lnTo>
                      <a:pt x="3242" y="7661"/>
                    </a:lnTo>
                    <a:lnTo>
                      <a:pt x="3380" y="7661"/>
                    </a:lnTo>
                    <a:lnTo>
                      <a:pt x="3606" y="7422"/>
                    </a:lnTo>
                    <a:lnTo>
                      <a:pt x="3660" y="7702"/>
                    </a:lnTo>
                    <a:lnTo>
                      <a:pt x="3710" y="7702"/>
                    </a:lnTo>
                    <a:lnTo>
                      <a:pt x="3710" y="7525"/>
                    </a:lnTo>
                    <a:lnTo>
                      <a:pt x="3801" y="7422"/>
                    </a:lnTo>
                    <a:lnTo>
                      <a:pt x="3660" y="7060"/>
                    </a:lnTo>
                    <a:lnTo>
                      <a:pt x="3697" y="6958"/>
                    </a:lnTo>
                    <a:lnTo>
                      <a:pt x="4219" y="7060"/>
                    </a:lnTo>
                    <a:lnTo>
                      <a:pt x="4569" y="7238"/>
                    </a:lnTo>
                    <a:lnTo>
                      <a:pt x="4758" y="7525"/>
                    </a:lnTo>
                    <a:lnTo>
                      <a:pt x="4791" y="7129"/>
                    </a:lnTo>
                    <a:lnTo>
                      <a:pt x="4586" y="7033"/>
                    </a:lnTo>
                    <a:lnTo>
                      <a:pt x="4586" y="6849"/>
                    </a:lnTo>
                    <a:lnTo>
                      <a:pt x="4428" y="6849"/>
                    </a:lnTo>
                    <a:lnTo>
                      <a:pt x="4391" y="6671"/>
                    </a:lnTo>
                    <a:lnTo>
                      <a:pt x="4428" y="6671"/>
                    </a:lnTo>
                    <a:lnTo>
                      <a:pt x="4444" y="6637"/>
                    </a:lnTo>
                    <a:lnTo>
                      <a:pt x="4377" y="6221"/>
                    </a:lnTo>
                    <a:lnTo>
                      <a:pt x="4306" y="6323"/>
                    </a:lnTo>
                    <a:lnTo>
                      <a:pt x="4306" y="6111"/>
                    </a:lnTo>
                    <a:lnTo>
                      <a:pt x="4253" y="6180"/>
                    </a:lnTo>
                    <a:lnTo>
                      <a:pt x="4290" y="6002"/>
                    </a:lnTo>
                    <a:lnTo>
                      <a:pt x="4377" y="5900"/>
                    </a:lnTo>
                    <a:lnTo>
                      <a:pt x="4391" y="5579"/>
                    </a:lnTo>
                    <a:lnTo>
                      <a:pt x="4343" y="5012"/>
                    </a:lnTo>
                    <a:lnTo>
                      <a:pt x="4758" y="5012"/>
                    </a:lnTo>
                    <a:lnTo>
                      <a:pt x="4811" y="5299"/>
                    </a:lnTo>
                    <a:lnTo>
                      <a:pt x="4811" y="5722"/>
                    </a:lnTo>
                    <a:lnTo>
                      <a:pt x="4983" y="6043"/>
                    </a:lnTo>
                    <a:lnTo>
                      <a:pt x="5212" y="7060"/>
                    </a:lnTo>
                    <a:lnTo>
                      <a:pt x="5387" y="7204"/>
                    </a:lnTo>
                    <a:lnTo>
                      <a:pt x="5316" y="7313"/>
                    </a:lnTo>
                    <a:lnTo>
                      <a:pt x="5387" y="7593"/>
                    </a:lnTo>
                    <a:lnTo>
                      <a:pt x="5266" y="7982"/>
                    </a:lnTo>
                    <a:lnTo>
                      <a:pt x="5300" y="8119"/>
                    </a:lnTo>
                    <a:lnTo>
                      <a:pt x="5178" y="8228"/>
                    </a:lnTo>
                    <a:lnTo>
                      <a:pt x="5074" y="8051"/>
                    </a:lnTo>
                    <a:lnTo>
                      <a:pt x="4933" y="8160"/>
                    </a:lnTo>
                    <a:lnTo>
                      <a:pt x="5162" y="8330"/>
                    </a:lnTo>
                    <a:lnTo>
                      <a:pt x="5438" y="8262"/>
                    </a:lnTo>
                    <a:lnTo>
                      <a:pt x="5404" y="8119"/>
                    </a:lnTo>
                    <a:lnTo>
                      <a:pt x="5542" y="7880"/>
                    </a:lnTo>
                    <a:lnTo>
                      <a:pt x="5576" y="7525"/>
                    </a:lnTo>
                    <a:lnTo>
                      <a:pt x="5438" y="7060"/>
                    </a:lnTo>
                    <a:lnTo>
                      <a:pt x="5667" y="6849"/>
                    </a:lnTo>
                    <a:lnTo>
                      <a:pt x="5805" y="7033"/>
                    </a:lnTo>
                    <a:lnTo>
                      <a:pt x="5859" y="7422"/>
                    </a:lnTo>
                    <a:lnTo>
                      <a:pt x="6118" y="7491"/>
                    </a:lnTo>
                    <a:lnTo>
                      <a:pt x="5912" y="7422"/>
                    </a:lnTo>
                    <a:lnTo>
                      <a:pt x="5892" y="7204"/>
                    </a:lnTo>
                    <a:lnTo>
                      <a:pt x="5912" y="7129"/>
                    </a:lnTo>
                    <a:lnTo>
                      <a:pt x="5805" y="6849"/>
                    </a:lnTo>
                    <a:lnTo>
                      <a:pt x="5525" y="6740"/>
                    </a:lnTo>
                    <a:lnTo>
                      <a:pt x="5316" y="6924"/>
                    </a:lnTo>
                    <a:lnTo>
                      <a:pt x="5212" y="6501"/>
                    </a:lnTo>
                    <a:lnTo>
                      <a:pt x="5178" y="6002"/>
                    </a:lnTo>
                    <a:lnTo>
                      <a:pt x="4949" y="5722"/>
                    </a:lnTo>
                    <a:lnTo>
                      <a:pt x="4949" y="5469"/>
                    </a:lnTo>
                    <a:lnTo>
                      <a:pt x="5037" y="5367"/>
                    </a:lnTo>
                    <a:lnTo>
                      <a:pt x="4983" y="4841"/>
                    </a:lnTo>
                    <a:lnTo>
                      <a:pt x="5162" y="5189"/>
                    </a:lnTo>
                    <a:lnTo>
                      <a:pt x="5162" y="5442"/>
                    </a:lnTo>
                    <a:lnTo>
                      <a:pt x="5212" y="5654"/>
                    </a:lnTo>
                    <a:lnTo>
                      <a:pt x="5316" y="5722"/>
                    </a:lnTo>
                    <a:lnTo>
                      <a:pt x="5721" y="5831"/>
                    </a:lnTo>
                    <a:lnTo>
                      <a:pt x="5246" y="5367"/>
                    </a:lnTo>
                    <a:lnTo>
                      <a:pt x="5266" y="5258"/>
                    </a:lnTo>
                    <a:lnTo>
                      <a:pt x="5492" y="5258"/>
                    </a:lnTo>
                    <a:lnTo>
                      <a:pt x="5387" y="5189"/>
                    </a:lnTo>
                    <a:lnTo>
                      <a:pt x="5438" y="5012"/>
                    </a:lnTo>
                    <a:lnTo>
                      <a:pt x="5542" y="4978"/>
                    </a:lnTo>
                    <a:lnTo>
                      <a:pt x="5859" y="5189"/>
                    </a:lnTo>
                    <a:lnTo>
                      <a:pt x="6084" y="5189"/>
                    </a:lnTo>
                    <a:lnTo>
                      <a:pt x="6084" y="5367"/>
                    </a:lnTo>
                    <a:lnTo>
                      <a:pt x="6030" y="5442"/>
                    </a:lnTo>
                    <a:lnTo>
                      <a:pt x="6051" y="5579"/>
                    </a:lnTo>
                    <a:lnTo>
                      <a:pt x="6135" y="5756"/>
                    </a:lnTo>
                    <a:lnTo>
                      <a:pt x="6135" y="5654"/>
                    </a:lnTo>
                    <a:lnTo>
                      <a:pt x="6222" y="6043"/>
                    </a:lnTo>
                    <a:lnTo>
                      <a:pt x="6347" y="6111"/>
                    </a:lnTo>
                    <a:lnTo>
                      <a:pt x="6505" y="6221"/>
                    </a:lnTo>
                    <a:lnTo>
                      <a:pt x="6572" y="6111"/>
                    </a:lnTo>
                    <a:lnTo>
                      <a:pt x="6347" y="6043"/>
                    </a:lnTo>
                    <a:lnTo>
                      <a:pt x="6259" y="5934"/>
                    </a:lnTo>
                    <a:lnTo>
                      <a:pt x="6313" y="5756"/>
                    </a:lnTo>
                    <a:lnTo>
                      <a:pt x="6135" y="5469"/>
                    </a:lnTo>
                    <a:lnTo>
                      <a:pt x="6084" y="5162"/>
                    </a:lnTo>
                    <a:lnTo>
                      <a:pt x="5980" y="5087"/>
                    </a:lnTo>
                    <a:lnTo>
                      <a:pt x="5892" y="4910"/>
                    </a:lnTo>
                    <a:lnTo>
                      <a:pt x="5684" y="4841"/>
                    </a:lnTo>
                    <a:lnTo>
                      <a:pt x="5542" y="4561"/>
                    </a:lnTo>
                    <a:lnTo>
                      <a:pt x="5492" y="4268"/>
                    </a:lnTo>
                    <a:lnTo>
                      <a:pt x="6135" y="3878"/>
                    </a:lnTo>
                    <a:lnTo>
                      <a:pt x="6168" y="3960"/>
                    </a:lnTo>
                    <a:lnTo>
                      <a:pt x="6135" y="4063"/>
                    </a:lnTo>
                    <a:lnTo>
                      <a:pt x="6222" y="3988"/>
                    </a:lnTo>
                    <a:lnTo>
                      <a:pt x="6118" y="3708"/>
                    </a:lnTo>
                    <a:lnTo>
                      <a:pt x="6222" y="3776"/>
                    </a:lnTo>
                    <a:lnTo>
                      <a:pt x="6209" y="3708"/>
                    </a:lnTo>
                    <a:lnTo>
                      <a:pt x="5946" y="3598"/>
                    </a:lnTo>
                    <a:lnTo>
                      <a:pt x="6051" y="3496"/>
                    </a:lnTo>
                    <a:lnTo>
                      <a:pt x="5912" y="3428"/>
                    </a:lnTo>
                    <a:lnTo>
                      <a:pt x="5912" y="3319"/>
                    </a:lnTo>
                    <a:lnTo>
                      <a:pt x="5980" y="3319"/>
                    </a:lnTo>
                    <a:lnTo>
                      <a:pt x="5997" y="3141"/>
                    </a:lnTo>
                    <a:lnTo>
                      <a:pt x="6051" y="3141"/>
                    </a:lnTo>
                    <a:lnTo>
                      <a:pt x="5912" y="3073"/>
                    </a:lnTo>
                    <a:lnTo>
                      <a:pt x="6051" y="3073"/>
                    </a:lnTo>
                    <a:lnTo>
                      <a:pt x="6084" y="2684"/>
                    </a:lnTo>
                    <a:lnTo>
                      <a:pt x="6118" y="2786"/>
                    </a:lnTo>
                    <a:lnTo>
                      <a:pt x="6209" y="2608"/>
                    </a:lnTo>
                    <a:lnTo>
                      <a:pt x="6397" y="2581"/>
                    </a:lnTo>
                    <a:lnTo>
                      <a:pt x="6397" y="2472"/>
                    </a:lnTo>
                    <a:lnTo>
                      <a:pt x="6589" y="2301"/>
                    </a:lnTo>
                    <a:lnTo>
                      <a:pt x="6451" y="2219"/>
                    </a:lnTo>
                    <a:lnTo>
                      <a:pt x="6623" y="2117"/>
                    </a:lnTo>
                    <a:lnTo>
                      <a:pt x="6801" y="2048"/>
                    </a:lnTo>
                    <a:lnTo>
                      <a:pt x="6801" y="2219"/>
                    </a:lnTo>
                    <a:lnTo>
                      <a:pt x="6902" y="2117"/>
                    </a:lnTo>
                    <a:lnTo>
                      <a:pt x="6902" y="2219"/>
                    </a:lnTo>
                    <a:lnTo>
                      <a:pt x="6953" y="2048"/>
                    </a:lnTo>
                    <a:lnTo>
                      <a:pt x="6993" y="2048"/>
                    </a:lnTo>
                    <a:lnTo>
                      <a:pt x="7007" y="1728"/>
                    </a:lnTo>
                    <a:lnTo>
                      <a:pt x="7044" y="1871"/>
                    </a:lnTo>
                    <a:lnTo>
                      <a:pt x="7131" y="1837"/>
                    </a:lnTo>
                    <a:lnTo>
                      <a:pt x="6902" y="1482"/>
                    </a:lnTo>
                    <a:lnTo>
                      <a:pt x="7044" y="1550"/>
                    </a:lnTo>
                    <a:lnTo>
                      <a:pt x="7165" y="1407"/>
                    </a:lnTo>
                    <a:lnTo>
                      <a:pt x="7357" y="1482"/>
                    </a:lnTo>
                    <a:lnTo>
                      <a:pt x="7357" y="1202"/>
                    </a:lnTo>
                    <a:lnTo>
                      <a:pt x="7236" y="1379"/>
                    </a:lnTo>
                    <a:lnTo>
                      <a:pt x="7165" y="1311"/>
                    </a:lnTo>
                    <a:lnTo>
                      <a:pt x="7044" y="1093"/>
                    </a:lnTo>
                    <a:lnTo>
                      <a:pt x="7007" y="457"/>
                    </a:lnTo>
                    <a:lnTo>
                      <a:pt x="7077" y="348"/>
                    </a:lnTo>
                    <a:lnTo>
                      <a:pt x="7215" y="389"/>
                    </a:lnTo>
                    <a:lnTo>
                      <a:pt x="7269" y="560"/>
                    </a:lnTo>
                    <a:lnTo>
                      <a:pt x="7182" y="737"/>
                    </a:lnTo>
                    <a:lnTo>
                      <a:pt x="7303" y="813"/>
                    </a:lnTo>
                    <a:lnTo>
                      <a:pt x="7323" y="737"/>
                    </a:lnTo>
                    <a:lnTo>
                      <a:pt x="7374" y="813"/>
                    </a:lnTo>
                    <a:lnTo>
                      <a:pt x="7407" y="990"/>
                    </a:lnTo>
                    <a:lnTo>
                      <a:pt x="7461" y="847"/>
                    </a:lnTo>
                    <a:lnTo>
                      <a:pt x="7549" y="990"/>
                    </a:lnTo>
                    <a:lnTo>
                      <a:pt x="7586" y="1311"/>
                    </a:lnTo>
                    <a:lnTo>
                      <a:pt x="7670" y="1202"/>
                    </a:lnTo>
                    <a:lnTo>
                      <a:pt x="7636" y="1017"/>
                    </a:lnTo>
                    <a:lnTo>
                      <a:pt x="7862" y="847"/>
                    </a:lnTo>
                    <a:lnTo>
                      <a:pt x="7949" y="990"/>
                    </a:lnTo>
                    <a:lnTo>
                      <a:pt x="7949" y="847"/>
                    </a:lnTo>
                    <a:lnTo>
                      <a:pt x="8141" y="737"/>
                    </a:lnTo>
                    <a:lnTo>
                      <a:pt x="8455" y="915"/>
                    </a:lnTo>
                    <a:lnTo>
                      <a:pt x="8508" y="1017"/>
                    </a:lnTo>
                    <a:lnTo>
                      <a:pt x="8508" y="915"/>
                    </a:lnTo>
                    <a:lnTo>
                      <a:pt x="8680" y="1093"/>
                    </a:lnTo>
                    <a:lnTo>
                      <a:pt x="8700" y="1379"/>
                    </a:lnTo>
                    <a:lnTo>
                      <a:pt x="8542" y="1270"/>
                    </a:lnTo>
                    <a:lnTo>
                      <a:pt x="8630" y="1482"/>
                    </a:lnTo>
                    <a:lnTo>
                      <a:pt x="8680" y="1407"/>
                    </a:lnTo>
                    <a:lnTo>
                      <a:pt x="8785" y="1550"/>
                    </a:lnTo>
                    <a:lnTo>
                      <a:pt x="8771" y="1939"/>
                    </a:lnTo>
                    <a:lnTo>
                      <a:pt x="8785" y="2008"/>
                    </a:lnTo>
                    <a:lnTo>
                      <a:pt x="8700" y="2048"/>
                    </a:lnTo>
                    <a:lnTo>
                      <a:pt x="8680" y="2328"/>
                    </a:lnTo>
                    <a:lnTo>
                      <a:pt x="8542" y="2397"/>
                    </a:lnTo>
                    <a:lnTo>
                      <a:pt x="8630" y="2472"/>
                    </a:lnTo>
                    <a:lnTo>
                      <a:pt x="8404" y="2970"/>
                    </a:lnTo>
                    <a:lnTo>
                      <a:pt x="8316" y="2970"/>
                    </a:lnTo>
                    <a:lnTo>
                      <a:pt x="8333" y="3039"/>
                    </a:lnTo>
                    <a:lnTo>
                      <a:pt x="8316" y="3530"/>
                    </a:lnTo>
                    <a:lnTo>
                      <a:pt x="8475" y="3428"/>
                    </a:lnTo>
                    <a:lnTo>
                      <a:pt x="8404" y="3360"/>
                    </a:lnTo>
                    <a:lnTo>
                      <a:pt x="8542" y="3141"/>
                    </a:lnTo>
                    <a:lnTo>
                      <a:pt x="8562" y="3209"/>
                    </a:lnTo>
                    <a:lnTo>
                      <a:pt x="8562" y="3073"/>
                    </a:lnTo>
                    <a:lnTo>
                      <a:pt x="8700" y="3039"/>
                    </a:lnTo>
                    <a:lnTo>
                      <a:pt x="8680" y="2895"/>
                    </a:lnTo>
                    <a:lnTo>
                      <a:pt x="8818" y="2970"/>
                    </a:lnTo>
                    <a:lnTo>
                      <a:pt x="8963" y="2684"/>
                    </a:lnTo>
                    <a:lnTo>
                      <a:pt x="8818" y="2684"/>
                    </a:lnTo>
                    <a:lnTo>
                      <a:pt x="8700" y="2786"/>
                    </a:lnTo>
                    <a:lnTo>
                      <a:pt x="8680" y="2684"/>
                    </a:lnTo>
                    <a:lnTo>
                      <a:pt x="8700" y="2506"/>
                    </a:lnTo>
                    <a:lnTo>
                      <a:pt x="8963" y="2472"/>
                    </a:lnTo>
                    <a:lnTo>
                      <a:pt x="8963" y="2581"/>
                    </a:lnTo>
                    <a:lnTo>
                      <a:pt x="9101" y="2581"/>
                    </a:lnTo>
                    <a:lnTo>
                      <a:pt x="9101" y="2472"/>
                    </a:lnTo>
                    <a:lnTo>
                      <a:pt x="9205" y="2581"/>
                    </a:lnTo>
                    <a:lnTo>
                      <a:pt x="9327" y="2895"/>
                    </a:lnTo>
                    <a:lnTo>
                      <a:pt x="9380" y="2752"/>
                    </a:lnTo>
                    <a:lnTo>
                      <a:pt x="9273" y="2608"/>
                    </a:lnTo>
                    <a:lnTo>
                      <a:pt x="9414" y="2506"/>
                    </a:lnTo>
                    <a:lnTo>
                      <a:pt x="9781" y="2328"/>
                    </a:lnTo>
                    <a:lnTo>
                      <a:pt x="9798" y="2397"/>
                    </a:lnTo>
                    <a:lnTo>
                      <a:pt x="9747" y="2472"/>
                    </a:lnTo>
                    <a:lnTo>
                      <a:pt x="9781" y="2581"/>
                    </a:lnTo>
                    <a:lnTo>
                      <a:pt x="10007" y="2581"/>
                    </a:lnTo>
                    <a:lnTo>
                      <a:pt x="9973" y="2506"/>
                    </a:lnTo>
                    <a:lnTo>
                      <a:pt x="10057" y="2472"/>
                    </a:lnTo>
                    <a:lnTo>
                      <a:pt x="10236" y="2397"/>
                    </a:lnTo>
                    <a:lnTo>
                      <a:pt x="10340" y="2151"/>
                    </a:lnTo>
                    <a:lnTo>
                      <a:pt x="10148" y="2048"/>
                    </a:lnTo>
                    <a:lnTo>
                      <a:pt x="10148" y="1871"/>
                    </a:lnTo>
                    <a:lnTo>
                      <a:pt x="10202" y="1939"/>
                    </a:lnTo>
                    <a:lnTo>
                      <a:pt x="10202" y="1837"/>
                    </a:lnTo>
                    <a:lnTo>
                      <a:pt x="10286" y="1728"/>
                    </a:lnTo>
                    <a:lnTo>
                      <a:pt x="10428" y="1837"/>
                    </a:lnTo>
                    <a:lnTo>
                      <a:pt x="10933" y="1769"/>
                    </a:lnTo>
                    <a:lnTo>
                      <a:pt x="10966" y="1871"/>
                    </a:lnTo>
                    <a:lnTo>
                      <a:pt x="10879" y="2008"/>
                    </a:lnTo>
                    <a:lnTo>
                      <a:pt x="10896" y="2117"/>
                    </a:lnTo>
                    <a:lnTo>
                      <a:pt x="10791" y="2397"/>
                    </a:lnTo>
                    <a:lnTo>
                      <a:pt x="10896" y="2608"/>
                    </a:lnTo>
                    <a:lnTo>
                      <a:pt x="10966" y="2608"/>
                    </a:lnTo>
                    <a:lnTo>
                      <a:pt x="10879" y="2397"/>
                    </a:lnTo>
                    <a:lnTo>
                      <a:pt x="11246" y="2608"/>
                    </a:lnTo>
                    <a:lnTo>
                      <a:pt x="11246" y="2472"/>
                    </a:lnTo>
                    <a:lnTo>
                      <a:pt x="11350" y="2581"/>
                    </a:lnTo>
                    <a:lnTo>
                      <a:pt x="11296" y="2684"/>
                    </a:lnTo>
                    <a:lnTo>
                      <a:pt x="11751" y="3039"/>
                    </a:lnTo>
                    <a:lnTo>
                      <a:pt x="11785" y="2970"/>
                    </a:lnTo>
                    <a:lnTo>
                      <a:pt x="11751" y="2608"/>
                    </a:lnTo>
                    <a:lnTo>
                      <a:pt x="11626" y="2219"/>
                    </a:lnTo>
                    <a:lnTo>
                      <a:pt x="11889" y="2472"/>
                    </a:lnTo>
                    <a:lnTo>
                      <a:pt x="11993" y="2397"/>
                    </a:lnTo>
                    <a:lnTo>
                      <a:pt x="12081" y="2151"/>
                    </a:lnTo>
                    <a:lnTo>
                      <a:pt x="12431" y="2301"/>
                    </a:lnTo>
                    <a:lnTo>
                      <a:pt x="12364" y="2048"/>
                    </a:lnTo>
                    <a:lnTo>
                      <a:pt x="12397" y="1939"/>
                    </a:lnTo>
                    <a:lnTo>
                      <a:pt x="12515" y="2048"/>
                    </a:lnTo>
                    <a:lnTo>
                      <a:pt x="12569" y="1871"/>
                    </a:lnTo>
                    <a:lnTo>
                      <a:pt x="12397" y="1769"/>
                    </a:lnTo>
                    <a:lnTo>
                      <a:pt x="12431" y="1728"/>
                    </a:lnTo>
                    <a:lnTo>
                      <a:pt x="12364" y="1591"/>
                    </a:lnTo>
                    <a:lnTo>
                      <a:pt x="12310" y="1659"/>
                    </a:lnTo>
                    <a:lnTo>
                      <a:pt x="12256" y="1482"/>
                    </a:lnTo>
                    <a:lnTo>
                      <a:pt x="12397" y="1379"/>
                    </a:lnTo>
                    <a:lnTo>
                      <a:pt x="12256" y="1127"/>
                    </a:lnTo>
                    <a:lnTo>
                      <a:pt x="12256" y="1093"/>
                    </a:lnTo>
                    <a:lnTo>
                      <a:pt x="13040" y="990"/>
                    </a:lnTo>
                    <a:lnTo>
                      <a:pt x="13108" y="1093"/>
                    </a:lnTo>
                    <a:lnTo>
                      <a:pt x="12936" y="1017"/>
                    </a:lnTo>
                    <a:lnTo>
                      <a:pt x="12902" y="1270"/>
                    </a:lnTo>
                    <a:lnTo>
                      <a:pt x="13024" y="1127"/>
                    </a:lnTo>
                    <a:lnTo>
                      <a:pt x="13074" y="1270"/>
                    </a:lnTo>
                    <a:lnTo>
                      <a:pt x="12990" y="1311"/>
                    </a:lnTo>
                    <a:lnTo>
                      <a:pt x="13108" y="1482"/>
                    </a:lnTo>
                    <a:lnTo>
                      <a:pt x="13128" y="915"/>
                    </a:lnTo>
                    <a:lnTo>
                      <a:pt x="13444" y="847"/>
                    </a:lnTo>
                    <a:lnTo>
                      <a:pt x="13545" y="990"/>
                    </a:lnTo>
                    <a:lnTo>
                      <a:pt x="13545" y="1017"/>
                    </a:lnTo>
                    <a:lnTo>
                      <a:pt x="13407" y="990"/>
                    </a:lnTo>
                    <a:lnTo>
                      <a:pt x="13444" y="1093"/>
                    </a:lnTo>
                    <a:lnTo>
                      <a:pt x="13754" y="1202"/>
                    </a:lnTo>
                    <a:lnTo>
                      <a:pt x="13774" y="1379"/>
                    </a:lnTo>
                    <a:lnTo>
                      <a:pt x="13808" y="1202"/>
                    </a:lnTo>
                    <a:lnTo>
                      <a:pt x="14051" y="1311"/>
                    </a:lnTo>
                    <a:lnTo>
                      <a:pt x="14000" y="1379"/>
                    </a:lnTo>
                    <a:lnTo>
                      <a:pt x="14175" y="1407"/>
                    </a:lnTo>
                    <a:lnTo>
                      <a:pt x="14505" y="915"/>
                    </a:lnTo>
                    <a:lnTo>
                      <a:pt x="14785" y="847"/>
                    </a:lnTo>
                    <a:lnTo>
                      <a:pt x="15081" y="990"/>
                    </a:lnTo>
                    <a:lnTo>
                      <a:pt x="15273" y="1407"/>
                    </a:lnTo>
                    <a:lnTo>
                      <a:pt x="15502" y="1550"/>
                    </a:lnTo>
                    <a:lnTo>
                      <a:pt x="15502" y="1379"/>
                    </a:lnTo>
                    <a:lnTo>
                      <a:pt x="15586" y="1550"/>
                    </a:lnTo>
                    <a:lnTo>
                      <a:pt x="15586" y="1311"/>
                    </a:lnTo>
                    <a:lnTo>
                      <a:pt x="15778" y="1093"/>
                    </a:lnTo>
                    <a:lnTo>
                      <a:pt x="15916" y="1127"/>
                    </a:lnTo>
                    <a:lnTo>
                      <a:pt x="16145" y="1017"/>
                    </a:lnTo>
                    <a:lnTo>
                      <a:pt x="16178" y="813"/>
                    </a:lnTo>
                    <a:lnTo>
                      <a:pt x="16404" y="1017"/>
                    </a:lnTo>
                    <a:lnTo>
                      <a:pt x="16791" y="1127"/>
                    </a:lnTo>
                    <a:lnTo>
                      <a:pt x="16700" y="847"/>
                    </a:lnTo>
                    <a:lnTo>
                      <a:pt x="16562" y="635"/>
                    </a:lnTo>
                    <a:lnTo>
                      <a:pt x="16475" y="669"/>
                    </a:lnTo>
                    <a:lnTo>
                      <a:pt x="16475" y="526"/>
                    </a:lnTo>
                    <a:lnTo>
                      <a:pt x="16370" y="280"/>
                    </a:lnTo>
                    <a:lnTo>
                      <a:pt x="16771" y="280"/>
                    </a:lnTo>
                    <a:lnTo>
                      <a:pt x="17017" y="0"/>
                    </a:lnTo>
                    <a:lnTo>
                      <a:pt x="17101" y="68"/>
                    </a:lnTo>
                    <a:lnTo>
                      <a:pt x="17067" y="0"/>
                    </a:lnTo>
                    <a:lnTo>
                      <a:pt x="17801" y="178"/>
                    </a:lnTo>
                    <a:lnTo>
                      <a:pt x="17835" y="68"/>
                    </a:lnTo>
                    <a:lnTo>
                      <a:pt x="18098" y="280"/>
                    </a:lnTo>
                    <a:lnTo>
                      <a:pt x="18532" y="457"/>
                    </a:lnTo>
                    <a:lnTo>
                      <a:pt x="18670" y="635"/>
                    </a:lnTo>
                    <a:lnTo>
                      <a:pt x="18657" y="526"/>
                    </a:lnTo>
                    <a:lnTo>
                      <a:pt x="18882" y="669"/>
                    </a:lnTo>
                    <a:lnTo>
                      <a:pt x="19074" y="1093"/>
                    </a:lnTo>
                    <a:lnTo>
                      <a:pt x="19249" y="1270"/>
                    </a:lnTo>
                    <a:lnTo>
                      <a:pt x="19249" y="1127"/>
                    </a:lnTo>
                    <a:lnTo>
                      <a:pt x="19303" y="1311"/>
                    </a:lnTo>
                    <a:lnTo>
                      <a:pt x="19249" y="1017"/>
                    </a:lnTo>
                    <a:lnTo>
                      <a:pt x="19020" y="737"/>
                    </a:lnTo>
                    <a:lnTo>
                      <a:pt x="19108" y="737"/>
                    </a:lnTo>
                    <a:lnTo>
                      <a:pt x="19212" y="813"/>
                    </a:lnTo>
                    <a:lnTo>
                      <a:pt x="19266" y="737"/>
                    </a:lnTo>
                    <a:lnTo>
                      <a:pt x="19212" y="669"/>
                    </a:lnTo>
                    <a:lnTo>
                      <a:pt x="19354" y="635"/>
                    </a:lnTo>
                    <a:lnTo>
                      <a:pt x="19859" y="990"/>
                    </a:lnTo>
                    <a:lnTo>
                      <a:pt x="19805" y="1270"/>
                    </a:lnTo>
                    <a:lnTo>
                      <a:pt x="19896" y="1482"/>
                    </a:lnTo>
                    <a:lnTo>
                      <a:pt x="19700" y="1311"/>
                    </a:lnTo>
                    <a:lnTo>
                      <a:pt x="19859" y="1659"/>
                    </a:lnTo>
                    <a:lnTo>
                      <a:pt x="19579" y="1591"/>
                    </a:lnTo>
                    <a:lnTo>
                      <a:pt x="19717" y="1728"/>
                    </a:lnTo>
                    <a:lnTo>
                      <a:pt x="19751" y="1837"/>
                    </a:lnTo>
                    <a:lnTo>
                      <a:pt x="19717" y="1939"/>
                    </a:lnTo>
                    <a:lnTo>
                      <a:pt x="19842" y="2048"/>
                    </a:lnTo>
                    <a:lnTo>
                      <a:pt x="19791" y="2328"/>
                    </a:lnTo>
                    <a:lnTo>
                      <a:pt x="19997" y="2581"/>
                    </a:lnTo>
                    <a:lnTo>
                      <a:pt x="19929" y="2506"/>
                    </a:lnTo>
                    <a:lnTo>
                      <a:pt x="19943" y="2752"/>
                    </a:lnTo>
                    <a:lnTo>
                      <a:pt x="19805" y="2506"/>
                    </a:lnTo>
                    <a:lnTo>
                      <a:pt x="19859" y="2752"/>
                    </a:lnTo>
                    <a:lnTo>
                      <a:pt x="19579" y="2397"/>
                    </a:lnTo>
                    <a:lnTo>
                      <a:pt x="19562" y="2506"/>
                    </a:lnTo>
                    <a:lnTo>
                      <a:pt x="19421" y="2397"/>
                    </a:lnTo>
                    <a:lnTo>
                      <a:pt x="19266" y="2048"/>
                    </a:lnTo>
                    <a:lnTo>
                      <a:pt x="19125" y="2048"/>
                    </a:lnTo>
                    <a:lnTo>
                      <a:pt x="19108" y="1939"/>
                    </a:lnTo>
                    <a:lnTo>
                      <a:pt x="19108" y="2151"/>
                    </a:lnTo>
                    <a:lnTo>
                      <a:pt x="18966" y="2219"/>
                    </a:lnTo>
                    <a:lnTo>
                      <a:pt x="18795" y="1939"/>
                    </a:lnTo>
                    <a:lnTo>
                      <a:pt x="18710" y="1550"/>
                    </a:lnTo>
                    <a:lnTo>
                      <a:pt x="18744" y="1769"/>
                    </a:lnTo>
                    <a:lnTo>
                      <a:pt x="18657" y="1659"/>
                    </a:lnTo>
                    <a:lnTo>
                      <a:pt x="18670" y="1769"/>
                    </a:lnTo>
                    <a:lnTo>
                      <a:pt x="18657" y="1837"/>
                    </a:lnTo>
                    <a:lnTo>
                      <a:pt x="18882" y="2328"/>
                    </a:lnTo>
                    <a:lnTo>
                      <a:pt x="18899" y="2970"/>
                    </a:lnTo>
                    <a:lnTo>
                      <a:pt x="18882" y="3209"/>
                    </a:lnTo>
                    <a:lnTo>
                      <a:pt x="18848" y="3141"/>
                    </a:lnTo>
                    <a:lnTo>
                      <a:pt x="18761" y="3209"/>
                    </a:lnTo>
                    <a:lnTo>
                      <a:pt x="18532" y="2970"/>
                    </a:lnTo>
                    <a:lnTo>
                      <a:pt x="18481" y="3073"/>
                    </a:lnTo>
                    <a:lnTo>
                      <a:pt x="18603" y="3039"/>
                    </a:lnTo>
                    <a:lnTo>
                      <a:pt x="18620" y="3141"/>
                    </a:lnTo>
                    <a:lnTo>
                      <a:pt x="18519" y="3141"/>
                    </a:lnTo>
                    <a:lnTo>
                      <a:pt x="18566" y="3496"/>
                    </a:lnTo>
                    <a:lnTo>
                      <a:pt x="18657" y="3209"/>
                    </a:lnTo>
                    <a:lnTo>
                      <a:pt x="18828" y="3496"/>
                    </a:lnTo>
                    <a:lnTo>
                      <a:pt x="18882" y="3360"/>
                    </a:lnTo>
                    <a:lnTo>
                      <a:pt x="18966" y="3530"/>
                    </a:lnTo>
                    <a:lnTo>
                      <a:pt x="18966" y="3639"/>
                    </a:lnTo>
                    <a:lnTo>
                      <a:pt x="19020" y="3639"/>
                    </a:lnTo>
                    <a:lnTo>
                      <a:pt x="19108" y="3878"/>
                    </a:lnTo>
                    <a:lnTo>
                      <a:pt x="19074" y="3878"/>
                    </a:lnTo>
                    <a:lnTo>
                      <a:pt x="19074" y="3988"/>
                    </a:lnTo>
                    <a:lnTo>
                      <a:pt x="19125" y="3988"/>
                    </a:lnTo>
                    <a:lnTo>
                      <a:pt x="19421" y="4452"/>
                    </a:lnTo>
                    <a:lnTo>
                      <a:pt x="19441" y="4841"/>
                    </a:lnTo>
                    <a:lnTo>
                      <a:pt x="19158" y="4630"/>
                    </a:lnTo>
                    <a:lnTo>
                      <a:pt x="19195" y="4800"/>
                    </a:lnTo>
                    <a:lnTo>
                      <a:pt x="18987" y="5189"/>
                    </a:lnTo>
                    <a:lnTo>
                      <a:pt x="18966" y="5545"/>
                    </a:lnTo>
                    <a:lnTo>
                      <a:pt x="18899" y="5654"/>
                    </a:lnTo>
                    <a:lnTo>
                      <a:pt x="18848" y="5579"/>
                    </a:lnTo>
                    <a:lnTo>
                      <a:pt x="18848" y="5900"/>
                    </a:lnTo>
                    <a:lnTo>
                      <a:pt x="18828" y="5900"/>
                    </a:lnTo>
                    <a:lnTo>
                      <a:pt x="18848" y="5934"/>
                    </a:lnTo>
                    <a:lnTo>
                      <a:pt x="18828" y="6002"/>
                    </a:lnTo>
                    <a:lnTo>
                      <a:pt x="18848" y="6180"/>
                    </a:lnTo>
                    <a:lnTo>
                      <a:pt x="18795" y="6180"/>
                    </a:lnTo>
                    <a:lnTo>
                      <a:pt x="18828" y="6221"/>
                    </a:lnTo>
                    <a:lnTo>
                      <a:pt x="18744" y="6740"/>
                    </a:lnTo>
                    <a:lnTo>
                      <a:pt x="18795" y="7060"/>
                    </a:lnTo>
                    <a:lnTo>
                      <a:pt x="18710" y="7033"/>
                    </a:lnTo>
                    <a:lnTo>
                      <a:pt x="18519" y="6671"/>
                    </a:lnTo>
                    <a:lnTo>
                      <a:pt x="18394" y="6740"/>
                    </a:lnTo>
                    <a:lnTo>
                      <a:pt x="18290" y="6958"/>
                    </a:lnTo>
                    <a:lnTo>
                      <a:pt x="18256" y="7491"/>
                    </a:lnTo>
                    <a:lnTo>
                      <a:pt x="18168" y="6958"/>
                    </a:lnTo>
                    <a:lnTo>
                      <a:pt x="18098" y="7525"/>
                    </a:lnTo>
                    <a:lnTo>
                      <a:pt x="18010" y="7422"/>
                    </a:lnTo>
                    <a:lnTo>
                      <a:pt x="17926" y="7491"/>
                    </a:lnTo>
                    <a:lnTo>
                      <a:pt x="17886" y="7593"/>
                    </a:lnTo>
                    <a:lnTo>
                      <a:pt x="18010" y="8051"/>
                    </a:lnTo>
                    <a:lnTo>
                      <a:pt x="17939" y="8051"/>
                    </a:lnTo>
                    <a:lnTo>
                      <a:pt x="17976" y="8617"/>
                    </a:lnTo>
                    <a:lnTo>
                      <a:pt x="18064" y="8904"/>
                    </a:lnTo>
                    <a:lnTo>
                      <a:pt x="18114" y="8972"/>
                    </a:lnTo>
                    <a:lnTo>
                      <a:pt x="18098" y="8863"/>
                    </a:lnTo>
                    <a:lnTo>
                      <a:pt x="18236" y="8904"/>
                    </a:lnTo>
                    <a:lnTo>
                      <a:pt x="18290" y="9464"/>
                    </a:lnTo>
                    <a:lnTo>
                      <a:pt x="18306" y="9607"/>
                    </a:lnTo>
                    <a:lnTo>
                      <a:pt x="18374" y="9539"/>
                    </a:lnTo>
                    <a:lnTo>
                      <a:pt x="18465" y="9894"/>
                    </a:lnTo>
                    <a:lnTo>
                      <a:pt x="18428" y="9990"/>
                    </a:lnTo>
                    <a:lnTo>
                      <a:pt x="18374" y="9921"/>
                    </a:lnTo>
                    <a:lnTo>
                      <a:pt x="18374" y="9642"/>
                    </a:lnTo>
                    <a:lnTo>
                      <a:pt x="18306" y="9751"/>
                    </a:lnTo>
                    <a:lnTo>
                      <a:pt x="18374" y="10563"/>
                    </a:lnTo>
                    <a:lnTo>
                      <a:pt x="18481" y="10741"/>
                    </a:lnTo>
                    <a:lnTo>
                      <a:pt x="18465" y="10953"/>
                    </a:lnTo>
                    <a:lnTo>
                      <a:pt x="18374" y="10912"/>
                    </a:lnTo>
                    <a:lnTo>
                      <a:pt x="18290" y="11192"/>
                    </a:lnTo>
                    <a:lnTo>
                      <a:pt x="18306" y="11512"/>
                    </a:lnTo>
                    <a:lnTo>
                      <a:pt x="18428" y="11833"/>
                    </a:lnTo>
                    <a:lnTo>
                      <a:pt x="18340" y="11833"/>
                    </a:lnTo>
                    <a:lnTo>
                      <a:pt x="18256" y="11970"/>
                    </a:lnTo>
                    <a:lnTo>
                      <a:pt x="18202" y="11943"/>
                    </a:lnTo>
                    <a:lnTo>
                      <a:pt x="18290" y="12571"/>
                    </a:lnTo>
                    <a:lnTo>
                      <a:pt x="18290" y="12864"/>
                    </a:lnTo>
                    <a:lnTo>
                      <a:pt x="18202" y="13247"/>
                    </a:lnTo>
                    <a:lnTo>
                      <a:pt x="17556" y="10843"/>
                    </a:lnTo>
                    <a:lnTo>
                      <a:pt x="17384" y="9990"/>
                    </a:lnTo>
                    <a:lnTo>
                      <a:pt x="17438" y="9539"/>
                    </a:lnTo>
                    <a:lnTo>
                      <a:pt x="17367" y="9184"/>
                    </a:lnTo>
                    <a:lnTo>
                      <a:pt x="17438" y="9252"/>
                    </a:lnTo>
                    <a:lnTo>
                      <a:pt x="17438" y="9082"/>
                    </a:lnTo>
                    <a:lnTo>
                      <a:pt x="17505" y="9013"/>
                    </a:lnTo>
                    <a:lnTo>
                      <a:pt x="17609" y="7880"/>
                    </a:lnTo>
                    <a:lnTo>
                      <a:pt x="17609" y="7238"/>
                    </a:lnTo>
                    <a:lnTo>
                      <a:pt x="17781" y="6849"/>
                    </a:lnTo>
                    <a:lnTo>
                      <a:pt x="17697" y="6780"/>
                    </a:lnTo>
                    <a:lnTo>
                      <a:pt x="17731" y="6637"/>
                    </a:lnTo>
                    <a:lnTo>
                      <a:pt x="17556" y="5900"/>
                    </a:lnTo>
                    <a:lnTo>
                      <a:pt x="17663" y="5756"/>
                    </a:lnTo>
                    <a:lnTo>
                      <a:pt x="17697" y="5722"/>
                    </a:lnTo>
                    <a:lnTo>
                      <a:pt x="17522" y="5579"/>
                    </a:lnTo>
                    <a:lnTo>
                      <a:pt x="17418" y="5756"/>
                    </a:lnTo>
                    <a:lnTo>
                      <a:pt x="17522" y="6323"/>
                    </a:lnTo>
                    <a:lnTo>
                      <a:pt x="17576" y="6391"/>
                    </a:lnTo>
                    <a:lnTo>
                      <a:pt x="17556" y="6501"/>
                    </a:lnTo>
                    <a:lnTo>
                      <a:pt x="17505" y="6391"/>
                    </a:lnTo>
                    <a:lnTo>
                      <a:pt x="17471" y="6460"/>
                    </a:lnTo>
                    <a:lnTo>
                      <a:pt x="17384" y="7129"/>
                    </a:lnTo>
                    <a:lnTo>
                      <a:pt x="17330" y="7238"/>
                    </a:lnTo>
                    <a:lnTo>
                      <a:pt x="17293" y="7033"/>
                    </a:lnTo>
                    <a:lnTo>
                      <a:pt x="17242" y="7060"/>
                    </a:lnTo>
                    <a:lnTo>
                      <a:pt x="17141" y="6391"/>
                    </a:lnTo>
                    <a:lnTo>
                      <a:pt x="17067" y="6637"/>
                    </a:lnTo>
                    <a:lnTo>
                      <a:pt x="16963" y="6501"/>
                    </a:lnTo>
                    <a:lnTo>
                      <a:pt x="16879" y="6740"/>
                    </a:lnTo>
                    <a:lnTo>
                      <a:pt x="16791" y="6671"/>
                    </a:lnTo>
                    <a:lnTo>
                      <a:pt x="16700" y="8119"/>
                    </a:lnTo>
                    <a:lnTo>
                      <a:pt x="16737" y="8412"/>
                    </a:lnTo>
                    <a:lnTo>
                      <a:pt x="16845" y="8330"/>
                    </a:lnTo>
                    <a:lnTo>
                      <a:pt x="16912" y="8515"/>
                    </a:lnTo>
                    <a:lnTo>
                      <a:pt x="16687" y="8549"/>
                    </a:lnTo>
                    <a:lnTo>
                      <a:pt x="16650" y="8795"/>
                    </a:lnTo>
                    <a:lnTo>
                      <a:pt x="16599" y="8720"/>
                    </a:lnTo>
                    <a:lnTo>
                      <a:pt x="16458" y="8904"/>
                    </a:lnTo>
                    <a:lnTo>
                      <a:pt x="16404" y="8795"/>
                    </a:lnTo>
                    <a:lnTo>
                      <a:pt x="16549" y="8617"/>
                    </a:lnTo>
                    <a:lnTo>
                      <a:pt x="16370" y="8515"/>
                    </a:lnTo>
                    <a:lnTo>
                      <a:pt x="16320" y="8515"/>
                    </a:lnTo>
                    <a:lnTo>
                      <a:pt x="16320" y="8617"/>
                    </a:lnTo>
                    <a:lnTo>
                      <a:pt x="16108" y="8515"/>
                    </a:lnTo>
                    <a:lnTo>
                      <a:pt x="16054" y="8617"/>
                    </a:lnTo>
                    <a:lnTo>
                      <a:pt x="16054" y="8795"/>
                    </a:lnTo>
                    <a:lnTo>
                      <a:pt x="16040" y="8863"/>
                    </a:lnTo>
                    <a:lnTo>
                      <a:pt x="15970" y="8795"/>
                    </a:lnTo>
                    <a:lnTo>
                      <a:pt x="15916" y="8904"/>
                    </a:lnTo>
                    <a:lnTo>
                      <a:pt x="15744" y="8863"/>
                    </a:lnTo>
                    <a:lnTo>
                      <a:pt x="15724" y="9013"/>
                    </a:lnTo>
                    <a:lnTo>
                      <a:pt x="15673" y="8904"/>
                    </a:lnTo>
                    <a:lnTo>
                      <a:pt x="15310" y="9082"/>
                    </a:lnTo>
                    <a:lnTo>
                      <a:pt x="15013" y="10843"/>
                    </a:lnTo>
                    <a:lnTo>
                      <a:pt x="15013" y="10953"/>
                    </a:lnTo>
                    <a:lnTo>
                      <a:pt x="15081" y="11021"/>
                    </a:lnTo>
                    <a:lnTo>
                      <a:pt x="14993" y="11089"/>
                    </a:lnTo>
                    <a:lnTo>
                      <a:pt x="14822" y="12113"/>
                    </a:lnTo>
                    <a:lnTo>
                      <a:pt x="14939" y="12154"/>
                    </a:lnTo>
                    <a:lnTo>
                      <a:pt x="15081" y="12113"/>
                    </a:lnTo>
                    <a:lnTo>
                      <a:pt x="15131" y="12571"/>
                    </a:lnTo>
                    <a:lnTo>
                      <a:pt x="15185" y="12434"/>
                    </a:lnTo>
                    <a:lnTo>
                      <a:pt x="15152" y="12332"/>
                    </a:lnTo>
                    <a:lnTo>
                      <a:pt x="15219" y="12223"/>
                    </a:lnTo>
                    <a:lnTo>
                      <a:pt x="15239" y="12612"/>
                    </a:lnTo>
                    <a:lnTo>
                      <a:pt x="15360" y="12400"/>
                    </a:lnTo>
                    <a:lnTo>
                      <a:pt x="15377" y="12612"/>
                    </a:lnTo>
                    <a:lnTo>
                      <a:pt x="15414" y="12434"/>
                    </a:lnTo>
                    <a:lnTo>
                      <a:pt x="15360" y="12154"/>
                    </a:lnTo>
                    <a:lnTo>
                      <a:pt x="15515" y="12113"/>
                    </a:lnTo>
                    <a:lnTo>
                      <a:pt x="15832" y="12612"/>
                    </a:lnTo>
                    <a:lnTo>
                      <a:pt x="15832" y="12714"/>
                    </a:lnTo>
                    <a:lnTo>
                      <a:pt x="15778" y="12714"/>
                    </a:lnTo>
                    <a:lnTo>
                      <a:pt x="15953" y="13172"/>
                    </a:lnTo>
                    <a:lnTo>
                      <a:pt x="15916" y="13602"/>
                    </a:lnTo>
                    <a:lnTo>
                      <a:pt x="16108" y="15193"/>
                    </a:lnTo>
                    <a:lnTo>
                      <a:pt x="16007" y="15862"/>
                    </a:lnTo>
                    <a:lnTo>
                      <a:pt x="16007" y="16422"/>
                    </a:lnTo>
                    <a:lnTo>
                      <a:pt x="15811" y="17596"/>
                    </a:lnTo>
                    <a:lnTo>
                      <a:pt x="15640" y="17986"/>
                    </a:lnTo>
                    <a:lnTo>
                      <a:pt x="15515" y="18054"/>
                    </a:lnTo>
                    <a:lnTo>
                      <a:pt x="15414" y="17986"/>
                    </a:lnTo>
                    <a:lnTo>
                      <a:pt x="15377" y="17876"/>
                    </a:lnTo>
                    <a:lnTo>
                      <a:pt x="15310" y="17876"/>
                    </a:lnTo>
                    <a:lnTo>
                      <a:pt x="15185" y="18334"/>
                    </a:lnTo>
                    <a:lnTo>
                      <a:pt x="15185" y="18266"/>
                    </a:lnTo>
                    <a:lnTo>
                      <a:pt x="15185" y="18156"/>
                    </a:lnTo>
                    <a:lnTo>
                      <a:pt x="15219" y="17801"/>
                    </a:lnTo>
                    <a:lnTo>
                      <a:pt x="15098" y="17132"/>
                    </a:lnTo>
                    <a:lnTo>
                      <a:pt x="15185" y="16886"/>
                    </a:lnTo>
                    <a:lnTo>
                      <a:pt x="15360" y="17023"/>
                    </a:lnTo>
                    <a:lnTo>
                      <a:pt x="15360" y="16033"/>
                    </a:lnTo>
                    <a:lnTo>
                      <a:pt x="15377" y="15930"/>
                    </a:lnTo>
                    <a:lnTo>
                      <a:pt x="15377" y="15644"/>
                    </a:lnTo>
                    <a:lnTo>
                      <a:pt x="15377" y="15364"/>
                    </a:lnTo>
                    <a:lnTo>
                      <a:pt x="15273" y="15473"/>
                    </a:lnTo>
                    <a:lnTo>
                      <a:pt x="15131" y="15575"/>
                    </a:lnTo>
                    <a:lnTo>
                      <a:pt x="15081" y="15753"/>
                    </a:lnTo>
                    <a:lnTo>
                      <a:pt x="14939" y="15821"/>
                    </a:lnTo>
                    <a:lnTo>
                      <a:pt x="14872" y="15821"/>
                    </a:lnTo>
                    <a:lnTo>
                      <a:pt x="14731" y="15261"/>
                    </a:lnTo>
                    <a:lnTo>
                      <a:pt x="14505" y="15015"/>
                    </a:lnTo>
                    <a:lnTo>
                      <a:pt x="14421" y="15015"/>
                    </a:lnTo>
                    <a:lnTo>
                      <a:pt x="14279" y="15015"/>
                    </a:lnTo>
                    <a:lnTo>
                      <a:pt x="14229" y="14906"/>
                    </a:lnTo>
                    <a:lnTo>
                      <a:pt x="14175" y="14735"/>
                    </a:lnTo>
                    <a:lnTo>
                      <a:pt x="14088" y="14374"/>
                    </a:lnTo>
                    <a:lnTo>
                      <a:pt x="13983" y="14162"/>
                    </a:lnTo>
                    <a:lnTo>
                      <a:pt x="13721" y="13424"/>
                    </a:lnTo>
                    <a:lnTo>
                      <a:pt x="13670" y="13349"/>
                    </a:lnTo>
                    <a:lnTo>
                      <a:pt x="13582" y="13315"/>
                    </a:lnTo>
                    <a:lnTo>
                      <a:pt x="13407" y="13247"/>
                    </a:lnTo>
                    <a:lnTo>
                      <a:pt x="13320" y="13172"/>
                    </a:lnTo>
                    <a:lnTo>
                      <a:pt x="13253" y="13247"/>
                    </a:lnTo>
                    <a:lnTo>
                      <a:pt x="12990" y="13452"/>
                    </a:lnTo>
                    <a:lnTo>
                      <a:pt x="12936" y="13745"/>
                    </a:lnTo>
                    <a:lnTo>
                      <a:pt x="12990" y="13745"/>
                    </a:lnTo>
                    <a:lnTo>
                      <a:pt x="13040" y="13882"/>
                    </a:lnTo>
                    <a:lnTo>
                      <a:pt x="13074" y="13991"/>
                    </a:lnTo>
                    <a:lnTo>
                      <a:pt x="13024" y="14551"/>
                    </a:lnTo>
                    <a:lnTo>
                      <a:pt x="12990" y="14906"/>
                    </a:lnTo>
                    <a:lnTo>
                      <a:pt x="13040" y="15084"/>
                    </a:lnTo>
                    <a:lnTo>
                      <a:pt x="12902" y="15364"/>
                    </a:lnTo>
                    <a:lnTo>
                      <a:pt x="12798" y="15295"/>
                    </a:lnTo>
                    <a:lnTo>
                      <a:pt x="12727" y="15295"/>
                    </a:lnTo>
                    <a:lnTo>
                      <a:pt x="12569" y="15295"/>
                    </a:lnTo>
                    <a:lnTo>
                      <a:pt x="12310" y="15125"/>
                    </a:lnTo>
                    <a:lnTo>
                      <a:pt x="12219" y="15541"/>
                    </a:lnTo>
                    <a:lnTo>
                      <a:pt x="11923" y="15753"/>
                    </a:lnTo>
                    <a:lnTo>
                      <a:pt x="11717" y="15753"/>
                    </a:lnTo>
                    <a:lnTo>
                      <a:pt x="11626" y="15753"/>
                    </a:lnTo>
                    <a:lnTo>
                      <a:pt x="11525" y="15644"/>
                    </a:lnTo>
                    <a:lnTo>
                      <a:pt x="11488" y="15541"/>
                    </a:lnTo>
                    <a:lnTo>
                      <a:pt x="11246" y="15364"/>
                    </a:lnTo>
                    <a:lnTo>
                      <a:pt x="11125" y="15295"/>
                    </a:lnTo>
                    <a:lnTo>
                      <a:pt x="10879" y="15473"/>
                    </a:lnTo>
                    <a:lnTo>
                      <a:pt x="10741" y="15473"/>
                    </a:lnTo>
                    <a:lnTo>
                      <a:pt x="10532" y="15015"/>
                    </a:lnTo>
                    <a:lnTo>
                      <a:pt x="10094" y="14804"/>
                    </a:lnTo>
                    <a:lnTo>
                      <a:pt x="10094" y="14906"/>
                    </a:lnTo>
                    <a:lnTo>
                      <a:pt x="10024" y="15084"/>
                    </a:lnTo>
                    <a:lnTo>
                      <a:pt x="10007" y="15125"/>
                    </a:lnTo>
                    <a:lnTo>
                      <a:pt x="10057" y="15405"/>
                    </a:lnTo>
                    <a:lnTo>
                      <a:pt x="10094" y="15575"/>
                    </a:lnTo>
                    <a:lnTo>
                      <a:pt x="10148" y="15753"/>
                    </a:lnTo>
                    <a:lnTo>
                      <a:pt x="9886" y="15821"/>
                    </a:lnTo>
                    <a:lnTo>
                      <a:pt x="9694" y="15821"/>
                    </a:lnTo>
                    <a:lnTo>
                      <a:pt x="9569" y="15753"/>
                    </a:lnTo>
                    <a:lnTo>
                      <a:pt x="9556" y="15575"/>
                    </a:lnTo>
                    <a:lnTo>
                      <a:pt x="9380" y="15644"/>
                    </a:lnTo>
                    <a:lnTo>
                      <a:pt x="9327" y="15541"/>
                    </a:lnTo>
                    <a:lnTo>
                      <a:pt x="9155" y="15575"/>
                    </a:lnTo>
                    <a:lnTo>
                      <a:pt x="9067" y="15685"/>
                    </a:lnTo>
                    <a:lnTo>
                      <a:pt x="9047" y="15753"/>
                    </a:lnTo>
                    <a:lnTo>
                      <a:pt x="8963" y="15930"/>
                    </a:lnTo>
                    <a:lnTo>
                      <a:pt x="8963" y="16033"/>
                    </a:lnTo>
                    <a:lnTo>
                      <a:pt x="8771" y="16217"/>
                    </a:lnTo>
                    <a:lnTo>
                      <a:pt x="8734" y="16320"/>
                    </a:lnTo>
                    <a:lnTo>
                      <a:pt x="8646" y="16395"/>
                    </a:lnTo>
                    <a:lnTo>
                      <a:pt x="8404" y="16285"/>
                    </a:lnTo>
                    <a:lnTo>
                      <a:pt x="8141" y="16033"/>
                    </a:lnTo>
                    <a:lnTo>
                      <a:pt x="7737" y="15930"/>
                    </a:lnTo>
                    <a:lnTo>
                      <a:pt x="7441" y="15295"/>
                    </a:lnTo>
                    <a:lnTo>
                      <a:pt x="6953" y="14660"/>
                    </a:lnTo>
                    <a:lnTo>
                      <a:pt x="6505" y="14804"/>
                    </a:lnTo>
                    <a:lnTo>
                      <a:pt x="6209" y="14271"/>
                    </a:lnTo>
                    <a:lnTo>
                      <a:pt x="5805" y="14483"/>
                    </a:lnTo>
                    <a:lnTo>
                      <a:pt x="5387" y="14442"/>
                    </a:lnTo>
                    <a:lnTo>
                      <a:pt x="4758" y="14660"/>
                    </a:lnTo>
                    <a:lnTo>
                      <a:pt x="4653" y="15821"/>
                    </a:lnTo>
                    <a:lnTo>
                      <a:pt x="4758" y="16320"/>
                    </a:lnTo>
                    <a:lnTo>
                      <a:pt x="3835" y="16108"/>
                    </a:lnTo>
                    <a:lnTo>
                      <a:pt x="3488" y="15930"/>
                    </a:lnTo>
                    <a:lnTo>
                      <a:pt x="3189" y="16033"/>
                    </a:lnTo>
                    <a:lnTo>
                      <a:pt x="3013" y="17064"/>
                    </a:lnTo>
                    <a:lnTo>
                      <a:pt x="3155" y="17064"/>
                    </a:lnTo>
                    <a:lnTo>
                      <a:pt x="3330" y="18054"/>
                    </a:lnTo>
                    <a:lnTo>
                      <a:pt x="3468" y="18054"/>
                    </a:lnTo>
                    <a:lnTo>
                      <a:pt x="3347" y="18266"/>
                    </a:lnTo>
                    <a:lnTo>
                      <a:pt x="3209" y="18334"/>
                    </a:lnTo>
                    <a:lnTo>
                      <a:pt x="3118" y="18791"/>
                    </a:lnTo>
                    <a:lnTo>
                      <a:pt x="3209" y="18791"/>
                    </a:lnTo>
                    <a:lnTo>
                      <a:pt x="3155" y="18826"/>
                    </a:lnTo>
                    <a:lnTo>
                      <a:pt x="3242" y="18976"/>
                    </a:lnTo>
                    <a:lnTo>
                      <a:pt x="3276" y="19078"/>
                    </a:lnTo>
                    <a:lnTo>
                      <a:pt x="3276" y="19358"/>
                    </a:lnTo>
                    <a:lnTo>
                      <a:pt x="3347" y="19577"/>
                    </a:lnTo>
                    <a:lnTo>
                      <a:pt x="3488" y="19925"/>
                    </a:lnTo>
                    <a:lnTo>
                      <a:pt x="3276" y="19993"/>
                    </a:lnTo>
                    <a:lnTo>
                      <a:pt x="3155" y="19747"/>
                    </a:lnTo>
                    <a:lnTo>
                      <a:pt x="2737" y="19283"/>
                    </a:lnTo>
                    <a:lnTo>
                      <a:pt x="2229" y="19283"/>
                    </a:lnTo>
                    <a:lnTo>
                      <a:pt x="2091" y="19078"/>
                    </a:lnTo>
                    <a:lnTo>
                      <a:pt x="1970" y="18894"/>
                    </a:lnTo>
                    <a:lnTo>
                      <a:pt x="1778" y="18655"/>
                    </a:lnTo>
                    <a:lnTo>
                      <a:pt x="1778" y="18546"/>
                    </a:lnTo>
                    <a:lnTo>
                      <a:pt x="1970" y="18054"/>
                    </a:lnTo>
                    <a:lnTo>
                      <a:pt x="2057" y="18054"/>
                    </a:lnTo>
                    <a:lnTo>
                      <a:pt x="2091" y="17801"/>
                    </a:lnTo>
                    <a:lnTo>
                      <a:pt x="2024" y="17692"/>
                    </a:lnTo>
                    <a:lnTo>
                      <a:pt x="1879" y="17876"/>
                    </a:lnTo>
                    <a:lnTo>
                      <a:pt x="1832" y="17692"/>
                    </a:lnTo>
                    <a:lnTo>
                      <a:pt x="2162" y="17487"/>
                    </a:lnTo>
                    <a:lnTo>
                      <a:pt x="2057" y="16886"/>
                    </a:lnTo>
                    <a:lnTo>
                      <a:pt x="1832" y="16886"/>
                    </a:lnTo>
                    <a:lnTo>
                      <a:pt x="1586" y="16497"/>
                    </a:lnTo>
                    <a:lnTo>
                      <a:pt x="1239" y="16422"/>
                    </a:lnTo>
                    <a:lnTo>
                      <a:pt x="923" y="16285"/>
                    </a:lnTo>
                    <a:lnTo>
                      <a:pt x="956" y="15930"/>
                    </a:lnTo>
                    <a:lnTo>
                      <a:pt x="872" y="15575"/>
                    </a:lnTo>
                    <a:lnTo>
                      <a:pt x="923" y="15541"/>
                    </a:lnTo>
                    <a:lnTo>
                      <a:pt x="1044" y="15644"/>
                    </a:lnTo>
                    <a:lnTo>
                      <a:pt x="993" y="15261"/>
                    </a:lnTo>
                    <a:lnTo>
                      <a:pt x="872" y="15015"/>
                    </a:lnTo>
                    <a:lnTo>
                      <a:pt x="764" y="14374"/>
                    </a:lnTo>
                    <a:lnTo>
                      <a:pt x="401" y="14271"/>
                    </a:lnTo>
                    <a:lnTo>
                      <a:pt x="455" y="13745"/>
                    </a:lnTo>
                    <a:lnTo>
                      <a:pt x="330" y="13452"/>
                    </a:lnTo>
                    <a:lnTo>
                      <a:pt x="226" y="13424"/>
                    </a:lnTo>
                    <a:lnTo>
                      <a:pt x="138" y="13144"/>
                    </a:lnTo>
                    <a:lnTo>
                      <a:pt x="138" y="12960"/>
                    </a:lnTo>
                    <a:lnTo>
                      <a:pt x="88" y="12714"/>
                    </a:lnTo>
                    <a:lnTo>
                      <a:pt x="121" y="12680"/>
                    </a:lnTo>
                    <a:lnTo>
                      <a:pt x="192" y="12680"/>
                    </a:lnTo>
                    <a:lnTo>
                      <a:pt x="192" y="12571"/>
                    </a:lnTo>
                    <a:lnTo>
                      <a:pt x="330" y="12434"/>
                    </a:lnTo>
                    <a:lnTo>
                      <a:pt x="488" y="12503"/>
                    </a:lnTo>
                    <a:lnTo>
                      <a:pt x="418" y="12332"/>
                    </a:lnTo>
                    <a:lnTo>
                      <a:pt x="313" y="12332"/>
                    </a:lnTo>
                    <a:lnTo>
                      <a:pt x="259" y="12045"/>
                    </a:lnTo>
                    <a:lnTo>
                      <a:pt x="172" y="12154"/>
                    </a:lnTo>
                    <a:lnTo>
                      <a:pt x="455" y="11478"/>
                    </a:lnTo>
                    <a:lnTo>
                      <a:pt x="626" y="10912"/>
                    </a:lnTo>
                    <a:lnTo>
                      <a:pt x="542" y="10775"/>
                    </a:lnTo>
                    <a:lnTo>
                      <a:pt x="488" y="10741"/>
                    </a:lnTo>
                    <a:lnTo>
                      <a:pt x="364" y="10563"/>
                    </a:lnTo>
                    <a:lnTo>
                      <a:pt x="401" y="10283"/>
                    </a:lnTo>
                    <a:lnTo>
                      <a:pt x="330" y="10208"/>
                    </a:lnTo>
                    <a:lnTo>
                      <a:pt x="330" y="10099"/>
                    </a:lnTo>
                    <a:lnTo>
                      <a:pt x="330" y="9990"/>
                    </a:lnTo>
                    <a:lnTo>
                      <a:pt x="276" y="9990"/>
                    </a:lnTo>
                    <a:lnTo>
                      <a:pt x="276" y="9894"/>
                    </a:lnTo>
                    <a:lnTo>
                      <a:pt x="276" y="9819"/>
                    </a:lnTo>
                    <a:lnTo>
                      <a:pt x="313" y="9464"/>
                    </a:lnTo>
                    <a:lnTo>
                      <a:pt x="138" y="8863"/>
                    </a:lnTo>
                    <a:lnTo>
                      <a:pt x="192" y="8549"/>
                    </a:lnTo>
                    <a:lnTo>
                      <a:pt x="138" y="8440"/>
                    </a:lnTo>
                    <a:lnTo>
                      <a:pt x="54" y="8330"/>
                    </a:lnTo>
                    <a:lnTo>
                      <a:pt x="34" y="8160"/>
                    </a:lnTo>
                    <a:lnTo>
                      <a:pt x="0" y="8051"/>
                    </a:lnTo>
                    <a:lnTo>
                      <a:pt x="138" y="770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 name="Freeform 231"/>
              <p:cNvSpPr>
                <a:spLocks/>
              </p:cNvSpPr>
              <p:nvPr/>
            </p:nvSpPr>
            <p:spPr bwMode="auto">
              <a:xfrm>
                <a:off x="5568950" y="2844800"/>
                <a:ext cx="471488" cy="257175"/>
              </a:xfrm>
              <a:custGeom>
                <a:avLst/>
                <a:gdLst>
                  <a:gd name="T0" fmla="*/ 15364 w 20000"/>
                  <a:gd name="T1" fmla="*/ 13531 h 20000"/>
                  <a:gd name="T2" fmla="*/ 15067 w 20000"/>
                  <a:gd name="T3" fmla="*/ 14074 h 20000"/>
                  <a:gd name="T4" fmla="*/ 14124 w 20000"/>
                  <a:gd name="T5" fmla="*/ 16593 h 20000"/>
                  <a:gd name="T6" fmla="*/ 16496 w 20000"/>
                  <a:gd name="T7" fmla="*/ 17630 h 20000"/>
                  <a:gd name="T8" fmla="*/ 15364 w 20000"/>
                  <a:gd name="T9" fmla="*/ 17630 h 20000"/>
                  <a:gd name="T10" fmla="*/ 13531 w 20000"/>
                  <a:gd name="T11" fmla="*/ 19951 h 20000"/>
                  <a:gd name="T12" fmla="*/ 12992 w 20000"/>
                  <a:gd name="T13" fmla="*/ 18123 h 20000"/>
                  <a:gd name="T14" fmla="*/ 11752 w 20000"/>
                  <a:gd name="T15" fmla="*/ 16840 h 20000"/>
                  <a:gd name="T16" fmla="*/ 12992 w 20000"/>
                  <a:gd name="T17" fmla="*/ 15605 h 20000"/>
                  <a:gd name="T18" fmla="*/ 11024 w 20000"/>
                  <a:gd name="T19" fmla="*/ 14815 h 20000"/>
                  <a:gd name="T20" fmla="*/ 11024 w 20000"/>
                  <a:gd name="T21" fmla="*/ 14074 h 20000"/>
                  <a:gd name="T22" fmla="*/ 10755 w 20000"/>
                  <a:gd name="T23" fmla="*/ 12790 h 20000"/>
                  <a:gd name="T24" fmla="*/ 10620 w 20000"/>
                  <a:gd name="T25" fmla="*/ 13284 h 20000"/>
                  <a:gd name="T26" fmla="*/ 9650 w 20000"/>
                  <a:gd name="T27" fmla="*/ 13531 h 20000"/>
                  <a:gd name="T28" fmla="*/ 8518 w 20000"/>
                  <a:gd name="T29" fmla="*/ 16840 h 20000"/>
                  <a:gd name="T30" fmla="*/ 7008 w 20000"/>
                  <a:gd name="T31" fmla="*/ 16840 h 20000"/>
                  <a:gd name="T32" fmla="*/ 7844 w 20000"/>
                  <a:gd name="T33" fmla="*/ 14815 h 20000"/>
                  <a:gd name="T34" fmla="*/ 8248 w 20000"/>
                  <a:gd name="T35" fmla="*/ 13284 h 20000"/>
                  <a:gd name="T36" fmla="*/ 7412 w 20000"/>
                  <a:gd name="T37" fmla="*/ 10173 h 20000"/>
                  <a:gd name="T38" fmla="*/ 5310 w 20000"/>
                  <a:gd name="T39" fmla="*/ 9432 h 20000"/>
                  <a:gd name="T40" fmla="*/ 3369 w 20000"/>
                  <a:gd name="T41" fmla="*/ 10667 h 20000"/>
                  <a:gd name="T42" fmla="*/ 836 w 20000"/>
                  <a:gd name="T43" fmla="*/ 9975 h 20000"/>
                  <a:gd name="T44" fmla="*/ 431 w 20000"/>
                  <a:gd name="T45" fmla="*/ 6864 h 20000"/>
                  <a:gd name="T46" fmla="*/ 431 w 20000"/>
                  <a:gd name="T47" fmla="*/ 5333 h 20000"/>
                  <a:gd name="T48" fmla="*/ 1563 w 20000"/>
                  <a:gd name="T49" fmla="*/ 0 h 20000"/>
                  <a:gd name="T50" fmla="*/ 2372 w 20000"/>
                  <a:gd name="T51" fmla="*/ 494 h 20000"/>
                  <a:gd name="T52" fmla="*/ 6685 w 20000"/>
                  <a:gd name="T53" fmla="*/ 741 h 20000"/>
                  <a:gd name="T54" fmla="*/ 8787 w 20000"/>
                  <a:gd name="T55" fmla="*/ 1284 h 20000"/>
                  <a:gd name="T56" fmla="*/ 10054 w 20000"/>
                  <a:gd name="T57" fmla="*/ 494 h 20000"/>
                  <a:gd name="T58" fmla="*/ 15364 w 20000"/>
                  <a:gd name="T59" fmla="*/ 2025 h 20000"/>
                  <a:gd name="T60" fmla="*/ 19137 w 20000"/>
                  <a:gd name="T61" fmla="*/ 4840 h 20000"/>
                  <a:gd name="T62" fmla="*/ 17332 w 20000"/>
                  <a:gd name="T63" fmla="*/ 1066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709" y="12000"/>
                    </a:moveTo>
                    <a:lnTo>
                      <a:pt x="15364" y="13531"/>
                    </a:lnTo>
                    <a:lnTo>
                      <a:pt x="15499" y="15605"/>
                    </a:lnTo>
                    <a:lnTo>
                      <a:pt x="15067" y="14074"/>
                    </a:lnTo>
                    <a:lnTo>
                      <a:pt x="13962" y="15309"/>
                    </a:lnTo>
                    <a:lnTo>
                      <a:pt x="14124" y="16593"/>
                    </a:lnTo>
                    <a:lnTo>
                      <a:pt x="16199" y="17333"/>
                    </a:lnTo>
                    <a:lnTo>
                      <a:pt x="16496" y="17630"/>
                    </a:lnTo>
                    <a:lnTo>
                      <a:pt x="15903" y="17630"/>
                    </a:lnTo>
                    <a:lnTo>
                      <a:pt x="15364" y="17630"/>
                    </a:lnTo>
                    <a:lnTo>
                      <a:pt x="14663" y="18617"/>
                    </a:lnTo>
                    <a:lnTo>
                      <a:pt x="13531" y="19951"/>
                    </a:lnTo>
                    <a:lnTo>
                      <a:pt x="12857" y="19407"/>
                    </a:lnTo>
                    <a:lnTo>
                      <a:pt x="12992" y="18123"/>
                    </a:lnTo>
                    <a:lnTo>
                      <a:pt x="12156" y="17333"/>
                    </a:lnTo>
                    <a:lnTo>
                      <a:pt x="11752" y="16840"/>
                    </a:lnTo>
                    <a:lnTo>
                      <a:pt x="12156" y="16593"/>
                    </a:lnTo>
                    <a:lnTo>
                      <a:pt x="12992" y="15605"/>
                    </a:lnTo>
                    <a:lnTo>
                      <a:pt x="12857" y="15309"/>
                    </a:lnTo>
                    <a:lnTo>
                      <a:pt x="11024" y="14815"/>
                    </a:lnTo>
                    <a:lnTo>
                      <a:pt x="10755" y="14074"/>
                    </a:lnTo>
                    <a:lnTo>
                      <a:pt x="11024" y="14074"/>
                    </a:lnTo>
                    <a:lnTo>
                      <a:pt x="11159" y="14074"/>
                    </a:lnTo>
                    <a:lnTo>
                      <a:pt x="10755" y="12790"/>
                    </a:lnTo>
                    <a:lnTo>
                      <a:pt x="10755" y="13531"/>
                    </a:lnTo>
                    <a:lnTo>
                      <a:pt x="10620" y="13284"/>
                    </a:lnTo>
                    <a:lnTo>
                      <a:pt x="10323" y="13284"/>
                    </a:lnTo>
                    <a:lnTo>
                      <a:pt x="9650" y="13531"/>
                    </a:lnTo>
                    <a:lnTo>
                      <a:pt x="8949" y="15605"/>
                    </a:lnTo>
                    <a:lnTo>
                      <a:pt x="8518" y="16840"/>
                    </a:lnTo>
                    <a:lnTo>
                      <a:pt x="7412" y="17630"/>
                    </a:lnTo>
                    <a:lnTo>
                      <a:pt x="7008" y="16840"/>
                    </a:lnTo>
                    <a:lnTo>
                      <a:pt x="7412" y="15605"/>
                    </a:lnTo>
                    <a:lnTo>
                      <a:pt x="7844" y="14815"/>
                    </a:lnTo>
                    <a:lnTo>
                      <a:pt x="9218" y="14568"/>
                    </a:lnTo>
                    <a:lnTo>
                      <a:pt x="8248" y="13284"/>
                    </a:lnTo>
                    <a:lnTo>
                      <a:pt x="8113" y="12247"/>
                    </a:lnTo>
                    <a:lnTo>
                      <a:pt x="7412" y="10173"/>
                    </a:lnTo>
                    <a:lnTo>
                      <a:pt x="6685" y="10173"/>
                    </a:lnTo>
                    <a:lnTo>
                      <a:pt x="5310" y="9432"/>
                    </a:lnTo>
                    <a:lnTo>
                      <a:pt x="4474" y="9975"/>
                    </a:lnTo>
                    <a:lnTo>
                      <a:pt x="3369" y="10667"/>
                    </a:lnTo>
                    <a:lnTo>
                      <a:pt x="1267" y="9975"/>
                    </a:lnTo>
                    <a:lnTo>
                      <a:pt x="836" y="9975"/>
                    </a:lnTo>
                    <a:lnTo>
                      <a:pt x="0" y="9185"/>
                    </a:lnTo>
                    <a:lnTo>
                      <a:pt x="431" y="6864"/>
                    </a:lnTo>
                    <a:lnTo>
                      <a:pt x="566" y="6617"/>
                    </a:lnTo>
                    <a:lnTo>
                      <a:pt x="431" y="5333"/>
                    </a:lnTo>
                    <a:lnTo>
                      <a:pt x="1995" y="1481"/>
                    </a:lnTo>
                    <a:lnTo>
                      <a:pt x="1563" y="0"/>
                    </a:lnTo>
                    <a:lnTo>
                      <a:pt x="1995" y="0"/>
                    </a:lnTo>
                    <a:lnTo>
                      <a:pt x="2372" y="494"/>
                    </a:lnTo>
                    <a:lnTo>
                      <a:pt x="6685" y="0"/>
                    </a:lnTo>
                    <a:lnTo>
                      <a:pt x="6685" y="741"/>
                    </a:lnTo>
                    <a:lnTo>
                      <a:pt x="8787" y="1481"/>
                    </a:lnTo>
                    <a:lnTo>
                      <a:pt x="8787" y="1284"/>
                    </a:lnTo>
                    <a:lnTo>
                      <a:pt x="9218" y="494"/>
                    </a:lnTo>
                    <a:lnTo>
                      <a:pt x="10054" y="494"/>
                    </a:lnTo>
                    <a:lnTo>
                      <a:pt x="12588" y="1481"/>
                    </a:lnTo>
                    <a:lnTo>
                      <a:pt x="15364" y="2025"/>
                    </a:lnTo>
                    <a:lnTo>
                      <a:pt x="17332" y="4840"/>
                    </a:lnTo>
                    <a:lnTo>
                      <a:pt x="19137" y="4840"/>
                    </a:lnTo>
                    <a:lnTo>
                      <a:pt x="19973" y="9185"/>
                    </a:lnTo>
                    <a:lnTo>
                      <a:pt x="17332" y="10667"/>
                    </a:lnTo>
                    <a:lnTo>
                      <a:pt x="17709" y="1200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 name="Freeform 230"/>
              <p:cNvSpPr>
                <a:spLocks/>
              </p:cNvSpPr>
              <p:nvPr/>
            </p:nvSpPr>
            <p:spPr bwMode="auto">
              <a:xfrm>
                <a:off x="5345113" y="3014663"/>
                <a:ext cx="85725" cy="47625"/>
              </a:xfrm>
              <a:custGeom>
                <a:avLst/>
                <a:gdLst>
                  <a:gd name="T0" fmla="*/ 593 w 20000"/>
                  <a:gd name="T1" fmla="*/ 7027 h 20000"/>
                  <a:gd name="T2" fmla="*/ 6815 w 20000"/>
                  <a:gd name="T3" fmla="*/ 7027 h 20000"/>
                  <a:gd name="T4" fmla="*/ 13778 w 20000"/>
                  <a:gd name="T5" fmla="*/ 4324 h 20000"/>
                  <a:gd name="T6" fmla="*/ 16000 w 20000"/>
                  <a:gd name="T7" fmla="*/ 4324 h 20000"/>
                  <a:gd name="T8" fmla="*/ 16000 w 20000"/>
                  <a:gd name="T9" fmla="*/ 1622 h 20000"/>
                  <a:gd name="T10" fmla="*/ 18370 w 20000"/>
                  <a:gd name="T11" fmla="*/ 0 h 20000"/>
                  <a:gd name="T12" fmla="*/ 18370 w 20000"/>
                  <a:gd name="T13" fmla="*/ 4324 h 20000"/>
                  <a:gd name="T14" fmla="*/ 19852 w 20000"/>
                  <a:gd name="T15" fmla="*/ 7027 h 20000"/>
                  <a:gd name="T16" fmla="*/ 19852 w 20000"/>
                  <a:gd name="T17" fmla="*/ 11081 h 20000"/>
                  <a:gd name="T18" fmla="*/ 16000 w 20000"/>
                  <a:gd name="T19" fmla="*/ 15405 h 20000"/>
                  <a:gd name="T20" fmla="*/ 13778 w 20000"/>
                  <a:gd name="T21" fmla="*/ 19730 h 20000"/>
                  <a:gd name="T22" fmla="*/ 8444 w 20000"/>
                  <a:gd name="T23" fmla="*/ 18108 h 20000"/>
                  <a:gd name="T24" fmla="*/ 4444 w 20000"/>
                  <a:gd name="T25" fmla="*/ 19730 h 20000"/>
                  <a:gd name="T26" fmla="*/ 3852 w 20000"/>
                  <a:gd name="T27" fmla="*/ 15405 h 20000"/>
                  <a:gd name="T28" fmla="*/ 0 w 20000"/>
                  <a:gd name="T29" fmla="*/ 8378 h 20000"/>
                  <a:gd name="T30" fmla="*/ 593 w 20000"/>
                  <a:gd name="T31" fmla="*/ 70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593" y="7027"/>
                    </a:moveTo>
                    <a:lnTo>
                      <a:pt x="6815" y="7027"/>
                    </a:lnTo>
                    <a:lnTo>
                      <a:pt x="13778" y="4324"/>
                    </a:lnTo>
                    <a:lnTo>
                      <a:pt x="16000" y="4324"/>
                    </a:lnTo>
                    <a:lnTo>
                      <a:pt x="16000" y="1622"/>
                    </a:lnTo>
                    <a:lnTo>
                      <a:pt x="18370" y="0"/>
                    </a:lnTo>
                    <a:lnTo>
                      <a:pt x="18370" y="4324"/>
                    </a:lnTo>
                    <a:lnTo>
                      <a:pt x="19852" y="7027"/>
                    </a:lnTo>
                    <a:lnTo>
                      <a:pt x="19852" y="11081"/>
                    </a:lnTo>
                    <a:lnTo>
                      <a:pt x="16000" y="15405"/>
                    </a:lnTo>
                    <a:lnTo>
                      <a:pt x="13778" y="19730"/>
                    </a:lnTo>
                    <a:lnTo>
                      <a:pt x="8444" y="18108"/>
                    </a:lnTo>
                    <a:lnTo>
                      <a:pt x="4444" y="19730"/>
                    </a:lnTo>
                    <a:lnTo>
                      <a:pt x="3852" y="15405"/>
                    </a:lnTo>
                    <a:lnTo>
                      <a:pt x="0" y="8378"/>
                    </a:lnTo>
                    <a:lnTo>
                      <a:pt x="593" y="702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 name="Freeform 229"/>
              <p:cNvSpPr>
                <a:spLocks/>
              </p:cNvSpPr>
              <p:nvPr/>
            </p:nvSpPr>
            <p:spPr bwMode="auto">
              <a:xfrm>
                <a:off x="5345113" y="3041650"/>
                <a:ext cx="149225" cy="115888"/>
              </a:xfrm>
              <a:custGeom>
                <a:avLst/>
                <a:gdLst>
                  <a:gd name="T0" fmla="*/ 11453 w 20000"/>
                  <a:gd name="T1" fmla="*/ 0 h 20000"/>
                  <a:gd name="T2" fmla="*/ 11880 w 20000"/>
                  <a:gd name="T3" fmla="*/ 0 h 20000"/>
                  <a:gd name="T4" fmla="*/ 14103 w 20000"/>
                  <a:gd name="T5" fmla="*/ 1749 h 20000"/>
                  <a:gd name="T6" fmla="*/ 17265 w 20000"/>
                  <a:gd name="T7" fmla="*/ 2842 h 20000"/>
                  <a:gd name="T8" fmla="*/ 17607 w 20000"/>
                  <a:gd name="T9" fmla="*/ 1749 h 20000"/>
                  <a:gd name="T10" fmla="*/ 18547 w 20000"/>
                  <a:gd name="T11" fmla="*/ 656 h 20000"/>
                  <a:gd name="T12" fmla="*/ 18974 w 20000"/>
                  <a:gd name="T13" fmla="*/ 3388 h 20000"/>
                  <a:gd name="T14" fmla="*/ 19915 w 20000"/>
                  <a:gd name="T15" fmla="*/ 7322 h 20000"/>
                  <a:gd name="T16" fmla="*/ 18547 w 20000"/>
                  <a:gd name="T17" fmla="*/ 7322 h 20000"/>
                  <a:gd name="T18" fmla="*/ 14103 w 20000"/>
                  <a:gd name="T19" fmla="*/ 7322 h 20000"/>
                  <a:gd name="T20" fmla="*/ 9744 w 20000"/>
                  <a:gd name="T21" fmla="*/ 7322 h 20000"/>
                  <a:gd name="T22" fmla="*/ 11453 w 20000"/>
                  <a:gd name="T23" fmla="*/ 12459 h 20000"/>
                  <a:gd name="T24" fmla="*/ 15043 w 20000"/>
                  <a:gd name="T25" fmla="*/ 16940 h 20000"/>
                  <a:gd name="T26" fmla="*/ 15043 w 20000"/>
                  <a:gd name="T27" fmla="*/ 19891 h 20000"/>
                  <a:gd name="T28" fmla="*/ 12735 w 20000"/>
                  <a:gd name="T29" fmla="*/ 16940 h 20000"/>
                  <a:gd name="T30" fmla="*/ 10598 w 20000"/>
                  <a:gd name="T31" fmla="*/ 16503 h 20000"/>
                  <a:gd name="T32" fmla="*/ 9231 w 20000"/>
                  <a:gd name="T33" fmla="*/ 16940 h 20000"/>
                  <a:gd name="T34" fmla="*/ 5726 w 20000"/>
                  <a:gd name="T35" fmla="*/ 12459 h 20000"/>
                  <a:gd name="T36" fmla="*/ 7863 w 20000"/>
                  <a:gd name="T37" fmla="*/ 11913 h 20000"/>
                  <a:gd name="T38" fmla="*/ 4872 w 20000"/>
                  <a:gd name="T39" fmla="*/ 9071 h 20000"/>
                  <a:gd name="T40" fmla="*/ 4872 w 20000"/>
                  <a:gd name="T41" fmla="*/ 7322 h 20000"/>
                  <a:gd name="T42" fmla="*/ 2564 w 20000"/>
                  <a:gd name="T43" fmla="*/ 5137 h 20000"/>
                  <a:gd name="T44" fmla="*/ 1368 w 20000"/>
                  <a:gd name="T45" fmla="*/ 7978 h 20000"/>
                  <a:gd name="T46" fmla="*/ 0 w 20000"/>
                  <a:gd name="T47" fmla="*/ 4481 h 20000"/>
                  <a:gd name="T48" fmla="*/ 342 w 20000"/>
                  <a:gd name="T49" fmla="*/ 3388 h 20000"/>
                  <a:gd name="T50" fmla="*/ 2222 w 20000"/>
                  <a:gd name="T51" fmla="*/ 4481 h 20000"/>
                  <a:gd name="T52" fmla="*/ 2564 w 20000"/>
                  <a:gd name="T53" fmla="*/ 3388 h 20000"/>
                  <a:gd name="T54" fmla="*/ 4872 w 20000"/>
                  <a:gd name="T55" fmla="*/ 2842 h 20000"/>
                  <a:gd name="T56" fmla="*/ 7863 w 20000"/>
                  <a:gd name="T57" fmla="*/ 3388 h 20000"/>
                  <a:gd name="T58" fmla="*/ 9231 w 20000"/>
                  <a:gd name="T59" fmla="*/ 1749 h 20000"/>
                  <a:gd name="T60" fmla="*/ 11453 w 20000"/>
                  <a:gd name="T6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000" h="20000">
                    <a:moveTo>
                      <a:pt x="11453" y="0"/>
                    </a:moveTo>
                    <a:lnTo>
                      <a:pt x="11880" y="0"/>
                    </a:lnTo>
                    <a:lnTo>
                      <a:pt x="14103" y="1749"/>
                    </a:lnTo>
                    <a:lnTo>
                      <a:pt x="17265" y="2842"/>
                    </a:lnTo>
                    <a:lnTo>
                      <a:pt x="17607" y="1749"/>
                    </a:lnTo>
                    <a:lnTo>
                      <a:pt x="18547" y="656"/>
                    </a:lnTo>
                    <a:lnTo>
                      <a:pt x="18974" y="3388"/>
                    </a:lnTo>
                    <a:lnTo>
                      <a:pt x="19915" y="7322"/>
                    </a:lnTo>
                    <a:lnTo>
                      <a:pt x="18547" y="7322"/>
                    </a:lnTo>
                    <a:lnTo>
                      <a:pt x="14103" y="7322"/>
                    </a:lnTo>
                    <a:lnTo>
                      <a:pt x="9744" y="7322"/>
                    </a:lnTo>
                    <a:lnTo>
                      <a:pt x="11453" y="12459"/>
                    </a:lnTo>
                    <a:lnTo>
                      <a:pt x="15043" y="16940"/>
                    </a:lnTo>
                    <a:lnTo>
                      <a:pt x="15043" y="19891"/>
                    </a:lnTo>
                    <a:lnTo>
                      <a:pt x="12735" y="16940"/>
                    </a:lnTo>
                    <a:lnTo>
                      <a:pt x="10598" y="16503"/>
                    </a:lnTo>
                    <a:lnTo>
                      <a:pt x="9231" y="16940"/>
                    </a:lnTo>
                    <a:lnTo>
                      <a:pt x="5726" y="12459"/>
                    </a:lnTo>
                    <a:lnTo>
                      <a:pt x="7863" y="11913"/>
                    </a:lnTo>
                    <a:lnTo>
                      <a:pt x="4872" y="9071"/>
                    </a:lnTo>
                    <a:lnTo>
                      <a:pt x="4872" y="7322"/>
                    </a:lnTo>
                    <a:lnTo>
                      <a:pt x="2564" y="5137"/>
                    </a:lnTo>
                    <a:lnTo>
                      <a:pt x="1368" y="7978"/>
                    </a:lnTo>
                    <a:lnTo>
                      <a:pt x="0" y="4481"/>
                    </a:lnTo>
                    <a:lnTo>
                      <a:pt x="342" y="3388"/>
                    </a:lnTo>
                    <a:lnTo>
                      <a:pt x="2222" y="4481"/>
                    </a:lnTo>
                    <a:lnTo>
                      <a:pt x="2564" y="3388"/>
                    </a:lnTo>
                    <a:lnTo>
                      <a:pt x="4872" y="2842"/>
                    </a:lnTo>
                    <a:lnTo>
                      <a:pt x="7863" y="3388"/>
                    </a:lnTo>
                    <a:lnTo>
                      <a:pt x="9231" y="1749"/>
                    </a:lnTo>
                    <a:lnTo>
                      <a:pt x="11453"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 name="Freeform 228"/>
              <p:cNvSpPr>
                <a:spLocks/>
              </p:cNvSpPr>
              <p:nvPr/>
            </p:nvSpPr>
            <p:spPr bwMode="auto">
              <a:xfrm>
                <a:off x="5416550" y="3082925"/>
                <a:ext cx="92075" cy="85725"/>
              </a:xfrm>
              <a:custGeom>
                <a:avLst/>
                <a:gdLst>
                  <a:gd name="T0" fmla="*/ 14795 w 20000"/>
                  <a:gd name="T1" fmla="*/ 19853 h 20000"/>
                  <a:gd name="T2" fmla="*/ 10548 w 20000"/>
                  <a:gd name="T3" fmla="*/ 18382 h 20000"/>
                  <a:gd name="T4" fmla="*/ 5616 w 20000"/>
                  <a:gd name="T5" fmla="*/ 16912 h 20000"/>
                  <a:gd name="T6" fmla="*/ 5616 w 20000"/>
                  <a:gd name="T7" fmla="*/ 16029 h 20000"/>
                  <a:gd name="T8" fmla="*/ 8493 w 20000"/>
                  <a:gd name="T9" fmla="*/ 16912 h 20000"/>
                  <a:gd name="T10" fmla="*/ 8493 w 20000"/>
                  <a:gd name="T11" fmla="*/ 12941 h 20000"/>
                  <a:gd name="T12" fmla="*/ 2740 w 20000"/>
                  <a:gd name="T13" fmla="*/ 6912 h 20000"/>
                  <a:gd name="T14" fmla="*/ 0 w 20000"/>
                  <a:gd name="T15" fmla="*/ 0 h 20000"/>
                  <a:gd name="T16" fmla="*/ 6986 w 20000"/>
                  <a:gd name="T17" fmla="*/ 0 h 20000"/>
                  <a:gd name="T18" fmla="*/ 14247 w 20000"/>
                  <a:gd name="T19" fmla="*/ 0 h 20000"/>
                  <a:gd name="T20" fmla="*/ 16301 w 20000"/>
                  <a:gd name="T21" fmla="*/ 0 h 20000"/>
                  <a:gd name="T22" fmla="*/ 19863 w 20000"/>
                  <a:gd name="T23" fmla="*/ 0 h 20000"/>
                  <a:gd name="T24" fmla="*/ 18493 w 20000"/>
                  <a:gd name="T25" fmla="*/ 4559 h 20000"/>
                  <a:gd name="T26" fmla="*/ 19863 w 20000"/>
                  <a:gd name="T27" fmla="*/ 8382 h 20000"/>
                  <a:gd name="T28" fmla="*/ 19863 w 20000"/>
                  <a:gd name="T29" fmla="*/ 12353 h 20000"/>
                  <a:gd name="T30" fmla="*/ 16301 w 20000"/>
                  <a:gd name="T31" fmla="*/ 16029 h 20000"/>
                  <a:gd name="T32" fmla="*/ 14795 w 20000"/>
                  <a:gd name="T33" fmla="*/ 1985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4795" y="19853"/>
                    </a:moveTo>
                    <a:lnTo>
                      <a:pt x="10548" y="18382"/>
                    </a:lnTo>
                    <a:lnTo>
                      <a:pt x="5616" y="16912"/>
                    </a:lnTo>
                    <a:lnTo>
                      <a:pt x="5616" y="16029"/>
                    </a:lnTo>
                    <a:lnTo>
                      <a:pt x="8493" y="16912"/>
                    </a:lnTo>
                    <a:lnTo>
                      <a:pt x="8493" y="12941"/>
                    </a:lnTo>
                    <a:lnTo>
                      <a:pt x="2740" y="6912"/>
                    </a:lnTo>
                    <a:lnTo>
                      <a:pt x="0" y="0"/>
                    </a:lnTo>
                    <a:lnTo>
                      <a:pt x="6986" y="0"/>
                    </a:lnTo>
                    <a:lnTo>
                      <a:pt x="14247" y="0"/>
                    </a:lnTo>
                    <a:lnTo>
                      <a:pt x="16301" y="0"/>
                    </a:lnTo>
                    <a:lnTo>
                      <a:pt x="19863" y="0"/>
                    </a:lnTo>
                    <a:lnTo>
                      <a:pt x="18493" y="4559"/>
                    </a:lnTo>
                    <a:lnTo>
                      <a:pt x="19863" y="8382"/>
                    </a:lnTo>
                    <a:lnTo>
                      <a:pt x="19863" y="12353"/>
                    </a:lnTo>
                    <a:lnTo>
                      <a:pt x="16301" y="16029"/>
                    </a:lnTo>
                    <a:lnTo>
                      <a:pt x="14795" y="1985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 name="Freeform 227"/>
              <p:cNvSpPr>
                <a:spLocks/>
              </p:cNvSpPr>
              <p:nvPr/>
            </p:nvSpPr>
            <p:spPr bwMode="auto">
              <a:xfrm>
                <a:off x="5483225" y="3041650"/>
                <a:ext cx="73025" cy="42863"/>
              </a:xfrm>
              <a:custGeom>
                <a:avLst/>
                <a:gdLst>
                  <a:gd name="T0" fmla="*/ 0 w 20000"/>
                  <a:gd name="T1" fmla="*/ 1765 h 20000"/>
                  <a:gd name="T2" fmla="*/ 5391 w 20000"/>
                  <a:gd name="T3" fmla="*/ 1765 h 20000"/>
                  <a:gd name="T4" fmla="*/ 7130 w 20000"/>
                  <a:gd name="T5" fmla="*/ 0 h 20000"/>
                  <a:gd name="T6" fmla="*/ 12696 w 20000"/>
                  <a:gd name="T7" fmla="*/ 0 h 20000"/>
                  <a:gd name="T8" fmla="*/ 14435 w 20000"/>
                  <a:gd name="T9" fmla="*/ 4706 h 20000"/>
                  <a:gd name="T10" fmla="*/ 14435 w 20000"/>
                  <a:gd name="T11" fmla="*/ 9118 h 20000"/>
                  <a:gd name="T12" fmla="*/ 19826 w 20000"/>
                  <a:gd name="T13" fmla="*/ 13824 h 20000"/>
                  <a:gd name="T14" fmla="*/ 19826 w 20000"/>
                  <a:gd name="T15" fmla="*/ 19706 h 20000"/>
                  <a:gd name="T16" fmla="*/ 17043 w 20000"/>
                  <a:gd name="T17" fmla="*/ 19706 h 20000"/>
                  <a:gd name="T18" fmla="*/ 12696 w 20000"/>
                  <a:gd name="T19" fmla="*/ 16765 h 20000"/>
                  <a:gd name="T20" fmla="*/ 7130 w 20000"/>
                  <a:gd name="T21" fmla="*/ 19706 h 20000"/>
                  <a:gd name="T22" fmla="*/ 2783 w 20000"/>
                  <a:gd name="T23" fmla="*/ 19706 h 20000"/>
                  <a:gd name="T24" fmla="*/ 696 w 20000"/>
                  <a:gd name="T25" fmla="*/ 9118 h 20000"/>
                  <a:gd name="T26" fmla="*/ 0 w 20000"/>
                  <a:gd name="T27" fmla="*/ 1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0" y="1765"/>
                    </a:moveTo>
                    <a:lnTo>
                      <a:pt x="5391" y="1765"/>
                    </a:lnTo>
                    <a:lnTo>
                      <a:pt x="7130" y="0"/>
                    </a:lnTo>
                    <a:lnTo>
                      <a:pt x="12696" y="0"/>
                    </a:lnTo>
                    <a:lnTo>
                      <a:pt x="14435" y="4706"/>
                    </a:lnTo>
                    <a:lnTo>
                      <a:pt x="14435" y="9118"/>
                    </a:lnTo>
                    <a:lnTo>
                      <a:pt x="19826" y="13824"/>
                    </a:lnTo>
                    <a:lnTo>
                      <a:pt x="19826" y="19706"/>
                    </a:lnTo>
                    <a:lnTo>
                      <a:pt x="17043" y="19706"/>
                    </a:lnTo>
                    <a:lnTo>
                      <a:pt x="12696" y="16765"/>
                    </a:lnTo>
                    <a:lnTo>
                      <a:pt x="7130" y="19706"/>
                    </a:lnTo>
                    <a:lnTo>
                      <a:pt x="2783" y="19706"/>
                    </a:lnTo>
                    <a:lnTo>
                      <a:pt x="696" y="9118"/>
                    </a:lnTo>
                    <a:lnTo>
                      <a:pt x="0" y="1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 name="Freeform 226"/>
              <p:cNvSpPr>
                <a:spLocks/>
              </p:cNvSpPr>
              <p:nvPr/>
            </p:nvSpPr>
            <p:spPr bwMode="auto">
              <a:xfrm>
                <a:off x="5502275" y="3076575"/>
                <a:ext cx="95250" cy="103188"/>
              </a:xfrm>
              <a:custGeom>
                <a:avLst/>
                <a:gdLst>
                  <a:gd name="T0" fmla="*/ 10933 w 20000"/>
                  <a:gd name="T1" fmla="*/ 1235 h 20000"/>
                  <a:gd name="T2" fmla="*/ 10933 w 20000"/>
                  <a:gd name="T3" fmla="*/ 1975 h 20000"/>
                  <a:gd name="T4" fmla="*/ 13600 w 20000"/>
                  <a:gd name="T5" fmla="*/ 3210 h 20000"/>
                  <a:gd name="T6" fmla="*/ 15733 w 20000"/>
                  <a:gd name="T7" fmla="*/ 4568 h 20000"/>
                  <a:gd name="T8" fmla="*/ 16400 w 20000"/>
                  <a:gd name="T9" fmla="*/ 3210 h 20000"/>
                  <a:gd name="T10" fmla="*/ 17733 w 20000"/>
                  <a:gd name="T11" fmla="*/ 3210 h 20000"/>
                  <a:gd name="T12" fmla="*/ 16400 w 20000"/>
                  <a:gd name="T13" fmla="*/ 4568 h 20000"/>
                  <a:gd name="T14" fmla="*/ 17733 w 20000"/>
                  <a:gd name="T15" fmla="*/ 6543 h 20000"/>
                  <a:gd name="T16" fmla="*/ 17733 w 20000"/>
                  <a:gd name="T17" fmla="*/ 10247 h 20000"/>
                  <a:gd name="T18" fmla="*/ 19200 w 20000"/>
                  <a:gd name="T19" fmla="*/ 12099 h 20000"/>
                  <a:gd name="T20" fmla="*/ 19867 w 20000"/>
                  <a:gd name="T21" fmla="*/ 13457 h 20000"/>
                  <a:gd name="T22" fmla="*/ 19200 w 20000"/>
                  <a:gd name="T23" fmla="*/ 14815 h 20000"/>
                  <a:gd name="T24" fmla="*/ 17733 w 20000"/>
                  <a:gd name="T25" fmla="*/ 15432 h 20000"/>
                  <a:gd name="T26" fmla="*/ 17733 w 20000"/>
                  <a:gd name="T27" fmla="*/ 16667 h 20000"/>
                  <a:gd name="T28" fmla="*/ 19200 w 20000"/>
                  <a:gd name="T29" fmla="*/ 17901 h 20000"/>
                  <a:gd name="T30" fmla="*/ 17733 w 20000"/>
                  <a:gd name="T31" fmla="*/ 18642 h 20000"/>
                  <a:gd name="T32" fmla="*/ 12267 w 20000"/>
                  <a:gd name="T33" fmla="*/ 19877 h 20000"/>
                  <a:gd name="T34" fmla="*/ 14400 w 20000"/>
                  <a:gd name="T35" fmla="*/ 17901 h 20000"/>
                  <a:gd name="T36" fmla="*/ 12267 w 20000"/>
                  <a:gd name="T37" fmla="*/ 14815 h 20000"/>
                  <a:gd name="T38" fmla="*/ 8933 w 20000"/>
                  <a:gd name="T39" fmla="*/ 14815 h 20000"/>
                  <a:gd name="T40" fmla="*/ 8133 w 20000"/>
                  <a:gd name="T41" fmla="*/ 15432 h 20000"/>
                  <a:gd name="T42" fmla="*/ 4800 w 20000"/>
                  <a:gd name="T43" fmla="*/ 12099 h 20000"/>
                  <a:gd name="T44" fmla="*/ 1333 w 20000"/>
                  <a:gd name="T45" fmla="*/ 11605 h 20000"/>
                  <a:gd name="T46" fmla="*/ 1333 w 20000"/>
                  <a:gd name="T47" fmla="*/ 8272 h 20000"/>
                  <a:gd name="T48" fmla="*/ 0 w 20000"/>
                  <a:gd name="T49" fmla="*/ 5062 h 20000"/>
                  <a:gd name="T50" fmla="*/ 1333 w 20000"/>
                  <a:gd name="T51" fmla="*/ 1235 h 20000"/>
                  <a:gd name="T52" fmla="*/ 5467 w 20000"/>
                  <a:gd name="T53" fmla="*/ 0 h 20000"/>
                  <a:gd name="T54" fmla="*/ 8933 w 20000"/>
                  <a:gd name="T55" fmla="*/ 1235 h 20000"/>
                  <a:gd name="T56" fmla="*/ 10933 w 20000"/>
                  <a:gd name="T57" fmla="*/ 12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10933" y="1235"/>
                    </a:moveTo>
                    <a:lnTo>
                      <a:pt x="10933" y="1975"/>
                    </a:lnTo>
                    <a:lnTo>
                      <a:pt x="13600" y="3210"/>
                    </a:lnTo>
                    <a:lnTo>
                      <a:pt x="15733" y="4568"/>
                    </a:lnTo>
                    <a:lnTo>
                      <a:pt x="16400" y="3210"/>
                    </a:lnTo>
                    <a:lnTo>
                      <a:pt x="17733" y="3210"/>
                    </a:lnTo>
                    <a:lnTo>
                      <a:pt x="16400" y="4568"/>
                    </a:lnTo>
                    <a:lnTo>
                      <a:pt x="17733" y="6543"/>
                    </a:lnTo>
                    <a:lnTo>
                      <a:pt x="17733" y="10247"/>
                    </a:lnTo>
                    <a:lnTo>
                      <a:pt x="19200" y="12099"/>
                    </a:lnTo>
                    <a:lnTo>
                      <a:pt x="19867" y="13457"/>
                    </a:lnTo>
                    <a:lnTo>
                      <a:pt x="19200" y="14815"/>
                    </a:lnTo>
                    <a:lnTo>
                      <a:pt x="17733" y="15432"/>
                    </a:lnTo>
                    <a:lnTo>
                      <a:pt x="17733" y="16667"/>
                    </a:lnTo>
                    <a:lnTo>
                      <a:pt x="19200" y="17901"/>
                    </a:lnTo>
                    <a:lnTo>
                      <a:pt x="17733" y="18642"/>
                    </a:lnTo>
                    <a:lnTo>
                      <a:pt x="12267" y="19877"/>
                    </a:lnTo>
                    <a:lnTo>
                      <a:pt x="14400" y="17901"/>
                    </a:lnTo>
                    <a:lnTo>
                      <a:pt x="12267" y="14815"/>
                    </a:lnTo>
                    <a:lnTo>
                      <a:pt x="8933" y="14815"/>
                    </a:lnTo>
                    <a:lnTo>
                      <a:pt x="8133" y="15432"/>
                    </a:lnTo>
                    <a:lnTo>
                      <a:pt x="4800" y="12099"/>
                    </a:lnTo>
                    <a:lnTo>
                      <a:pt x="1333" y="11605"/>
                    </a:lnTo>
                    <a:lnTo>
                      <a:pt x="1333" y="8272"/>
                    </a:lnTo>
                    <a:lnTo>
                      <a:pt x="0" y="5062"/>
                    </a:lnTo>
                    <a:lnTo>
                      <a:pt x="1333" y="1235"/>
                    </a:lnTo>
                    <a:lnTo>
                      <a:pt x="5467" y="0"/>
                    </a:lnTo>
                    <a:lnTo>
                      <a:pt x="8933" y="1235"/>
                    </a:lnTo>
                    <a:lnTo>
                      <a:pt x="10933" y="12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 name="Freeform 225"/>
              <p:cNvSpPr>
                <a:spLocks/>
              </p:cNvSpPr>
              <p:nvPr/>
            </p:nvSpPr>
            <p:spPr bwMode="auto">
              <a:xfrm>
                <a:off x="5483225" y="3136900"/>
                <a:ext cx="60325" cy="53975"/>
              </a:xfrm>
              <a:custGeom>
                <a:avLst/>
                <a:gdLst>
                  <a:gd name="T0" fmla="*/ 12128 w 20000"/>
                  <a:gd name="T1" fmla="*/ 9762 h 20000"/>
                  <a:gd name="T2" fmla="*/ 8723 w 20000"/>
                  <a:gd name="T3" fmla="*/ 13571 h 20000"/>
                  <a:gd name="T4" fmla="*/ 5532 w 20000"/>
                  <a:gd name="T5" fmla="*/ 19762 h 20000"/>
                  <a:gd name="T6" fmla="*/ 0 w 20000"/>
                  <a:gd name="T7" fmla="*/ 12381 h 20000"/>
                  <a:gd name="T8" fmla="*/ 851 w 20000"/>
                  <a:gd name="T9" fmla="*/ 12381 h 20000"/>
                  <a:gd name="T10" fmla="*/ 3404 w 20000"/>
                  <a:gd name="T11" fmla="*/ 6190 h 20000"/>
                  <a:gd name="T12" fmla="*/ 8723 w 20000"/>
                  <a:gd name="T13" fmla="*/ 0 h 20000"/>
                  <a:gd name="T14" fmla="*/ 14255 w 20000"/>
                  <a:gd name="T15" fmla="*/ 952 h 20000"/>
                  <a:gd name="T16" fmla="*/ 19787 w 20000"/>
                  <a:gd name="T17" fmla="*/ 7381 h 20000"/>
                  <a:gd name="T18" fmla="*/ 17660 w 20000"/>
                  <a:gd name="T19" fmla="*/ 9762 h 20000"/>
                  <a:gd name="T20" fmla="*/ 12128 w 20000"/>
                  <a:gd name="T21" fmla="*/ 976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2128" y="9762"/>
                    </a:moveTo>
                    <a:lnTo>
                      <a:pt x="8723" y="13571"/>
                    </a:lnTo>
                    <a:lnTo>
                      <a:pt x="5532" y="19762"/>
                    </a:lnTo>
                    <a:lnTo>
                      <a:pt x="0" y="12381"/>
                    </a:lnTo>
                    <a:lnTo>
                      <a:pt x="851" y="12381"/>
                    </a:lnTo>
                    <a:lnTo>
                      <a:pt x="3404" y="6190"/>
                    </a:lnTo>
                    <a:lnTo>
                      <a:pt x="8723" y="0"/>
                    </a:lnTo>
                    <a:lnTo>
                      <a:pt x="14255" y="952"/>
                    </a:lnTo>
                    <a:lnTo>
                      <a:pt x="19787" y="7381"/>
                    </a:lnTo>
                    <a:lnTo>
                      <a:pt x="17660" y="9762"/>
                    </a:lnTo>
                    <a:lnTo>
                      <a:pt x="12128" y="97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 name="Freeform 224"/>
              <p:cNvSpPr>
                <a:spLocks/>
              </p:cNvSpPr>
              <p:nvPr/>
            </p:nvSpPr>
            <p:spPr bwMode="auto">
              <a:xfrm>
                <a:off x="5519738" y="3152775"/>
                <a:ext cx="53975" cy="42863"/>
              </a:xfrm>
              <a:custGeom>
                <a:avLst/>
                <a:gdLst>
                  <a:gd name="T0" fmla="*/ 15952 w 20000"/>
                  <a:gd name="T1" fmla="*/ 12059 h 20000"/>
                  <a:gd name="T2" fmla="*/ 8571 w 20000"/>
                  <a:gd name="T3" fmla="*/ 19706 h 20000"/>
                  <a:gd name="T4" fmla="*/ 8571 w 20000"/>
                  <a:gd name="T5" fmla="*/ 16765 h 20000"/>
                  <a:gd name="T6" fmla="*/ 8571 w 20000"/>
                  <a:gd name="T7" fmla="*/ 12059 h 20000"/>
                  <a:gd name="T8" fmla="*/ 0 w 20000"/>
                  <a:gd name="T9" fmla="*/ 4706 h 20000"/>
                  <a:gd name="T10" fmla="*/ 6190 w 20000"/>
                  <a:gd name="T11" fmla="*/ 4706 h 20000"/>
                  <a:gd name="T12" fmla="*/ 8571 w 20000"/>
                  <a:gd name="T13" fmla="*/ 1765 h 20000"/>
                  <a:gd name="T14" fmla="*/ 9762 w 20000"/>
                  <a:gd name="T15" fmla="*/ 0 h 20000"/>
                  <a:gd name="T16" fmla="*/ 15952 w 20000"/>
                  <a:gd name="T17" fmla="*/ 0 h 20000"/>
                  <a:gd name="T18" fmla="*/ 19762 w 20000"/>
                  <a:gd name="T19" fmla="*/ 7647 h 20000"/>
                  <a:gd name="T20" fmla="*/ 15952 w 20000"/>
                  <a:gd name="T21" fmla="*/ 1205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5952" y="12059"/>
                    </a:moveTo>
                    <a:lnTo>
                      <a:pt x="8571" y="19706"/>
                    </a:lnTo>
                    <a:lnTo>
                      <a:pt x="8571" y="16765"/>
                    </a:lnTo>
                    <a:lnTo>
                      <a:pt x="8571" y="12059"/>
                    </a:lnTo>
                    <a:lnTo>
                      <a:pt x="0" y="4706"/>
                    </a:lnTo>
                    <a:lnTo>
                      <a:pt x="6190" y="4706"/>
                    </a:lnTo>
                    <a:lnTo>
                      <a:pt x="8571" y="1765"/>
                    </a:lnTo>
                    <a:lnTo>
                      <a:pt x="9762" y="0"/>
                    </a:lnTo>
                    <a:lnTo>
                      <a:pt x="15952" y="0"/>
                    </a:lnTo>
                    <a:lnTo>
                      <a:pt x="19762" y="7647"/>
                    </a:lnTo>
                    <a:lnTo>
                      <a:pt x="15952" y="120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 name="Freeform 223"/>
              <p:cNvSpPr>
                <a:spLocks/>
              </p:cNvSpPr>
              <p:nvPr/>
            </p:nvSpPr>
            <p:spPr bwMode="auto">
              <a:xfrm>
                <a:off x="5541963" y="3173413"/>
                <a:ext cx="63500" cy="60325"/>
              </a:xfrm>
              <a:custGeom>
                <a:avLst/>
                <a:gdLst>
                  <a:gd name="T0" fmla="*/ 14400 w 20000"/>
                  <a:gd name="T1" fmla="*/ 0 h 20000"/>
                  <a:gd name="T2" fmla="*/ 19800 w 20000"/>
                  <a:gd name="T3" fmla="*/ 5532 h 20000"/>
                  <a:gd name="T4" fmla="*/ 19800 w 20000"/>
                  <a:gd name="T5" fmla="*/ 10851 h 20000"/>
                  <a:gd name="T6" fmla="*/ 16600 w 20000"/>
                  <a:gd name="T7" fmla="*/ 14255 h 20000"/>
                  <a:gd name="T8" fmla="*/ 12400 w 20000"/>
                  <a:gd name="T9" fmla="*/ 12128 h 20000"/>
                  <a:gd name="T10" fmla="*/ 11400 w 20000"/>
                  <a:gd name="T11" fmla="*/ 16383 h 20000"/>
                  <a:gd name="T12" fmla="*/ 6200 w 20000"/>
                  <a:gd name="T13" fmla="*/ 16383 h 20000"/>
                  <a:gd name="T14" fmla="*/ 3200 w 20000"/>
                  <a:gd name="T15" fmla="*/ 19787 h 20000"/>
                  <a:gd name="T16" fmla="*/ 1200 w 20000"/>
                  <a:gd name="T17" fmla="*/ 14255 h 20000"/>
                  <a:gd name="T18" fmla="*/ 0 w 20000"/>
                  <a:gd name="T19" fmla="*/ 10851 h 20000"/>
                  <a:gd name="T20" fmla="*/ 0 w 20000"/>
                  <a:gd name="T21" fmla="*/ 7660 h 20000"/>
                  <a:gd name="T22" fmla="*/ 6200 w 20000"/>
                  <a:gd name="T23" fmla="*/ 2128 h 20000"/>
                  <a:gd name="T24" fmla="*/ 14400 w 20000"/>
                  <a:gd name="T2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4400" y="0"/>
                    </a:moveTo>
                    <a:lnTo>
                      <a:pt x="19800" y="5532"/>
                    </a:lnTo>
                    <a:lnTo>
                      <a:pt x="19800" y="10851"/>
                    </a:lnTo>
                    <a:lnTo>
                      <a:pt x="16600" y="14255"/>
                    </a:lnTo>
                    <a:lnTo>
                      <a:pt x="12400" y="12128"/>
                    </a:lnTo>
                    <a:lnTo>
                      <a:pt x="11400" y="16383"/>
                    </a:lnTo>
                    <a:lnTo>
                      <a:pt x="6200" y="16383"/>
                    </a:lnTo>
                    <a:lnTo>
                      <a:pt x="3200" y="19787"/>
                    </a:lnTo>
                    <a:lnTo>
                      <a:pt x="1200" y="14255"/>
                    </a:lnTo>
                    <a:lnTo>
                      <a:pt x="0" y="10851"/>
                    </a:lnTo>
                    <a:lnTo>
                      <a:pt x="0" y="7660"/>
                    </a:lnTo>
                    <a:lnTo>
                      <a:pt x="6200" y="2128"/>
                    </a:lnTo>
                    <a:lnTo>
                      <a:pt x="1440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 name="Freeform 222"/>
              <p:cNvSpPr>
                <a:spLocks/>
              </p:cNvSpPr>
              <p:nvPr/>
            </p:nvSpPr>
            <p:spPr bwMode="auto">
              <a:xfrm>
                <a:off x="5429250" y="2906713"/>
                <a:ext cx="149225" cy="82550"/>
              </a:xfrm>
              <a:custGeom>
                <a:avLst/>
                <a:gdLst>
                  <a:gd name="T0" fmla="*/ 5812 w 20000"/>
                  <a:gd name="T1" fmla="*/ 0 h 20000"/>
                  <a:gd name="T2" fmla="*/ 7521 w 20000"/>
                  <a:gd name="T3" fmla="*/ 3077 h 20000"/>
                  <a:gd name="T4" fmla="*/ 9316 w 20000"/>
                  <a:gd name="T5" fmla="*/ 1538 h 20000"/>
                  <a:gd name="T6" fmla="*/ 9829 w 20000"/>
                  <a:gd name="T7" fmla="*/ 4000 h 20000"/>
                  <a:gd name="T8" fmla="*/ 10684 w 20000"/>
                  <a:gd name="T9" fmla="*/ 5538 h 20000"/>
                  <a:gd name="T10" fmla="*/ 12821 w 20000"/>
                  <a:gd name="T11" fmla="*/ 4000 h 20000"/>
                  <a:gd name="T12" fmla="*/ 14188 w 20000"/>
                  <a:gd name="T13" fmla="*/ 4000 h 20000"/>
                  <a:gd name="T14" fmla="*/ 15043 w 20000"/>
                  <a:gd name="T15" fmla="*/ 3077 h 20000"/>
                  <a:gd name="T16" fmla="*/ 16838 w 20000"/>
                  <a:gd name="T17" fmla="*/ 4000 h 20000"/>
                  <a:gd name="T18" fmla="*/ 19060 w 20000"/>
                  <a:gd name="T19" fmla="*/ 5538 h 20000"/>
                  <a:gd name="T20" fmla="*/ 19915 w 20000"/>
                  <a:gd name="T21" fmla="*/ 6308 h 20000"/>
                  <a:gd name="T22" fmla="*/ 18547 w 20000"/>
                  <a:gd name="T23" fmla="*/ 13538 h 20000"/>
                  <a:gd name="T24" fmla="*/ 16838 w 20000"/>
                  <a:gd name="T25" fmla="*/ 13538 h 20000"/>
                  <a:gd name="T26" fmla="*/ 16410 w 20000"/>
                  <a:gd name="T27" fmla="*/ 11846 h 20000"/>
                  <a:gd name="T28" fmla="*/ 14188 w 20000"/>
                  <a:gd name="T29" fmla="*/ 11846 h 20000"/>
                  <a:gd name="T30" fmla="*/ 13333 w 20000"/>
                  <a:gd name="T31" fmla="*/ 11846 h 20000"/>
                  <a:gd name="T32" fmla="*/ 10684 w 20000"/>
                  <a:gd name="T33" fmla="*/ 14154 h 20000"/>
                  <a:gd name="T34" fmla="*/ 9829 w 20000"/>
                  <a:gd name="T35" fmla="*/ 14154 h 20000"/>
                  <a:gd name="T36" fmla="*/ 7179 w 20000"/>
                  <a:gd name="T37" fmla="*/ 16615 h 20000"/>
                  <a:gd name="T38" fmla="*/ 4872 w 20000"/>
                  <a:gd name="T39" fmla="*/ 19846 h 20000"/>
                  <a:gd name="T40" fmla="*/ 1795 w 20000"/>
                  <a:gd name="T41" fmla="*/ 18154 h 20000"/>
                  <a:gd name="T42" fmla="*/ 1368 w 20000"/>
                  <a:gd name="T43" fmla="*/ 16615 h 20000"/>
                  <a:gd name="T44" fmla="*/ 0 w 20000"/>
                  <a:gd name="T45" fmla="*/ 14154 h 20000"/>
                  <a:gd name="T46" fmla="*/ 0 w 20000"/>
                  <a:gd name="T47" fmla="*/ 10308 h 20000"/>
                  <a:gd name="T48" fmla="*/ 5812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5812" y="0"/>
                    </a:moveTo>
                    <a:lnTo>
                      <a:pt x="7521" y="3077"/>
                    </a:lnTo>
                    <a:lnTo>
                      <a:pt x="9316" y="1538"/>
                    </a:lnTo>
                    <a:lnTo>
                      <a:pt x="9829" y="4000"/>
                    </a:lnTo>
                    <a:lnTo>
                      <a:pt x="10684" y="5538"/>
                    </a:lnTo>
                    <a:lnTo>
                      <a:pt x="12821" y="4000"/>
                    </a:lnTo>
                    <a:lnTo>
                      <a:pt x="14188" y="4000"/>
                    </a:lnTo>
                    <a:lnTo>
                      <a:pt x="15043" y="3077"/>
                    </a:lnTo>
                    <a:lnTo>
                      <a:pt x="16838" y="4000"/>
                    </a:lnTo>
                    <a:lnTo>
                      <a:pt x="19060" y="5538"/>
                    </a:lnTo>
                    <a:lnTo>
                      <a:pt x="19915" y="6308"/>
                    </a:lnTo>
                    <a:lnTo>
                      <a:pt x="18547" y="13538"/>
                    </a:lnTo>
                    <a:lnTo>
                      <a:pt x="16838" y="13538"/>
                    </a:lnTo>
                    <a:lnTo>
                      <a:pt x="16410" y="11846"/>
                    </a:lnTo>
                    <a:lnTo>
                      <a:pt x="14188" y="11846"/>
                    </a:lnTo>
                    <a:lnTo>
                      <a:pt x="13333" y="11846"/>
                    </a:lnTo>
                    <a:lnTo>
                      <a:pt x="10684" y="14154"/>
                    </a:lnTo>
                    <a:lnTo>
                      <a:pt x="9829" y="14154"/>
                    </a:lnTo>
                    <a:lnTo>
                      <a:pt x="7179" y="16615"/>
                    </a:lnTo>
                    <a:lnTo>
                      <a:pt x="4872" y="19846"/>
                    </a:lnTo>
                    <a:lnTo>
                      <a:pt x="1795" y="18154"/>
                    </a:lnTo>
                    <a:lnTo>
                      <a:pt x="1368" y="16615"/>
                    </a:lnTo>
                    <a:lnTo>
                      <a:pt x="0" y="14154"/>
                    </a:lnTo>
                    <a:lnTo>
                      <a:pt x="0" y="10308"/>
                    </a:lnTo>
                    <a:lnTo>
                      <a:pt x="581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 name="Freeform 221"/>
              <p:cNvSpPr>
                <a:spLocks/>
              </p:cNvSpPr>
              <p:nvPr/>
            </p:nvSpPr>
            <p:spPr bwMode="auto">
              <a:xfrm>
                <a:off x="5305425" y="2863850"/>
                <a:ext cx="168275" cy="92075"/>
              </a:xfrm>
              <a:custGeom>
                <a:avLst/>
                <a:gdLst>
                  <a:gd name="T0" fmla="*/ 6943 w 20000"/>
                  <a:gd name="T1" fmla="*/ 0 h 20000"/>
                  <a:gd name="T2" fmla="*/ 8151 w 20000"/>
                  <a:gd name="T3" fmla="*/ 0 h 20000"/>
                  <a:gd name="T4" fmla="*/ 8981 w 20000"/>
                  <a:gd name="T5" fmla="*/ 0 h 20000"/>
                  <a:gd name="T6" fmla="*/ 10189 w 20000"/>
                  <a:gd name="T7" fmla="*/ 0 h 20000"/>
                  <a:gd name="T8" fmla="*/ 10189 w 20000"/>
                  <a:gd name="T9" fmla="*/ 1507 h 20000"/>
                  <a:gd name="T10" fmla="*/ 12075 w 20000"/>
                  <a:gd name="T11" fmla="*/ 2877 h 20000"/>
                  <a:gd name="T12" fmla="*/ 12830 w 20000"/>
                  <a:gd name="T13" fmla="*/ 2877 h 20000"/>
                  <a:gd name="T14" fmla="*/ 12830 w 20000"/>
                  <a:gd name="T15" fmla="*/ 3699 h 20000"/>
                  <a:gd name="T16" fmla="*/ 12830 w 20000"/>
                  <a:gd name="T17" fmla="*/ 5068 h 20000"/>
                  <a:gd name="T18" fmla="*/ 14038 w 20000"/>
                  <a:gd name="T19" fmla="*/ 6438 h 20000"/>
                  <a:gd name="T20" fmla="*/ 14792 w 20000"/>
                  <a:gd name="T21" fmla="*/ 6438 h 20000"/>
                  <a:gd name="T22" fmla="*/ 16000 w 20000"/>
                  <a:gd name="T23" fmla="*/ 5068 h 20000"/>
                  <a:gd name="T24" fmla="*/ 17132 w 20000"/>
                  <a:gd name="T25" fmla="*/ 6438 h 20000"/>
                  <a:gd name="T26" fmla="*/ 17132 w 20000"/>
                  <a:gd name="T27" fmla="*/ 7123 h 20000"/>
                  <a:gd name="T28" fmla="*/ 19925 w 20000"/>
                  <a:gd name="T29" fmla="*/ 8493 h 20000"/>
                  <a:gd name="T30" fmla="*/ 19925 w 20000"/>
                  <a:gd name="T31" fmla="*/ 9315 h 20000"/>
                  <a:gd name="T32" fmla="*/ 14792 w 20000"/>
                  <a:gd name="T33" fmla="*/ 18493 h 20000"/>
                  <a:gd name="T34" fmla="*/ 11698 w 20000"/>
                  <a:gd name="T35" fmla="*/ 17671 h 20000"/>
                  <a:gd name="T36" fmla="*/ 9736 w 20000"/>
                  <a:gd name="T37" fmla="*/ 16301 h 20000"/>
                  <a:gd name="T38" fmla="*/ 8151 w 20000"/>
                  <a:gd name="T39" fmla="*/ 19863 h 20000"/>
                  <a:gd name="T40" fmla="*/ 6943 w 20000"/>
                  <a:gd name="T41" fmla="*/ 19863 h 20000"/>
                  <a:gd name="T42" fmla="*/ 5057 w 20000"/>
                  <a:gd name="T43" fmla="*/ 18493 h 20000"/>
                  <a:gd name="T44" fmla="*/ 5057 w 20000"/>
                  <a:gd name="T45" fmla="*/ 17671 h 20000"/>
                  <a:gd name="T46" fmla="*/ 3849 w 20000"/>
                  <a:gd name="T47" fmla="*/ 14932 h 20000"/>
                  <a:gd name="T48" fmla="*/ 3547 w 20000"/>
                  <a:gd name="T49" fmla="*/ 14247 h 20000"/>
                  <a:gd name="T50" fmla="*/ 1509 w 20000"/>
                  <a:gd name="T51" fmla="*/ 12055 h 20000"/>
                  <a:gd name="T52" fmla="*/ 1509 w 20000"/>
                  <a:gd name="T53" fmla="*/ 9315 h 20000"/>
                  <a:gd name="T54" fmla="*/ 0 w 20000"/>
                  <a:gd name="T55" fmla="*/ 8493 h 20000"/>
                  <a:gd name="T56" fmla="*/ 0 w 20000"/>
                  <a:gd name="T57" fmla="*/ 6438 h 20000"/>
                  <a:gd name="T58" fmla="*/ 0 w 20000"/>
                  <a:gd name="T59" fmla="*/ 5068 h 20000"/>
                  <a:gd name="T60" fmla="*/ 755 w 20000"/>
                  <a:gd name="T61" fmla="*/ 6438 h 20000"/>
                  <a:gd name="T62" fmla="*/ 6642 w 20000"/>
                  <a:gd name="T63" fmla="*/ 1507 h 20000"/>
                  <a:gd name="T64" fmla="*/ 6943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6943" y="0"/>
                    </a:moveTo>
                    <a:lnTo>
                      <a:pt x="8151" y="0"/>
                    </a:lnTo>
                    <a:lnTo>
                      <a:pt x="8981" y="0"/>
                    </a:lnTo>
                    <a:lnTo>
                      <a:pt x="10189" y="0"/>
                    </a:lnTo>
                    <a:lnTo>
                      <a:pt x="10189" y="1507"/>
                    </a:lnTo>
                    <a:lnTo>
                      <a:pt x="12075" y="2877"/>
                    </a:lnTo>
                    <a:lnTo>
                      <a:pt x="12830" y="2877"/>
                    </a:lnTo>
                    <a:lnTo>
                      <a:pt x="12830" y="3699"/>
                    </a:lnTo>
                    <a:lnTo>
                      <a:pt x="12830" y="5068"/>
                    </a:lnTo>
                    <a:lnTo>
                      <a:pt x="14038" y="6438"/>
                    </a:lnTo>
                    <a:lnTo>
                      <a:pt x="14792" y="6438"/>
                    </a:lnTo>
                    <a:lnTo>
                      <a:pt x="16000" y="5068"/>
                    </a:lnTo>
                    <a:lnTo>
                      <a:pt x="17132" y="6438"/>
                    </a:lnTo>
                    <a:lnTo>
                      <a:pt x="17132" y="7123"/>
                    </a:lnTo>
                    <a:lnTo>
                      <a:pt x="19925" y="8493"/>
                    </a:lnTo>
                    <a:lnTo>
                      <a:pt x="19925" y="9315"/>
                    </a:lnTo>
                    <a:lnTo>
                      <a:pt x="14792" y="18493"/>
                    </a:lnTo>
                    <a:lnTo>
                      <a:pt x="11698" y="17671"/>
                    </a:lnTo>
                    <a:lnTo>
                      <a:pt x="9736" y="16301"/>
                    </a:lnTo>
                    <a:lnTo>
                      <a:pt x="8151" y="19863"/>
                    </a:lnTo>
                    <a:lnTo>
                      <a:pt x="6943" y="19863"/>
                    </a:lnTo>
                    <a:lnTo>
                      <a:pt x="5057" y="18493"/>
                    </a:lnTo>
                    <a:lnTo>
                      <a:pt x="5057" y="17671"/>
                    </a:lnTo>
                    <a:lnTo>
                      <a:pt x="3849" y="14932"/>
                    </a:lnTo>
                    <a:lnTo>
                      <a:pt x="3547" y="14247"/>
                    </a:lnTo>
                    <a:lnTo>
                      <a:pt x="1509" y="12055"/>
                    </a:lnTo>
                    <a:lnTo>
                      <a:pt x="1509" y="9315"/>
                    </a:lnTo>
                    <a:lnTo>
                      <a:pt x="0" y="8493"/>
                    </a:lnTo>
                    <a:lnTo>
                      <a:pt x="0" y="6438"/>
                    </a:lnTo>
                    <a:lnTo>
                      <a:pt x="0" y="5068"/>
                    </a:lnTo>
                    <a:lnTo>
                      <a:pt x="755" y="6438"/>
                    </a:lnTo>
                    <a:lnTo>
                      <a:pt x="6642" y="1507"/>
                    </a:lnTo>
                    <a:lnTo>
                      <a:pt x="6943"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 name="Freeform 220"/>
              <p:cNvSpPr>
                <a:spLocks/>
              </p:cNvSpPr>
              <p:nvPr/>
            </p:nvSpPr>
            <p:spPr bwMode="auto">
              <a:xfrm>
                <a:off x="6646863" y="3278188"/>
                <a:ext cx="371475" cy="309562"/>
              </a:xfrm>
              <a:custGeom>
                <a:avLst/>
                <a:gdLst>
                  <a:gd name="T0" fmla="*/ 14471 w 20000"/>
                  <a:gd name="T1" fmla="*/ 861 h 20000"/>
                  <a:gd name="T2" fmla="*/ 15358 w 20000"/>
                  <a:gd name="T3" fmla="*/ 4262 h 20000"/>
                  <a:gd name="T4" fmla="*/ 17133 w 20000"/>
                  <a:gd name="T5" fmla="*/ 2787 h 20000"/>
                  <a:gd name="T6" fmla="*/ 19078 w 20000"/>
                  <a:gd name="T7" fmla="*/ 2541 h 20000"/>
                  <a:gd name="T8" fmla="*/ 19966 w 20000"/>
                  <a:gd name="T9" fmla="*/ 2787 h 20000"/>
                  <a:gd name="T10" fmla="*/ 19625 w 20000"/>
                  <a:gd name="T11" fmla="*/ 3197 h 20000"/>
                  <a:gd name="T12" fmla="*/ 17679 w 20000"/>
                  <a:gd name="T13" fmla="*/ 3607 h 20000"/>
                  <a:gd name="T14" fmla="*/ 15904 w 20000"/>
                  <a:gd name="T15" fmla="*/ 4467 h 20000"/>
                  <a:gd name="T16" fmla="*/ 15904 w 20000"/>
                  <a:gd name="T17" fmla="*/ 6967 h 20000"/>
                  <a:gd name="T18" fmla="*/ 15358 w 20000"/>
                  <a:gd name="T19" fmla="*/ 8893 h 20000"/>
                  <a:gd name="T20" fmla="*/ 14471 w 20000"/>
                  <a:gd name="T21" fmla="*/ 9959 h 20000"/>
                  <a:gd name="T22" fmla="*/ 14334 w 20000"/>
                  <a:gd name="T23" fmla="*/ 10820 h 20000"/>
                  <a:gd name="T24" fmla="*/ 13618 w 20000"/>
                  <a:gd name="T25" fmla="*/ 12090 h 20000"/>
                  <a:gd name="T26" fmla="*/ 13413 w 20000"/>
                  <a:gd name="T27" fmla="*/ 13770 h 20000"/>
                  <a:gd name="T28" fmla="*/ 13072 w 20000"/>
                  <a:gd name="T29" fmla="*/ 15492 h 20000"/>
                  <a:gd name="T30" fmla="*/ 12218 w 20000"/>
                  <a:gd name="T31" fmla="*/ 15287 h 20000"/>
                  <a:gd name="T32" fmla="*/ 11331 w 20000"/>
                  <a:gd name="T33" fmla="*/ 15287 h 20000"/>
                  <a:gd name="T34" fmla="*/ 10273 w 20000"/>
                  <a:gd name="T35" fmla="*/ 15902 h 20000"/>
                  <a:gd name="T36" fmla="*/ 9727 w 20000"/>
                  <a:gd name="T37" fmla="*/ 16107 h 20000"/>
                  <a:gd name="T38" fmla="*/ 9386 w 20000"/>
                  <a:gd name="T39" fmla="*/ 18689 h 20000"/>
                  <a:gd name="T40" fmla="*/ 6212 w 20000"/>
                  <a:gd name="T41" fmla="*/ 19713 h 20000"/>
                  <a:gd name="T42" fmla="*/ 4778 w 20000"/>
                  <a:gd name="T43" fmla="*/ 19959 h 20000"/>
                  <a:gd name="T44" fmla="*/ 1604 w 20000"/>
                  <a:gd name="T45" fmla="*/ 19303 h 20000"/>
                  <a:gd name="T46" fmla="*/ 2457 w 20000"/>
                  <a:gd name="T47" fmla="*/ 16967 h 20000"/>
                  <a:gd name="T48" fmla="*/ 922 w 20000"/>
                  <a:gd name="T49" fmla="*/ 15492 h 20000"/>
                  <a:gd name="T50" fmla="*/ 205 w 20000"/>
                  <a:gd name="T51" fmla="*/ 12090 h 20000"/>
                  <a:gd name="T52" fmla="*/ 205 w 20000"/>
                  <a:gd name="T53" fmla="*/ 11066 h 20000"/>
                  <a:gd name="T54" fmla="*/ 546 w 20000"/>
                  <a:gd name="T55" fmla="*/ 9754 h 20000"/>
                  <a:gd name="T56" fmla="*/ 546 w 20000"/>
                  <a:gd name="T57" fmla="*/ 8074 h 20000"/>
                  <a:gd name="T58" fmla="*/ 2321 w 20000"/>
                  <a:gd name="T59" fmla="*/ 7213 h 20000"/>
                  <a:gd name="T60" fmla="*/ 3720 w 20000"/>
                  <a:gd name="T61" fmla="*/ 6557 h 20000"/>
                  <a:gd name="T62" fmla="*/ 5666 w 20000"/>
                  <a:gd name="T63" fmla="*/ 4877 h 20000"/>
                  <a:gd name="T64" fmla="*/ 6724 w 20000"/>
                  <a:gd name="T65" fmla="*/ 2787 h 20000"/>
                  <a:gd name="T66" fmla="*/ 9898 w 20000"/>
                  <a:gd name="T67" fmla="*/ 3852 h 20000"/>
                  <a:gd name="T68" fmla="*/ 11672 w 20000"/>
                  <a:gd name="T69" fmla="*/ 3197 h 20000"/>
                  <a:gd name="T70" fmla="*/ 13413 w 20000"/>
                  <a:gd name="T71" fmla="*/ 1926 h 20000"/>
                  <a:gd name="T72" fmla="*/ 13618 w 20000"/>
                  <a:gd name="T7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13618" y="0"/>
                    </a:moveTo>
                    <a:lnTo>
                      <a:pt x="14471" y="861"/>
                    </a:lnTo>
                    <a:lnTo>
                      <a:pt x="14881" y="1066"/>
                    </a:lnTo>
                    <a:lnTo>
                      <a:pt x="15358" y="4262"/>
                    </a:lnTo>
                    <a:lnTo>
                      <a:pt x="16280" y="3607"/>
                    </a:lnTo>
                    <a:lnTo>
                      <a:pt x="17133" y="2787"/>
                    </a:lnTo>
                    <a:lnTo>
                      <a:pt x="18225" y="2131"/>
                    </a:lnTo>
                    <a:lnTo>
                      <a:pt x="19078" y="2541"/>
                    </a:lnTo>
                    <a:lnTo>
                      <a:pt x="19420" y="2541"/>
                    </a:lnTo>
                    <a:lnTo>
                      <a:pt x="19966" y="2787"/>
                    </a:lnTo>
                    <a:lnTo>
                      <a:pt x="19420" y="2787"/>
                    </a:lnTo>
                    <a:lnTo>
                      <a:pt x="19625" y="3197"/>
                    </a:lnTo>
                    <a:lnTo>
                      <a:pt x="19966" y="3607"/>
                    </a:lnTo>
                    <a:lnTo>
                      <a:pt x="17679" y="3607"/>
                    </a:lnTo>
                    <a:lnTo>
                      <a:pt x="16792" y="3852"/>
                    </a:lnTo>
                    <a:lnTo>
                      <a:pt x="15904" y="4467"/>
                    </a:lnTo>
                    <a:lnTo>
                      <a:pt x="15734" y="5287"/>
                    </a:lnTo>
                    <a:lnTo>
                      <a:pt x="15904" y="6967"/>
                    </a:lnTo>
                    <a:lnTo>
                      <a:pt x="15734" y="8279"/>
                    </a:lnTo>
                    <a:lnTo>
                      <a:pt x="15358" y="8893"/>
                    </a:lnTo>
                    <a:lnTo>
                      <a:pt x="15734" y="9959"/>
                    </a:lnTo>
                    <a:lnTo>
                      <a:pt x="14471" y="9959"/>
                    </a:lnTo>
                    <a:lnTo>
                      <a:pt x="13959" y="9959"/>
                    </a:lnTo>
                    <a:lnTo>
                      <a:pt x="14334" y="10820"/>
                    </a:lnTo>
                    <a:lnTo>
                      <a:pt x="14471" y="11475"/>
                    </a:lnTo>
                    <a:lnTo>
                      <a:pt x="13618" y="12090"/>
                    </a:lnTo>
                    <a:lnTo>
                      <a:pt x="13618" y="13156"/>
                    </a:lnTo>
                    <a:lnTo>
                      <a:pt x="13413" y="13770"/>
                    </a:lnTo>
                    <a:lnTo>
                      <a:pt x="13618" y="14836"/>
                    </a:lnTo>
                    <a:lnTo>
                      <a:pt x="13072" y="15492"/>
                    </a:lnTo>
                    <a:lnTo>
                      <a:pt x="12560" y="15287"/>
                    </a:lnTo>
                    <a:lnTo>
                      <a:pt x="12218" y="15287"/>
                    </a:lnTo>
                    <a:lnTo>
                      <a:pt x="11672" y="14836"/>
                    </a:lnTo>
                    <a:lnTo>
                      <a:pt x="11331" y="15287"/>
                    </a:lnTo>
                    <a:lnTo>
                      <a:pt x="11126" y="15902"/>
                    </a:lnTo>
                    <a:lnTo>
                      <a:pt x="10273" y="15902"/>
                    </a:lnTo>
                    <a:lnTo>
                      <a:pt x="9898" y="15902"/>
                    </a:lnTo>
                    <a:lnTo>
                      <a:pt x="9727" y="16107"/>
                    </a:lnTo>
                    <a:lnTo>
                      <a:pt x="9386" y="16516"/>
                    </a:lnTo>
                    <a:lnTo>
                      <a:pt x="9386" y="18689"/>
                    </a:lnTo>
                    <a:lnTo>
                      <a:pt x="7611" y="19303"/>
                    </a:lnTo>
                    <a:lnTo>
                      <a:pt x="6212" y="19713"/>
                    </a:lnTo>
                    <a:lnTo>
                      <a:pt x="5666" y="19959"/>
                    </a:lnTo>
                    <a:lnTo>
                      <a:pt x="4778" y="19959"/>
                    </a:lnTo>
                    <a:lnTo>
                      <a:pt x="3720" y="19959"/>
                    </a:lnTo>
                    <a:lnTo>
                      <a:pt x="1604" y="19303"/>
                    </a:lnTo>
                    <a:lnTo>
                      <a:pt x="1945" y="17828"/>
                    </a:lnTo>
                    <a:lnTo>
                      <a:pt x="2457" y="16967"/>
                    </a:lnTo>
                    <a:lnTo>
                      <a:pt x="2321" y="15902"/>
                    </a:lnTo>
                    <a:lnTo>
                      <a:pt x="922" y="15492"/>
                    </a:lnTo>
                    <a:lnTo>
                      <a:pt x="922" y="13770"/>
                    </a:lnTo>
                    <a:lnTo>
                      <a:pt x="205" y="12090"/>
                    </a:lnTo>
                    <a:lnTo>
                      <a:pt x="546" y="11475"/>
                    </a:lnTo>
                    <a:lnTo>
                      <a:pt x="205" y="11066"/>
                    </a:lnTo>
                    <a:lnTo>
                      <a:pt x="0" y="9959"/>
                    </a:lnTo>
                    <a:lnTo>
                      <a:pt x="546" y="9754"/>
                    </a:lnTo>
                    <a:lnTo>
                      <a:pt x="205" y="9344"/>
                    </a:lnTo>
                    <a:lnTo>
                      <a:pt x="546" y="8074"/>
                    </a:lnTo>
                    <a:lnTo>
                      <a:pt x="546" y="6557"/>
                    </a:lnTo>
                    <a:lnTo>
                      <a:pt x="2321" y="7213"/>
                    </a:lnTo>
                    <a:lnTo>
                      <a:pt x="2321" y="8074"/>
                    </a:lnTo>
                    <a:lnTo>
                      <a:pt x="3720" y="6557"/>
                    </a:lnTo>
                    <a:lnTo>
                      <a:pt x="3379" y="6393"/>
                    </a:lnTo>
                    <a:lnTo>
                      <a:pt x="5666" y="4877"/>
                    </a:lnTo>
                    <a:lnTo>
                      <a:pt x="5666" y="3197"/>
                    </a:lnTo>
                    <a:lnTo>
                      <a:pt x="6724" y="2787"/>
                    </a:lnTo>
                    <a:lnTo>
                      <a:pt x="7952" y="3197"/>
                    </a:lnTo>
                    <a:lnTo>
                      <a:pt x="9898" y="3852"/>
                    </a:lnTo>
                    <a:lnTo>
                      <a:pt x="11331" y="2787"/>
                    </a:lnTo>
                    <a:lnTo>
                      <a:pt x="11672" y="3197"/>
                    </a:lnTo>
                    <a:lnTo>
                      <a:pt x="12014" y="2541"/>
                    </a:lnTo>
                    <a:lnTo>
                      <a:pt x="13413" y="1926"/>
                    </a:lnTo>
                    <a:lnTo>
                      <a:pt x="13072" y="1516"/>
                    </a:lnTo>
                    <a:lnTo>
                      <a:pt x="1361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 name="Freeform 219"/>
              <p:cNvSpPr>
                <a:spLocks/>
              </p:cNvSpPr>
              <p:nvPr/>
            </p:nvSpPr>
            <p:spPr bwMode="auto">
              <a:xfrm>
                <a:off x="7442200" y="3665538"/>
                <a:ext cx="138113" cy="171450"/>
              </a:xfrm>
              <a:custGeom>
                <a:avLst/>
                <a:gdLst>
                  <a:gd name="T0" fmla="*/ 6147 w 20000"/>
                  <a:gd name="T1" fmla="*/ 17704 h 20000"/>
                  <a:gd name="T2" fmla="*/ 3303 w 20000"/>
                  <a:gd name="T3" fmla="*/ 10741 h 20000"/>
                  <a:gd name="T4" fmla="*/ 3761 w 20000"/>
                  <a:gd name="T5" fmla="*/ 8815 h 20000"/>
                  <a:gd name="T6" fmla="*/ 1284 w 20000"/>
                  <a:gd name="T7" fmla="*/ 8074 h 20000"/>
                  <a:gd name="T8" fmla="*/ 0 w 20000"/>
                  <a:gd name="T9" fmla="*/ 6963 h 20000"/>
                  <a:gd name="T10" fmla="*/ 1284 w 20000"/>
                  <a:gd name="T11" fmla="*/ 6519 h 20000"/>
                  <a:gd name="T12" fmla="*/ 1284 w 20000"/>
                  <a:gd name="T13" fmla="*/ 4963 h 20000"/>
                  <a:gd name="T14" fmla="*/ 3761 w 20000"/>
                  <a:gd name="T15" fmla="*/ 4963 h 20000"/>
                  <a:gd name="T16" fmla="*/ 2385 w 20000"/>
                  <a:gd name="T17" fmla="*/ 3778 h 20000"/>
                  <a:gd name="T18" fmla="*/ 1284 w 20000"/>
                  <a:gd name="T19" fmla="*/ 3778 h 20000"/>
                  <a:gd name="T20" fmla="*/ 0 w 20000"/>
                  <a:gd name="T21" fmla="*/ 2741 h 20000"/>
                  <a:gd name="T22" fmla="*/ 917 w 20000"/>
                  <a:gd name="T23" fmla="*/ 0 h 20000"/>
                  <a:gd name="T24" fmla="*/ 2385 w 20000"/>
                  <a:gd name="T25" fmla="*/ 0 h 20000"/>
                  <a:gd name="T26" fmla="*/ 4679 w 20000"/>
                  <a:gd name="T27" fmla="*/ 1556 h 20000"/>
                  <a:gd name="T28" fmla="*/ 7064 w 20000"/>
                  <a:gd name="T29" fmla="*/ 2741 h 20000"/>
                  <a:gd name="T30" fmla="*/ 7523 w 20000"/>
                  <a:gd name="T31" fmla="*/ 4593 h 20000"/>
                  <a:gd name="T32" fmla="*/ 7064 w 20000"/>
                  <a:gd name="T33" fmla="*/ 4963 h 20000"/>
                  <a:gd name="T34" fmla="*/ 16147 w 20000"/>
                  <a:gd name="T35" fmla="*/ 4593 h 20000"/>
                  <a:gd name="T36" fmla="*/ 17064 w 20000"/>
                  <a:gd name="T37" fmla="*/ 5778 h 20000"/>
                  <a:gd name="T38" fmla="*/ 16147 w 20000"/>
                  <a:gd name="T39" fmla="*/ 6519 h 20000"/>
                  <a:gd name="T40" fmla="*/ 16147 w 20000"/>
                  <a:gd name="T41" fmla="*/ 7704 h 20000"/>
                  <a:gd name="T42" fmla="*/ 13670 w 20000"/>
                  <a:gd name="T43" fmla="*/ 8074 h 20000"/>
                  <a:gd name="T44" fmla="*/ 13303 w 20000"/>
                  <a:gd name="T45" fmla="*/ 9556 h 20000"/>
                  <a:gd name="T46" fmla="*/ 12202 w 20000"/>
                  <a:gd name="T47" fmla="*/ 10000 h 20000"/>
                  <a:gd name="T48" fmla="*/ 13303 w 20000"/>
                  <a:gd name="T49" fmla="*/ 12667 h 20000"/>
                  <a:gd name="T50" fmla="*/ 13670 w 20000"/>
                  <a:gd name="T51" fmla="*/ 12667 h 20000"/>
                  <a:gd name="T52" fmla="*/ 14679 w 20000"/>
                  <a:gd name="T53" fmla="*/ 13037 h 20000"/>
                  <a:gd name="T54" fmla="*/ 15138 w 20000"/>
                  <a:gd name="T55" fmla="*/ 13037 h 20000"/>
                  <a:gd name="T56" fmla="*/ 17064 w 20000"/>
                  <a:gd name="T57" fmla="*/ 11481 h 20000"/>
                  <a:gd name="T58" fmla="*/ 17064 w 20000"/>
                  <a:gd name="T59" fmla="*/ 13037 h 20000"/>
                  <a:gd name="T60" fmla="*/ 18440 w 20000"/>
                  <a:gd name="T61" fmla="*/ 14519 h 20000"/>
                  <a:gd name="T62" fmla="*/ 19358 w 20000"/>
                  <a:gd name="T63" fmla="*/ 16148 h 20000"/>
                  <a:gd name="T64" fmla="*/ 19908 w 20000"/>
                  <a:gd name="T65" fmla="*/ 19926 h 20000"/>
                  <a:gd name="T66" fmla="*/ 18440 w 20000"/>
                  <a:gd name="T67" fmla="*/ 19556 h 20000"/>
                  <a:gd name="T68" fmla="*/ 17431 w 20000"/>
                  <a:gd name="T69" fmla="*/ 19926 h 20000"/>
                  <a:gd name="T70" fmla="*/ 17064 w 20000"/>
                  <a:gd name="T71" fmla="*/ 18000 h 20000"/>
                  <a:gd name="T72" fmla="*/ 16147 w 20000"/>
                  <a:gd name="T73" fmla="*/ 15704 h 20000"/>
                  <a:gd name="T74" fmla="*/ 13670 w 20000"/>
                  <a:gd name="T75" fmla="*/ 13778 h 20000"/>
                  <a:gd name="T76" fmla="*/ 11284 w 20000"/>
                  <a:gd name="T77" fmla="*/ 13037 h 20000"/>
                  <a:gd name="T78" fmla="*/ 10826 w 20000"/>
                  <a:gd name="T79" fmla="*/ 11481 h 20000"/>
                  <a:gd name="T80" fmla="*/ 8440 w 20000"/>
                  <a:gd name="T81" fmla="*/ 10741 h 20000"/>
                  <a:gd name="T82" fmla="*/ 8440 w 20000"/>
                  <a:gd name="T83" fmla="*/ 11926 h 20000"/>
                  <a:gd name="T84" fmla="*/ 9908 w 20000"/>
                  <a:gd name="T85" fmla="*/ 11926 h 20000"/>
                  <a:gd name="T86" fmla="*/ 10826 w 20000"/>
                  <a:gd name="T87" fmla="*/ 13778 h 20000"/>
                  <a:gd name="T88" fmla="*/ 9908 w 20000"/>
                  <a:gd name="T89" fmla="*/ 14519 h 20000"/>
                  <a:gd name="T90" fmla="*/ 10826 w 20000"/>
                  <a:gd name="T91" fmla="*/ 15704 h 20000"/>
                  <a:gd name="T92" fmla="*/ 9908 w 20000"/>
                  <a:gd name="T93" fmla="*/ 17704 h 20000"/>
                  <a:gd name="T94" fmla="*/ 8440 w 20000"/>
                  <a:gd name="T95" fmla="*/ 16148 h 20000"/>
                  <a:gd name="T96" fmla="*/ 8440 w 20000"/>
                  <a:gd name="T97" fmla="*/ 15704 h 20000"/>
                  <a:gd name="T98" fmla="*/ 7523 w 20000"/>
                  <a:gd name="T99" fmla="*/ 16148 h 20000"/>
                  <a:gd name="T100" fmla="*/ 8440 w 20000"/>
                  <a:gd name="T101" fmla="*/ 17704 h 20000"/>
                  <a:gd name="T102" fmla="*/ 7064 w 20000"/>
                  <a:gd name="T103" fmla="*/ 17704 h 20000"/>
                  <a:gd name="T104" fmla="*/ 6147 w 20000"/>
                  <a:gd name="T105" fmla="*/ 177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6147" y="17704"/>
                    </a:moveTo>
                    <a:lnTo>
                      <a:pt x="3303" y="10741"/>
                    </a:lnTo>
                    <a:lnTo>
                      <a:pt x="3761" y="8815"/>
                    </a:lnTo>
                    <a:lnTo>
                      <a:pt x="1284" y="8074"/>
                    </a:lnTo>
                    <a:lnTo>
                      <a:pt x="0" y="6963"/>
                    </a:lnTo>
                    <a:lnTo>
                      <a:pt x="1284" y="6519"/>
                    </a:lnTo>
                    <a:lnTo>
                      <a:pt x="1284" y="4963"/>
                    </a:lnTo>
                    <a:lnTo>
                      <a:pt x="3761" y="4963"/>
                    </a:lnTo>
                    <a:lnTo>
                      <a:pt x="2385" y="3778"/>
                    </a:lnTo>
                    <a:lnTo>
                      <a:pt x="1284" y="3778"/>
                    </a:lnTo>
                    <a:lnTo>
                      <a:pt x="0" y="2741"/>
                    </a:lnTo>
                    <a:lnTo>
                      <a:pt x="917" y="0"/>
                    </a:lnTo>
                    <a:lnTo>
                      <a:pt x="2385" y="0"/>
                    </a:lnTo>
                    <a:lnTo>
                      <a:pt x="4679" y="1556"/>
                    </a:lnTo>
                    <a:lnTo>
                      <a:pt x="7064" y="2741"/>
                    </a:lnTo>
                    <a:lnTo>
                      <a:pt x="7523" y="4593"/>
                    </a:lnTo>
                    <a:lnTo>
                      <a:pt x="7064" y="4963"/>
                    </a:lnTo>
                    <a:lnTo>
                      <a:pt x="16147" y="4593"/>
                    </a:lnTo>
                    <a:lnTo>
                      <a:pt x="17064" y="5778"/>
                    </a:lnTo>
                    <a:lnTo>
                      <a:pt x="16147" y="6519"/>
                    </a:lnTo>
                    <a:lnTo>
                      <a:pt x="16147" y="7704"/>
                    </a:lnTo>
                    <a:lnTo>
                      <a:pt x="13670" y="8074"/>
                    </a:lnTo>
                    <a:lnTo>
                      <a:pt x="13303" y="9556"/>
                    </a:lnTo>
                    <a:lnTo>
                      <a:pt x="12202" y="10000"/>
                    </a:lnTo>
                    <a:lnTo>
                      <a:pt x="13303" y="12667"/>
                    </a:lnTo>
                    <a:lnTo>
                      <a:pt x="13670" y="12667"/>
                    </a:lnTo>
                    <a:lnTo>
                      <a:pt x="14679" y="13037"/>
                    </a:lnTo>
                    <a:lnTo>
                      <a:pt x="15138" y="13037"/>
                    </a:lnTo>
                    <a:lnTo>
                      <a:pt x="17064" y="11481"/>
                    </a:lnTo>
                    <a:lnTo>
                      <a:pt x="17064" y="13037"/>
                    </a:lnTo>
                    <a:lnTo>
                      <a:pt x="18440" y="14519"/>
                    </a:lnTo>
                    <a:lnTo>
                      <a:pt x="19358" y="16148"/>
                    </a:lnTo>
                    <a:lnTo>
                      <a:pt x="19908" y="19926"/>
                    </a:lnTo>
                    <a:lnTo>
                      <a:pt x="18440" y="19556"/>
                    </a:lnTo>
                    <a:lnTo>
                      <a:pt x="17431" y="19926"/>
                    </a:lnTo>
                    <a:lnTo>
                      <a:pt x="17064" y="18000"/>
                    </a:lnTo>
                    <a:lnTo>
                      <a:pt x="16147" y="15704"/>
                    </a:lnTo>
                    <a:lnTo>
                      <a:pt x="13670" y="13778"/>
                    </a:lnTo>
                    <a:lnTo>
                      <a:pt x="11284" y="13037"/>
                    </a:lnTo>
                    <a:lnTo>
                      <a:pt x="10826" y="11481"/>
                    </a:lnTo>
                    <a:lnTo>
                      <a:pt x="8440" y="10741"/>
                    </a:lnTo>
                    <a:lnTo>
                      <a:pt x="8440" y="11926"/>
                    </a:lnTo>
                    <a:lnTo>
                      <a:pt x="9908" y="11926"/>
                    </a:lnTo>
                    <a:lnTo>
                      <a:pt x="10826" y="13778"/>
                    </a:lnTo>
                    <a:lnTo>
                      <a:pt x="9908" y="14519"/>
                    </a:lnTo>
                    <a:lnTo>
                      <a:pt x="10826" y="15704"/>
                    </a:lnTo>
                    <a:lnTo>
                      <a:pt x="9908" y="17704"/>
                    </a:lnTo>
                    <a:lnTo>
                      <a:pt x="8440" y="16148"/>
                    </a:lnTo>
                    <a:lnTo>
                      <a:pt x="8440" y="15704"/>
                    </a:lnTo>
                    <a:lnTo>
                      <a:pt x="7523" y="16148"/>
                    </a:lnTo>
                    <a:lnTo>
                      <a:pt x="8440" y="17704"/>
                    </a:lnTo>
                    <a:lnTo>
                      <a:pt x="7064" y="17704"/>
                    </a:lnTo>
                    <a:lnTo>
                      <a:pt x="6147" y="1770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 name="Freeform 218"/>
              <p:cNvSpPr>
                <a:spLocks/>
              </p:cNvSpPr>
              <p:nvPr/>
            </p:nvSpPr>
            <p:spPr bwMode="auto">
              <a:xfrm>
                <a:off x="7451725" y="3613150"/>
                <a:ext cx="93663" cy="42863"/>
              </a:xfrm>
              <a:custGeom>
                <a:avLst/>
                <a:gdLst>
                  <a:gd name="T0" fmla="*/ 0 w 20000"/>
                  <a:gd name="T1" fmla="*/ 10588 h 20000"/>
                  <a:gd name="T2" fmla="*/ 3673 w 20000"/>
                  <a:gd name="T3" fmla="*/ 7647 h 20000"/>
                  <a:gd name="T4" fmla="*/ 5034 w 20000"/>
                  <a:gd name="T5" fmla="*/ 0 h 20000"/>
                  <a:gd name="T6" fmla="*/ 8435 w 20000"/>
                  <a:gd name="T7" fmla="*/ 2941 h 20000"/>
                  <a:gd name="T8" fmla="*/ 12789 w 20000"/>
                  <a:gd name="T9" fmla="*/ 2941 h 20000"/>
                  <a:gd name="T10" fmla="*/ 14150 w 20000"/>
                  <a:gd name="T11" fmla="*/ 0 h 20000"/>
                  <a:gd name="T12" fmla="*/ 16190 w 20000"/>
                  <a:gd name="T13" fmla="*/ 4706 h 20000"/>
                  <a:gd name="T14" fmla="*/ 16190 w 20000"/>
                  <a:gd name="T15" fmla="*/ 10588 h 20000"/>
                  <a:gd name="T16" fmla="*/ 18367 w 20000"/>
                  <a:gd name="T17" fmla="*/ 12059 h 20000"/>
                  <a:gd name="T18" fmla="*/ 19864 w 20000"/>
                  <a:gd name="T19" fmla="*/ 19706 h 20000"/>
                  <a:gd name="T20" fmla="*/ 10612 w 20000"/>
                  <a:gd name="T21" fmla="*/ 19706 h 20000"/>
                  <a:gd name="T22" fmla="*/ 10612 w 20000"/>
                  <a:gd name="T23" fmla="*/ 17941 h 20000"/>
                  <a:gd name="T24" fmla="*/ 7075 w 20000"/>
                  <a:gd name="T25" fmla="*/ 19706 h 20000"/>
                  <a:gd name="T26" fmla="*/ 2857 w 20000"/>
                  <a:gd name="T27" fmla="*/ 17941 h 20000"/>
                  <a:gd name="T28" fmla="*/ 0 w 20000"/>
                  <a:gd name="T29" fmla="*/ 15000 h 20000"/>
                  <a:gd name="T30" fmla="*/ 0 w 20000"/>
                  <a:gd name="T31" fmla="*/ 1058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0" y="10588"/>
                    </a:moveTo>
                    <a:lnTo>
                      <a:pt x="3673" y="7647"/>
                    </a:lnTo>
                    <a:lnTo>
                      <a:pt x="5034" y="0"/>
                    </a:lnTo>
                    <a:lnTo>
                      <a:pt x="8435" y="2941"/>
                    </a:lnTo>
                    <a:lnTo>
                      <a:pt x="12789" y="2941"/>
                    </a:lnTo>
                    <a:lnTo>
                      <a:pt x="14150" y="0"/>
                    </a:lnTo>
                    <a:lnTo>
                      <a:pt x="16190" y="4706"/>
                    </a:lnTo>
                    <a:lnTo>
                      <a:pt x="16190" y="10588"/>
                    </a:lnTo>
                    <a:lnTo>
                      <a:pt x="18367" y="12059"/>
                    </a:lnTo>
                    <a:lnTo>
                      <a:pt x="19864" y="19706"/>
                    </a:lnTo>
                    <a:lnTo>
                      <a:pt x="10612" y="19706"/>
                    </a:lnTo>
                    <a:lnTo>
                      <a:pt x="10612" y="17941"/>
                    </a:lnTo>
                    <a:lnTo>
                      <a:pt x="7075" y="19706"/>
                    </a:lnTo>
                    <a:lnTo>
                      <a:pt x="2857" y="17941"/>
                    </a:lnTo>
                    <a:lnTo>
                      <a:pt x="0" y="15000"/>
                    </a:lnTo>
                    <a:lnTo>
                      <a:pt x="0" y="1058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 name="Freeform 217"/>
              <p:cNvSpPr>
                <a:spLocks/>
              </p:cNvSpPr>
              <p:nvPr/>
            </p:nvSpPr>
            <p:spPr bwMode="auto">
              <a:xfrm>
                <a:off x="7564438" y="3603625"/>
                <a:ext cx="257175" cy="568325"/>
              </a:xfrm>
              <a:custGeom>
                <a:avLst/>
                <a:gdLst>
                  <a:gd name="T0" fmla="*/ 1823 w 20000"/>
                  <a:gd name="T1" fmla="*/ 7031 h 20000"/>
                  <a:gd name="T2" fmla="*/ 2069 w 20000"/>
                  <a:gd name="T3" fmla="*/ 6004 h 20000"/>
                  <a:gd name="T4" fmla="*/ 3350 w 20000"/>
                  <a:gd name="T5" fmla="*/ 5067 h 20000"/>
                  <a:gd name="T6" fmla="*/ 4138 w 20000"/>
                  <a:gd name="T7" fmla="*/ 3683 h 20000"/>
                  <a:gd name="T8" fmla="*/ 5123 w 20000"/>
                  <a:gd name="T9" fmla="*/ 3013 h 20000"/>
                  <a:gd name="T10" fmla="*/ 6650 w 20000"/>
                  <a:gd name="T11" fmla="*/ 1496 h 20000"/>
                  <a:gd name="T12" fmla="*/ 8670 w 20000"/>
                  <a:gd name="T13" fmla="*/ 1496 h 20000"/>
                  <a:gd name="T14" fmla="*/ 8670 w 20000"/>
                  <a:gd name="T15" fmla="*/ 692 h 20000"/>
                  <a:gd name="T16" fmla="*/ 9458 w 20000"/>
                  <a:gd name="T17" fmla="*/ 357 h 20000"/>
                  <a:gd name="T18" fmla="*/ 10788 w 20000"/>
                  <a:gd name="T19" fmla="*/ 0 h 20000"/>
                  <a:gd name="T20" fmla="*/ 11773 w 20000"/>
                  <a:gd name="T21" fmla="*/ 915 h 20000"/>
                  <a:gd name="T22" fmla="*/ 13300 w 20000"/>
                  <a:gd name="T23" fmla="*/ 2768 h 20000"/>
                  <a:gd name="T24" fmla="*/ 12808 w 20000"/>
                  <a:gd name="T25" fmla="*/ 3326 h 20000"/>
                  <a:gd name="T26" fmla="*/ 11281 w 20000"/>
                  <a:gd name="T27" fmla="*/ 3683 h 20000"/>
                  <a:gd name="T28" fmla="*/ 10788 w 20000"/>
                  <a:gd name="T29" fmla="*/ 4152 h 20000"/>
                  <a:gd name="T30" fmla="*/ 11773 w 20000"/>
                  <a:gd name="T31" fmla="*/ 5067 h 20000"/>
                  <a:gd name="T32" fmla="*/ 12808 w 20000"/>
                  <a:gd name="T33" fmla="*/ 4844 h 20000"/>
                  <a:gd name="T34" fmla="*/ 13793 w 20000"/>
                  <a:gd name="T35" fmla="*/ 5067 h 20000"/>
                  <a:gd name="T36" fmla="*/ 14581 w 20000"/>
                  <a:gd name="T37" fmla="*/ 6004 h 20000"/>
                  <a:gd name="T38" fmla="*/ 15813 w 20000"/>
                  <a:gd name="T39" fmla="*/ 6563 h 20000"/>
                  <a:gd name="T40" fmla="*/ 17340 w 20000"/>
                  <a:gd name="T41" fmla="*/ 7254 h 20000"/>
                  <a:gd name="T42" fmla="*/ 17340 w 20000"/>
                  <a:gd name="T43" fmla="*/ 7612 h 20000"/>
                  <a:gd name="T44" fmla="*/ 18670 w 20000"/>
                  <a:gd name="T45" fmla="*/ 7857 h 20000"/>
                  <a:gd name="T46" fmla="*/ 19163 w 20000"/>
                  <a:gd name="T47" fmla="*/ 8080 h 20000"/>
                  <a:gd name="T48" fmla="*/ 19163 w 20000"/>
                  <a:gd name="T49" fmla="*/ 8438 h 20000"/>
                  <a:gd name="T50" fmla="*/ 17931 w 20000"/>
                  <a:gd name="T51" fmla="*/ 8772 h 20000"/>
                  <a:gd name="T52" fmla="*/ 16108 w 20000"/>
                  <a:gd name="T53" fmla="*/ 9353 h 20000"/>
                  <a:gd name="T54" fmla="*/ 15813 w 20000"/>
                  <a:gd name="T55" fmla="*/ 9442 h 20000"/>
                  <a:gd name="T56" fmla="*/ 13300 w 20000"/>
                  <a:gd name="T57" fmla="*/ 9933 h 20000"/>
                  <a:gd name="T58" fmla="*/ 12808 w 20000"/>
                  <a:gd name="T59" fmla="*/ 10848 h 20000"/>
                  <a:gd name="T60" fmla="*/ 12512 w 20000"/>
                  <a:gd name="T61" fmla="*/ 11183 h 20000"/>
                  <a:gd name="T62" fmla="*/ 13300 w 20000"/>
                  <a:gd name="T63" fmla="*/ 11540 h 20000"/>
                  <a:gd name="T64" fmla="*/ 15320 w 20000"/>
                  <a:gd name="T65" fmla="*/ 13036 h 20000"/>
                  <a:gd name="T66" fmla="*/ 15320 w 20000"/>
                  <a:gd name="T67" fmla="*/ 13862 h 20000"/>
                  <a:gd name="T68" fmla="*/ 14828 w 20000"/>
                  <a:gd name="T69" fmla="*/ 14777 h 20000"/>
                  <a:gd name="T70" fmla="*/ 17143 w 20000"/>
                  <a:gd name="T71" fmla="*/ 16272 h 20000"/>
                  <a:gd name="T72" fmla="*/ 17931 w 20000"/>
                  <a:gd name="T73" fmla="*/ 17879 h 20000"/>
                  <a:gd name="T74" fmla="*/ 16601 w 20000"/>
                  <a:gd name="T75" fmla="*/ 19397 h 20000"/>
                  <a:gd name="T76" fmla="*/ 16108 w 20000"/>
                  <a:gd name="T77" fmla="*/ 19978 h 20000"/>
                  <a:gd name="T78" fmla="*/ 16108 w 20000"/>
                  <a:gd name="T79" fmla="*/ 19063 h 20000"/>
                  <a:gd name="T80" fmla="*/ 15813 w 20000"/>
                  <a:gd name="T81" fmla="*/ 18125 h 20000"/>
                  <a:gd name="T82" fmla="*/ 16108 w 20000"/>
                  <a:gd name="T83" fmla="*/ 16964 h 20000"/>
                  <a:gd name="T84" fmla="*/ 14828 w 20000"/>
                  <a:gd name="T85" fmla="*/ 16272 h 20000"/>
                  <a:gd name="T86" fmla="*/ 14089 w 20000"/>
                  <a:gd name="T87" fmla="*/ 15357 h 20000"/>
                  <a:gd name="T88" fmla="*/ 13300 w 20000"/>
                  <a:gd name="T89" fmla="*/ 13638 h 20000"/>
                  <a:gd name="T90" fmla="*/ 12512 w 20000"/>
                  <a:gd name="T91" fmla="*/ 13036 h 20000"/>
                  <a:gd name="T92" fmla="*/ 11773 w 20000"/>
                  <a:gd name="T93" fmla="*/ 12366 h 20000"/>
                  <a:gd name="T94" fmla="*/ 11281 w 20000"/>
                  <a:gd name="T95" fmla="*/ 13036 h 20000"/>
                  <a:gd name="T96" fmla="*/ 8670 w 20000"/>
                  <a:gd name="T97" fmla="*/ 13862 h 20000"/>
                  <a:gd name="T98" fmla="*/ 7438 w 20000"/>
                  <a:gd name="T99" fmla="*/ 13862 h 20000"/>
                  <a:gd name="T100" fmla="*/ 7438 w 20000"/>
                  <a:gd name="T101" fmla="*/ 13862 h 20000"/>
                  <a:gd name="T102" fmla="*/ 6650 w 20000"/>
                  <a:gd name="T103" fmla="*/ 13638 h 20000"/>
                  <a:gd name="T104" fmla="*/ 5862 w 20000"/>
                  <a:gd name="T105" fmla="*/ 12679 h 20000"/>
                  <a:gd name="T106" fmla="*/ 5862 w 20000"/>
                  <a:gd name="T107" fmla="*/ 11183 h 20000"/>
                  <a:gd name="T108" fmla="*/ 4631 w 20000"/>
                  <a:gd name="T109" fmla="*/ 10625 h 20000"/>
                  <a:gd name="T110" fmla="*/ 4138 w 20000"/>
                  <a:gd name="T111" fmla="*/ 10268 h 20000"/>
                  <a:gd name="T112" fmla="*/ 3350 w 20000"/>
                  <a:gd name="T113" fmla="*/ 9710 h 20000"/>
                  <a:gd name="T114" fmla="*/ 2562 w 20000"/>
                  <a:gd name="T115" fmla="*/ 9129 h 20000"/>
                  <a:gd name="T116" fmla="*/ 1330 w 20000"/>
                  <a:gd name="T117" fmla="*/ 8996 h 20000"/>
                  <a:gd name="T118" fmla="*/ 542 w 20000"/>
                  <a:gd name="T119" fmla="*/ 8080 h 20000"/>
                  <a:gd name="T120" fmla="*/ 1034 w 20000"/>
                  <a:gd name="T121" fmla="*/ 70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1034" y="7031"/>
                    </a:moveTo>
                    <a:lnTo>
                      <a:pt x="1823" y="7031"/>
                    </a:lnTo>
                    <a:lnTo>
                      <a:pt x="1330" y="6116"/>
                    </a:lnTo>
                    <a:lnTo>
                      <a:pt x="2069" y="6004"/>
                    </a:lnTo>
                    <a:lnTo>
                      <a:pt x="2069" y="5067"/>
                    </a:lnTo>
                    <a:lnTo>
                      <a:pt x="3350" y="5067"/>
                    </a:lnTo>
                    <a:lnTo>
                      <a:pt x="4138" y="4286"/>
                    </a:lnTo>
                    <a:lnTo>
                      <a:pt x="4138" y="3683"/>
                    </a:lnTo>
                    <a:lnTo>
                      <a:pt x="4138" y="3326"/>
                    </a:lnTo>
                    <a:lnTo>
                      <a:pt x="5123" y="3013"/>
                    </a:lnTo>
                    <a:lnTo>
                      <a:pt x="5123" y="2188"/>
                    </a:lnTo>
                    <a:lnTo>
                      <a:pt x="6650" y="1496"/>
                    </a:lnTo>
                    <a:lnTo>
                      <a:pt x="8473" y="1272"/>
                    </a:lnTo>
                    <a:lnTo>
                      <a:pt x="8670" y="1496"/>
                    </a:lnTo>
                    <a:lnTo>
                      <a:pt x="9212" y="1272"/>
                    </a:lnTo>
                    <a:lnTo>
                      <a:pt x="8670" y="692"/>
                    </a:lnTo>
                    <a:lnTo>
                      <a:pt x="9212" y="357"/>
                    </a:lnTo>
                    <a:lnTo>
                      <a:pt x="9458" y="357"/>
                    </a:lnTo>
                    <a:lnTo>
                      <a:pt x="9458" y="0"/>
                    </a:lnTo>
                    <a:lnTo>
                      <a:pt x="10788" y="0"/>
                    </a:lnTo>
                    <a:lnTo>
                      <a:pt x="11773" y="580"/>
                    </a:lnTo>
                    <a:lnTo>
                      <a:pt x="11773" y="915"/>
                    </a:lnTo>
                    <a:lnTo>
                      <a:pt x="12512" y="915"/>
                    </a:lnTo>
                    <a:lnTo>
                      <a:pt x="13300" y="2768"/>
                    </a:lnTo>
                    <a:lnTo>
                      <a:pt x="12808" y="3237"/>
                    </a:lnTo>
                    <a:lnTo>
                      <a:pt x="12808" y="3326"/>
                    </a:lnTo>
                    <a:lnTo>
                      <a:pt x="12512" y="3326"/>
                    </a:lnTo>
                    <a:lnTo>
                      <a:pt x="11281" y="3683"/>
                    </a:lnTo>
                    <a:lnTo>
                      <a:pt x="11773" y="4152"/>
                    </a:lnTo>
                    <a:lnTo>
                      <a:pt x="10788" y="4152"/>
                    </a:lnTo>
                    <a:lnTo>
                      <a:pt x="11281" y="4621"/>
                    </a:lnTo>
                    <a:lnTo>
                      <a:pt x="11773" y="5067"/>
                    </a:lnTo>
                    <a:lnTo>
                      <a:pt x="12512" y="4844"/>
                    </a:lnTo>
                    <a:lnTo>
                      <a:pt x="12808" y="4844"/>
                    </a:lnTo>
                    <a:lnTo>
                      <a:pt x="14089" y="4844"/>
                    </a:lnTo>
                    <a:lnTo>
                      <a:pt x="13793" y="5067"/>
                    </a:lnTo>
                    <a:lnTo>
                      <a:pt x="14089" y="5201"/>
                    </a:lnTo>
                    <a:lnTo>
                      <a:pt x="14581" y="6004"/>
                    </a:lnTo>
                    <a:lnTo>
                      <a:pt x="15813" y="6004"/>
                    </a:lnTo>
                    <a:lnTo>
                      <a:pt x="15813" y="6563"/>
                    </a:lnTo>
                    <a:lnTo>
                      <a:pt x="15320" y="7031"/>
                    </a:lnTo>
                    <a:lnTo>
                      <a:pt x="17340" y="7254"/>
                    </a:lnTo>
                    <a:lnTo>
                      <a:pt x="17340" y="7522"/>
                    </a:lnTo>
                    <a:lnTo>
                      <a:pt x="17340" y="7612"/>
                    </a:lnTo>
                    <a:lnTo>
                      <a:pt x="17931" y="7612"/>
                    </a:lnTo>
                    <a:lnTo>
                      <a:pt x="18670" y="7857"/>
                    </a:lnTo>
                    <a:lnTo>
                      <a:pt x="19951" y="7857"/>
                    </a:lnTo>
                    <a:lnTo>
                      <a:pt x="19163" y="8080"/>
                    </a:lnTo>
                    <a:lnTo>
                      <a:pt x="18670" y="8192"/>
                    </a:lnTo>
                    <a:lnTo>
                      <a:pt x="19163" y="8438"/>
                    </a:lnTo>
                    <a:lnTo>
                      <a:pt x="18128" y="8527"/>
                    </a:lnTo>
                    <a:lnTo>
                      <a:pt x="17931" y="8772"/>
                    </a:lnTo>
                    <a:lnTo>
                      <a:pt x="16601" y="8996"/>
                    </a:lnTo>
                    <a:lnTo>
                      <a:pt x="16108" y="9353"/>
                    </a:lnTo>
                    <a:lnTo>
                      <a:pt x="15320" y="9129"/>
                    </a:lnTo>
                    <a:lnTo>
                      <a:pt x="15813" y="9442"/>
                    </a:lnTo>
                    <a:lnTo>
                      <a:pt x="13793" y="9710"/>
                    </a:lnTo>
                    <a:lnTo>
                      <a:pt x="13300" y="9933"/>
                    </a:lnTo>
                    <a:lnTo>
                      <a:pt x="12808" y="10268"/>
                    </a:lnTo>
                    <a:lnTo>
                      <a:pt x="12808" y="10848"/>
                    </a:lnTo>
                    <a:lnTo>
                      <a:pt x="12512" y="10960"/>
                    </a:lnTo>
                    <a:lnTo>
                      <a:pt x="12512" y="11183"/>
                    </a:lnTo>
                    <a:lnTo>
                      <a:pt x="12808" y="11183"/>
                    </a:lnTo>
                    <a:lnTo>
                      <a:pt x="13300" y="11540"/>
                    </a:lnTo>
                    <a:lnTo>
                      <a:pt x="14828" y="12679"/>
                    </a:lnTo>
                    <a:lnTo>
                      <a:pt x="15320" y="13036"/>
                    </a:lnTo>
                    <a:lnTo>
                      <a:pt x="15813" y="13638"/>
                    </a:lnTo>
                    <a:lnTo>
                      <a:pt x="15320" y="13862"/>
                    </a:lnTo>
                    <a:lnTo>
                      <a:pt x="15320" y="14308"/>
                    </a:lnTo>
                    <a:lnTo>
                      <a:pt x="14828" y="14777"/>
                    </a:lnTo>
                    <a:lnTo>
                      <a:pt x="14828" y="15134"/>
                    </a:lnTo>
                    <a:lnTo>
                      <a:pt x="17143" y="16272"/>
                    </a:lnTo>
                    <a:lnTo>
                      <a:pt x="17143" y="16741"/>
                    </a:lnTo>
                    <a:lnTo>
                      <a:pt x="17931" y="17879"/>
                    </a:lnTo>
                    <a:lnTo>
                      <a:pt x="17340" y="18482"/>
                    </a:lnTo>
                    <a:lnTo>
                      <a:pt x="16601" y="19397"/>
                    </a:lnTo>
                    <a:lnTo>
                      <a:pt x="16601" y="19754"/>
                    </a:lnTo>
                    <a:lnTo>
                      <a:pt x="16108" y="19978"/>
                    </a:lnTo>
                    <a:lnTo>
                      <a:pt x="15813" y="19397"/>
                    </a:lnTo>
                    <a:lnTo>
                      <a:pt x="16108" y="19063"/>
                    </a:lnTo>
                    <a:lnTo>
                      <a:pt x="16108" y="18125"/>
                    </a:lnTo>
                    <a:lnTo>
                      <a:pt x="15813" y="18125"/>
                    </a:lnTo>
                    <a:lnTo>
                      <a:pt x="16108" y="17879"/>
                    </a:lnTo>
                    <a:lnTo>
                      <a:pt x="16108" y="16964"/>
                    </a:lnTo>
                    <a:lnTo>
                      <a:pt x="14828" y="15826"/>
                    </a:lnTo>
                    <a:lnTo>
                      <a:pt x="14828" y="16272"/>
                    </a:lnTo>
                    <a:lnTo>
                      <a:pt x="14581" y="16272"/>
                    </a:lnTo>
                    <a:lnTo>
                      <a:pt x="14089" y="15357"/>
                    </a:lnTo>
                    <a:lnTo>
                      <a:pt x="13793" y="14308"/>
                    </a:lnTo>
                    <a:lnTo>
                      <a:pt x="13300" y="13638"/>
                    </a:lnTo>
                    <a:lnTo>
                      <a:pt x="13300" y="13036"/>
                    </a:lnTo>
                    <a:lnTo>
                      <a:pt x="12512" y="13036"/>
                    </a:lnTo>
                    <a:lnTo>
                      <a:pt x="12020" y="12679"/>
                    </a:lnTo>
                    <a:lnTo>
                      <a:pt x="11773" y="12366"/>
                    </a:lnTo>
                    <a:lnTo>
                      <a:pt x="11281" y="12455"/>
                    </a:lnTo>
                    <a:lnTo>
                      <a:pt x="11281" y="13036"/>
                    </a:lnTo>
                    <a:lnTo>
                      <a:pt x="10493" y="13393"/>
                    </a:lnTo>
                    <a:lnTo>
                      <a:pt x="8670" y="13862"/>
                    </a:lnTo>
                    <a:lnTo>
                      <a:pt x="8473" y="13973"/>
                    </a:lnTo>
                    <a:lnTo>
                      <a:pt x="7438" y="13862"/>
                    </a:lnTo>
                    <a:lnTo>
                      <a:pt x="7931" y="13638"/>
                    </a:lnTo>
                    <a:lnTo>
                      <a:pt x="7438" y="13862"/>
                    </a:lnTo>
                    <a:lnTo>
                      <a:pt x="6650" y="13862"/>
                    </a:lnTo>
                    <a:lnTo>
                      <a:pt x="6650" y="13638"/>
                    </a:lnTo>
                    <a:lnTo>
                      <a:pt x="5862" y="13862"/>
                    </a:lnTo>
                    <a:lnTo>
                      <a:pt x="5862" y="12679"/>
                    </a:lnTo>
                    <a:lnTo>
                      <a:pt x="6453" y="11763"/>
                    </a:lnTo>
                    <a:lnTo>
                      <a:pt x="5862" y="11183"/>
                    </a:lnTo>
                    <a:lnTo>
                      <a:pt x="4631" y="10491"/>
                    </a:lnTo>
                    <a:lnTo>
                      <a:pt x="4631" y="10625"/>
                    </a:lnTo>
                    <a:lnTo>
                      <a:pt x="3350" y="10045"/>
                    </a:lnTo>
                    <a:lnTo>
                      <a:pt x="4138" y="10268"/>
                    </a:lnTo>
                    <a:lnTo>
                      <a:pt x="4631" y="10045"/>
                    </a:lnTo>
                    <a:lnTo>
                      <a:pt x="3350" y="9710"/>
                    </a:lnTo>
                    <a:lnTo>
                      <a:pt x="3054" y="9353"/>
                    </a:lnTo>
                    <a:lnTo>
                      <a:pt x="2562" y="9129"/>
                    </a:lnTo>
                    <a:lnTo>
                      <a:pt x="1823" y="8996"/>
                    </a:lnTo>
                    <a:lnTo>
                      <a:pt x="1330" y="8996"/>
                    </a:lnTo>
                    <a:lnTo>
                      <a:pt x="0" y="8192"/>
                    </a:lnTo>
                    <a:lnTo>
                      <a:pt x="542" y="8080"/>
                    </a:lnTo>
                    <a:lnTo>
                      <a:pt x="1330" y="8192"/>
                    </a:lnTo>
                    <a:lnTo>
                      <a:pt x="1034" y="703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 name="Freeform 216"/>
              <p:cNvSpPr>
                <a:spLocks/>
              </p:cNvSpPr>
              <p:nvPr/>
            </p:nvSpPr>
            <p:spPr bwMode="auto">
              <a:xfrm>
                <a:off x="8224838" y="4319588"/>
                <a:ext cx="26987" cy="33337"/>
              </a:xfrm>
              <a:custGeom>
                <a:avLst/>
                <a:gdLst>
                  <a:gd name="T0" fmla="*/ 0 w 20000"/>
                  <a:gd name="T1" fmla="*/ 5769 h 20000"/>
                  <a:gd name="T2" fmla="*/ 11905 w 20000"/>
                  <a:gd name="T3" fmla="*/ 0 h 20000"/>
                  <a:gd name="T4" fmla="*/ 11905 w 20000"/>
                  <a:gd name="T5" fmla="*/ 5769 h 20000"/>
                  <a:gd name="T6" fmla="*/ 19524 w 20000"/>
                  <a:gd name="T7" fmla="*/ 13462 h 20000"/>
                  <a:gd name="T8" fmla="*/ 11905 w 20000"/>
                  <a:gd name="T9" fmla="*/ 13462 h 20000"/>
                  <a:gd name="T10" fmla="*/ 2857 w 20000"/>
                  <a:gd name="T11" fmla="*/ 19615 h 20000"/>
                  <a:gd name="T12" fmla="*/ 0 w 20000"/>
                  <a:gd name="T13" fmla="*/ 5769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5769"/>
                    </a:moveTo>
                    <a:lnTo>
                      <a:pt x="11905" y="0"/>
                    </a:lnTo>
                    <a:lnTo>
                      <a:pt x="11905" y="5769"/>
                    </a:lnTo>
                    <a:lnTo>
                      <a:pt x="19524" y="13462"/>
                    </a:lnTo>
                    <a:lnTo>
                      <a:pt x="11905" y="13462"/>
                    </a:lnTo>
                    <a:lnTo>
                      <a:pt x="2857" y="19615"/>
                    </a:lnTo>
                    <a:lnTo>
                      <a:pt x="0" y="57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 name="Freeform 215"/>
              <p:cNvSpPr>
                <a:spLocks/>
              </p:cNvSpPr>
              <p:nvPr/>
            </p:nvSpPr>
            <p:spPr bwMode="auto">
              <a:xfrm>
                <a:off x="8340725" y="3689350"/>
                <a:ext cx="50800" cy="115888"/>
              </a:xfrm>
              <a:custGeom>
                <a:avLst/>
                <a:gdLst>
                  <a:gd name="T0" fmla="*/ 10380 w 20000"/>
                  <a:gd name="T1" fmla="*/ 19890 h 20000"/>
                  <a:gd name="T2" fmla="*/ 9114 w 20000"/>
                  <a:gd name="T3" fmla="*/ 19890 h 20000"/>
                  <a:gd name="T4" fmla="*/ 9114 w 20000"/>
                  <a:gd name="T5" fmla="*/ 18132 h 20000"/>
                  <a:gd name="T6" fmla="*/ 4051 w 20000"/>
                  <a:gd name="T7" fmla="*/ 16484 h 20000"/>
                  <a:gd name="T8" fmla="*/ 0 w 20000"/>
                  <a:gd name="T9" fmla="*/ 12967 h 20000"/>
                  <a:gd name="T10" fmla="*/ 0 w 20000"/>
                  <a:gd name="T11" fmla="*/ 10220 h 20000"/>
                  <a:gd name="T12" fmla="*/ 2532 w 20000"/>
                  <a:gd name="T13" fmla="*/ 8022 h 20000"/>
                  <a:gd name="T14" fmla="*/ 9114 w 20000"/>
                  <a:gd name="T15" fmla="*/ 1648 h 20000"/>
                  <a:gd name="T16" fmla="*/ 12911 w 20000"/>
                  <a:gd name="T17" fmla="*/ 0 h 20000"/>
                  <a:gd name="T18" fmla="*/ 19747 w 20000"/>
                  <a:gd name="T19" fmla="*/ 1648 h 20000"/>
                  <a:gd name="T20" fmla="*/ 19747 w 20000"/>
                  <a:gd name="T21" fmla="*/ 4505 h 20000"/>
                  <a:gd name="T22" fmla="*/ 16962 w 20000"/>
                  <a:gd name="T23" fmla="*/ 6264 h 20000"/>
                  <a:gd name="T24" fmla="*/ 15696 w 20000"/>
                  <a:gd name="T25" fmla="*/ 12967 h 20000"/>
                  <a:gd name="T26" fmla="*/ 12911 w 20000"/>
                  <a:gd name="T27" fmla="*/ 16484 h 20000"/>
                  <a:gd name="T28" fmla="*/ 10380 w 20000"/>
                  <a:gd name="T29" fmla="*/ 198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0380" y="19890"/>
                    </a:moveTo>
                    <a:lnTo>
                      <a:pt x="9114" y="19890"/>
                    </a:lnTo>
                    <a:lnTo>
                      <a:pt x="9114" y="18132"/>
                    </a:lnTo>
                    <a:lnTo>
                      <a:pt x="4051" y="16484"/>
                    </a:lnTo>
                    <a:lnTo>
                      <a:pt x="0" y="12967"/>
                    </a:lnTo>
                    <a:lnTo>
                      <a:pt x="0" y="10220"/>
                    </a:lnTo>
                    <a:lnTo>
                      <a:pt x="2532" y="8022"/>
                    </a:lnTo>
                    <a:lnTo>
                      <a:pt x="9114" y="1648"/>
                    </a:lnTo>
                    <a:lnTo>
                      <a:pt x="12911" y="0"/>
                    </a:lnTo>
                    <a:lnTo>
                      <a:pt x="19747" y="1648"/>
                    </a:lnTo>
                    <a:lnTo>
                      <a:pt x="19747" y="4505"/>
                    </a:lnTo>
                    <a:lnTo>
                      <a:pt x="16962" y="6264"/>
                    </a:lnTo>
                    <a:lnTo>
                      <a:pt x="15696" y="12967"/>
                    </a:lnTo>
                    <a:lnTo>
                      <a:pt x="12911" y="16484"/>
                    </a:lnTo>
                    <a:lnTo>
                      <a:pt x="10380" y="198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 name="Freeform 214"/>
              <p:cNvSpPr>
                <a:spLocks/>
              </p:cNvSpPr>
              <p:nvPr/>
            </p:nvSpPr>
            <p:spPr bwMode="auto">
              <a:xfrm>
                <a:off x="6975475" y="2562225"/>
                <a:ext cx="1555750" cy="1298575"/>
              </a:xfrm>
              <a:custGeom>
                <a:avLst/>
                <a:gdLst>
                  <a:gd name="T0" fmla="*/ 16612 w 20000"/>
                  <a:gd name="T1" fmla="*/ 1418 h 20000"/>
                  <a:gd name="T2" fmla="*/ 18424 w 20000"/>
                  <a:gd name="T3" fmla="*/ 2983 h 20000"/>
                  <a:gd name="T4" fmla="*/ 19992 w 20000"/>
                  <a:gd name="T5" fmla="*/ 3540 h 20000"/>
                  <a:gd name="T6" fmla="*/ 19527 w 20000"/>
                  <a:gd name="T7" fmla="*/ 7139 h 20000"/>
                  <a:gd name="T8" fmla="*/ 18939 w 20000"/>
                  <a:gd name="T9" fmla="*/ 7697 h 20000"/>
                  <a:gd name="T10" fmla="*/ 18220 w 20000"/>
                  <a:gd name="T11" fmla="*/ 7941 h 20000"/>
                  <a:gd name="T12" fmla="*/ 17159 w 20000"/>
                  <a:gd name="T13" fmla="*/ 9418 h 20000"/>
                  <a:gd name="T14" fmla="*/ 16743 w 20000"/>
                  <a:gd name="T15" fmla="*/ 9418 h 20000"/>
                  <a:gd name="T16" fmla="*/ 15853 w 20000"/>
                  <a:gd name="T17" fmla="*/ 9672 h 20000"/>
                  <a:gd name="T18" fmla="*/ 16057 w 20000"/>
                  <a:gd name="T19" fmla="*/ 10836 h 20000"/>
                  <a:gd name="T20" fmla="*/ 17331 w 20000"/>
                  <a:gd name="T21" fmla="*/ 10631 h 20000"/>
                  <a:gd name="T22" fmla="*/ 16400 w 20000"/>
                  <a:gd name="T23" fmla="*/ 12293 h 20000"/>
                  <a:gd name="T24" fmla="*/ 17290 w 20000"/>
                  <a:gd name="T25" fmla="*/ 13819 h 20000"/>
                  <a:gd name="T26" fmla="*/ 17412 w 20000"/>
                  <a:gd name="T27" fmla="*/ 14680 h 20000"/>
                  <a:gd name="T28" fmla="*/ 17837 w 20000"/>
                  <a:gd name="T29" fmla="*/ 14973 h 20000"/>
                  <a:gd name="T30" fmla="*/ 17673 w 20000"/>
                  <a:gd name="T31" fmla="*/ 15531 h 20000"/>
                  <a:gd name="T32" fmla="*/ 17331 w 20000"/>
                  <a:gd name="T33" fmla="*/ 16597 h 20000"/>
                  <a:gd name="T34" fmla="*/ 17078 w 20000"/>
                  <a:gd name="T35" fmla="*/ 17614 h 20000"/>
                  <a:gd name="T36" fmla="*/ 16269 w 20000"/>
                  <a:gd name="T37" fmla="*/ 18670 h 20000"/>
                  <a:gd name="T38" fmla="*/ 15216 w 20000"/>
                  <a:gd name="T39" fmla="*/ 18670 h 20000"/>
                  <a:gd name="T40" fmla="*/ 14416 w 20000"/>
                  <a:gd name="T41" fmla="*/ 19491 h 20000"/>
                  <a:gd name="T42" fmla="*/ 13951 w 20000"/>
                  <a:gd name="T43" fmla="*/ 19491 h 20000"/>
                  <a:gd name="T44" fmla="*/ 13437 w 20000"/>
                  <a:gd name="T45" fmla="*/ 19374 h 20000"/>
                  <a:gd name="T46" fmla="*/ 12433 w 20000"/>
                  <a:gd name="T47" fmla="*/ 18670 h 20000"/>
                  <a:gd name="T48" fmla="*/ 11535 w 20000"/>
                  <a:gd name="T49" fmla="*/ 18826 h 20000"/>
                  <a:gd name="T50" fmla="*/ 11078 w 20000"/>
                  <a:gd name="T51" fmla="*/ 19589 h 20000"/>
                  <a:gd name="T52" fmla="*/ 10441 w 20000"/>
                  <a:gd name="T53" fmla="*/ 19227 h 20000"/>
                  <a:gd name="T54" fmla="*/ 9894 w 20000"/>
                  <a:gd name="T55" fmla="*/ 18171 h 20000"/>
                  <a:gd name="T56" fmla="*/ 9429 w 20000"/>
                  <a:gd name="T57" fmla="*/ 17653 h 20000"/>
                  <a:gd name="T58" fmla="*/ 9510 w 20000"/>
                  <a:gd name="T59" fmla="*/ 16293 h 20000"/>
                  <a:gd name="T60" fmla="*/ 8751 w 20000"/>
                  <a:gd name="T61" fmla="*/ 16039 h 20000"/>
                  <a:gd name="T62" fmla="*/ 8408 w 20000"/>
                  <a:gd name="T63" fmla="*/ 15736 h 20000"/>
                  <a:gd name="T64" fmla="*/ 7445 w 20000"/>
                  <a:gd name="T65" fmla="*/ 16293 h 20000"/>
                  <a:gd name="T66" fmla="*/ 6343 w 20000"/>
                  <a:gd name="T67" fmla="*/ 16450 h 20000"/>
                  <a:gd name="T68" fmla="*/ 4906 w 20000"/>
                  <a:gd name="T69" fmla="*/ 16196 h 20000"/>
                  <a:gd name="T70" fmla="*/ 4139 w 20000"/>
                  <a:gd name="T71" fmla="*/ 15795 h 20000"/>
                  <a:gd name="T72" fmla="*/ 2318 w 20000"/>
                  <a:gd name="T73" fmla="*/ 14416 h 20000"/>
                  <a:gd name="T74" fmla="*/ 2449 w 20000"/>
                  <a:gd name="T75" fmla="*/ 13770 h 20000"/>
                  <a:gd name="T76" fmla="*/ 1437 w 20000"/>
                  <a:gd name="T77" fmla="*/ 12293 h 20000"/>
                  <a:gd name="T78" fmla="*/ 669 w 20000"/>
                  <a:gd name="T79" fmla="*/ 11540 h 20000"/>
                  <a:gd name="T80" fmla="*/ 416 w 20000"/>
                  <a:gd name="T81" fmla="*/ 9917 h 20000"/>
                  <a:gd name="T82" fmla="*/ 2114 w 20000"/>
                  <a:gd name="T83" fmla="*/ 8900 h 20000"/>
                  <a:gd name="T84" fmla="*/ 2449 w 20000"/>
                  <a:gd name="T85" fmla="*/ 6778 h 20000"/>
                  <a:gd name="T86" fmla="*/ 3673 w 20000"/>
                  <a:gd name="T87" fmla="*/ 4606 h 20000"/>
                  <a:gd name="T88" fmla="*/ 4571 w 20000"/>
                  <a:gd name="T89" fmla="*/ 5115 h 20000"/>
                  <a:gd name="T90" fmla="*/ 5322 w 20000"/>
                  <a:gd name="T91" fmla="*/ 6377 h 20000"/>
                  <a:gd name="T92" fmla="*/ 7012 w 20000"/>
                  <a:gd name="T93" fmla="*/ 7394 h 20000"/>
                  <a:gd name="T94" fmla="*/ 8751 w 20000"/>
                  <a:gd name="T95" fmla="*/ 8196 h 20000"/>
                  <a:gd name="T96" fmla="*/ 10784 w 20000"/>
                  <a:gd name="T97" fmla="*/ 8597 h 20000"/>
                  <a:gd name="T98" fmla="*/ 12767 w 20000"/>
                  <a:gd name="T99" fmla="*/ 6885 h 20000"/>
                  <a:gd name="T100" fmla="*/ 13437 w 20000"/>
                  <a:gd name="T101" fmla="*/ 6328 h 20000"/>
                  <a:gd name="T102" fmla="*/ 14286 w 20000"/>
                  <a:gd name="T103" fmla="*/ 5418 h 20000"/>
                  <a:gd name="T104" fmla="*/ 15176 w 20000"/>
                  <a:gd name="T105" fmla="*/ 4919 h 20000"/>
                  <a:gd name="T106" fmla="*/ 13951 w 20000"/>
                  <a:gd name="T107" fmla="*/ 4362 h 20000"/>
                  <a:gd name="T108" fmla="*/ 13567 w 20000"/>
                  <a:gd name="T109" fmla="*/ 3042 h 20000"/>
                  <a:gd name="T110" fmla="*/ 14335 w 20000"/>
                  <a:gd name="T111" fmla="*/ 10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00" h="20000">
                    <a:moveTo>
                      <a:pt x="14841" y="108"/>
                    </a:moveTo>
                    <a:lnTo>
                      <a:pt x="15004" y="0"/>
                    </a:lnTo>
                    <a:lnTo>
                      <a:pt x="15216" y="108"/>
                    </a:lnTo>
                    <a:lnTo>
                      <a:pt x="15641" y="205"/>
                    </a:lnTo>
                    <a:lnTo>
                      <a:pt x="15853" y="254"/>
                    </a:lnTo>
                    <a:lnTo>
                      <a:pt x="15976" y="362"/>
                    </a:lnTo>
                    <a:lnTo>
                      <a:pt x="16612" y="1418"/>
                    </a:lnTo>
                    <a:lnTo>
                      <a:pt x="16873" y="1721"/>
                    </a:lnTo>
                    <a:lnTo>
                      <a:pt x="17078" y="2230"/>
                    </a:lnTo>
                    <a:lnTo>
                      <a:pt x="17208" y="2484"/>
                    </a:lnTo>
                    <a:lnTo>
                      <a:pt x="17331" y="2641"/>
                    </a:lnTo>
                    <a:lnTo>
                      <a:pt x="17673" y="2641"/>
                    </a:lnTo>
                    <a:lnTo>
                      <a:pt x="17878" y="2641"/>
                    </a:lnTo>
                    <a:lnTo>
                      <a:pt x="18424" y="2983"/>
                    </a:lnTo>
                    <a:lnTo>
                      <a:pt x="18776" y="3795"/>
                    </a:lnTo>
                    <a:lnTo>
                      <a:pt x="18939" y="3795"/>
                    </a:lnTo>
                    <a:lnTo>
                      <a:pt x="19273" y="3697"/>
                    </a:lnTo>
                    <a:lnTo>
                      <a:pt x="19396" y="3443"/>
                    </a:lnTo>
                    <a:lnTo>
                      <a:pt x="19739" y="3296"/>
                    </a:lnTo>
                    <a:lnTo>
                      <a:pt x="19992" y="3139"/>
                    </a:lnTo>
                    <a:lnTo>
                      <a:pt x="19992" y="3540"/>
                    </a:lnTo>
                    <a:lnTo>
                      <a:pt x="19992" y="3941"/>
                    </a:lnTo>
                    <a:lnTo>
                      <a:pt x="19951" y="4098"/>
                    </a:lnTo>
                    <a:lnTo>
                      <a:pt x="19951" y="5516"/>
                    </a:lnTo>
                    <a:lnTo>
                      <a:pt x="19527" y="5320"/>
                    </a:lnTo>
                    <a:lnTo>
                      <a:pt x="19314" y="5672"/>
                    </a:lnTo>
                    <a:lnTo>
                      <a:pt x="19608" y="6631"/>
                    </a:lnTo>
                    <a:lnTo>
                      <a:pt x="19527" y="7139"/>
                    </a:lnTo>
                    <a:lnTo>
                      <a:pt x="19527" y="7296"/>
                    </a:lnTo>
                    <a:lnTo>
                      <a:pt x="19396" y="7139"/>
                    </a:lnTo>
                    <a:lnTo>
                      <a:pt x="19273" y="7042"/>
                    </a:lnTo>
                    <a:lnTo>
                      <a:pt x="19273" y="7296"/>
                    </a:lnTo>
                    <a:lnTo>
                      <a:pt x="19110" y="7443"/>
                    </a:lnTo>
                    <a:lnTo>
                      <a:pt x="19061" y="7638"/>
                    </a:lnTo>
                    <a:lnTo>
                      <a:pt x="18939" y="7697"/>
                    </a:lnTo>
                    <a:lnTo>
                      <a:pt x="18776" y="7795"/>
                    </a:lnTo>
                    <a:lnTo>
                      <a:pt x="18776" y="7844"/>
                    </a:lnTo>
                    <a:lnTo>
                      <a:pt x="18857" y="8039"/>
                    </a:lnTo>
                    <a:lnTo>
                      <a:pt x="18727" y="8039"/>
                    </a:lnTo>
                    <a:lnTo>
                      <a:pt x="18514" y="8039"/>
                    </a:lnTo>
                    <a:lnTo>
                      <a:pt x="18392" y="7844"/>
                    </a:lnTo>
                    <a:lnTo>
                      <a:pt x="18220" y="7941"/>
                    </a:lnTo>
                    <a:lnTo>
                      <a:pt x="18220" y="8196"/>
                    </a:lnTo>
                    <a:lnTo>
                      <a:pt x="18180" y="8352"/>
                    </a:lnTo>
                    <a:lnTo>
                      <a:pt x="18049" y="8499"/>
                    </a:lnTo>
                    <a:lnTo>
                      <a:pt x="17755" y="8753"/>
                    </a:lnTo>
                    <a:lnTo>
                      <a:pt x="17624" y="9164"/>
                    </a:lnTo>
                    <a:lnTo>
                      <a:pt x="17331" y="9262"/>
                    </a:lnTo>
                    <a:lnTo>
                      <a:pt x="17159" y="9418"/>
                    </a:lnTo>
                    <a:lnTo>
                      <a:pt x="16955" y="9672"/>
                    </a:lnTo>
                    <a:lnTo>
                      <a:pt x="16743" y="9917"/>
                    </a:lnTo>
                    <a:lnTo>
                      <a:pt x="16653" y="9819"/>
                    </a:lnTo>
                    <a:lnTo>
                      <a:pt x="16776" y="9672"/>
                    </a:lnTo>
                    <a:lnTo>
                      <a:pt x="16776" y="9565"/>
                    </a:lnTo>
                    <a:lnTo>
                      <a:pt x="16873" y="9516"/>
                    </a:lnTo>
                    <a:lnTo>
                      <a:pt x="16743" y="9418"/>
                    </a:lnTo>
                    <a:lnTo>
                      <a:pt x="16653" y="9262"/>
                    </a:lnTo>
                    <a:lnTo>
                      <a:pt x="16873" y="8753"/>
                    </a:lnTo>
                    <a:lnTo>
                      <a:pt x="16612" y="8499"/>
                    </a:lnTo>
                    <a:lnTo>
                      <a:pt x="16318" y="8704"/>
                    </a:lnTo>
                    <a:lnTo>
                      <a:pt x="16106" y="9164"/>
                    </a:lnTo>
                    <a:lnTo>
                      <a:pt x="15894" y="9418"/>
                    </a:lnTo>
                    <a:lnTo>
                      <a:pt x="15853" y="9672"/>
                    </a:lnTo>
                    <a:lnTo>
                      <a:pt x="15722" y="9770"/>
                    </a:lnTo>
                    <a:lnTo>
                      <a:pt x="15429" y="9770"/>
                    </a:lnTo>
                    <a:lnTo>
                      <a:pt x="15510" y="10171"/>
                    </a:lnTo>
                    <a:lnTo>
                      <a:pt x="15641" y="10474"/>
                    </a:lnTo>
                    <a:lnTo>
                      <a:pt x="15771" y="10435"/>
                    </a:lnTo>
                    <a:lnTo>
                      <a:pt x="15976" y="10572"/>
                    </a:lnTo>
                    <a:lnTo>
                      <a:pt x="16057" y="10836"/>
                    </a:lnTo>
                    <a:lnTo>
                      <a:pt x="16188" y="10983"/>
                    </a:lnTo>
                    <a:lnTo>
                      <a:pt x="16318" y="10875"/>
                    </a:lnTo>
                    <a:lnTo>
                      <a:pt x="16522" y="10631"/>
                    </a:lnTo>
                    <a:lnTo>
                      <a:pt x="16653" y="10474"/>
                    </a:lnTo>
                    <a:lnTo>
                      <a:pt x="16955" y="10631"/>
                    </a:lnTo>
                    <a:lnTo>
                      <a:pt x="17159" y="10631"/>
                    </a:lnTo>
                    <a:lnTo>
                      <a:pt x="17331" y="10631"/>
                    </a:lnTo>
                    <a:lnTo>
                      <a:pt x="17331" y="10983"/>
                    </a:lnTo>
                    <a:lnTo>
                      <a:pt x="17159" y="10875"/>
                    </a:lnTo>
                    <a:lnTo>
                      <a:pt x="16776" y="11139"/>
                    </a:lnTo>
                    <a:lnTo>
                      <a:pt x="16873" y="11237"/>
                    </a:lnTo>
                    <a:lnTo>
                      <a:pt x="16612" y="11638"/>
                    </a:lnTo>
                    <a:lnTo>
                      <a:pt x="16400" y="12039"/>
                    </a:lnTo>
                    <a:lnTo>
                      <a:pt x="16400" y="12293"/>
                    </a:lnTo>
                    <a:lnTo>
                      <a:pt x="16776" y="12557"/>
                    </a:lnTo>
                    <a:lnTo>
                      <a:pt x="17078" y="13154"/>
                    </a:lnTo>
                    <a:lnTo>
                      <a:pt x="17208" y="13262"/>
                    </a:lnTo>
                    <a:lnTo>
                      <a:pt x="17290" y="13516"/>
                    </a:lnTo>
                    <a:lnTo>
                      <a:pt x="17494" y="13770"/>
                    </a:lnTo>
                    <a:lnTo>
                      <a:pt x="17624" y="13917"/>
                    </a:lnTo>
                    <a:lnTo>
                      <a:pt x="17290" y="13819"/>
                    </a:lnTo>
                    <a:lnTo>
                      <a:pt x="17159" y="13770"/>
                    </a:lnTo>
                    <a:lnTo>
                      <a:pt x="17078" y="13819"/>
                    </a:lnTo>
                    <a:lnTo>
                      <a:pt x="17208" y="13819"/>
                    </a:lnTo>
                    <a:lnTo>
                      <a:pt x="17412" y="14073"/>
                    </a:lnTo>
                    <a:lnTo>
                      <a:pt x="17673" y="14416"/>
                    </a:lnTo>
                    <a:lnTo>
                      <a:pt x="17494" y="14474"/>
                    </a:lnTo>
                    <a:lnTo>
                      <a:pt x="17412" y="14680"/>
                    </a:lnTo>
                    <a:lnTo>
                      <a:pt x="17208" y="14680"/>
                    </a:lnTo>
                    <a:lnTo>
                      <a:pt x="17159" y="14826"/>
                    </a:lnTo>
                    <a:lnTo>
                      <a:pt x="17290" y="14729"/>
                    </a:lnTo>
                    <a:lnTo>
                      <a:pt x="17290" y="14875"/>
                    </a:lnTo>
                    <a:lnTo>
                      <a:pt x="17543" y="14729"/>
                    </a:lnTo>
                    <a:lnTo>
                      <a:pt x="17755" y="14875"/>
                    </a:lnTo>
                    <a:lnTo>
                      <a:pt x="17837" y="14973"/>
                    </a:lnTo>
                    <a:lnTo>
                      <a:pt x="17673" y="15130"/>
                    </a:lnTo>
                    <a:lnTo>
                      <a:pt x="17837" y="15130"/>
                    </a:lnTo>
                    <a:lnTo>
                      <a:pt x="17837" y="15276"/>
                    </a:lnTo>
                    <a:lnTo>
                      <a:pt x="17673" y="15276"/>
                    </a:lnTo>
                    <a:lnTo>
                      <a:pt x="17755" y="15374"/>
                    </a:lnTo>
                    <a:lnTo>
                      <a:pt x="17755" y="15531"/>
                    </a:lnTo>
                    <a:lnTo>
                      <a:pt x="17673" y="15531"/>
                    </a:lnTo>
                    <a:lnTo>
                      <a:pt x="17673" y="15638"/>
                    </a:lnTo>
                    <a:lnTo>
                      <a:pt x="17837" y="15736"/>
                    </a:lnTo>
                    <a:lnTo>
                      <a:pt x="17673" y="15795"/>
                    </a:lnTo>
                    <a:lnTo>
                      <a:pt x="17673" y="15736"/>
                    </a:lnTo>
                    <a:lnTo>
                      <a:pt x="17624" y="15795"/>
                    </a:lnTo>
                    <a:lnTo>
                      <a:pt x="17494" y="16196"/>
                    </a:lnTo>
                    <a:lnTo>
                      <a:pt x="17331" y="16597"/>
                    </a:lnTo>
                    <a:lnTo>
                      <a:pt x="17208" y="16597"/>
                    </a:lnTo>
                    <a:lnTo>
                      <a:pt x="17208" y="16694"/>
                    </a:lnTo>
                    <a:lnTo>
                      <a:pt x="17290" y="16792"/>
                    </a:lnTo>
                    <a:lnTo>
                      <a:pt x="17208" y="16949"/>
                    </a:lnTo>
                    <a:lnTo>
                      <a:pt x="17208" y="17213"/>
                    </a:lnTo>
                    <a:lnTo>
                      <a:pt x="17208" y="17359"/>
                    </a:lnTo>
                    <a:lnTo>
                      <a:pt x="17078" y="17614"/>
                    </a:lnTo>
                    <a:lnTo>
                      <a:pt x="16955" y="17770"/>
                    </a:lnTo>
                    <a:lnTo>
                      <a:pt x="16743" y="17868"/>
                    </a:lnTo>
                    <a:lnTo>
                      <a:pt x="16776" y="17917"/>
                    </a:lnTo>
                    <a:lnTo>
                      <a:pt x="16612" y="18171"/>
                    </a:lnTo>
                    <a:lnTo>
                      <a:pt x="16441" y="18269"/>
                    </a:lnTo>
                    <a:lnTo>
                      <a:pt x="16400" y="18269"/>
                    </a:lnTo>
                    <a:lnTo>
                      <a:pt x="16269" y="18670"/>
                    </a:lnTo>
                    <a:lnTo>
                      <a:pt x="15976" y="18729"/>
                    </a:lnTo>
                    <a:lnTo>
                      <a:pt x="15894" y="18826"/>
                    </a:lnTo>
                    <a:lnTo>
                      <a:pt x="15771" y="18729"/>
                    </a:lnTo>
                    <a:lnTo>
                      <a:pt x="15722" y="18826"/>
                    </a:lnTo>
                    <a:lnTo>
                      <a:pt x="15641" y="18729"/>
                    </a:lnTo>
                    <a:lnTo>
                      <a:pt x="15429" y="18924"/>
                    </a:lnTo>
                    <a:lnTo>
                      <a:pt x="15216" y="18670"/>
                    </a:lnTo>
                    <a:lnTo>
                      <a:pt x="15306" y="19071"/>
                    </a:lnTo>
                    <a:lnTo>
                      <a:pt x="14955" y="19227"/>
                    </a:lnTo>
                    <a:lnTo>
                      <a:pt x="14873" y="19130"/>
                    </a:lnTo>
                    <a:lnTo>
                      <a:pt x="14873" y="19227"/>
                    </a:lnTo>
                    <a:lnTo>
                      <a:pt x="14751" y="19335"/>
                    </a:lnTo>
                    <a:lnTo>
                      <a:pt x="14620" y="19374"/>
                    </a:lnTo>
                    <a:lnTo>
                      <a:pt x="14416" y="19491"/>
                    </a:lnTo>
                    <a:lnTo>
                      <a:pt x="14204" y="19589"/>
                    </a:lnTo>
                    <a:lnTo>
                      <a:pt x="14204" y="19491"/>
                    </a:lnTo>
                    <a:lnTo>
                      <a:pt x="14122" y="19736"/>
                    </a:lnTo>
                    <a:lnTo>
                      <a:pt x="14286" y="19892"/>
                    </a:lnTo>
                    <a:lnTo>
                      <a:pt x="14073" y="19990"/>
                    </a:lnTo>
                    <a:lnTo>
                      <a:pt x="13992" y="19628"/>
                    </a:lnTo>
                    <a:lnTo>
                      <a:pt x="13951" y="19491"/>
                    </a:lnTo>
                    <a:lnTo>
                      <a:pt x="14073" y="19374"/>
                    </a:lnTo>
                    <a:lnTo>
                      <a:pt x="13869" y="19227"/>
                    </a:lnTo>
                    <a:lnTo>
                      <a:pt x="13780" y="19374"/>
                    </a:lnTo>
                    <a:lnTo>
                      <a:pt x="13649" y="19335"/>
                    </a:lnTo>
                    <a:lnTo>
                      <a:pt x="13527" y="19227"/>
                    </a:lnTo>
                    <a:lnTo>
                      <a:pt x="13437" y="19227"/>
                    </a:lnTo>
                    <a:lnTo>
                      <a:pt x="13437" y="19374"/>
                    </a:lnTo>
                    <a:lnTo>
                      <a:pt x="13314" y="19374"/>
                    </a:lnTo>
                    <a:lnTo>
                      <a:pt x="13233" y="19335"/>
                    </a:lnTo>
                    <a:lnTo>
                      <a:pt x="13061" y="19374"/>
                    </a:lnTo>
                    <a:lnTo>
                      <a:pt x="12767" y="18973"/>
                    </a:lnTo>
                    <a:lnTo>
                      <a:pt x="12849" y="18729"/>
                    </a:lnTo>
                    <a:lnTo>
                      <a:pt x="12767" y="18729"/>
                    </a:lnTo>
                    <a:lnTo>
                      <a:pt x="12433" y="18670"/>
                    </a:lnTo>
                    <a:lnTo>
                      <a:pt x="12302" y="18513"/>
                    </a:lnTo>
                    <a:lnTo>
                      <a:pt x="12090" y="18572"/>
                    </a:lnTo>
                    <a:lnTo>
                      <a:pt x="12090" y="18729"/>
                    </a:lnTo>
                    <a:lnTo>
                      <a:pt x="11878" y="18826"/>
                    </a:lnTo>
                    <a:lnTo>
                      <a:pt x="11796" y="18973"/>
                    </a:lnTo>
                    <a:lnTo>
                      <a:pt x="11665" y="18826"/>
                    </a:lnTo>
                    <a:lnTo>
                      <a:pt x="11535" y="18826"/>
                    </a:lnTo>
                    <a:lnTo>
                      <a:pt x="11453" y="18924"/>
                    </a:lnTo>
                    <a:lnTo>
                      <a:pt x="11331" y="18924"/>
                    </a:lnTo>
                    <a:lnTo>
                      <a:pt x="11282" y="18924"/>
                    </a:lnTo>
                    <a:lnTo>
                      <a:pt x="11200" y="18973"/>
                    </a:lnTo>
                    <a:lnTo>
                      <a:pt x="11078" y="18973"/>
                    </a:lnTo>
                    <a:lnTo>
                      <a:pt x="10988" y="19071"/>
                    </a:lnTo>
                    <a:lnTo>
                      <a:pt x="11078" y="19589"/>
                    </a:lnTo>
                    <a:lnTo>
                      <a:pt x="10865" y="19589"/>
                    </a:lnTo>
                    <a:lnTo>
                      <a:pt x="10865" y="19491"/>
                    </a:lnTo>
                    <a:lnTo>
                      <a:pt x="10653" y="19491"/>
                    </a:lnTo>
                    <a:lnTo>
                      <a:pt x="10531" y="19374"/>
                    </a:lnTo>
                    <a:lnTo>
                      <a:pt x="10441" y="19374"/>
                    </a:lnTo>
                    <a:lnTo>
                      <a:pt x="10441" y="19335"/>
                    </a:lnTo>
                    <a:lnTo>
                      <a:pt x="10441" y="19227"/>
                    </a:lnTo>
                    <a:lnTo>
                      <a:pt x="10098" y="19130"/>
                    </a:lnTo>
                    <a:lnTo>
                      <a:pt x="10180" y="18924"/>
                    </a:lnTo>
                    <a:lnTo>
                      <a:pt x="10180" y="18670"/>
                    </a:lnTo>
                    <a:lnTo>
                      <a:pt x="9976" y="18670"/>
                    </a:lnTo>
                    <a:lnTo>
                      <a:pt x="9894" y="18318"/>
                    </a:lnTo>
                    <a:lnTo>
                      <a:pt x="9845" y="18269"/>
                    </a:lnTo>
                    <a:lnTo>
                      <a:pt x="9894" y="18171"/>
                    </a:lnTo>
                    <a:lnTo>
                      <a:pt x="9682" y="18171"/>
                    </a:lnTo>
                    <a:lnTo>
                      <a:pt x="9633" y="18171"/>
                    </a:lnTo>
                    <a:lnTo>
                      <a:pt x="9510" y="18269"/>
                    </a:lnTo>
                    <a:lnTo>
                      <a:pt x="9429" y="18073"/>
                    </a:lnTo>
                    <a:lnTo>
                      <a:pt x="9347" y="17868"/>
                    </a:lnTo>
                    <a:lnTo>
                      <a:pt x="9510" y="17868"/>
                    </a:lnTo>
                    <a:lnTo>
                      <a:pt x="9429" y="17653"/>
                    </a:lnTo>
                    <a:lnTo>
                      <a:pt x="9633" y="17506"/>
                    </a:lnTo>
                    <a:lnTo>
                      <a:pt x="9682" y="17506"/>
                    </a:lnTo>
                    <a:lnTo>
                      <a:pt x="9682" y="17457"/>
                    </a:lnTo>
                    <a:lnTo>
                      <a:pt x="9763" y="17252"/>
                    </a:lnTo>
                    <a:lnTo>
                      <a:pt x="9633" y="16450"/>
                    </a:lnTo>
                    <a:lnTo>
                      <a:pt x="9510" y="16450"/>
                    </a:lnTo>
                    <a:lnTo>
                      <a:pt x="9510" y="16293"/>
                    </a:lnTo>
                    <a:lnTo>
                      <a:pt x="9347" y="16039"/>
                    </a:lnTo>
                    <a:lnTo>
                      <a:pt x="9127" y="16039"/>
                    </a:lnTo>
                    <a:lnTo>
                      <a:pt x="9127" y="16196"/>
                    </a:lnTo>
                    <a:lnTo>
                      <a:pt x="8996" y="16039"/>
                    </a:lnTo>
                    <a:lnTo>
                      <a:pt x="8873" y="16039"/>
                    </a:lnTo>
                    <a:lnTo>
                      <a:pt x="8873" y="15941"/>
                    </a:lnTo>
                    <a:lnTo>
                      <a:pt x="8751" y="16039"/>
                    </a:lnTo>
                    <a:lnTo>
                      <a:pt x="8792" y="15892"/>
                    </a:lnTo>
                    <a:lnTo>
                      <a:pt x="8792" y="15736"/>
                    </a:lnTo>
                    <a:lnTo>
                      <a:pt x="8661" y="15736"/>
                    </a:lnTo>
                    <a:lnTo>
                      <a:pt x="8751" y="15531"/>
                    </a:lnTo>
                    <a:lnTo>
                      <a:pt x="8661" y="15491"/>
                    </a:lnTo>
                    <a:lnTo>
                      <a:pt x="8539" y="15531"/>
                    </a:lnTo>
                    <a:lnTo>
                      <a:pt x="8408" y="15736"/>
                    </a:lnTo>
                    <a:lnTo>
                      <a:pt x="8073" y="15638"/>
                    </a:lnTo>
                    <a:lnTo>
                      <a:pt x="7910" y="15736"/>
                    </a:lnTo>
                    <a:lnTo>
                      <a:pt x="7861" y="15892"/>
                    </a:lnTo>
                    <a:lnTo>
                      <a:pt x="7559" y="15941"/>
                    </a:lnTo>
                    <a:lnTo>
                      <a:pt x="7559" y="16137"/>
                    </a:lnTo>
                    <a:lnTo>
                      <a:pt x="7527" y="16196"/>
                    </a:lnTo>
                    <a:lnTo>
                      <a:pt x="7445" y="16293"/>
                    </a:lnTo>
                    <a:lnTo>
                      <a:pt x="7224" y="16352"/>
                    </a:lnTo>
                    <a:lnTo>
                      <a:pt x="7094" y="16352"/>
                    </a:lnTo>
                    <a:lnTo>
                      <a:pt x="6971" y="16196"/>
                    </a:lnTo>
                    <a:lnTo>
                      <a:pt x="6890" y="16293"/>
                    </a:lnTo>
                    <a:lnTo>
                      <a:pt x="6637" y="16293"/>
                    </a:lnTo>
                    <a:lnTo>
                      <a:pt x="6424" y="16196"/>
                    </a:lnTo>
                    <a:lnTo>
                      <a:pt x="6343" y="16450"/>
                    </a:lnTo>
                    <a:lnTo>
                      <a:pt x="6122" y="16548"/>
                    </a:lnTo>
                    <a:lnTo>
                      <a:pt x="6122" y="16293"/>
                    </a:lnTo>
                    <a:lnTo>
                      <a:pt x="5918" y="16352"/>
                    </a:lnTo>
                    <a:lnTo>
                      <a:pt x="5535" y="16352"/>
                    </a:lnTo>
                    <a:lnTo>
                      <a:pt x="5322" y="16293"/>
                    </a:lnTo>
                    <a:lnTo>
                      <a:pt x="5241" y="16352"/>
                    </a:lnTo>
                    <a:lnTo>
                      <a:pt x="4906" y="16196"/>
                    </a:lnTo>
                    <a:lnTo>
                      <a:pt x="4776" y="16196"/>
                    </a:lnTo>
                    <a:lnTo>
                      <a:pt x="4776" y="15941"/>
                    </a:lnTo>
                    <a:lnTo>
                      <a:pt x="4653" y="16039"/>
                    </a:lnTo>
                    <a:lnTo>
                      <a:pt x="4441" y="15941"/>
                    </a:lnTo>
                    <a:lnTo>
                      <a:pt x="4351" y="15736"/>
                    </a:lnTo>
                    <a:lnTo>
                      <a:pt x="4220" y="15736"/>
                    </a:lnTo>
                    <a:lnTo>
                      <a:pt x="4139" y="15795"/>
                    </a:lnTo>
                    <a:lnTo>
                      <a:pt x="4016" y="15531"/>
                    </a:lnTo>
                    <a:lnTo>
                      <a:pt x="3420" y="15237"/>
                    </a:lnTo>
                    <a:lnTo>
                      <a:pt x="3208" y="15130"/>
                    </a:lnTo>
                    <a:lnTo>
                      <a:pt x="2751" y="14826"/>
                    </a:lnTo>
                    <a:lnTo>
                      <a:pt x="2669" y="14729"/>
                    </a:lnTo>
                    <a:lnTo>
                      <a:pt x="2449" y="14826"/>
                    </a:lnTo>
                    <a:lnTo>
                      <a:pt x="2318" y="14416"/>
                    </a:lnTo>
                    <a:lnTo>
                      <a:pt x="2318" y="14220"/>
                    </a:lnTo>
                    <a:lnTo>
                      <a:pt x="2237" y="14220"/>
                    </a:lnTo>
                    <a:lnTo>
                      <a:pt x="2196" y="14073"/>
                    </a:lnTo>
                    <a:lnTo>
                      <a:pt x="2237" y="14015"/>
                    </a:lnTo>
                    <a:lnTo>
                      <a:pt x="2367" y="14171"/>
                    </a:lnTo>
                    <a:lnTo>
                      <a:pt x="2571" y="13917"/>
                    </a:lnTo>
                    <a:lnTo>
                      <a:pt x="2449" y="13770"/>
                    </a:lnTo>
                    <a:lnTo>
                      <a:pt x="2318" y="13672"/>
                    </a:lnTo>
                    <a:lnTo>
                      <a:pt x="2237" y="13359"/>
                    </a:lnTo>
                    <a:lnTo>
                      <a:pt x="2196" y="13154"/>
                    </a:lnTo>
                    <a:lnTo>
                      <a:pt x="2114" y="12958"/>
                    </a:lnTo>
                    <a:lnTo>
                      <a:pt x="1853" y="12597"/>
                    </a:lnTo>
                    <a:lnTo>
                      <a:pt x="1771" y="12597"/>
                    </a:lnTo>
                    <a:lnTo>
                      <a:pt x="1437" y="12293"/>
                    </a:lnTo>
                    <a:lnTo>
                      <a:pt x="1224" y="12039"/>
                    </a:lnTo>
                    <a:lnTo>
                      <a:pt x="759" y="11795"/>
                    </a:lnTo>
                    <a:lnTo>
                      <a:pt x="547" y="11892"/>
                    </a:lnTo>
                    <a:lnTo>
                      <a:pt x="465" y="11795"/>
                    </a:lnTo>
                    <a:lnTo>
                      <a:pt x="416" y="11697"/>
                    </a:lnTo>
                    <a:lnTo>
                      <a:pt x="547" y="11697"/>
                    </a:lnTo>
                    <a:lnTo>
                      <a:pt x="669" y="11540"/>
                    </a:lnTo>
                    <a:lnTo>
                      <a:pt x="465" y="10983"/>
                    </a:lnTo>
                    <a:lnTo>
                      <a:pt x="253" y="10875"/>
                    </a:lnTo>
                    <a:lnTo>
                      <a:pt x="131" y="10875"/>
                    </a:lnTo>
                    <a:lnTo>
                      <a:pt x="0" y="10474"/>
                    </a:lnTo>
                    <a:lnTo>
                      <a:pt x="131" y="10474"/>
                    </a:lnTo>
                    <a:lnTo>
                      <a:pt x="82" y="10171"/>
                    </a:lnTo>
                    <a:lnTo>
                      <a:pt x="416" y="9917"/>
                    </a:lnTo>
                    <a:lnTo>
                      <a:pt x="588" y="9819"/>
                    </a:lnTo>
                    <a:lnTo>
                      <a:pt x="669" y="9917"/>
                    </a:lnTo>
                    <a:lnTo>
                      <a:pt x="971" y="9819"/>
                    </a:lnTo>
                    <a:lnTo>
                      <a:pt x="1012" y="9565"/>
                    </a:lnTo>
                    <a:lnTo>
                      <a:pt x="1437" y="9516"/>
                    </a:lnTo>
                    <a:lnTo>
                      <a:pt x="1567" y="9262"/>
                    </a:lnTo>
                    <a:lnTo>
                      <a:pt x="2114" y="8900"/>
                    </a:lnTo>
                    <a:lnTo>
                      <a:pt x="2196" y="8196"/>
                    </a:lnTo>
                    <a:lnTo>
                      <a:pt x="1853" y="7296"/>
                    </a:lnTo>
                    <a:lnTo>
                      <a:pt x="1690" y="7296"/>
                    </a:lnTo>
                    <a:lnTo>
                      <a:pt x="2237" y="6983"/>
                    </a:lnTo>
                    <a:lnTo>
                      <a:pt x="2449" y="7042"/>
                    </a:lnTo>
                    <a:lnTo>
                      <a:pt x="2571" y="6885"/>
                    </a:lnTo>
                    <a:lnTo>
                      <a:pt x="2449" y="6778"/>
                    </a:lnTo>
                    <a:lnTo>
                      <a:pt x="2539" y="5917"/>
                    </a:lnTo>
                    <a:lnTo>
                      <a:pt x="3257" y="5917"/>
                    </a:lnTo>
                    <a:lnTo>
                      <a:pt x="3420" y="5721"/>
                    </a:lnTo>
                    <a:lnTo>
                      <a:pt x="3257" y="5115"/>
                    </a:lnTo>
                    <a:lnTo>
                      <a:pt x="3469" y="5017"/>
                    </a:lnTo>
                    <a:lnTo>
                      <a:pt x="3633" y="4919"/>
                    </a:lnTo>
                    <a:lnTo>
                      <a:pt x="3673" y="4606"/>
                    </a:lnTo>
                    <a:lnTo>
                      <a:pt x="3886" y="4499"/>
                    </a:lnTo>
                    <a:lnTo>
                      <a:pt x="3886" y="4763"/>
                    </a:lnTo>
                    <a:lnTo>
                      <a:pt x="4016" y="4861"/>
                    </a:lnTo>
                    <a:lnTo>
                      <a:pt x="4098" y="4919"/>
                    </a:lnTo>
                    <a:lnTo>
                      <a:pt x="4220" y="5017"/>
                    </a:lnTo>
                    <a:lnTo>
                      <a:pt x="4441" y="5320"/>
                    </a:lnTo>
                    <a:lnTo>
                      <a:pt x="4571" y="5115"/>
                    </a:lnTo>
                    <a:lnTo>
                      <a:pt x="4653" y="5164"/>
                    </a:lnTo>
                    <a:lnTo>
                      <a:pt x="4694" y="5320"/>
                    </a:lnTo>
                    <a:lnTo>
                      <a:pt x="4776" y="5262"/>
                    </a:lnTo>
                    <a:lnTo>
                      <a:pt x="5029" y="5565"/>
                    </a:lnTo>
                    <a:lnTo>
                      <a:pt x="5241" y="5917"/>
                    </a:lnTo>
                    <a:lnTo>
                      <a:pt x="5241" y="6181"/>
                    </a:lnTo>
                    <a:lnTo>
                      <a:pt x="5322" y="6377"/>
                    </a:lnTo>
                    <a:lnTo>
                      <a:pt x="5241" y="6474"/>
                    </a:lnTo>
                    <a:lnTo>
                      <a:pt x="5322" y="6738"/>
                    </a:lnTo>
                    <a:lnTo>
                      <a:pt x="5657" y="6885"/>
                    </a:lnTo>
                    <a:lnTo>
                      <a:pt x="6122" y="6983"/>
                    </a:lnTo>
                    <a:lnTo>
                      <a:pt x="6343" y="6983"/>
                    </a:lnTo>
                    <a:lnTo>
                      <a:pt x="6678" y="7237"/>
                    </a:lnTo>
                    <a:lnTo>
                      <a:pt x="7012" y="7394"/>
                    </a:lnTo>
                    <a:lnTo>
                      <a:pt x="7094" y="7394"/>
                    </a:lnTo>
                    <a:lnTo>
                      <a:pt x="7224" y="7540"/>
                    </a:lnTo>
                    <a:lnTo>
                      <a:pt x="7445" y="8039"/>
                    </a:lnTo>
                    <a:lnTo>
                      <a:pt x="7649" y="8303"/>
                    </a:lnTo>
                    <a:lnTo>
                      <a:pt x="7992" y="8303"/>
                    </a:lnTo>
                    <a:lnTo>
                      <a:pt x="8073" y="8196"/>
                    </a:lnTo>
                    <a:lnTo>
                      <a:pt x="8751" y="8196"/>
                    </a:lnTo>
                    <a:lnTo>
                      <a:pt x="8873" y="8098"/>
                    </a:lnTo>
                    <a:lnTo>
                      <a:pt x="9429" y="8098"/>
                    </a:lnTo>
                    <a:lnTo>
                      <a:pt x="9551" y="8303"/>
                    </a:lnTo>
                    <a:lnTo>
                      <a:pt x="10229" y="8499"/>
                    </a:lnTo>
                    <a:lnTo>
                      <a:pt x="10441" y="8499"/>
                    </a:lnTo>
                    <a:lnTo>
                      <a:pt x="10563" y="8597"/>
                    </a:lnTo>
                    <a:lnTo>
                      <a:pt x="10784" y="8597"/>
                    </a:lnTo>
                    <a:lnTo>
                      <a:pt x="11200" y="8196"/>
                    </a:lnTo>
                    <a:lnTo>
                      <a:pt x="12212" y="8039"/>
                    </a:lnTo>
                    <a:lnTo>
                      <a:pt x="12335" y="7844"/>
                    </a:lnTo>
                    <a:lnTo>
                      <a:pt x="12514" y="7697"/>
                    </a:lnTo>
                    <a:lnTo>
                      <a:pt x="12555" y="7394"/>
                    </a:lnTo>
                    <a:lnTo>
                      <a:pt x="12767" y="7237"/>
                    </a:lnTo>
                    <a:lnTo>
                      <a:pt x="12767" y="6885"/>
                    </a:lnTo>
                    <a:lnTo>
                      <a:pt x="12637" y="6738"/>
                    </a:lnTo>
                    <a:lnTo>
                      <a:pt x="12637" y="6474"/>
                    </a:lnTo>
                    <a:lnTo>
                      <a:pt x="12686" y="6328"/>
                    </a:lnTo>
                    <a:lnTo>
                      <a:pt x="12849" y="6377"/>
                    </a:lnTo>
                    <a:lnTo>
                      <a:pt x="13102" y="6377"/>
                    </a:lnTo>
                    <a:lnTo>
                      <a:pt x="13404" y="6377"/>
                    </a:lnTo>
                    <a:lnTo>
                      <a:pt x="13437" y="6328"/>
                    </a:lnTo>
                    <a:lnTo>
                      <a:pt x="13527" y="5976"/>
                    </a:lnTo>
                    <a:lnTo>
                      <a:pt x="13739" y="5976"/>
                    </a:lnTo>
                    <a:lnTo>
                      <a:pt x="13992" y="5672"/>
                    </a:lnTo>
                    <a:lnTo>
                      <a:pt x="13992" y="5516"/>
                    </a:lnTo>
                    <a:lnTo>
                      <a:pt x="14122" y="5320"/>
                    </a:lnTo>
                    <a:lnTo>
                      <a:pt x="14204" y="5320"/>
                    </a:lnTo>
                    <a:lnTo>
                      <a:pt x="14286" y="5418"/>
                    </a:lnTo>
                    <a:lnTo>
                      <a:pt x="14335" y="5418"/>
                    </a:lnTo>
                    <a:lnTo>
                      <a:pt x="14335" y="5262"/>
                    </a:lnTo>
                    <a:lnTo>
                      <a:pt x="14416" y="5262"/>
                    </a:lnTo>
                    <a:lnTo>
                      <a:pt x="14539" y="5017"/>
                    </a:lnTo>
                    <a:lnTo>
                      <a:pt x="14841" y="4919"/>
                    </a:lnTo>
                    <a:lnTo>
                      <a:pt x="15086" y="5017"/>
                    </a:lnTo>
                    <a:lnTo>
                      <a:pt x="15176" y="4919"/>
                    </a:lnTo>
                    <a:lnTo>
                      <a:pt x="15004" y="4655"/>
                    </a:lnTo>
                    <a:lnTo>
                      <a:pt x="14873" y="4499"/>
                    </a:lnTo>
                    <a:lnTo>
                      <a:pt x="14620" y="4254"/>
                    </a:lnTo>
                    <a:lnTo>
                      <a:pt x="14416" y="4098"/>
                    </a:lnTo>
                    <a:lnTo>
                      <a:pt x="14204" y="4205"/>
                    </a:lnTo>
                    <a:lnTo>
                      <a:pt x="14073" y="4460"/>
                    </a:lnTo>
                    <a:lnTo>
                      <a:pt x="13951" y="4362"/>
                    </a:lnTo>
                    <a:lnTo>
                      <a:pt x="13739" y="4362"/>
                    </a:lnTo>
                    <a:lnTo>
                      <a:pt x="13649" y="4460"/>
                    </a:lnTo>
                    <a:lnTo>
                      <a:pt x="13437" y="4205"/>
                    </a:lnTo>
                    <a:lnTo>
                      <a:pt x="13527" y="4098"/>
                    </a:lnTo>
                    <a:lnTo>
                      <a:pt x="13527" y="3941"/>
                    </a:lnTo>
                    <a:lnTo>
                      <a:pt x="13527" y="3296"/>
                    </a:lnTo>
                    <a:lnTo>
                      <a:pt x="13567" y="3042"/>
                    </a:lnTo>
                    <a:lnTo>
                      <a:pt x="13739" y="3042"/>
                    </a:lnTo>
                    <a:lnTo>
                      <a:pt x="13992" y="3139"/>
                    </a:lnTo>
                    <a:lnTo>
                      <a:pt x="14335" y="2738"/>
                    </a:lnTo>
                    <a:lnTo>
                      <a:pt x="14204" y="2484"/>
                    </a:lnTo>
                    <a:lnTo>
                      <a:pt x="14286" y="1976"/>
                    </a:lnTo>
                    <a:lnTo>
                      <a:pt x="14416" y="1164"/>
                    </a:lnTo>
                    <a:lnTo>
                      <a:pt x="14335" y="1017"/>
                    </a:lnTo>
                    <a:lnTo>
                      <a:pt x="14204" y="822"/>
                    </a:lnTo>
                    <a:lnTo>
                      <a:pt x="14073" y="822"/>
                    </a:lnTo>
                    <a:lnTo>
                      <a:pt x="14204" y="401"/>
                    </a:lnTo>
                    <a:lnTo>
                      <a:pt x="14841" y="108"/>
                    </a:lnTo>
                    <a:close/>
                  </a:path>
                </a:pathLst>
              </a:custGeom>
              <a:grpFill/>
              <a:ln w="1270">
                <a:noFill/>
                <a:round/>
                <a:headEnd/>
                <a:tailEnd/>
              </a:ln>
            </p:spPr>
            <p:txBody>
              <a:bodyPr/>
              <a:lstStyle/>
              <a:p>
                <a:pPr defTabSz="914288">
                  <a:defRPr/>
                </a:pPr>
                <a:endParaRPr lang="fr-FR" sz="975" dirty="0">
                  <a:solidFill>
                    <a:prstClr val="black"/>
                  </a:solidFill>
                  <a:latin typeface="Calibri" panose="020F0502020204030204"/>
                </a:endParaRPr>
              </a:p>
            </p:txBody>
          </p:sp>
          <p:sp>
            <p:nvSpPr>
              <p:cNvPr id="123" name="Freeform 213"/>
              <p:cNvSpPr>
                <a:spLocks/>
              </p:cNvSpPr>
              <p:nvPr/>
            </p:nvSpPr>
            <p:spPr bwMode="auto">
              <a:xfrm>
                <a:off x="6896100" y="3379788"/>
                <a:ext cx="790575" cy="850900"/>
              </a:xfrm>
              <a:custGeom>
                <a:avLst/>
                <a:gdLst>
                  <a:gd name="T0" fmla="*/ 6318 w 20000"/>
                  <a:gd name="T1" fmla="*/ 850 h 20000"/>
                  <a:gd name="T2" fmla="*/ 7074 w 20000"/>
                  <a:gd name="T3" fmla="*/ 2013 h 20000"/>
                  <a:gd name="T4" fmla="*/ 6415 w 20000"/>
                  <a:gd name="T5" fmla="*/ 2476 h 20000"/>
                  <a:gd name="T6" fmla="*/ 7251 w 20000"/>
                  <a:gd name="T7" fmla="*/ 3236 h 20000"/>
                  <a:gd name="T8" fmla="*/ 7926 w 20000"/>
                  <a:gd name="T9" fmla="*/ 4638 h 20000"/>
                  <a:gd name="T10" fmla="*/ 8585 w 20000"/>
                  <a:gd name="T11" fmla="*/ 5488 h 20000"/>
                  <a:gd name="T12" fmla="*/ 11158 w 20000"/>
                  <a:gd name="T13" fmla="*/ 6249 h 20000"/>
                  <a:gd name="T14" fmla="*/ 12235 w 20000"/>
                  <a:gd name="T15" fmla="*/ 6711 h 20000"/>
                  <a:gd name="T16" fmla="*/ 12990 w 20000"/>
                  <a:gd name="T17" fmla="*/ 6861 h 20000"/>
                  <a:gd name="T18" fmla="*/ 14068 w 20000"/>
                  <a:gd name="T19" fmla="*/ 5638 h 20000"/>
                  <a:gd name="T20" fmla="*/ 14904 w 20000"/>
                  <a:gd name="T21" fmla="*/ 6488 h 20000"/>
                  <a:gd name="T22" fmla="*/ 16238 w 20000"/>
                  <a:gd name="T23" fmla="*/ 6100 h 20000"/>
                  <a:gd name="T24" fmla="*/ 16672 w 20000"/>
                  <a:gd name="T25" fmla="*/ 5638 h 20000"/>
                  <a:gd name="T26" fmla="*/ 17492 w 20000"/>
                  <a:gd name="T27" fmla="*/ 5026 h 20000"/>
                  <a:gd name="T28" fmla="*/ 18810 w 20000"/>
                  <a:gd name="T29" fmla="*/ 4474 h 20000"/>
                  <a:gd name="T30" fmla="*/ 19325 w 20000"/>
                  <a:gd name="T31" fmla="*/ 4787 h 20000"/>
                  <a:gd name="T32" fmla="*/ 19486 w 20000"/>
                  <a:gd name="T33" fmla="*/ 5250 h 20000"/>
                  <a:gd name="T34" fmla="*/ 19727 w 20000"/>
                  <a:gd name="T35" fmla="*/ 5712 h 20000"/>
                  <a:gd name="T36" fmla="*/ 19068 w 20000"/>
                  <a:gd name="T37" fmla="*/ 6249 h 20000"/>
                  <a:gd name="T38" fmla="*/ 18248 w 20000"/>
                  <a:gd name="T39" fmla="*/ 7711 h 20000"/>
                  <a:gd name="T40" fmla="*/ 17588 w 20000"/>
                  <a:gd name="T41" fmla="*/ 9262 h 20000"/>
                  <a:gd name="T42" fmla="*/ 17074 w 20000"/>
                  <a:gd name="T43" fmla="*/ 9650 h 20000"/>
                  <a:gd name="T44" fmla="*/ 16415 w 20000"/>
                  <a:gd name="T45" fmla="*/ 9336 h 20000"/>
                  <a:gd name="T46" fmla="*/ 16158 w 20000"/>
                  <a:gd name="T47" fmla="*/ 8650 h 20000"/>
                  <a:gd name="T48" fmla="*/ 16833 w 20000"/>
                  <a:gd name="T49" fmla="*/ 7875 h 20000"/>
                  <a:gd name="T50" fmla="*/ 15064 w 20000"/>
                  <a:gd name="T51" fmla="*/ 7263 h 20000"/>
                  <a:gd name="T52" fmla="*/ 13842 w 20000"/>
                  <a:gd name="T53" fmla="*/ 7263 h 20000"/>
                  <a:gd name="T54" fmla="*/ 14068 w 20000"/>
                  <a:gd name="T55" fmla="*/ 7711 h 20000"/>
                  <a:gd name="T56" fmla="*/ 14502 w 20000"/>
                  <a:gd name="T57" fmla="*/ 8501 h 20000"/>
                  <a:gd name="T58" fmla="*/ 14502 w 20000"/>
                  <a:gd name="T59" fmla="*/ 10112 h 20000"/>
                  <a:gd name="T60" fmla="*/ 14003 w 20000"/>
                  <a:gd name="T61" fmla="*/ 9963 h 20000"/>
                  <a:gd name="T62" fmla="*/ 13151 w 20000"/>
                  <a:gd name="T63" fmla="*/ 10723 h 20000"/>
                  <a:gd name="T64" fmla="*/ 12910 w 20000"/>
                  <a:gd name="T65" fmla="*/ 11738 h 20000"/>
                  <a:gd name="T66" fmla="*/ 12235 w 20000"/>
                  <a:gd name="T67" fmla="*/ 11887 h 20000"/>
                  <a:gd name="T68" fmla="*/ 10161 w 20000"/>
                  <a:gd name="T69" fmla="*/ 13900 h 20000"/>
                  <a:gd name="T70" fmla="*/ 9244 w 20000"/>
                  <a:gd name="T71" fmla="*/ 14601 h 20000"/>
                  <a:gd name="T72" fmla="*/ 8842 w 20000"/>
                  <a:gd name="T73" fmla="*/ 15600 h 20000"/>
                  <a:gd name="T74" fmla="*/ 9003 w 20000"/>
                  <a:gd name="T75" fmla="*/ 16585 h 20000"/>
                  <a:gd name="T76" fmla="*/ 8328 w 20000"/>
                  <a:gd name="T77" fmla="*/ 18449 h 20000"/>
                  <a:gd name="T78" fmla="*/ 7749 w 20000"/>
                  <a:gd name="T79" fmla="*/ 19224 h 20000"/>
                  <a:gd name="T80" fmla="*/ 6158 w 20000"/>
                  <a:gd name="T81" fmla="*/ 18747 h 20000"/>
                  <a:gd name="T82" fmla="*/ 4839 w 20000"/>
                  <a:gd name="T83" fmla="*/ 16122 h 20000"/>
                  <a:gd name="T84" fmla="*/ 3328 w 20000"/>
                  <a:gd name="T85" fmla="*/ 12349 h 20000"/>
                  <a:gd name="T86" fmla="*/ 3087 w 20000"/>
                  <a:gd name="T87" fmla="*/ 10664 h 20000"/>
                  <a:gd name="T88" fmla="*/ 3167 w 20000"/>
                  <a:gd name="T89" fmla="*/ 10112 h 20000"/>
                  <a:gd name="T90" fmla="*/ 2508 w 20000"/>
                  <a:gd name="T91" fmla="*/ 10336 h 20000"/>
                  <a:gd name="T92" fmla="*/ 1350 w 20000"/>
                  <a:gd name="T93" fmla="*/ 10887 h 20000"/>
                  <a:gd name="T94" fmla="*/ 1350 w 20000"/>
                  <a:gd name="T95" fmla="*/ 9500 h 20000"/>
                  <a:gd name="T96" fmla="*/ 96 w 20000"/>
                  <a:gd name="T97" fmla="*/ 8874 h 20000"/>
                  <a:gd name="T98" fmla="*/ 257 w 20000"/>
                  <a:gd name="T99" fmla="*/ 8650 h 20000"/>
                  <a:gd name="T100" fmla="*/ 1592 w 20000"/>
                  <a:gd name="T101" fmla="*/ 8650 h 20000"/>
                  <a:gd name="T102" fmla="*/ 1093 w 20000"/>
                  <a:gd name="T103" fmla="*/ 7412 h 20000"/>
                  <a:gd name="T104" fmla="*/ 1093 w 20000"/>
                  <a:gd name="T105" fmla="*/ 5861 h 20000"/>
                  <a:gd name="T106" fmla="*/ 2251 w 20000"/>
                  <a:gd name="T107" fmla="*/ 5638 h 20000"/>
                  <a:gd name="T108" fmla="*/ 3087 w 20000"/>
                  <a:gd name="T109" fmla="*/ 4400 h 20000"/>
                  <a:gd name="T110" fmla="*/ 3585 w 20000"/>
                  <a:gd name="T111" fmla="*/ 3013 h 20000"/>
                  <a:gd name="T112" fmla="*/ 3585 w 20000"/>
                  <a:gd name="T113" fmla="*/ 2237 h 20000"/>
                  <a:gd name="T114" fmla="*/ 2830 w 20000"/>
                  <a:gd name="T115" fmla="*/ 850 h 20000"/>
                  <a:gd name="T116" fmla="*/ 4839 w 20000"/>
                  <a:gd name="T117" fmla="*/ 5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5498" y="0"/>
                    </a:moveTo>
                    <a:lnTo>
                      <a:pt x="5659" y="0"/>
                    </a:lnTo>
                    <a:lnTo>
                      <a:pt x="6158" y="552"/>
                    </a:lnTo>
                    <a:lnTo>
                      <a:pt x="6318" y="850"/>
                    </a:lnTo>
                    <a:lnTo>
                      <a:pt x="6415" y="1163"/>
                    </a:lnTo>
                    <a:lnTo>
                      <a:pt x="6576" y="1626"/>
                    </a:lnTo>
                    <a:lnTo>
                      <a:pt x="6833" y="1775"/>
                    </a:lnTo>
                    <a:lnTo>
                      <a:pt x="7074" y="2013"/>
                    </a:lnTo>
                    <a:lnTo>
                      <a:pt x="6672" y="2401"/>
                    </a:lnTo>
                    <a:lnTo>
                      <a:pt x="6415" y="2163"/>
                    </a:lnTo>
                    <a:lnTo>
                      <a:pt x="6318" y="2237"/>
                    </a:lnTo>
                    <a:lnTo>
                      <a:pt x="6415" y="2476"/>
                    </a:lnTo>
                    <a:lnTo>
                      <a:pt x="6576" y="2476"/>
                    </a:lnTo>
                    <a:lnTo>
                      <a:pt x="6576" y="2774"/>
                    </a:lnTo>
                    <a:lnTo>
                      <a:pt x="6833" y="3386"/>
                    </a:lnTo>
                    <a:lnTo>
                      <a:pt x="7251" y="3236"/>
                    </a:lnTo>
                    <a:lnTo>
                      <a:pt x="7412" y="3386"/>
                    </a:lnTo>
                    <a:lnTo>
                      <a:pt x="8328" y="3863"/>
                    </a:lnTo>
                    <a:lnTo>
                      <a:pt x="8087" y="4400"/>
                    </a:lnTo>
                    <a:lnTo>
                      <a:pt x="7926" y="4638"/>
                    </a:lnTo>
                    <a:lnTo>
                      <a:pt x="8087" y="4877"/>
                    </a:lnTo>
                    <a:lnTo>
                      <a:pt x="7749" y="5026"/>
                    </a:lnTo>
                    <a:lnTo>
                      <a:pt x="8087" y="5250"/>
                    </a:lnTo>
                    <a:lnTo>
                      <a:pt x="8585" y="5488"/>
                    </a:lnTo>
                    <a:lnTo>
                      <a:pt x="9164" y="5712"/>
                    </a:lnTo>
                    <a:lnTo>
                      <a:pt x="9662" y="5861"/>
                    </a:lnTo>
                    <a:lnTo>
                      <a:pt x="10498" y="6100"/>
                    </a:lnTo>
                    <a:lnTo>
                      <a:pt x="11158" y="6249"/>
                    </a:lnTo>
                    <a:lnTo>
                      <a:pt x="11254" y="6398"/>
                    </a:lnTo>
                    <a:lnTo>
                      <a:pt x="11672" y="6637"/>
                    </a:lnTo>
                    <a:lnTo>
                      <a:pt x="11913" y="6488"/>
                    </a:lnTo>
                    <a:lnTo>
                      <a:pt x="12235" y="6711"/>
                    </a:lnTo>
                    <a:lnTo>
                      <a:pt x="12331" y="6711"/>
                    </a:lnTo>
                    <a:lnTo>
                      <a:pt x="12749" y="6711"/>
                    </a:lnTo>
                    <a:lnTo>
                      <a:pt x="12990" y="6711"/>
                    </a:lnTo>
                    <a:lnTo>
                      <a:pt x="12990" y="6861"/>
                    </a:lnTo>
                    <a:lnTo>
                      <a:pt x="13650" y="6861"/>
                    </a:lnTo>
                    <a:lnTo>
                      <a:pt x="13585" y="6100"/>
                    </a:lnTo>
                    <a:lnTo>
                      <a:pt x="13650" y="5712"/>
                    </a:lnTo>
                    <a:lnTo>
                      <a:pt x="14068" y="5638"/>
                    </a:lnTo>
                    <a:lnTo>
                      <a:pt x="14068" y="6025"/>
                    </a:lnTo>
                    <a:lnTo>
                      <a:pt x="14068" y="6249"/>
                    </a:lnTo>
                    <a:lnTo>
                      <a:pt x="14405" y="6398"/>
                    </a:lnTo>
                    <a:lnTo>
                      <a:pt x="14904" y="6488"/>
                    </a:lnTo>
                    <a:lnTo>
                      <a:pt x="15322" y="6398"/>
                    </a:lnTo>
                    <a:lnTo>
                      <a:pt x="15322" y="6488"/>
                    </a:lnTo>
                    <a:lnTo>
                      <a:pt x="16415" y="6488"/>
                    </a:lnTo>
                    <a:lnTo>
                      <a:pt x="16238" y="6100"/>
                    </a:lnTo>
                    <a:lnTo>
                      <a:pt x="15981" y="6025"/>
                    </a:lnTo>
                    <a:lnTo>
                      <a:pt x="15981" y="5712"/>
                    </a:lnTo>
                    <a:lnTo>
                      <a:pt x="16238" y="5712"/>
                    </a:lnTo>
                    <a:lnTo>
                      <a:pt x="16672" y="5638"/>
                    </a:lnTo>
                    <a:lnTo>
                      <a:pt x="16833" y="5488"/>
                    </a:lnTo>
                    <a:lnTo>
                      <a:pt x="16897" y="5399"/>
                    </a:lnTo>
                    <a:lnTo>
                      <a:pt x="16897" y="5101"/>
                    </a:lnTo>
                    <a:lnTo>
                      <a:pt x="17492" y="5026"/>
                    </a:lnTo>
                    <a:lnTo>
                      <a:pt x="17588" y="4787"/>
                    </a:lnTo>
                    <a:lnTo>
                      <a:pt x="17910" y="4638"/>
                    </a:lnTo>
                    <a:lnTo>
                      <a:pt x="18569" y="4787"/>
                    </a:lnTo>
                    <a:lnTo>
                      <a:pt x="18810" y="4474"/>
                    </a:lnTo>
                    <a:lnTo>
                      <a:pt x="19068" y="4400"/>
                    </a:lnTo>
                    <a:lnTo>
                      <a:pt x="19244" y="4474"/>
                    </a:lnTo>
                    <a:lnTo>
                      <a:pt x="19068" y="4787"/>
                    </a:lnTo>
                    <a:lnTo>
                      <a:pt x="19325" y="4787"/>
                    </a:lnTo>
                    <a:lnTo>
                      <a:pt x="19325" y="5026"/>
                    </a:lnTo>
                    <a:lnTo>
                      <a:pt x="19244" y="5250"/>
                    </a:lnTo>
                    <a:lnTo>
                      <a:pt x="19486" y="5101"/>
                    </a:lnTo>
                    <a:lnTo>
                      <a:pt x="19486" y="5250"/>
                    </a:lnTo>
                    <a:lnTo>
                      <a:pt x="19727" y="5250"/>
                    </a:lnTo>
                    <a:lnTo>
                      <a:pt x="19984" y="5488"/>
                    </a:lnTo>
                    <a:lnTo>
                      <a:pt x="19904" y="5488"/>
                    </a:lnTo>
                    <a:lnTo>
                      <a:pt x="19727" y="5712"/>
                    </a:lnTo>
                    <a:lnTo>
                      <a:pt x="19904" y="6100"/>
                    </a:lnTo>
                    <a:lnTo>
                      <a:pt x="19727" y="6249"/>
                    </a:lnTo>
                    <a:lnTo>
                      <a:pt x="19662" y="6100"/>
                    </a:lnTo>
                    <a:lnTo>
                      <a:pt x="19068" y="6249"/>
                    </a:lnTo>
                    <a:lnTo>
                      <a:pt x="18569" y="6711"/>
                    </a:lnTo>
                    <a:lnTo>
                      <a:pt x="18569" y="7263"/>
                    </a:lnTo>
                    <a:lnTo>
                      <a:pt x="18248" y="7487"/>
                    </a:lnTo>
                    <a:lnTo>
                      <a:pt x="18248" y="7711"/>
                    </a:lnTo>
                    <a:lnTo>
                      <a:pt x="18248" y="8113"/>
                    </a:lnTo>
                    <a:lnTo>
                      <a:pt x="17990" y="8650"/>
                    </a:lnTo>
                    <a:lnTo>
                      <a:pt x="17588" y="8650"/>
                    </a:lnTo>
                    <a:lnTo>
                      <a:pt x="17588" y="9262"/>
                    </a:lnTo>
                    <a:lnTo>
                      <a:pt x="17331" y="9336"/>
                    </a:lnTo>
                    <a:lnTo>
                      <a:pt x="17492" y="9963"/>
                    </a:lnTo>
                    <a:lnTo>
                      <a:pt x="17235" y="9963"/>
                    </a:lnTo>
                    <a:lnTo>
                      <a:pt x="17074" y="9650"/>
                    </a:lnTo>
                    <a:lnTo>
                      <a:pt x="16833" y="9336"/>
                    </a:lnTo>
                    <a:lnTo>
                      <a:pt x="16833" y="9023"/>
                    </a:lnTo>
                    <a:lnTo>
                      <a:pt x="16495" y="9336"/>
                    </a:lnTo>
                    <a:lnTo>
                      <a:pt x="16415" y="9336"/>
                    </a:lnTo>
                    <a:lnTo>
                      <a:pt x="16238" y="9262"/>
                    </a:lnTo>
                    <a:lnTo>
                      <a:pt x="16158" y="9262"/>
                    </a:lnTo>
                    <a:lnTo>
                      <a:pt x="15981" y="8725"/>
                    </a:lnTo>
                    <a:lnTo>
                      <a:pt x="16158" y="8650"/>
                    </a:lnTo>
                    <a:lnTo>
                      <a:pt x="16238" y="8352"/>
                    </a:lnTo>
                    <a:lnTo>
                      <a:pt x="16672" y="8262"/>
                    </a:lnTo>
                    <a:lnTo>
                      <a:pt x="16672" y="8024"/>
                    </a:lnTo>
                    <a:lnTo>
                      <a:pt x="16833" y="7875"/>
                    </a:lnTo>
                    <a:lnTo>
                      <a:pt x="16672" y="7651"/>
                    </a:lnTo>
                    <a:lnTo>
                      <a:pt x="15064" y="7711"/>
                    </a:lnTo>
                    <a:lnTo>
                      <a:pt x="15161" y="7651"/>
                    </a:lnTo>
                    <a:lnTo>
                      <a:pt x="15064" y="7263"/>
                    </a:lnTo>
                    <a:lnTo>
                      <a:pt x="14662" y="7040"/>
                    </a:lnTo>
                    <a:lnTo>
                      <a:pt x="14244" y="6711"/>
                    </a:lnTo>
                    <a:lnTo>
                      <a:pt x="14003" y="6711"/>
                    </a:lnTo>
                    <a:lnTo>
                      <a:pt x="13842" y="7263"/>
                    </a:lnTo>
                    <a:lnTo>
                      <a:pt x="14068" y="7487"/>
                    </a:lnTo>
                    <a:lnTo>
                      <a:pt x="14244" y="7487"/>
                    </a:lnTo>
                    <a:lnTo>
                      <a:pt x="14502" y="7711"/>
                    </a:lnTo>
                    <a:lnTo>
                      <a:pt x="14068" y="7711"/>
                    </a:lnTo>
                    <a:lnTo>
                      <a:pt x="14068" y="8024"/>
                    </a:lnTo>
                    <a:lnTo>
                      <a:pt x="13842" y="8113"/>
                    </a:lnTo>
                    <a:lnTo>
                      <a:pt x="14068" y="8352"/>
                    </a:lnTo>
                    <a:lnTo>
                      <a:pt x="14502" y="8501"/>
                    </a:lnTo>
                    <a:lnTo>
                      <a:pt x="14405" y="8874"/>
                    </a:lnTo>
                    <a:lnTo>
                      <a:pt x="14904" y="10276"/>
                    </a:lnTo>
                    <a:lnTo>
                      <a:pt x="14502" y="10336"/>
                    </a:lnTo>
                    <a:lnTo>
                      <a:pt x="14502" y="10112"/>
                    </a:lnTo>
                    <a:lnTo>
                      <a:pt x="14244" y="10500"/>
                    </a:lnTo>
                    <a:lnTo>
                      <a:pt x="14068" y="10336"/>
                    </a:lnTo>
                    <a:lnTo>
                      <a:pt x="14068" y="9963"/>
                    </a:lnTo>
                    <a:lnTo>
                      <a:pt x="14003" y="9963"/>
                    </a:lnTo>
                    <a:lnTo>
                      <a:pt x="14003" y="10276"/>
                    </a:lnTo>
                    <a:lnTo>
                      <a:pt x="13408" y="10500"/>
                    </a:lnTo>
                    <a:lnTo>
                      <a:pt x="13151" y="10664"/>
                    </a:lnTo>
                    <a:lnTo>
                      <a:pt x="13151" y="10723"/>
                    </a:lnTo>
                    <a:lnTo>
                      <a:pt x="13328" y="11126"/>
                    </a:lnTo>
                    <a:lnTo>
                      <a:pt x="13151" y="11350"/>
                    </a:lnTo>
                    <a:lnTo>
                      <a:pt x="12990" y="11499"/>
                    </a:lnTo>
                    <a:lnTo>
                      <a:pt x="12910" y="11738"/>
                    </a:lnTo>
                    <a:lnTo>
                      <a:pt x="12331" y="11887"/>
                    </a:lnTo>
                    <a:lnTo>
                      <a:pt x="12331" y="11738"/>
                    </a:lnTo>
                    <a:lnTo>
                      <a:pt x="12074" y="11887"/>
                    </a:lnTo>
                    <a:lnTo>
                      <a:pt x="12235" y="11887"/>
                    </a:lnTo>
                    <a:lnTo>
                      <a:pt x="11576" y="12737"/>
                    </a:lnTo>
                    <a:lnTo>
                      <a:pt x="10997" y="13125"/>
                    </a:lnTo>
                    <a:lnTo>
                      <a:pt x="10498" y="13587"/>
                    </a:lnTo>
                    <a:lnTo>
                      <a:pt x="10161" y="13900"/>
                    </a:lnTo>
                    <a:lnTo>
                      <a:pt x="10322" y="13960"/>
                    </a:lnTo>
                    <a:lnTo>
                      <a:pt x="9839" y="14198"/>
                    </a:lnTo>
                    <a:lnTo>
                      <a:pt x="9502" y="14362"/>
                    </a:lnTo>
                    <a:lnTo>
                      <a:pt x="9244" y="14601"/>
                    </a:lnTo>
                    <a:lnTo>
                      <a:pt x="9164" y="14601"/>
                    </a:lnTo>
                    <a:lnTo>
                      <a:pt x="8842" y="14750"/>
                    </a:lnTo>
                    <a:lnTo>
                      <a:pt x="8746" y="15213"/>
                    </a:lnTo>
                    <a:lnTo>
                      <a:pt x="8842" y="15600"/>
                    </a:lnTo>
                    <a:lnTo>
                      <a:pt x="8842" y="15824"/>
                    </a:lnTo>
                    <a:lnTo>
                      <a:pt x="8842" y="16212"/>
                    </a:lnTo>
                    <a:lnTo>
                      <a:pt x="8746" y="16212"/>
                    </a:lnTo>
                    <a:lnTo>
                      <a:pt x="9003" y="16585"/>
                    </a:lnTo>
                    <a:lnTo>
                      <a:pt x="8746" y="17136"/>
                    </a:lnTo>
                    <a:lnTo>
                      <a:pt x="8585" y="17435"/>
                    </a:lnTo>
                    <a:lnTo>
                      <a:pt x="8746" y="18449"/>
                    </a:lnTo>
                    <a:lnTo>
                      <a:pt x="8328" y="18449"/>
                    </a:lnTo>
                    <a:lnTo>
                      <a:pt x="8087" y="18986"/>
                    </a:lnTo>
                    <a:lnTo>
                      <a:pt x="8424" y="19075"/>
                    </a:lnTo>
                    <a:lnTo>
                      <a:pt x="8328" y="19224"/>
                    </a:lnTo>
                    <a:lnTo>
                      <a:pt x="7749" y="19224"/>
                    </a:lnTo>
                    <a:lnTo>
                      <a:pt x="7492" y="19448"/>
                    </a:lnTo>
                    <a:lnTo>
                      <a:pt x="7492" y="19687"/>
                    </a:lnTo>
                    <a:lnTo>
                      <a:pt x="7074" y="19985"/>
                    </a:lnTo>
                    <a:lnTo>
                      <a:pt x="6158" y="18747"/>
                    </a:lnTo>
                    <a:lnTo>
                      <a:pt x="6318" y="18837"/>
                    </a:lnTo>
                    <a:lnTo>
                      <a:pt x="5756" y="17763"/>
                    </a:lnTo>
                    <a:lnTo>
                      <a:pt x="5338" y="17136"/>
                    </a:lnTo>
                    <a:lnTo>
                      <a:pt x="4839" y="16122"/>
                    </a:lnTo>
                    <a:lnTo>
                      <a:pt x="4582" y="15362"/>
                    </a:lnTo>
                    <a:lnTo>
                      <a:pt x="4180" y="14750"/>
                    </a:lnTo>
                    <a:lnTo>
                      <a:pt x="3489" y="12886"/>
                    </a:lnTo>
                    <a:lnTo>
                      <a:pt x="3328" y="12349"/>
                    </a:lnTo>
                    <a:lnTo>
                      <a:pt x="3167" y="11499"/>
                    </a:lnTo>
                    <a:lnTo>
                      <a:pt x="3167" y="10962"/>
                    </a:lnTo>
                    <a:lnTo>
                      <a:pt x="3087" y="10723"/>
                    </a:lnTo>
                    <a:lnTo>
                      <a:pt x="3087" y="10664"/>
                    </a:lnTo>
                    <a:lnTo>
                      <a:pt x="3167" y="10500"/>
                    </a:lnTo>
                    <a:lnTo>
                      <a:pt x="3087" y="10336"/>
                    </a:lnTo>
                    <a:lnTo>
                      <a:pt x="2926" y="10112"/>
                    </a:lnTo>
                    <a:lnTo>
                      <a:pt x="3167" y="10112"/>
                    </a:lnTo>
                    <a:lnTo>
                      <a:pt x="3167" y="9963"/>
                    </a:lnTo>
                    <a:lnTo>
                      <a:pt x="2830" y="9963"/>
                    </a:lnTo>
                    <a:lnTo>
                      <a:pt x="2830" y="10276"/>
                    </a:lnTo>
                    <a:lnTo>
                      <a:pt x="2508" y="10336"/>
                    </a:lnTo>
                    <a:lnTo>
                      <a:pt x="2830" y="10500"/>
                    </a:lnTo>
                    <a:lnTo>
                      <a:pt x="2669" y="10887"/>
                    </a:lnTo>
                    <a:lnTo>
                      <a:pt x="1849" y="11126"/>
                    </a:lnTo>
                    <a:lnTo>
                      <a:pt x="1350" y="10887"/>
                    </a:lnTo>
                    <a:lnTo>
                      <a:pt x="434" y="9963"/>
                    </a:lnTo>
                    <a:lnTo>
                      <a:pt x="675" y="9963"/>
                    </a:lnTo>
                    <a:lnTo>
                      <a:pt x="1350" y="9724"/>
                    </a:lnTo>
                    <a:lnTo>
                      <a:pt x="1350" y="9500"/>
                    </a:lnTo>
                    <a:lnTo>
                      <a:pt x="756" y="9724"/>
                    </a:lnTo>
                    <a:lnTo>
                      <a:pt x="96" y="9336"/>
                    </a:lnTo>
                    <a:lnTo>
                      <a:pt x="0" y="9023"/>
                    </a:lnTo>
                    <a:lnTo>
                      <a:pt x="96" y="8874"/>
                    </a:lnTo>
                    <a:lnTo>
                      <a:pt x="0" y="8874"/>
                    </a:lnTo>
                    <a:lnTo>
                      <a:pt x="0" y="8725"/>
                    </a:lnTo>
                    <a:lnTo>
                      <a:pt x="257" y="8725"/>
                    </a:lnTo>
                    <a:lnTo>
                      <a:pt x="257" y="8650"/>
                    </a:lnTo>
                    <a:lnTo>
                      <a:pt x="916" y="8650"/>
                    </a:lnTo>
                    <a:lnTo>
                      <a:pt x="1158" y="8650"/>
                    </a:lnTo>
                    <a:lnTo>
                      <a:pt x="1415" y="8501"/>
                    </a:lnTo>
                    <a:lnTo>
                      <a:pt x="1592" y="8650"/>
                    </a:lnTo>
                    <a:lnTo>
                      <a:pt x="1752" y="8501"/>
                    </a:lnTo>
                    <a:lnTo>
                      <a:pt x="1752" y="8352"/>
                    </a:lnTo>
                    <a:lnTo>
                      <a:pt x="1350" y="7487"/>
                    </a:lnTo>
                    <a:lnTo>
                      <a:pt x="1093" y="7412"/>
                    </a:lnTo>
                    <a:lnTo>
                      <a:pt x="1093" y="6711"/>
                    </a:lnTo>
                    <a:lnTo>
                      <a:pt x="498" y="6637"/>
                    </a:lnTo>
                    <a:lnTo>
                      <a:pt x="916" y="6025"/>
                    </a:lnTo>
                    <a:lnTo>
                      <a:pt x="1093" y="5861"/>
                    </a:lnTo>
                    <a:lnTo>
                      <a:pt x="1158" y="5712"/>
                    </a:lnTo>
                    <a:lnTo>
                      <a:pt x="1350" y="6025"/>
                    </a:lnTo>
                    <a:lnTo>
                      <a:pt x="2170" y="5712"/>
                    </a:lnTo>
                    <a:lnTo>
                      <a:pt x="2251" y="5638"/>
                    </a:lnTo>
                    <a:lnTo>
                      <a:pt x="2412" y="5488"/>
                    </a:lnTo>
                    <a:lnTo>
                      <a:pt x="2412" y="5101"/>
                    </a:lnTo>
                    <a:lnTo>
                      <a:pt x="3087" y="4787"/>
                    </a:lnTo>
                    <a:lnTo>
                      <a:pt x="3087" y="4400"/>
                    </a:lnTo>
                    <a:lnTo>
                      <a:pt x="3328" y="4087"/>
                    </a:lnTo>
                    <a:lnTo>
                      <a:pt x="3585" y="3624"/>
                    </a:lnTo>
                    <a:lnTo>
                      <a:pt x="3923" y="3386"/>
                    </a:lnTo>
                    <a:lnTo>
                      <a:pt x="3585" y="3013"/>
                    </a:lnTo>
                    <a:lnTo>
                      <a:pt x="3923" y="2774"/>
                    </a:lnTo>
                    <a:lnTo>
                      <a:pt x="4180" y="2625"/>
                    </a:lnTo>
                    <a:lnTo>
                      <a:pt x="4180" y="2401"/>
                    </a:lnTo>
                    <a:lnTo>
                      <a:pt x="3585" y="2237"/>
                    </a:lnTo>
                    <a:lnTo>
                      <a:pt x="3489" y="2013"/>
                    </a:lnTo>
                    <a:lnTo>
                      <a:pt x="3167" y="1864"/>
                    </a:lnTo>
                    <a:lnTo>
                      <a:pt x="3167" y="1223"/>
                    </a:lnTo>
                    <a:lnTo>
                      <a:pt x="2830" y="850"/>
                    </a:lnTo>
                    <a:lnTo>
                      <a:pt x="3087" y="611"/>
                    </a:lnTo>
                    <a:lnTo>
                      <a:pt x="3746" y="611"/>
                    </a:lnTo>
                    <a:lnTo>
                      <a:pt x="4180" y="776"/>
                    </a:lnTo>
                    <a:lnTo>
                      <a:pt x="4839" y="552"/>
                    </a:lnTo>
                    <a:lnTo>
                      <a:pt x="5338" y="149"/>
                    </a:lnTo>
                    <a:lnTo>
                      <a:pt x="549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4" name="Freeform 212"/>
              <p:cNvSpPr>
                <a:spLocks/>
              </p:cNvSpPr>
              <p:nvPr/>
            </p:nvSpPr>
            <p:spPr bwMode="auto">
              <a:xfrm>
                <a:off x="7683500" y="4303713"/>
                <a:ext cx="309563" cy="334962"/>
              </a:xfrm>
              <a:custGeom>
                <a:avLst/>
                <a:gdLst>
                  <a:gd name="T0" fmla="*/ 16140 w 20000"/>
                  <a:gd name="T1" fmla="*/ 18409 h 20000"/>
                  <a:gd name="T2" fmla="*/ 14661 w 20000"/>
                  <a:gd name="T3" fmla="*/ 17424 h 20000"/>
                  <a:gd name="T4" fmla="*/ 12936 w 20000"/>
                  <a:gd name="T5" fmla="*/ 15871 h 20000"/>
                  <a:gd name="T6" fmla="*/ 10637 w 20000"/>
                  <a:gd name="T7" fmla="*/ 13295 h 20000"/>
                  <a:gd name="T8" fmla="*/ 9569 w 20000"/>
                  <a:gd name="T9" fmla="*/ 11742 h 20000"/>
                  <a:gd name="T10" fmla="*/ 8501 w 20000"/>
                  <a:gd name="T11" fmla="*/ 10152 h 20000"/>
                  <a:gd name="T12" fmla="*/ 7433 w 20000"/>
                  <a:gd name="T13" fmla="*/ 9205 h 20000"/>
                  <a:gd name="T14" fmla="*/ 6776 w 20000"/>
                  <a:gd name="T15" fmla="*/ 6629 h 20000"/>
                  <a:gd name="T16" fmla="*/ 4435 w 20000"/>
                  <a:gd name="T17" fmla="*/ 4886 h 20000"/>
                  <a:gd name="T18" fmla="*/ 2957 w 20000"/>
                  <a:gd name="T19" fmla="*/ 3485 h 20000"/>
                  <a:gd name="T20" fmla="*/ 164 w 20000"/>
                  <a:gd name="T21" fmla="*/ 1553 h 20000"/>
                  <a:gd name="T22" fmla="*/ 0 w 20000"/>
                  <a:gd name="T23" fmla="*/ 0 h 20000"/>
                  <a:gd name="T24" fmla="*/ 2752 w 20000"/>
                  <a:gd name="T25" fmla="*/ 758 h 20000"/>
                  <a:gd name="T26" fmla="*/ 5503 w 20000"/>
                  <a:gd name="T27" fmla="*/ 1932 h 20000"/>
                  <a:gd name="T28" fmla="*/ 7885 w 20000"/>
                  <a:gd name="T29" fmla="*/ 4091 h 20000"/>
                  <a:gd name="T30" fmla="*/ 9979 w 20000"/>
                  <a:gd name="T31" fmla="*/ 6061 h 20000"/>
                  <a:gd name="T32" fmla="*/ 11047 w 20000"/>
                  <a:gd name="T33" fmla="*/ 6061 h 20000"/>
                  <a:gd name="T34" fmla="*/ 11910 w 20000"/>
                  <a:gd name="T35" fmla="*/ 7045 h 20000"/>
                  <a:gd name="T36" fmla="*/ 12936 w 20000"/>
                  <a:gd name="T37" fmla="*/ 8030 h 20000"/>
                  <a:gd name="T38" fmla="*/ 14456 w 20000"/>
                  <a:gd name="T39" fmla="*/ 8977 h 20000"/>
                  <a:gd name="T40" fmla="*/ 14456 w 20000"/>
                  <a:gd name="T41" fmla="*/ 9205 h 20000"/>
                  <a:gd name="T42" fmla="*/ 15524 w 20000"/>
                  <a:gd name="T43" fmla="*/ 9205 h 20000"/>
                  <a:gd name="T44" fmla="*/ 15113 w 20000"/>
                  <a:gd name="T45" fmla="*/ 10152 h 20000"/>
                  <a:gd name="T46" fmla="*/ 15113 w 20000"/>
                  <a:gd name="T47" fmla="*/ 10758 h 20000"/>
                  <a:gd name="T48" fmla="*/ 16797 w 20000"/>
                  <a:gd name="T49" fmla="*/ 11364 h 20000"/>
                  <a:gd name="T50" fmla="*/ 17864 w 20000"/>
                  <a:gd name="T51" fmla="*/ 13295 h 20000"/>
                  <a:gd name="T52" fmla="*/ 18070 w 20000"/>
                  <a:gd name="T53" fmla="*/ 13712 h 20000"/>
                  <a:gd name="T54" fmla="*/ 19548 w 20000"/>
                  <a:gd name="T55" fmla="*/ 14697 h 20000"/>
                  <a:gd name="T56" fmla="*/ 19138 w 20000"/>
                  <a:gd name="T57" fmla="*/ 15871 h 20000"/>
                  <a:gd name="T58" fmla="*/ 19548 w 20000"/>
                  <a:gd name="T59" fmla="*/ 17197 h 20000"/>
                  <a:gd name="T60" fmla="*/ 18070 w 20000"/>
                  <a:gd name="T61" fmla="*/ 18977 h 20000"/>
                  <a:gd name="T62" fmla="*/ 17207 w 20000"/>
                  <a:gd name="T63" fmla="*/ 193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207" y="19962"/>
                    </a:moveTo>
                    <a:lnTo>
                      <a:pt x="16140" y="18409"/>
                    </a:lnTo>
                    <a:lnTo>
                      <a:pt x="15524" y="18030"/>
                    </a:lnTo>
                    <a:lnTo>
                      <a:pt x="14661" y="17424"/>
                    </a:lnTo>
                    <a:lnTo>
                      <a:pt x="12936" y="16439"/>
                    </a:lnTo>
                    <a:lnTo>
                      <a:pt x="12936" y="15871"/>
                    </a:lnTo>
                    <a:lnTo>
                      <a:pt x="11663" y="14848"/>
                    </a:lnTo>
                    <a:lnTo>
                      <a:pt x="10637" y="13295"/>
                    </a:lnTo>
                    <a:lnTo>
                      <a:pt x="10637" y="13106"/>
                    </a:lnTo>
                    <a:lnTo>
                      <a:pt x="9569" y="11742"/>
                    </a:lnTo>
                    <a:lnTo>
                      <a:pt x="9569" y="11364"/>
                    </a:lnTo>
                    <a:lnTo>
                      <a:pt x="8501" y="10152"/>
                    </a:lnTo>
                    <a:lnTo>
                      <a:pt x="8296" y="9583"/>
                    </a:lnTo>
                    <a:lnTo>
                      <a:pt x="7433" y="9205"/>
                    </a:lnTo>
                    <a:lnTo>
                      <a:pt x="6571" y="7045"/>
                    </a:lnTo>
                    <a:lnTo>
                      <a:pt x="6776" y="6629"/>
                    </a:lnTo>
                    <a:lnTo>
                      <a:pt x="4682" y="5644"/>
                    </a:lnTo>
                    <a:lnTo>
                      <a:pt x="4435" y="4886"/>
                    </a:lnTo>
                    <a:lnTo>
                      <a:pt x="4025" y="4886"/>
                    </a:lnTo>
                    <a:lnTo>
                      <a:pt x="2957" y="3485"/>
                    </a:lnTo>
                    <a:lnTo>
                      <a:pt x="2752" y="3485"/>
                    </a:lnTo>
                    <a:lnTo>
                      <a:pt x="164" y="1553"/>
                    </a:lnTo>
                    <a:lnTo>
                      <a:pt x="0" y="758"/>
                    </a:lnTo>
                    <a:lnTo>
                      <a:pt x="0" y="0"/>
                    </a:lnTo>
                    <a:lnTo>
                      <a:pt x="1068" y="0"/>
                    </a:lnTo>
                    <a:lnTo>
                      <a:pt x="2752" y="758"/>
                    </a:lnTo>
                    <a:lnTo>
                      <a:pt x="4025" y="758"/>
                    </a:lnTo>
                    <a:lnTo>
                      <a:pt x="5503" y="1932"/>
                    </a:lnTo>
                    <a:lnTo>
                      <a:pt x="5503" y="2538"/>
                    </a:lnTo>
                    <a:lnTo>
                      <a:pt x="7885" y="4091"/>
                    </a:lnTo>
                    <a:lnTo>
                      <a:pt x="8912" y="4886"/>
                    </a:lnTo>
                    <a:lnTo>
                      <a:pt x="9979" y="6061"/>
                    </a:lnTo>
                    <a:lnTo>
                      <a:pt x="10637" y="5644"/>
                    </a:lnTo>
                    <a:lnTo>
                      <a:pt x="11047" y="6061"/>
                    </a:lnTo>
                    <a:lnTo>
                      <a:pt x="11253" y="7045"/>
                    </a:lnTo>
                    <a:lnTo>
                      <a:pt x="11910" y="7045"/>
                    </a:lnTo>
                    <a:lnTo>
                      <a:pt x="12320" y="7652"/>
                    </a:lnTo>
                    <a:lnTo>
                      <a:pt x="12936" y="8030"/>
                    </a:lnTo>
                    <a:lnTo>
                      <a:pt x="14004" y="8598"/>
                    </a:lnTo>
                    <a:lnTo>
                      <a:pt x="14456" y="8977"/>
                    </a:lnTo>
                    <a:lnTo>
                      <a:pt x="13593" y="9205"/>
                    </a:lnTo>
                    <a:lnTo>
                      <a:pt x="14456" y="9205"/>
                    </a:lnTo>
                    <a:lnTo>
                      <a:pt x="15113" y="8977"/>
                    </a:lnTo>
                    <a:lnTo>
                      <a:pt x="15524" y="9205"/>
                    </a:lnTo>
                    <a:lnTo>
                      <a:pt x="15688" y="9773"/>
                    </a:lnTo>
                    <a:lnTo>
                      <a:pt x="15113" y="10152"/>
                    </a:lnTo>
                    <a:lnTo>
                      <a:pt x="15688" y="10152"/>
                    </a:lnTo>
                    <a:lnTo>
                      <a:pt x="15113" y="10758"/>
                    </a:lnTo>
                    <a:lnTo>
                      <a:pt x="15688" y="11136"/>
                    </a:lnTo>
                    <a:lnTo>
                      <a:pt x="16797" y="11364"/>
                    </a:lnTo>
                    <a:lnTo>
                      <a:pt x="17207" y="12311"/>
                    </a:lnTo>
                    <a:lnTo>
                      <a:pt x="17864" y="13295"/>
                    </a:lnTo>
                    <a:lnTo>
                      <a:pt x="17454" y="13864"/>
                    </a:lnTo>
                    <a:lnTo>
                      <a:pt x="18070" y="13712"/>
                    </a:lnTo>
                    <a:lnTo>
                      <a:pt x="18891" y="13712"/>
                    </a:lnTo>
                    <a:lnTo>
                      <a:pt x="19548" y="14697"/>
                    </a:lnTo>
                    <a:lnTo>
                      <a:pt x="19959" y="14848"/>
                    </a:lnTo>
                    <a:lnTo>
                      <a:pt x="19138" y="15871"/>
                    </a:lnTo>
                    <a:lnTo>
                      <a:pt x="19548" y="16250"/>
                    </a:lnTo>
                    <a:lnTo>
                      <a:pt x="19548" y="17197"/>
                    </a:lnTo>
                    <a:lnTo>
                      <a:pt x="19138" y="19583"/>
                    </a:lnTo>
                    <a:lnTo>
                      <a:pt x="18070" y="18977"/>
                    </a:lnTo>
                    <a:lnTo>
                      <a:pt x="17864" y="19583"/>
                    </a:lnTo>
                    <a:lnTo>
                      <a:pt x="17207" y="19356"/>
                    </a:lnTo>
                    <a:lnTo>
                      <a:pt x="17207" y="199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5" name="Freeform 211"/>
              <p:cNvSpPr>
                <a:spLocks/>
              </p:cNvSpPr>
              <p:nvPr/>
            </p:nvSpPr>
            <p:spPr bwMode="auto">
              <a:xfrm>
                <a:off x="8699500" y="4473575"/>
                <a:ext cx="279400" cy="266700"/>
              </a:xfrm>
              <a:custGeom>
                <a:avLst/>
                <a:gdLst>
                  <a:gd name="T0" fmla="*/ 19683 w 20000"/>
                  <a:gd name="T1" fmla="*/ 19952 h 20000"/>
                  <a:gd name="T2" fmla="*/ 16689 w 20000"/>
                  <a:gd name="T3" fmla="*/ 18000 h 20000"/>
                  <a:gd name="T4" fmla="*/ 15737 w 20000"/>
                  <a:gd name="T5" fmla="*/ 16238 h 20000"/>
                  <a:gd name="T6" fmla="*/ 15057 w 20000"/>
                  <a:gd name="T7" fmla="*/ 14048 h 20000"/>
                  <a:gd name="T8" fmla="*/ 12426 w 20000"/>
                  <a:gd name="T9" fmla="*/ 10810 h 20000"/>
                  <a:gd name="T10" fmla="*/ 8254 w 20000"/>
                  <a:gd name="T11" fmla="*/ 9143 h 20000"/>
                  <a:gd name="T12" fmla="*/ 7800 w 20000"/>
                  <a:gd name="T13" fmla="*/ 8381 h 20000"/>
                  <a:gd name="T14" fmla="*/ 7528 w 20000"/>
                  <a:gd name="T15" fmla="*/ 7905 h 20000"/>
                  <a:gd name="T16" fmla="*/ 6349 w 20000"/>
                  <a:gd name="T17" fmla="*/ 7619 h 20000"/>
                  <a:gd name="T18" fmla="*/ 5170 w 20000"/>
                  <a:gd name="T19" fmla="*/ 7143 h 20000"/>
                  <a:gd name="T20" fmla="*/ 5669 w 20000"/>
                  <a:gd name="T21" fmla="*/ 5905 h 20000"/>
                  <a:gd name="T22" fmla="*/ 4943 w 20000"/>
                  <a:gd name="T23" fmla="*/ 7143 h 20000"/>
                  <a:gd name="T24" fmla="*/ 3810 w 20000"/>
                  <a:gd name="T25" fmla="*/ 8381 h 20000"/>
                  <a:gd name="T26" fmla="*/ 3810 w 20000"/>
                  <a:gd name="T27" fmla="*/ 6619 h 20000"/>
                  <a:gd name="T28" fmla="*/ 2812 w 20000"/>
                  <a:gd name="T29" fmla="*/ 5905 h 20000"/>
                  <a:gd name="T30" fmla="*/ 2585 w 20000"/>
                  <a:gd name="T31" fmla="*/ 5667 h 20000"/>
                  <a:gd name="T32" fmla="*/ 4490 w 20000"/>
                  <a:gd name="T33" fmla="*/ 5143 h 20000"/>
                  <a:gd name="T34" fmla="*/ 5170 w 20000"/>
                  <a:gd name="T35" fmla="*/ 5143 h 20000"/>
                  <a:gd name="T36" fmla="*/ 5170 w 20000"/>
                  <a:gd name="T37" fmla="*/ 4476 h 20000"/>
                  <a:gd name="T38" fmla="*/ 2585 w 20000"/>
                  <a:gd name="T39" fmla="*/ 4667 h 20000"/>
                  <a:gd name="T40" fmla="*/ 2132 w 20000"/>
                  <a:gd name="T41" fmla="*/ 3190 h 20000"/>
                  <a:gd name="T42" fmla="*/ 0 w 20000"/>
                  <a:gd name="T43" fmla="*/ 2429 h 20000"/>
                  <a:gd name="T44" fmla="*/ 272 w 20000"/>
                  <a:gd name="T45" fmla="*/ 1238 h 20000"/>
                  <a:gd name="T46" fmla="*/ 2812 w 20000"/>
                  <a:gd name="T47" fmla="*/ 0 h 20000"/>
                  <a:gd name="T48" fmla="*/ 5669 w 20000"/>
                  <a:gd name="T49" fmla="*/ 1238 h 20000"/>
                  <a:gd name="T50" fmla="*/ 6349 w 20000"/>
                  <a:gd name="T51" fmla="*/ 2714 h 20000"/>
                  <a:gd name="T52" fmla="*/ 6803 w 20000"/>
                  <a:gd name="T53" fmla="*/ 5667 h 20000"/>
                  <a:gd name="T54" fmla="*/ 7075 w 20000"/>
                  <a:gd name="T55" fmla="*/ 5143 h 20000"/>
                  <a:gd name="T56" fmla="*/ 7528 w 20000"/>
                  <a:gd name="T57" fmla="*/ 5905 h 20000"/>
                  <a:gd name="T58" fmla="*/ 8254 w 20000"/>
                  <a:gd name="T59" fmla="*/ 7143 h 20000"/>
                  <a:gd name="T60" fmla="*/ 10567 w 20000"/>
                  <a:gd name="T61" fmla="*/ 4667 h 20000"/>
                  <a:gd name="T62" fmla="*/ 11973 w 20000"/>
                  <a:gd name="T63" fmla="*/ 3714 h 20000"/>
                  <a:gd name="T64" fmla="*/ 16689 w 20000"/>
                  <a:gd name="T65" fmla="*/ 4476 h 20000"/>
                  <a:gd name="T66" fmla="*/ 19955 w 20000"/>
                  <a:gd name="T67" fmla="*/ 566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9955" y="5667"/>
                    </a:moveTo>
                    <a:lnTo>
                      <a:pt x="19683" y="19952"/>
                    </a:lnTo>
                    <a:lnTo>
                      <a:pt x="17642" y="17524"/>
                    </a:lnTo>
                    <a:lnTo>
                      <a:pt x="16689" y="18000"/>
                    </a:lnTo>
                    <a:lnTo>
                      <a:pt x="15737" y="17524"/>
                    </a:lnTo>
                    <a:lnTo>
                      <a:pt x="15737" y="16238"/>
                    </a:lnTo>
                    <a:lnTo>
                      <a:pt x="15057" y="14810"/>
                    </a:lnTo>
                    <a:lnTo>
                      <a:pt x="15057" y="14048"/>
                    </a:lnTo>
                    <a:lnTo>
                      <a:pt x="13832" y="11810"/>
                    </a:lnTo>
                    <a:lnTo>
                      <a:pt x="12426" y="10810"/>
                    </a:lnTo>
                    <a:lnTo>
                      <a:pt x="9841" y="9619"/>
                    </a:lnTo>
                    <a:lnTo>
                      <a:pt x="8254" y="9143"/>
                    </a:lnTo>
                    <a:lnTo>
                      <a:pt x="7528" y="8381"/>
                    </a:lnTo>
                    <a:lnTo>
                      <a:pt x="7800" y="8381"/>
                    </a:lnTo>
                    <a:lnTo>
                      <a:pt x="7800" y="7905"/>
                    </a:lnTo>
                    <a:lnTo>
                      <a:pt x="7528" y="7905"/>
                    </a:lnTo>
                    <a:lnTo>
                      <a:pt x="6349" y="7905"/>
                    </a:lnTo>
                    <a:lnTo>
                      <a:pt x="6349" y="7619"/>
                    </a:lnTo>
                    <a:lnTo>
                      <a:pt x="5850" y="7905"/>
                    </a:lnTo>
                    <a:lnTo>
                      <a:pt x="5170" y="7143"/>
                    </a:lnTo>
                    <a:lnTo>
                      <a:pt x="5669" y="6429"/>
                    </a:lnTo>
                    <a:lnTo>
                      <a:pt x="5669" y="5905"/>
                    </a:lnTo>
                    <a:lnTo>
                      <a:pt x="5170" y="6429"/>
                    </a:lnTo>
                    <a:lnTo>
                      <a:pt x="4943" y="7143"/>
                    </a:lnTo>
                    <a:lnTo>
                      <a:pt x="4490" y="7905"/>
                    </a:lnTo>
                    <a:lnTo>
                      <a:pt x="3810" y="8381"/>
                    </a:lnTo>
                    <a:lnTo>
                      <a:pt x="3265" y="7619"/>
                    </a:lnTo>
                    <a:lnTo>
                      <a:pt x="3810" y="6619"/>
                    </a:lnTo>
                    <a:lnTo>
                      <a:pt x="3265" y="6429"/>
                    </a:lnTo>
                    <a:lnTo>
                      <a:pt x="2812" y="5905"/>
                    </a:lnTo>
                    <a:lnTo>
                      <a:pt x="1859" y="5905"/>
                    </a:lnTo>
                    <a:lnTo>
                      <a:pt x="2585" y="5667"/>
                    </a:lnTo>
                    <a:lnTo>
                      <a:pt x="3265" y="5667"/>
                    </a:lnTo>
                    <a:lnTo>
                      <a:pt x="4490" y="5143"/>
                    </a:lnTo>
                    <a:lnTo>
                      <a:pt x="4943" y="5143"/>
                    </a:lnTo>
                    <a:lnTo>
                      <a:pt x="5170" y="5143"/>
                    </a:lnTo>
                    <a:lnTo>
                      <a:pt x="5669" y="4667"/>
                    </a:lnTo>
                    <a:lnTo>
                      <a:pt x="5170" y="4476"/>
                    </a:lnTo>
                    <a:lnTo>
                      <a:pt x="3991" y="4476"/>
                    </a:lnTo>
                    <a:lnTo>
                      <a:pt x="2585" y="4667"/>
                    </a:lnTo>
                    <a:lnTo>
                      <a:pt x="2132" y="3714"/>
                    </a:lnTo>
                    <a:lnTo>
                      <a:pt x="2132" y="3190"/>
                    </a:lnTo>
                    <a:lnTo>
                      <a:pt x="1406" y="2714"/>
                    </a:lnTo>
                    <a:lnTo>
                      <a:pt x="0" y="2429"/>
                    </a:lnTo>
                    <a:lnTo>
                      <a:pt x="0" y="1952"/>
                    </a:lnTo>
                    <a:lnTo>
                      <a:pt x="272" y="1238"/>
                    </a:lnTo>
                    <a:lnTo>
                      <a:pt x="1406" y="762"/>
                    </a:lnTo>
                    <a:lnTo>
                      <a:pt x="2812" y="0"/>
                    </a:lnTo>
                    <a:lnTo>
                      <a:pt x="3991" y="762"/>
                    </a:lnTo>
                    <a:lnTo>
                      <a:pt x="5669" y="1238"/>
                    </a:lnTo>
                    <a:lnTo>
                      <a:pt x="5850" y="1476"/>
                    </a:lnTo>
                    <a:lnTo>
                      <a:pt x="6349" y="2714"/>
                    </a:lnTo>
                    <a:lnTo>
                      <a:pt x="5850" y="3714"/>
                    </a:lnTo>
                    <a:lnTo>
                      <a:pt x="6803" y="5667"/>
                    </a:lnTo>
                    <a:lnTo>
                      <a:pt x="6803" y="5143"/>
                    </a:lnTo>
                    <a:lnTo>
                      <a:pt x="7075" y="5143"/>
                    </a:lnTo>
                    <a:lnTo>
                      <a:pt x="7528" y="5667"/>
                    </a:lnTo>
                    <a:lnTo>
                      <a:pt x="7528" y="5905"/>
                    </a:lnTo>
                    <a:lnTo>
                      <a:pt x="7528" y="6429"/>
                    </a:lnTo>
                    <a:lnTo>
                      <a:pt x="8254" y="7143"/>
                    </a:lnTo>
                    <a:lnTo>
                      <a:pt x="8934" y="6619"/>
                    </a:lnTo>
                    <a:lnTo>
                      <a:pt x="10567" y="4667"/>
                    </a:lnTo>
                    <a:lnTo>
                      <a:pt x="12426" y="4476"/>
                    </a:lnTo>
                    <a:lnTo>
                      <a:pt x="11973" y="3714"/>
                    </a:lnTo>
                    <a:lnTo>
                      <a:pt x="13651" y="2714"/>
                    </a:lnTo>
                    <a:lnTo>
                      <a:pt x="16689" y="4476"/>
                    </a:lnTo>
                    <a:lnTo>
                      <a:pt x="18549" y="4667"/>
                    </a:lnTo>
                    <a:lnTo>
                      <a:pt x="19955" y="566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6" name="Freeform 210"/>
              <p:cNvSpPr>
                <a:spLocks/>
              </p:cNvSpPr>
              <p:nvPr/>
            </p:nvSpPr>
            <p:spPr bwMode="auto">
              <a:xfrm>
                <a:off x="8347075" y="4414838"/>
                <a:ext cx="184150" cy="217487"/>
              </a:xfrm>
              <a:custGeom>
                <a:avLst/>
                <a:gdLst>
                  <a:gd name="T0" fmla="*/ 2131 w 20000"/>
                  <a:gd name="T1" fmla="*/ 19592 h 20000"/>
                  <a:gd name="T2" fmla="*/ 2818 w 20000"/>
                  <a:gd name="T3" fmla="*/ 17201 h 20000"/>
                  <a:gd name="T4" fmla="*/ 2131 w 20000"/>
                  <a:gd name="T5" fmla="*/ 14227 h 20000"/>
                  <a:gd name="T6" fmla="*/ 412 w 20000"/>
                  <a:gd name="T7" fmla="*/ 12653 h 20000"/>
                  <a:gd name="T8" fmla="*/ 1100 w 20000"/>
                  <a:gd name="T9" fmla="*/ 11778 h 20000"/>
                  <a:gd name="T10" fmla="*/ 2131 w 20000"/>
                  <a:gd name="T11" fmla="*/ 10029 h 20000"/>
                  <a:gd name="T12" fmla="*/ 2131 w 20000"/>
                  <a:gd name="T13" fmla="*/ 7289 h 20000"/>
                  <a:gd name="T14" fmla="*/ 3918 w 20000"/>
                  <a:gd name="T15" fmla="*/ 4898 h 20000"/>
                  <a:gd name="T16" fmla="*/ 4674 w 20000"/>
                  <a:gd name="T17" fmla="*/ 2449 h 20000"/>
                  <a:gd name="T18" fmla="*/ 5704 w 20000"/>
                  <a:gd name="T19" fmla="*/ 3032 h 20000"/>
                  <a:gd name="T20" fmla="*/ 6735 w 20000"/>
                  <a:gd name="T21" fmla="*/ 1574 h 20000"/>
                  <a:gd name="T22" fmla="*/ 8591 w 20000"/>
                  <a:gd name="T23" fmla="*/ 2157 h 20000"/>
                  <a:gd name="T24" fmla="*/ 13883 w 20000"/>
                  <a:gd name="T25" fmla="*/ 2449 h 20000"/>
                  <a:gd name="T26" fmla="*/ 18832 w 20000"/>
                  <a:gd name="T27" fmla="*/ 933 h 20000"/>
                  <a:gd name="T28" fmla="*/ 19931 w 20000"/>
                  <a:gd name="T29" fmla="*/ 641 h 20000"/>
                  <a:gd name="T30" fmla="*/ 18557 w 20000"/>
                  <a:gd name="T31" fmla="*/ 3032 h 20000"/>
                  <a:gd name="T32" fmla="*/ 14914 w 20000"/>
                  <a:gd name="T33" fmla="*/ 3965 h 20000"/>
                  <a:gd name="T34" fmla="*/ 11065 w 20000"/>
                  <a:gd name="T35" fmla="*/ 3965 h 20000"/>
                  <a:gd name="T36" fmla="*/ 7835 w 20000"/>
                  <a:gd name="T37" fmla="*/ 3615 h 20000"/>
                  <a:gd name="T38" fmla="*/ 4948 w 20000"/>
                  <a:gd name="T39" fmla="*/ 3615 h 20000"/>
                  <a:gd name="T40" fmla="*/ 4674 w 20000"/>
                  <a:gd name="T41" fmla="*/ 6939 h 20000"/>
                  <a:gd name="T42" fmla="*/ 6460 w 20000"/>
                  <a:gd name="T43" fmla="*/ 8455 h 20000"/>
                  <a:gd name="T44" fmla="*/ 8591 w 20000"/>
                  <a:gd name="T45" fmla="*/ 6939 h 20000"/>
                  <a:gd name="T46" fmla="*/ 10378 w 20000"/>
                  <a:gd name="T47" fmla="*/ 7289 h 20000"/>
                  <a:gd name="T48" fmla="*/ 12509 w 20000"/>
                  <a:gd name="T49" fmla="*/ 6939 h 20000"/>
                  <a:gd name="T50" fmla="*/ 13883 w 20000"/>
                  <a:gd name="T51" fmla="*/ 6356 h 20000"/>
                  <a:gd name="T52" fmla="*/ 14227 w 20000"/>
                  <a:gd name="T53" fmla="*/ 7289 h 20000"/>
                  <a:gd name="T54" fmla="*/ 11409 w 20000"/>
                  <a:gd name="T55" fmla="*/ 8455 h 20000"/>
                  <a:gd name="T56" fmla="*/ 7835 w 20000"/>
                  <a:gd name="T57" fmla="*/ 10029 h 20000"/>
                  <a:gd name="T58" fmla="*/ 11409 w 20000"/>
                  <a:gd name="T59" fmla="*/ 13586 h 20000"/>
                  <a:gd name="T60" fmla="*/ 12096 w 20000"/>
                  <a:gd name="T61" fmla="*/ 14810 h 20000"/>
                  <a:gd name="T62" fmla="*/ 13196 w 20000"/>
                  <a:gd name="T63" fmla="*/ 15743 h 20000"/>
                  <a:gd name="T64" fmla="*/ 11409 w 20000"/>
                  <a:gd name="T65" fmla="*/ 16618 h 20000"/>
                  <a:gd name="T66" fmla="*/ 10378 w 20000"/>
                  <a:gd name="T67" fmla="*/ 17551 h 20000"/>
                  <a:gd name="T68" fmla="*/ 9278 w 20000"/>
                  <a:gd name="T69" fmla="*/ 15743 h 20000"/>
                  <a:gd name="T70" fmla="*/ 6735 w 20000"/>
                  <a:gd name="T71" fmla="*/ 13586 h 20000"/>
                  <a:gd name="T72" fmla="*/ 6735 w 20000"/>
                  <a:gd name="T73" fmla="*/ 11778 h 20000"/>
                  <a:gd name="T74" fmla="*/ 4948 w 20000"/>
                  <a:gd name="T75" fmla="*/ 12653 h 20000"/>
                  <a:gd name="T76" fmla="*/ 4948 w 20000"/>
                  <a:gd name="T77" fmla="*/ 14810 h 20000"/>
                  <a:gd name="T78" fmla="*/ 4948 w 20000"/>
                  <a:gd name="T79" fmla="*/ 18134 h 20000"/>
                  <a:gd name="T80" fmla="*/ 3918 w 20000"/>
                  <a:gd name="T81" fmla="*/ 195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3574" y="19942"/>
                    </a:moveTo>
                    <a:lnTo>
                      <a:pt x="2131" y="19592"/>
                    </a:lnTo>
                    <a:lnTo>
                      <a:pt x="2131" y="18717"/>
                    </a:lnTo>
                    <a:lnTo>
                      <a:pt x="2818" y="17201"/>
                    </a:lnTo>
                    <a:lnTo>
                      <a:pt x="2131" y="15102"/>
                    </a:lnTo>
                    <a:lnTo>
                      <a:pt x="2131" y="14227"/>
                    </a:lnTo>
                    <a:lnTo>
                      <a:pt x="412" y="14227"/>
                    </a:lnTo>
                    <a:lnTo>
                      <a:pt x="412" y="12653"/>
                    </a:lnTo>
                    <a:lnTo>
                      <a:pt x="0" y="12420"/>
                    </a:lnTo>
                    <a:lnTo>
                      <a:pt x="1100" y="11778"/>
                    </a:lnTo>
                    <a:lnTo>
                      <a:pt x="1787" y="10904"/>
                    </a:lnTo>
                    <a:lnTo>
                      <a:pt x="2131" y="10029"/>
                    </a:lnTo>
                    <a:lnTo>
                      <a:pt x="1787" y="8746"/>
                    </a:lnTo>
                    <a:lnTo>
                      <a:pt x="2131" y="7289"/>
                    </a:lnTo>
                    <a:lnTo>
                      <a:pt x="3574" y="6939"/>
                    </a:lnTo>
                    <a:lnTo>
                      <a:pt x="3918" y="4898"/>
                    </a:lnTo>
                    <a:lnTo>
                      <a:pt x="3918" y="4548"/>
                    </a:lnTo>
                    <a:lnTo>
                      <a:pt x="4674" y="2449"/>
                    </a:lnTo>
                    <a:lnTo>
                      <a:pt x="4948" y="2157"/>
                    </a:lnTo>
                    <a:lnTo>
                      <a:pt x="5704" y="3032"/>
                    </a:lnTo>
                    <a:lnTo>
                      <a:pt x="6460" y="2449"/>
                    </a:lnTo>
                    <a:lnTo>
                      <a:pt x="6735" y="1574"/>
                    </a:lnTo>
                    <a:lnTo>
                      <a:pt x="8591" y="1574"/>
                    </a:lnTo>
                    <a:lnTo>
                      <a:pt x="8591" y="2157"/>
                    </a:lnTo>
                    <a:lnTo>
                      <a:pt x="11065" y="2157"/>
                    </a:lnTo>
                    <a:lnTo>
                      <a:pt x="13883" y="2449"/>
                    </a:lnTo>
                    <a:lnTo>
                      <a:pt x="17113" y="2449"/>
                    </a:lnTo>
                    <a:lnTo>
                      <a:pt x="18832" y="933"/>
                    </a:lnTo>
                    <a:lnTo>
                      <a:pt x="19588" y="0"/>
                    </a:lnTo>
                    <a:lnTo>
                      <a:pt x="19931" y="641"/>
                    </a:lnTo>
                    <a:lnTo>
                      <a:pt x="19588" y="2157"/>
                    </a:lnTo>
                    <a:lnTo>
                      <a:pt x="18557" y="3032"/>
                    </a:lnTo>
                    <a:lnTo>
                      <a:pt x="17801" y="3965"/>
                    </a:lnTo>
                    <a:lnTo>
                      <a:pt x="14914" y="3965"/>
                    </a:lnTo>
                    <a:lnTo>
                      <a:pt x="13883" y="3965"/>
                    </a:lnTo>
                    <a:lnTo>
                      <a:pt x="11065" y="3965"/>
                    </a:lnTo>
                    <a:lnTo>
                      <a:pt x="9278" y="3615"/>
                    </a:lnTo>
                    <a:lnTo>
                      <a:pt x="7835" y="3615"/>
                    </a:lnTo>
                    <a:lnTo>
                      <a:pt x="6460" y="3615"/>
                    </a:lnTo>
                    <a:lnTo>
                      <a:pt x="4948" y="3615"/>
                    </a:lnTo>
                    <a:lnTo>
                      <a:pt x="4674" y="4898"/>
                    </a:lnTo>
                    <a:lnTo>
                      <a:pt x="4674" y="6939"/>
                    </a:lnTo>
                    <a:lnTo>
                      <a:pt x="5704" y="7289"/>
                    </a:lnTo>
                    <a:lnTo>
                      <a:pt x="6460" y="8455"/>
                    </a:lnTo>
                    <a:lnTo>
                      <a:pt x="7491" y="8455"/>
                    </a:lnTo>
                    <a:lnTo>
                      <a:pt x="8591" y="6939"/>
                    </a:lnTo>
                    <a:lnTo>
                      <a:pt x="9622" y="7289"/>
                    </a:lnTo>
                    <a:lnTo>
                      <a:pt x="10378" y="7289"/>
                    </a:lnTo>
                    <a:lnTo>
                      <a:pt x="11065" y="6939"/>
                    </a:lnTo>
                    <a:lnTo>
                      <a:pt x="12509" y="6939"/>
                    </a:lnTo>
                    <a:lnTo>
                      <a:pt x="13196" y="6356"/>
                    </a:lnTo>
                    <a:lnTo>
                      <a:pt x="13883" y="6356"/>
                    </a:lnTo>
                    <a:lnTo>
                      <a:pt x="14914" y="6939"/>
                    </a:lnTo>
                    <a:lnTo>
                      <a:pt x="14227" y="7289"/>
                    </a:lnTo>
                    <a:lnTo>
                      <a:pt x="13196" y="7289"/>
                    </a:lnTo>
                    <a:lnTo>
                      <a:pt x="11409" y="8455"/>
                    </a:lnTo>
                    <a:lnTo>
                      <a:pt x="9278" y="10029"/>
                    </a:lnTo>
                    <a:lnTo>
                      <a:pt x="7835" y="10029"/>
                    </a:lnTo>
                    <a:lnTo>
                      <a:pt x="11409" y="12653"/>
                    </a:lnTo>
                    <a:lnTo>
                      <a:pt x="11409" y="13586"/>
                    </a:lnTo>
                    <a:lnTo>
                      <a:pt x="11065" y="14810"/>
                    </a:lnTo>
                    <a:lnTo>
                      <a:pt x="12096" y="14810"/>
                    </a:lnTo>
                    <a:lnTo>
                      <a:pt x="12096" y="15743"/>
                    </a:lnTo>
                    <a:lnTo>
                      <a:pt x="13196" y="15743"/>
                    </a:lnTo>
                    <a:lnTo>
                      <a:pt x="13196" y="16618"/>
                    </a:lnTo>
                    <a:lnTo>
                      <a:pt x="11409" y="16618"/>
                    </a:lnTo>
                    <a:lnTo>
                      <a:pt x="10378" y="17201"/>
                    </a:lnTo>
                    <a:lnTo>
                      <a:pt x="10378" y="17551"/>
                    </a:lnTo>
                    <a:lnTo>
                      <a:pt x="8591" y="17551"/>
                    </a:lnTo>
                    <a:lnTo>
                      <a:pt x="9278" y="15743"/>
                    </a:lnTo>
                    <a:lnTo>
                      <a:pt x="6735" y="14227"/>
                    </a:lnTo>
                    <a:lnTo>
                      <a:pt x="6735" y="13586"/>
                    </a:lnTo>
                    <a:lnTo>
                      <a:pt x="7491" y="12653"/>
                    </a:lnTo>
                    <a:lnTo>
                      <a:pt x="6735" y="11778"/>
                    </a:lnTo>
                    <a:lnTo>
                      <a:pt x="6460" y="12420"/>
                    </a:lnTo>
                    <a:lnTo>
                      <a:pt x="4948" y="12653"/>
                    </a:lnTo>
                    <a:lnTo>
                      <a:pt x="4948" y="13294"/>
                    </a:lnTo>
                    <a:lnTo>
                      <a:pt x="4948" y="14810"/>
                    </a:lnTo>
                    <a:lnTo>
                      <a:pt x="4948" y="16618"/>
                    </a:lnTo>
                    <a:lnTo>
                      <a:pt x="4948" y="18134"/>
                    </a:lnTo>
                    <a:lnTo>
                      <a:pt x="4948" y="19942"/>
                    </a:lnTo>
                    <a:lnTo>
                      <a:pt x="3918" y="19592"/>
                    </a:lnTo>
                    <a:lnTo>
                      <a:pt x="3574" y="1994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7" name="Freeform 209"/>
              <p:cNvSpPr>
                <a:spLocks/>
              </p:cNvSpPr>
              <p:nvPr/>
            </p:nvSpPr>
            <p:spPr bwMode="auto">
              <a:xfrm>
                <a:off x="7962900" y="4638675"/>
                <a:ext cx="263525" cy="85725"/>
              </a:xfrm>
              <a:custGeom>
                <a:avLst/>
                <a:gdLst>
                  <a:gd name="T0" fmla="*/ 19952 w 20000"/>
                  <a:gd name="T1" fmla="*/ 19853 h 20000"/>
                  <a:gd name="T2" fmla="*/ 18699 w 20000"/>
                  <a:gd name="T3" fmla="*/ 18382 h 20000"/>
                  <a:gd name="T4" fmla="*/ 16916 w 20000"/>
                  <a:gd name="T5" fmla="*/ 16029 h 20000"/>
                  <a:gd name="T6" fmla="*/ 15952 w 20000"/>
                  <a:gd name="T7" fmla="*/ 17500 h 20000"/>
                  <a:gd name="T8" fmla="*/ 14747 w 20000"/>
                  <a:gd name="T9" fmla="*/ 16029 h 20000"/>
                  <a:gd name="T10" fmla="*/ 13687 w 20000"/>
                  <a:gd name="T11" fmla="*/ 16029 h 20000"/>
                  <a:gd name="T12" fmla="*/ 12193 w 20000"/>
                  <a:gd name="T13" fmla="*/ 15294 h 20000"/>
                  <a:gd name="T14" fmla="*/ 10988 w 20000"/>
                  <a:gd name="T15" fmla="*/ 13824 h 20000"/>
                  <a:gd name="T16" fmla="*/ 8482 w 20000"/>
                  <a:gd name="T17" fmla="*/ 11471 h 20000"/>
                  <a:gd name="T18" fmla="*/ 6988 w 20000"/>
                  <a:gd name="T19" fmla="*/ 12059 h 20000"/>
                  <a:gd name="T20" fmla="*/ 5012 w 20000"/>
                  <a:gd name="T21" fmla="*/ 9853 h 20000"/>
                  <a:gd name="T22" fmla="*/ 2458 w 20000"/>
                  <a:gd name="T23" fmla="*/ 8382 h 20000"/>
                  <a:gd name="T24" fmla="*/ 2940 w 20000"/>
                  <a:gd name="T25" fmla="*/ 7647 h 20000"/>
                  <a:gd name="T26" fmla="*/ 1253 w 20000"/>
                  <a:gd name="T27" fmla="*/ 6029 h 20000"/>
                  <a:gd name="T28" fmla="*/ 0 w 20000"/>
                  <a:gd name="T29" fmla="*/ 5441 h 20000"/>
                  <a:gd name="T30" fmla="*/ 482 w 20000"/>
                  <a:gd name="T31" fmla="*/ 5441 h 20000"/>
                  <a:gd name="T32" fmla="*/ 964 w 20000"/>
                  <a:gd name="T33" fmla="*/ 5441 h 20000"/>
                  <a:gd name="T34" fmla="*/ 1735 w 20000"/>
                  <a:gd name="T35" fmla="*/ 2353 h 20000"/>
                  <a:gd name="T36" fmla="*/ 2217 w 20000"/>
                  <a:gd name="T37" fmla="*/ 0 h 20000"/>
                  <a:gd name="T38" fmla="*/ 4241 w 20000"/>
                  <a:gd name="T39" fmla="*/ 1471 h 20000"/>
                  <a:gd name="T40" fmla="*/ 4241 w 20000"/>
                  <a:gd name="T41" fmla="*/ 0 h 20000"/>
                  <a:gd name="T42" fmla="*/ 5012 w 20000"/>
                  <a:gd name="T43" fmla="*/ 0 h 20000"/>
                  <a:gd name="T44" fmla="*/ 5687 w 20000"/>
                  <a:gd name="T45" fmla="*/ 1471 h 20000"/>
                  <a:gd name="T46" fmla="*/ 6217 w 20000"/>
                  <a:gd name="T47" fmla="*/ 2353 h 20000"/>
                  <a:gd name="T48" fmla="*/ 6988 w 20000"/>
                  <a:gd name="T49" fmla="*/ 1471 h 20000"/>
                  <a:gd name="T50" fmla="*/ 7470 w 20000"/>
                  <a:gd name="T51" fmla="*/ 5441 h 20000"/>
                  <a:gd name="T52" fmla="*/ 10699 w 20000"/>
                  <a:gd name="T53" fmla="*/ 6029 h 20000"/>
                  <a:gd name="T54" fmla="*/ 11470 w 20000"/>
                  <a:gd name="T55" fmla="*/ 6029 h 20000"/>
                  <a:gd name="T56" fmla="*/ 11711 w 20000"/>
                  <a:gd name="T57" fmla="*/ 3824 h 20000"/>
                  <a:gd name="T58" fmla="*/ 12723 w 20000"/>
                  <a:gd name="T59" fmla="*/ 3824 h 20000"/>
                  <a:gd name="T60" fmla="*/ 12964 w 20000"/>
                  <a:gd name="T61" fmla="*/ 5441 h 20000"/>
                  <a:gd name="T62" fmla="*/ 13446 w 20000"/>
                  <a:gd name="T63" fmla="*/ 5441 h 20000"/>
                  <a:gd name="T64" fmla="*/ 14747 w 20000"/>
                  <a:gd name="T65" fmla="*/ 5441 h 20000"/>
                  <a:gd name="T66" fmla="*/ 15470 w 20000"/>
                  <a:gd name="T67" fmla="*/ 6029 h 20000"/>
                  <a:gd name="T68" fmla="*/ 16241 w 20000"/>
                  <a:gd name="T69" fmla="*/ 9853 h 20000"/>
                  <a:gd name="T70" fmla="*/ 17494 w 20000"/>
                  <a:gd name="T71" fmla="*/ 12059 h 20000"/>
                  <a:gd name="T72" fmla="*/ 17976 w 20000"/>
                  <a:gd name="T73" fmla="*/ 11471 h 20000"/>
                  <a:gd name="T74" fmla="*/ 18988 w 20000"/>
                  <a:gd name="T75" fmla="*/ 11471 h 20000"/>
                  <a:gd name="T76" fmla="*/ 19952 w 20000"/>
                  <a:gd name="T77" fmla="*/ 12059 h 20000"/>
                  <a:gd name="T78" fmla="*/ 19470 w 20000"/>
                  <a:gd name="T79" fmla="*/ 13824 h 20000"/>
                  <a:gd name="T80" fmla="*/ 19470 w 20000"/>
                  <a:gd name="T81" fmla="*/ 16029 h 20000"/>
                  <a:gd name="T82" fmla="*/ 19952 w 20000"/>
                  <a:gd name="T83" fmla="*/ 18382 h 20000"/>
                  <a:gd name="T84" fmla="*/ 19952 w 20000"/>
                  <a:gd name="T85" fmla="*/ 1985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952" y="19853"/>
                    </a:moveTo>
                    <a:lnTo>
                      <a:pt x="18699" y="18382"/>
                    </a:lnTo>
                    <a:lnTo>
                      <a:pt x="16916" y="16029"/>
                    </a:lnTo>
                    <a:lnTo>
                      <a:pt x="15952" y="17500"/>
                    </a:lnTo>
                    <a:lnTo>
                      <a:pt x="14747" y="16029"/>
                    </a:lnTo>
                    <a:lnTo>
                      <a:pt x="13687" y="16029"/>
                    </a:lnTo>
                    <a:lnTo>
                      <a:pt x="12193" y="15294"/>
                    </a:lnTo>
                    <a:lnTo>
                      <a:pt x="10988" y="13824"/>
                    </a:lnTo>
                    <a:lnTo>
                      <a:pt x="8482" y="11471"/>
                    </a:lnTo>
                    <a:lnTo>
                      <a:pt x="6988" y="12059"/>
                    </a:lnTo>
                    <a:lnTo>
                      <a:pt x="5012" y="9853"/>
                    </a:lnTo>
                    <a:lnTo>
                      <a:pt x="2458" y="8382"/>
                    </a:lnTo>
                    <a:lnTo>
                      <a:pt x="2940" y="7647"/>
                    </a:lnTo>
                    <a:lnTo>
                      <a:pt x="1253" y="6029"/>
                    </a:lnTo>
                    <a:lnTo>
                      <a:pt x="0" y="5441"/>
                    </a:lnTo>
                    <a:lnTo>
                      <a:pt x="482" y="5441"/>
                    </a:lnTo>
                    <a:lnTo>
                      <a:pt x="964" y="5441"/>
                    </a:lnTo>
                    <a:lnTo>
                      <a:pt x="1735" y="2353"/>
                    </a:lnTo>
                    <a:lnTo>
                      <a:pt x="2217" y="0"/>
                    </a:lnTo>
                    <a:lnTo>
                      <a:pt x="4241" y="1471"/>
                    </a:lnTo>
                    <a:lnTo>
                      <a:pt x="4241" y="0"/>
                    </a:lnTo>
                    <a:lnTo>
                      <a:pt x="5012" y="0"/>
                    </a:lnTo>
                    <a:lnTo>
                      <a:pt x="5687" y="1471"/>
                    </a:lnTo>
                    <a:lnTo>
                      <a:pt x="6217" y="2353"/>
                    </a:lnTo>
                    <a:lnTo>
                      <a:pt x="6988" y="1471"/>
                    </a:lnTo>
                    <a:lnTo>
                      <a:pt x="7470" y="5441"/>
                    </a:lnTo>
                    <a:lnTo>
                      <a:pt x="10699" y="6029"/>
                    </a:lnTo>
                    <a:lnTo>
                      <a:pt x="11470" y="6029"/>
                    </a:lnTo>
                    <a:lnTo>
                      <a:pt x="11711" y="3824"/>
                    </a:lnTo>
                    <a:lnTo>
                      <a:pt x="12723" y="3824"/>
                    </a:lnTo>
                    <a:lnTo>
                      <a:pt x="12964" y="5441"/>
                    </a:lnTo>
                    <a:lnTo>
                      <a:pt x="13446" y="5441"/>
                    </a:lnTo>
                    <a:lnTo>
                      <a:pt x="14747" y="5441"/>
                    </a:lnTo>
                    <a:lnTo>
                      <a:pt x="15470" y="6029"/>
                    </a:lnTo>
                    <a:lnTo>
                      <a:pt x="16241" y="9853"/>
                    </a:lnTo>
                    <a:lnTo>
                      <a:pt x="17494" y="12059"/>
                    </a:lnTo>
                    <a:lnTo>
                      <a:pt x="17976" y="11471"/>
                    </a:lnTo>
                    <a:lnTo>
                      <a:pt x="18988" y="11471"/>
                    </a:lnTo>
                    <a:lnTo>
                      <a:pt x="19952" y="12059"/>
                    </a:lnTo>
                    <a:lnTo>
                      <a:pt x="19470" y="13824"/>
                    </a:lnTo>
                    <a:lnTo>
                      <a:pt x="19470" y="16029"/>
                    </a:lnTo>
                    <a:lnTo>
                      <a:pt x="19952" y="18382"/>
                    </a:lnTo>
                    <a:lnTo>
                      <a:pt x="19952" y="1985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8" name="Freeform 208"/>
              <p:cNvSpPr>
                <a:spLocks/>
              </p:cNvSpPr>
              <p:nvPr/>
            </p:nvSpPr>
            <p:spPr bwMode="auto">
              <a:xfrm>
                <a:off x="8474075" y="4713288"/>
                <a:ext cx="112713" cy="60325"/>
              </a:xfrm>
              <a:custGeom>
                <a:avLst/>
                <a:gdLst>
                  <a:gd name="T0" fmla="*/ 2373 w 20000"/>
                  <a:gd name="T1" fmla="*/ 19787 h 20000"/>
                  <a:gd name="T2" fmla="*/ 0 w 20000"/>
                  <a:gd name="T3" fmla="*/ 19787 h 20000"/>
                  <a:gd name="T4" fmla="*/ 678 w 20000"/>
                  <a:gd name="T5" fmla="*/ 15532 h 20000"/>
                  <a:gd name="T6" fmla="*/ 1808 w 20000"/>
                  <a:gd name="T7" fmla="*/ 12128 h 20000"/>
                  <a:gd name="T8" fmla="*/ 4633 w 20000"/>
                  <a:gd name="T9" fmla="*/ 8723 h 20000"/>
                  <a:gd name="T10" fmla="*/ 7684 w 20000"/>
                  <a:gd name="T11" fmla="*/ 6596 h 20000"/>
                  <a:gd name="T12" fmla="*/ 9379 w 20000"/>
                  <a:gd name="T13" fmla="*/ 3404 h 20000"/>
                  <a:gd name="T14" fmla="*/ 14124 w 20000"/>
                  <a:gd name="T15" fmla="*/ 0 h 20000"/>
                  <a:gd name="T16" fmla="*/ 19887 w 20000"/>
                  <a:gd name="T17" fmla="*/ 0 h 20000"/>
                  <a:gd name="T18" fmla="*/ 17627 w 20000"/>
                  <a:gd name="T19" fmla="*/ 3404 h 20000"/>
                  <a:gd name="T20" fmla="*/ 16949 w 20000"/>
                  <a:gd name="T21" fmla="*/ 3404 h 20000"/>
                  <a:gd name="T22" fmla="*/ 14576 w 20000"/>
                  <a:gd name="T23" fmla="*/ 5532 h 20000"/>
                  <a:gd name="T24" fmla="*/ 7684 w 20000"/>
                  <a:gd name="T25" fmla="*/ 12128 h 20000"/>
                  <a:gd name="T26" fmla="*/ 4633 w 20000"/>
                  <a:gd name="T27" fmla="*/ 17660 h 20000"/>
                  <a:gd name="T28" fmla="*/ 3503 w 20000"/>
                  <a:gd name="T29" fmla="*/ 17660 h 20000"/>
                  <a:gd name="T30" fmla="*/ 2373 w 20000"/>
                  <a:gd name="T31" fmla="*/ 197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2373" y="19787"/>
                    </a:moveTo>
                    <a:lnTo>
                      <a:pt x="0" y="19787"/>
                    </a:lnTo>
                    <a:lnTo>
                      <a:pt x="678" y="15532"/>
                    </a:lnTo>
                    <a:lnTo>
                      <a:pt x="1808" y="12128"/>
                    </a:lnTo>
                    <a:lnTo>
                      <a:pt x="4633" y="8723"/>
                    </a:lnTo>
                    <a:lnTo>
                      <a:pt x="7684" y="6596"/>
                    </a:lnTo>
                    <a:lnTo>
                      <a:pt x="9379" y="3404"/>
                    </a:lnTo>
                    <a:lnTo>
                      <a:pt x="14124" y="0"/>
                    </a:lnTo>
                    <a:lnTo>
                      <a:pt x="19887" y="0"/>
                    </a:lnTo>
                    <a:lnTo>
                      <a:pt x="17627" y="3404"/>
                    </a:lnTo>
                    <a:lnTo>
                      <a:pt x="16949" y="3404"/>
                    </a:lnTo>
                    <a:lnTo>
                      <a:pt x="14576" y="5532"/>
                    </a:lnTo>
                    <a:lnTo>
                      <a:pt x="7684" y="12128"/>
                    </a:lnTo>
                    <a:lnTo>
                      <a:pt x="4633" y="17660"/>
                    </a:lnTo>
                    <a:lnTo>
                      <a:pt x="3503" y="17660"/>
                    </a:lnTo>
                    <a:lnTo>
                      <a:pt x="2373" y="197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9" name="Freeform 207"/>
              <p:cNvSpPr>
                <a:spLocks/>
              </p:cNvSpPr>
              <p:nvPr/>
            </p:nvSpPr>
            <p:spPr bwMode="auto">
              <a:xfrm>
                <a:off x="8596313" y="4405313"/>
                <a:ext cx="44450" cy="88900"/>
              </a:xfrm>
              <a:custGeom>
                <a:avLst/>
                <a:gdLst>
                  <a:gd name="T0" fmla="*/ 8986 w 20000"/>
                  <a:gd name="T1" fmla="*/ 19857 h 20000"/>
                  <a:gd name="T2" fmla="*/ 4638 w 20000"/>
                  <a:gd name="T3" fmla="*/ 16857 h 20000"/>
                  <a:gd name="T4" fmla="*/ 1739 w 20000"/>
                  <a:gd name="T5" fmla="*/ 13143 h 20000"/>
                  <a:gd name="T6" fmla="*/ 1739 w 20000"/>
                  <a:gd name="T7" fmla="*/ 11714 h 20000"/>
                  <a:gd name="T8" fmla="*/ 0 w 20000"/>
                  <a:gd name="T9" fmla="*/ 9571 h 20000"/>
                  <a:gd name="T10" fmla="*/ 0 w 20000"/>
                  <a:gd name="T11" fmla="*/ 7286 h 20000"/>
                  <a:gd name="T12" fmla="*/ 1739 w 20000"/>
                  <a:gd name="T13" fmla="*/ 3714 h 20000"/>
                  <a:gd name="T14" fmla="*/ 7536 w 20000"/>
                  <a:gd name="T15" fmla="*/ 0 h 20000"/>
                  <a:gd name="T16" fmla="*/ 4638 w 20000"/>
                  <a:gd name="T17" fmla="*/ 2000 h 20000"/>
                  <a:gd name="T18" fmla="*/ 7536 w 20000"/>
                  <a:gd name="T19" fmla="*/ 5857 h 20000"/>
                  <a:gd name="T20" fmla="*/ 1739 w 20000"/>
                  <a:gd name="T21" fmla="*/ 7286 h 20000"/>
                  <a:gd name="T22" fmla="*/ 4638 w 20000"/>
                  <a:gd name="T23" fmla="*/ 8143 h 20000"/>
                  <a:gd name="T24" fmla="*/ 7536 w 20000"/>
                  <a:gd name="T25" fmla="*/ 7286 h 20000"/>
                  <a:gd name="T26" fmla="*/ 8986 w 20000"/>
                  <a:gd name="T27" fmla="*/ 7286 h 20000"/>
                  <a:gd name="T28" fmla="*/ 8986 w 20000"/>
                  <a:gd name="T29" fmla="*/ 5857 h 20000"/>
                  <a:gd name="T30" fmla="*/ 16522 w 20000"/>
                  <a:gd name="T31" fmla="*/ 4286 h 20000"/>
                  <a:gd name="T32" fmla="*/ 16522 w 20000"/>
                  <a:gd name="T33" fmla="*/ 7286 h 20000"/>
                  <a:gd name="T34" fmla="*/ 8986 w 20000"/>
                  <a:gd name="T35" fmla="*/ 9571 h 20000"/>
                  <a:gd name="T36" fmla="*/ 19710 w 20000"/>
                  <a:gd name="T37" fmla="*/ 13143 h 20000"/>
                  <a:gd name="T38" fmla="*/ 7536 w 20000"/>
                  <a:gd name="T39" fmla="*/ 11714 h 20000"/>
                  <a:gd name="T40" fmla="*/ 7536 w 20000"/>
                  <a:gd name="T41" fmla="*/ 13143 h 20000"/>
                  <a:gd name="T42" fmla="*/ 8986 w 20000"/>
                  <a:gd name="T43" fmla="*/ 1985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8986" y="19857"/>
                    </a:moveTo>
                    <a:lnTo>
                      <a:pt x="4638" y="16857"/>
                    </a:lnTo>
                    <a:lnTo>
                      <a:pt x="1739" y="13143"/>
                    </a:lnTo>
                    <a:lnTo>
                      <a:pt x="1739" y="11714"/>
                    </a:lnTo>
                    <a:lnTo>
                      <a:pt x="0" y="9571"/>
                    </a:lnTo>
                    <a:lnTo>
                      <a:pt x="0" y="7286"/>
                    </a:lnTo>
                    <a:lnTo>
                      <a:pt x="1739" y="3714"/>
                    </a:lnTo>
                    <a:lnTo>
                      <a:pt x="7536" y="0"/>
                    </a:lnTo>
                    <a:lnTo>
                      <a:pt x="4638" y="2000"/>
                    </a:lnTo>
                    <a:lnTo>
                      <a:pt x="7536" y="5857"/>
                    </a:lnTo>
                    <a:lnTo>
                      <a:pt x="1739" y="7286"/>
                    </a:lnTo>
                    <a:lnTo>
                      <a:pt x="4638" y="8143"/>
                    </a:lnTo>
                    <a:lnTo>
                      <a:pt x="7536" y="7286"/>
                    </a:lnTo>
                    <a:lnTo>
                      <a:pt x="8986" y="7286"/>
                    </a:lnTo>
                    <a:lnTo>
                      <a:pt x="8986" y="5857"/>
                    </a:lnTo>
                    <a:lnTo>
                      <a:pt x="16522" y="4286"/>
                    </a:lnTo>
                    <a:lnTo>
                      <a:pt x="16522" y="7286"/>
                    </a:lnTo>
                    <a:lnTo>
                      <a:pt x="8986" y="9571"/>
                    </a:lnTo>
                    <a:lnTo>
                      <a:pt x="19710" y="13143"/>
                    </a:lnTo>
                    <a:lnTo>
                      <a:pt x="7536" y="11714"/>
                    </a:lnTo>
                    <a:lnTo>
                      <a:pt x="7536" y="13143"/>
                    </a:lnTo>
                    <a:lnTo>
                      <a:pt x="8986" y="1985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0" name="Freeform 206"/>
              <p:cNvSpPr>
                <a:spLocks/>
              </p:cNvSpPr>
              <p:nvPr/>
            </p:nvSpPr>
            <p:spPr bwMode="auto">
              <a:xfrm>
                <a:off x="8607425" y="4552950"/>
                <a:ext cx="85725" cy="26988"/>
              </a:xfrm>
              <a:custGeom>
                <a:avLst/>
                <a:gdLst>
                  <a:gd name="T0" fmla="*/ 19853 w 20000"/>
                  <a:gd name="T1" fmla="*/ 19535 h 20000"/>
                  <a:gd name="T2" fmla="*/ 13824 w 20000"/>
                  <a:gd name="T3" fmla="*/ 12093 h 20000"/>
                  <a:gd name="T4" fmla="*/ 11471 w 20000"/>
                  <a:gd name="T5" fmla="*/ 6977 h 20000"/>
                  <a:gd name="T6" fmla="*/ 11471 w 20000"/>
                  <a:gd name="T7" fmla="*/ 12093 h 20000"/>
                  <a:gd name="T8" fmla="*/ 7647 w 20000"/>
                  <a:gd name="T9" fmla="*/ 12093 h 20000"/>
                  <a:gd name="T10" fmla="*/ 7647 w 20000"/>
                  <a:gd name="T11" fmla="*/ 6977 h 20000"/>
                  <a:gd name="T12" fmla="*/ 4559 w 20000"/>
                  <a:gd name="T13" fmla="*/ 12093 h 20000"/>
                  <a:gd name="T14" fmla="*/ 2353 w 20000"/>
                  <a:gd name="T15" fmla="*/ 6977 h 20000"/>
                  <a:gd name="T16" fmla="*/ 1471 w 20000"/>
                  <a:gd name="T17" fmla="*/ 12093 h 20000"/>
                  <a:gd name="T18" fmla="*/ 0 w 20000"/>
                  <a:gd name="T19" fmla="*/ 6977 h 20000"/>
                  <a:gd name="T20" fmla="*/ 2353 w 20000"/>
                  <a:gd name="T21" fmla="*/ 0 h 20000"/>
                  <a:gd name="T22" fmla="*/ 7647 w 20000"/>
                  <a:gd name="T23" fmla="*/ 0 h 20000"/>
                  <a:gd name="T24" fmla="*/ 10000 w 20000"/>
                  <a:gd name="T25" fmla="*/ 0 h 20000"/>
                  <a:gd name="T26" fmla="*/ 11471 w 20000"/>
                  <a:gd name="T27" fmla="*/ 0 h 20000"/>
                  <a:gd name="T28" fmla="*/ 13824 w 20000"/>
                  <a:gd name="T29" fmla="*/ 0 h 20000"/>
                  <a:gd name="T30" fmla="*/ 16029 w 20000"/>
                  <a:gd name="T31" fmla="*/ 0 h 20000"/>
                  <a:gd name="T32" fmla="*/ 18382 w 20000"/>
                  <a:gd name="T33" fmla="*/ 6977 h 20000"/>
                  <a:gd name="T34" fmla="*/ 19853 w 20000"/>
                  <a:gd name="T35" fmla="*/ 12093 h 20000"/>
                  <a:gd name="T36" fmla="*/ 19853 w 20000"/>
                  <a:gd name="T37" fmla="*/ 195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19853" y="19535"/>
                    </a:moveTo>
                    <a:lnTo>
                      <a:pt x="13824" y="12093"/>
                    </a:lnTo>
                    <a:lnTo>
                      <a:pt x="11471" y="6977"/>
                    </a:lnTo>
                    <a:lnTo>
                      <a:pt x="11471" y="12093"/>
                    </a:lnTo>
                    <a:lnTo>
                      <a:pt x="7647" y="12093"/>
                    </a:lnTo>
                    <a:lnTo>
                      <a:pt x="7647" y="6977"/>
                    </a:lnTo>
                    <a:lnTo>
                      <a:pt x="4559" y="12093"/>
                    </a:lnTo>
                    <a:lnTo>
                      <a:pt x="2353" y="6977"/>
                    </a:lnTo>
                    <a:lnTo>
                      <a:pt x="1471" y="12093"/>
                    </a:lnTo>
                    <a:lnTo>
                      <a:pt x="0" y="6977"/>
                    </a:lnTo>
                    <a:lnTo>
                      <a:pt x="2353" y="0"/>
                    </a:lnTo>
                    <a:lnTo>
                      <a:pt x="7647" y="0"/>
                    </a:lnTo>
                    <a:lnTo>
                      <a:pt x="10000" y="0"/>
                    </a:lnTo>
                    <a:lnTo>
                      <a:pt x="11471" y="0"/>
                    </a:lnTo>
                    <a:lnTo>
                      <a:pt x="13824" y="0"/>
                    </a:lnTo>
                    <a:lnTo>
                      <a:pt x="16029" y="0"/>
                    </a:lnTo>
                    <a:lnTo>
                      <a:pt x="18382" y="6977"/>
                    </a:lnTo>
                    <a:lnTo>
                      <a:pt x="19853" y="12093"/>
                    </a:lnTo>
                    <a:lnTo>
                      <a:pt x="19853" y="195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1" name="Freeform 205"/>
              <p:cNvSpPr>
                <a:spLocks/>
              </p:cNvSpPr>
              <p:nvPr/>
            </p:nvSpPr>
            <p:spPr bwMode="auto">
              <a:xfrm>
                <a:off x="8372475" y="4703763"/>
                <a:ext cx="96838" cy="26987"/>
              </a:xfrm>
              <a:custGeom>
                <a:avLst/>
                <a:gdLst>
                  <a:gd name="T0" fmla="*/ 8947 w 20000"/>
                  <a:gd name="T1" fmla="*/ 19524 h 20000"/>
                  <a:gd name="T2" fmla="*/ 5395 w 20000"/>
                  <a:gd name="T3" fmla="*/ 19524 h 20000"/>
                  <a:gd name="T4" fmla="*/ 4079 w 20000"/>
                  <a:gd name="T5" fmla="*/ 14762 h 20000"/>
                  <a:gd name="T6" fmla="*/ 0 w 20000"/>
                  <a:gd name="T7" fmla="*/ 14762 h 20000"/>
                  <a:gd name="T8" fmla="*/ 0 w 20000"/>
                  <a:gd name="T9" fmla="*/ 10000 h 20000"/>
                  <a:gd name="T10" fmla="*/ 1447 w 20000"/>
                  <a:gd name="T11" fmla="*/ 7143 h 20000"/>
                  <a:gd name="T12" fmla="*/ 4079 w 20000"/>
                  <a:gd name="T13" fmla="*/ 2857 h 20000"/>
                  <a:gd name="T14" fmla="*/ 7500 w 20000"/>
                  <a:gd name="T15" fmla="*/ 7143 h 20000"/>
                  <a:gd name="T16" fmla="*/ 9605 w 20000"/>
                  <a:gd name="T17" fmla="*/ 10000 h 20000"/>
                  <a:gd name="T18" fmla="*/ 11053 w 20000"/>
                  <a:gd name="T19" fmla="*/ 7143 h 20000"/>
                  <a:gd name="T20" fmla="*/ 15789 w 20000"/>
                  <a:gd name="T21" fmla="*/ 10000 h 20000"/>
                  <a:gd name="T22" fmla="*/ 16447 w 20000"/>
                  <a:gd name="T23" fmla="*/ 7143 h 20000"/>
                  <a:gd name="T24" fmla="*/ 17763 w 20000"/>
                  <a:gd name="T25" fmla="*/ 7143 h 20000"/>
                  <a:gd name="T26" fmla="*/ 17763 w 20000"/>
                  <a:gd name="T27" fmla="*/ 2857 h 20000"/>
                  <a:gd name="T28" fmla="*/ 18553 w 20000"/>
                  <a:gd name="T29" fmla="*/ 0 h 20000"/>
                  <a:gd name="T30" fmla="*/ 19868 w 20000"/>
                  <a:gd name="T31" fmla="*/ 2857 h 20000"/>
                  <a:gd name="T32" fmla="*/ 17763 w 20000"/>
                  <a:gd name="T33" fmla="*/ 10000 h 20000"/>
                  <a:gd name="T34" fmla="*/ 13026 w 20000"/>
                  <a:gd name="T35" fmla="*/ 14762 h 20000"/>
                  <a:gd name="T36" fmla="*/ 12368 w 20000"/>
                  <a:gd name="T37" fmla="*/ 19524 h 20000"/>
                  <a:gd name="T38" fmla="*/ 9605 w 20000"/>
                  <a:gd name="T39" fmla="*/ 14762 h 20000"/>
                  <a:gd name="T40" fmla="*/ 8947 w 20000"/>
                  <a:gd name="T41"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8947" y="19524"/>
                    </a:moveTo>
                    <a:lnTo>
                      <a:pt x="5395" y="19524"/>
                    </a:lnTo>
                    <a:lnTo>
                      <a:pt x="4079" y="14762"/>
                    </a:lnTo>
                    <a:lnTo>
                      <a:pt x="0" y="14762"/>
                    </a:lnTo>
                    <a:lnTo>
                      <a:pt x="0" y="10000"/>
                    </a:lnTo>
                    <a:lnTo>
                      <a:pt x="1447" y="7143"/>
                    </a:lnTo>
                    <a:lnTo>
                      <a:pt x="4079" y="2857"/>
                    </a:lnTo>
                    <a:lnTo>
                      <a:pt x="7500" y="7143"/>
                    </a:lnTo>
                    <a:lnTo>
                      <a:pt x="9605" y="10000"/>
                    </a:lnTo>
                    <a:lnTo>
                      <a:pt x="11053" y="7143"/>
                    </a:lnTo>
                    <a:lnTo>
                      <a:pt x="15789" y="10000"/>
                    </a:lnTo>
                    <a:lnTo>
                      <a:pt x="16447" y="7143"/>
                    </a:lnTo>
                    <a:lnTo>
                      <a:pt x="17763" y="7143"/>
                    </a:lnTo>
                    <a:lnTo>
                      <a:pt x="17763" y="2857"/>
                    </a:lnTo>
                    <a:lnTo>
                      <a:pt x="18553" y="0"/>
                    </a:lnTo>
                    <a:lnTo>
                      <a:pt x="19868" y="2857"/>
                    </a:lnTo>
                    <a:lnTo>
                      <a:pt x="17763" y="10000"/>
                    </a:lnTo>
                    <a:lnTo>
                      <a:pt x="13026" y="14762"/>
                    </a:lnTo>
                    <a:lnTo>
                      <a:pt x="12368" y="19524"/>
                    </a:lnTo>
                    <a:lnTo>
                      <a:pt x="9605" y="14762"/>
                    </a:lnTo>
                    <a:lnTo>
                      <a:pt x="8947"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2" name="Freeform 204"/>
              <p:cNvSpPr>
                <a:spLocks/>
              </p:cNvSpPr>
              <p:nvPr/>
            </p:nvSpPr>
            <p:spPr bwMode="auto">
              <a:xfrm>
                <a:off x="8288338" y="4703763"/>
                <a:ext cx="69850" cy="26987"/>
              </a:xfrm>
              <a:custGeom>
                <a:avLst/>
                <a:gdLst>
                  <a:gd name="T0" fmla="*/ 0 w 20000"/>
                  <a:gd name="T1" fmla="*/ 19524 h 20000"/>
                  <a:gd name="T2" fmla="*/ 0 w 20000"/>
                  <a:gd name="T3" fmla="*/ 10000 h 20000"/>
                  <a:gd name="T4" fmla="*/ 2569 w 20000"/>
                  <a:gd name="T5" fmla="*/ 7143 h 20000"/>
                  <a:gd name="T6" fmla="*/ 6606 w 20000"/>
                  <a:gd name="T7" fmla="*/ 7143 h 20000"/>
                  <a:gd name="T8" fmla="*/ 7523 w 20000"/>
                  <a:gd name="T9" fmla="*/ 10000 h 20000"/>
                  <a:gd name="T10" fmla="*/ 9358 w 20000"/>
                  <a:gd name="T11" fmla="*/ 10000 h 20000"/>
                  <a:gd name="T12" fmla="*/ 10459 w 20000"/>
                  <a:gd name="T13" fmla="*/ 7143 h 20000"/>
                  <a:gd name="T14" fmla="*/ 7523 w 20000"/>
                  <a:gd name="T15" fmla="*/ 2857 h 20000"/>
                  <a:gd name="T16" fmla="*/ 10459 w 20000"/>
                  <a:gd name="T17" fmla="*/ 0 h 20000"/>
                  <a:gd name="T18" fmla="*/ 12294 w 20000"/>
                  <a:gd name="T19" fmla="*/ 2857 h 20000"/>
                  <a:gd name="T20" fmla="*/ 14128 w 20000"/>
                  <a:gd name="T21" fmla="*/ 2857 h 20000"/>
                  <a:gd name="T22" fmla="*/ 16881 w 20000"/>
                  <a:gd name="T23" fmla="*/ 7143 h 20000"/>
                  <a:gd name="T24" fmla="*/ 17982 w 20000"/>
                  <a:gd name="T25" fmla="*/ 2857 h 20000"/>
                  <a:gd name="T26" fmla="*/ 19817 w 20000"/>
                  <a:gd name="T27" fmla="*/ 14762 h 20000"/>
                  <a:gd name="T28" fmla="*/ 14128 w 20000"/>
                  <a:gd name="T29" fmla="*/ 14762 h 20000"/>
                  <a:gd name="T30" fmla="*/ 14128 w 20000"/>
                  <a:gd name="T31" fmla="*/ 10000 h 20000"/>
                  <a:gd name="T32" fmla="*/ 12294 w 20000"/>
                  <a:gd name="T33" fmla="*/ 10000 h 20000"/>
                  <a:gd name="T34" fmla="*/ 10459 w 20000"/>
                  <a:gd name="T35" fmla="*/ 19524 h 20000"/>
                  <a:gd name="T36" fmla="*/ 7523 w 20000"/>
                  <a:gd name="T37" fmla="*/ 19524 h 20000"/>
                  <a:gd name="T38" fmla="*/ 0 w 20000"/>
                  <a:gd name="T39"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0" y="19524"/>
                    </a:moveTo>
                    <a:lnTo>
                      <a:pt x="0" y="10000"/>
                    </a:lnTo>
                    <a:lnTo>
                      <a:pt x="2569" y="7143"/>
                    </a:lnTo>
                    <a:lnTo>
                      <a:pt x="6606" y="7143"/>
                    </a:lnTo>
                    <a:lnTo>
                      <a:pt x="7523" y="10000"/>
                    </a:lnTo>
                    <a:lnTo>
                      <a:pt x="9358" y="10000"/>
                    </a:lnTo>
                    <a:lnTo>
                      <a:pt x="10459" y="7143"/>
                    </a:lnTo>
                    <a:lnTo>
                      <a:pt x="7523" y="2857"/>
                    </a:lnTo>
                    <a:lnTo>
                      <a:pt x="10459" y="0"/>
                    </a:lnTo>
                    <a:lnTo>
                      <a:pt x="12294" y="2857"/>
                    </a:lnTo>
                    <a:lnTo>
                      <a:pt x="14128" y="2857"/>
                    </a:lnTo>
                    <a:lnTo>
                      <a:pt x="16881" y="7143"/>
                    </a:lnTo>
                    <a:lnTo>
                      <a:pt x="17982" y="2857"/>
                    </a:lnTo>
                    <a:lnTo>
                      <a:pt x="19817" y="14762"/>
                    </a:lnTo>
                    <a:lnTo>
                      <a:pt x="14128" y="14762"/>
                    </a:lnTo>
                    <a:lnTo>
                      <a:pt x="14128" y="10000"/>
                    </a:lnTo>
                    <a:lnTo>
                      <a:pt x="12294" y="10000"/>
                    </a:lnTo>
                    <a:lnTo>
                      <a:pt x="10459" y="19524"/>
                    </a:lnTo>
                    <a:lnTo>
                      <a:pt x="7523" y="19524"/>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3" name="Freeform 203"/>
              <p:cNvSpPr>
                <a:spLocks/>
              </p:cNvSpPr>
              <p:nvPr/>
            </p:nvSpPr>
            <p:spPr bwMode="auto">
              <a:xfrm>
                <a:off x="7962900" y="4510088"/>
                <a:ext cx="49213" cy="42862"/>
              </a:xfrm>
              <a:custGeom>
                <a:avLst/>
                <a:gdLst>
                  <a:gd name="T0" fmla="*/ 19744 w 20000"/>
                  <a:gd name="T1" fmla="*/ 19706 h 20000"/>
                  <a:gd name="T2" fmla="*/ 11795 w 20000"/>
                  <a:gd name="T3" fmla="*/ 18235 h 20000"/>
                  <a:gd name="T4" fmla="*/ 9231 w 20000"/>
                  <a:gd name="T5" fmla="*/ 10882 h 20000"/>
                  <a:gd name="T6" fmla="*/ 5128 w 20000"/>
                  <a:gd name="T7" fmla="*/ 6176 h 20000"/>
                  <a:gd name="T8" fmla="*/ 0 w 20000"/>
                  <a:gd name="T9" fmla="*/ 6176 h 20000"/>
                  <a:gd name="T10" fmla="*/ 5128 w 20000"/>
                  <a:gd name="T11" fmla="*/ 6176 h 20000"/>
                  <a:gd name="T12" fmla="*/ 5128 w 20000"/>
                  <a:gd name="T13" fmla="*/ 0 h 20000"/>
                  <a:gd name="T14" fmla="*/ 6667 w 20000"/>
                  <a:gd name="T15" fmla="*/ 0 h 20000"/>
                  <a:gd name="T16" fmla="*/ 6667 w 20000"/>
                  <a:gd name="T17" fmla="*/ 2941 h 20000"/>
                  <a:gd name="T18" fmla="*/ 9231 w 20000"/>
                  <a:gd name="T19" fmla="*/ 2941 h 20000"/>
                  <a:gd name="T20" fmla="*/ 9231 w 20000"/>
                  <a:gd name="T21" fmla="*/ 0 h 20000"/>
                  <a:gd name="T22" fmla="*/ 11795 w 20000"/>
                  <a:gd name="T23" fmla="*/ 0 h 20000"/>
                  <a:gd name="T24" fmla="*/ 13077 w 20000"/>
                  <a:gd name="T25" fmla="*/ 2941 h 20000"/>
                  <a:gd name="T26" fmla="*/ 13077 w 20000"/>
                  <a:gd name="T27" fmla="*/ 12059 h 20000"/>
                  <a:gd name="T28" fmla="*/ 19744 w 20000"/>
                  <a:gd name="T29" fmla="*/ 15000 h 20000"/>
                  <a:gd name="T30" fmla="*/ 17179 w 20000"/>
                  <a:gd name="T31" fmla="*/ 18235 h 20000"/>
                  <a:gd name="T32" fmla="*/ 19744 w 20000"/>
                  <a:gd name="T33"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9744" y="19706"/>
                    </a:moveTo>
                    <a:lnTo>
                      <a:pt x="11795" y="18235"/>
                    </a:lnTo>
                    <a:lnTo>
                      <a:pt x="9231" y="10882"/>
                    </a:lnTo>
                    <a:lnTo>
                      <a:pt x="5128" y="6176"/>
                    </a:lnTo>
                    <a:lnTo>
                      <a:pt x="0" y="6176"/>
                    </a:lnTo>
                    <a:lnTo>
                      <a:pt x="5128" y="6176"/>
                    </a:lnTo>
                    <a:lnTo>
                      <a:pt x="5128" y="0"/>
                    </a:lnTo>
                    <a:lnTo>
                      <a:pt x="6667" y="0"/>
                    </a:lnTo>
                    <a:lnTo>
                      <a:pt x="6667" y="2941"/>
                    </a:lnTo>
                    <a:lnTo>
                      <a:pt x="9231" y="2941"/>
                    </a:lnTo>
                    <a:lnTo>
                      <a:pt x="9231" y="0"/>
                    </a:lnTo>
                    <a:lnTo>
                      <a:pt x="11795" y="0"/>
                    </a:lnTo>
                    <a:lnTo>
                      <a:pt x="13077" y="2941"/>
                    </a:lnTo>
                    <a:lnTo>
                      <a:pt x="13077" y="12059"/>
                    </a:lnTo>
                    <a:lnTo>
                      <a:pt x="19744" y="15000"/>
                    </a:lnTo>
                    <a:lnTo>
                      <a:pt x="17179" y="18235"/>
                    </a:lnTo>
                    <a:lnTo>
                      <a:pt x="19744"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4" name="Freeform 202"/>
              <p:cNvSpPr>
                <a:spLocks/>
              </p:cNvSpPr>
              <p:nvPr/>
            </p:nvSpPr>
            <p:spPr bwMode="auto">
              <a:xfrm>
                <a:off x="8875713" y="4687888"/>
                <a:ext cx="41275" cy="30162"/>
              </a:xfrm>
              <a:custGeom>
                <a:avLst/>
                <a:gdLst>
                  <a:gd name="T0" fmla="*/ 0 w 20000"/>
                  <a:gd name="T1" fmla="*/ 19583 h 20000"/>
                  <a:gd name="T2" fmla="*/ 6563 w 20000"/>
                  <a:gd name="T3" fmla="*/ 6667 h 20000"/>
                  <a:gd name="T4" fmla="*/ 16563 w 20000"/>
                  <a:gd name="T5" fmla="*/ 0 h 20000"/>
                  <a:gd name="T6" fmla="*/ 19688 w 20000"/>
                  <a:gd name="T7" fmla="*/ 1667 h 20000"/>
                  <a:gd name="T8" fmla="*/ 19688 w 20000"/>
                  <a:gd name="T9" fmla="*/ 10833 h 20000"/>
                  <a:gd name="T10" fmla="*/ 14688 w 20000"/>
                  <a:gd name="T11" fmla="*/ 17083 h 20000"/>
                  <a:gd name="T12" fmla="*/ 0 w 20000"/>
                  <a:gd name="T13" fmla="*/ 19583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19583"/>
                    </a:moveTo>
                    <a:lnTo>
                      <a:pt x="6563" y="6667"/>
                    </a:lnTo>
                    <a:lnTo>
                      <a:pt x="16563" y="0"/>
                    </a:lnTo>
                    <a:lnTo>
                      <a:pt x="19688" y="1667"/>
                    </a:lnTo>
                    <a:lnTo>
                      <a:pt x="19688" y="10833"/>
                    </a:lnTo>
                    <a:lnTo>
                      <a:pt x="14688" y="17083"/>
                    </a:lnTo>
                    <a:lnTo>
                      <a:pt x="0" y="1958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5" name="Freeform 201"/>
              <p:cNvSpPr>
                <a:spLocks/>
              </p:cNvSpPr>
              <p:nvPr/>
            </p:nvSpPr>
            <p:spPr bwMode="auto">
              <a:xfrm>
                <a:off x="8350250" y="4740275"/>
                <a:ext cx="49213" cy="33338"/>
              </a:xfrm>
              <a:custGeom>
                <a:avLst/>
                <a:gdLst>
                  <a:gd name="T0" fmla="*/ 15897 w 20000"/>
                  <a:gd name="T1" fmla="*/ 19615 h 20000"/>
                  <a:gd name="T2" fmla="*/ 12051 w 20000"/>
                  <a:gd name="T3" fmla="*/ 11923 h 20000"/>
                  <a:gd name="T4" fmla="*/ 5128 w 20000"/>
                  <a:gd name="T5" fmla="*/ 5769 h 20000"/>
                  <a:gd name="T6" fmla="*/ 0 w 20000"/>
                  <a:gd name="T7" fmla="*/ 5769 h 20000"/>
                  <a:gd name="T8" fmla="*/ 0 w 20000"/>
                  <a:gd name="T9" fmla="*/ 2308 h 20000"/>
                  <a:gd name="T10" fmla="*/ 6667 w 20000"/>
                  <a:gd name="T11" fmla="*/ 2308 h 20000"/>
                  <a:gd name="T12" fmla="*/ 12051 w 20000"/>
                  <a:gd name="T13" fmla="*/ 0 h 20000"/>
                  <a:gd name="T14" fmla="*/ 13077 w 20000"/>
                  <a:gd name="T15" fmla="*/ 5769 h 20000"/>
                  <a:gd name="T16" fmla="*/ 17179 w 20000"/>
                  <a:gd name="T17" fmla="*/ 5769 h 20000"/>
                  <a:gd name="T18" fmla="*/ 19744 w 20000"/>
                  <a:gd name="T19" fmla="*/ 11923 h 20000"/>
                  <a:gd name="T20" fmla="*/ 17179 w 20000"/>
                  <a:gd name="T21" fmla="*/ 15769 h 20000"/>
                  <a:gd name="T22" fmla="*/ 15897 w 20000"/>
                  <a:gd name="T23" fmla="*/ 19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5897" y="19615"/>
                    </a:moveTo>
                    <a:lnTo>
                      <a:pt x="12051" y="11923"/>
                    </a:lnTo>
                    <a:lnTo>
                      <a:pt x="5128" y="5769"/>
                    </a:lnTo>
                    <a:lnTo>
                      <a:pt x="0" y="5769"/>
                    </a:lnTo>
                    <a:lnTo>
                      <a:pt x="0" y="2308"/>
                    </a:lnTo>
                    <a:lnTo>
                      <a:pt x="6667" y="2308"/>
                    </a:lnTo>
                    <a:lnTo>
                      <a:pt x="12051" y="0"/>
                    </a:lnTo>
                    <a:lnTo>
                      <a:pt x="13077" y="5769"/>
                    </a:lnTo>
                    <a:lnTo>
                      <a:pt x="17179" y="5769"/>
                    </a:lnTo>
                    <a:lnTo>
                      <a:pt x="19744" y="11923"/>
                    </a:lnTo>
                    <a:lnTo>
                      <a:pt x="17179" y="15769"/>
                    </a:lnTo>
                    <a:lnTo>
                      <a:pt x="15897"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6" name="Freeform 200"/>
              <p:cNvSpPr>
                <a:spLocks/>
              </p:cNvSpPr>
              <p:nvPr/>
            </p:nvSpPr>
            <p:spPr bwMode="auto">
              <a:xfrm>
                <a:off x="8556625" y="4559300"/>
                <a:ext cx="34925" cy="20638"/>
              </a:xfrm>
              <a:custGeom>
                <a:avLst/>
                <a:gdLst>
                  <a:gd name="T0" fmla="*/ 10000 w 20000"/>
                  <a:gd name="T1" fmla="*/ 19375 h 20000"/>
                  <a:gd name="T2" fmla="*/ 0 w 20000"/>
                  <a:gd name="T3" fmla="*/ 2500 h 20000"/>
                  <a:gd name="T4" fmla="*/ 0 w 20000"/>
                  <a:gd name="T5" fmla="*/ 0 h 20000"/>
                  <a:gd name="T6" fmla="*/ 17407 w 20000"/>
                  <a:gd name="T7" fmla="*/ 0 h 20000"/>
                  <a:gd name="T8" fmla="*/ 19630 w 20000"/>
                  <a:gd name="T9" fmla="*/ 15625 h 20000"/>
                  <a:gd name="T10" fmla="*/ 10000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10000" y="19375"/>
                    </a:moveTo>
                    <a:lnTo>
                      <a:pt x="0" y="2500"/>
                    </a:lnTo>
                    <a:lnTo>
                      <a:pt x="0" y="0"/>
                    </a:lnTo>
                    <a:lnTo>
                      <a:pt x="17407" y="0"/>
                    </a:lnTo>
                    <a:lnTo>
                      <a:pt x="19630" y="15625"/>
                    </a:lnTo>
                    <a:lnTo>
                      <a:pt x="10000"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7" name="Freeform 199"/>
              <p:cNvSpPr>
                <a:spLocks/>
              </p:cNvSpPr>
              <p:nvPr/>
            </p:nvSpPr>
            <p:spPr bwMode="auto">
              <a:xfrm>
                <a:off x="8224838" y="4703763"/>
                <a:ext cx="36512" cy="14287"/>
              </a:xfrm>
              <a:custGeom>
                <a:avLst/>
                <a:gdLst>
                  <a:gd name="T0" fmla="*/ 10690 w 20000"/>
                  <a:gd name="T1" fmla="*/ 19091 h 20000"/>
                  <a:gd name="T2" fmla="*/ 5517 w 20000"/>
                  <a:gd name="T3" fmla="*/ 13636 h 20000"/>
                  <a:gd name="T4" fmla="*/ 0 w 20000"/>
                  <a:gd name="T5" fmla="*/ 13636 h 20000"/>
                  <a:gd name="T6" fmla="*/ 0 w 20000"/>
                  <a:gd name="T7" fmla="*/ 0 h 20000"/>
                  <a:gd name="T8" fmla="*/ 5517 w 20000"/>
                  <a:gd name="T9" fmla="*/ 5455 h 20000"/>
                  <a:gd name="T10" fmla="*/ 10690 w 20000"/>
                  <a:gd name="T11" fmla="*/ 0 h 20000"/>
                  <a:gd name="T12" fmla="*/ 19655 w 20000"/>
                  <a:gd name="T13" fmla="*/ 13636 h 20000"/>
                  <a:gd name="T14" fmla="*/ 10690 w 20000"/>
                  <a:gd name="T15" fmla="*/ 13636 h 20000"/>
                  <a:gd name="T16" fmla="*/ 10690 w 20000"/>
                  <a:gd name="T17" fmla="*/ 1909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0690" y="19091"/>
                    </a:moveTo>
                    <a:lnTo>
                      <a:pt x="5517" y="13636"/>
                    </a:lnTo>
                    <a:lnTo>
                      <a:pt x="0" y="13636"/>
                    </a:lnTo>
                    <a:lnTo>
                      <a:pt x="0" y="0"/>
                    </a:lnTo>
                    <a:lnTo>
                      <a:pt x="5517" y="5455"/>
                    </a:lnTo>
                    <a:lnTo>
                      <a:pt x="10690" y="0"/>
                    </a:lnTo>
                    <a:lnTo>
                      <a:pt x="19655" y="13636"/>
                    </a:lnTo>
                    <a:lnTo>
                      <a:pt x="10690" y="13636"/>
                    </a:lnTo>
                    <a:lnTo>
                      <a:pt x="10690" y="1909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8" name="Freeform 198"/>
              <p:cNvSpPr>
                <a:spLocks/>
              </p:cNvSpPr>
              <p:nvPr/>
            </p:nvSpPr>
            <p:spPr bwMode="auto">
              <a:xfrm>
                <a:off x="8181975" y="4664075"/>
                <a:ext cx="30163" cy="11113"/>
              </a:xfrm>
              <a:custGeom>
                <a:avLst/>
                <a:gdLst>
                  <a:gd name="T0" fmla="*/ 10833 w 20000"/>
                  <a:gd name="T1" fmla="*/ 18824 h 20000"/>
                  <a:gd name="T2" fmla="*/ 0 w 20000"/>
                  <a:gd name="T3" fmla="*/ 12941 h 20000"/>
                  <a:gd name="T4" fmla="*/ 0 w 20000"/>
                  <a:gd name="T5" fmla="*/ 0 h 20000"/>
                  <a:gd name="T6" fmla="*/ 19583 w 20000"/>
                  <a:gd name="T7" fmla="*/ 0 h 20000"/>
                  <a:gd name="T8" fmla="*/ 17083 w 20000"/>
                  <a:gd name="T9" fmla="*/ 12941 h 20000"/>
                  <a:gd name="T10" fmla="*/ 12917 w 20000"/>
                  <a:gd name="T11" fmla="*/ 12941 h 20000"/>
                  <a:gd name="T12" fmla="*/ 10833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0833" y="18824"/>
                    </a:moveTo>
                    <a:lnTo>
                      <a:pt x="0" y="12941"/>
                    </a:lnTo>
                    <a:lnTo>
                      <a:pt x="0" y="0"/>
                    </a:lnTo>
                    <a:lnTo>
                      <a:pt x="19583" y="0"/>
                    </a:lnTo>
                    <a:lnTo>
                      <a:pt x="17083" y="12941"/>
                    </a:lnTo>
                    <a:lnTo>
                      <a:pt x="12917" y="12941"/>
                    </a:lnTo>
                    <a:lnTo>
                      <a:pt x="1083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39" name="Freeform 197"/>
              <p:cNvSpPr>
                <a:spLocks/>
              </p:cNvSpPr>
              <p:nvPr/>
            </p:nvSpPr>
            <p:spPr bwMode="auto">
              <a:xfrm>
                <a:off x="8261350" y="4706938"/>
                <a:ext cx="20638" cy="23812"/>
              </a:xfrm>
              <a:custGeom>
                <a:avLst/>
                <a:gdLst>
                  <a:gd name="T0" fmla="*/ 16250 w 20000"/>
                  <a:gd name="T1" fmla="*/ 19459 h 20000"/>
                  <a:gd name="T2" fmla="*/ 0 w 20000"/>
                  <a:gd name="T3" fmla="*/ 14054 h 20000"/>
                  <a:gd name="T4" fmla="*/ 0 w 20000"/>
                  <a:gd name="T5" fmla="*/ 8649 h 20000"/>
                  <a:gd name="T6" fmla="*/ 9375 w 20000"/>
                  <a:gd name="T7" fmla="*/ 14054 h 20000"/>
                  <a:gd name="T8" fmla="*/ 6875 w 20000"/>
                  <a:gd name="T9" fmla="*/ 5405 h 20000"/>
                  <a:gd name="T10" fmla="*/ 9375 w 20000"/>
                  <a:gd name="T11" fmla="*/ 0 h 20000"/>
                  <a:gd name="T12" fmla="*/ 19375 w 20000"/>
                  <a:gd name="T13" fmla="*/ 0 h 20000"/>
                  <a:gd name="T14" fmla="*/ 16250 w 20000"/>
                  <a:gd name="T15" fmla="*/ 19459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6250" y="19459"/>
                    </a:moveTo>
                    <a:lnTo>
                      <a:pt x="0" y="14054"/>
                    </a:lnTo>
                    <a:lnTo>
                      <a:pt x="0" y="8649"/>
                    </a:lnTo>
                    <a:lnTo>
                      <a:pt x="9375" y="14054"/>
                    </a:lnTo>
                    <a:lnTo>
                      <a:pt x="6875" y="5405"/>
                    </a:lnTo>
                    <a:lnTo>
                      <a:pt x="9375" y="0"/>
                    </a:lnTo>
                    <a:lnTo>
                      <a:pt x="19375" y="0"/>
                    </a:lnTo>
                    <a:lnTo>
                      <a:pt x="16250" y="194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0" name="Freeform 196"/>
              <p:cNvSpPr>
                <a:spLocks/>
              </p:cNvSpPr>
              <p:nvPr/>
            </p:nvSpPr>
            <p:spPr bwMode="auto">
              <a:xfrm>
                <a:off x="8031163" y="4543425"/>
                <a:ext cx="23812" cy="17463"/>
              </a:xfrm>
              <a:custGeom>
                <a:avLst/>
                <a:gdLst>
                  <a:gd name="T0" fmla="*/ 0 w 20000"/>
                  <a:gd name="T1" fmla="*/ 19286 h 20000"/>
                  <a:gd name="T2" fmla="*/ 5263 w 20000"/>
                  <a:gd name="T3" fmla="*/ 0 h 20000"/>
                  <a:gd name="T4" fmla="*/ 19474 w 20000"/>
                  <a:gd name="T5" fmla="*/ 0 h 20000"/>
                  <a:gd name="T6" fmla="*/ 19474 w 20000"/>
                  <a:gd name="T7" fmla="*/ 19286 h 20000"/>
                  <a:gd name="T8" fmla="*/ 11053 w 20000"/>
                  <a:gd name="T9" fmla="*/ 11429 h 20000"/>
                  <a:gd name="T10" fmla="*/ 0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0" y="19286"/>
                    </a:moveTo>
                    <a:lnTo>
                      <a:pt x="5263" y="0"/>
                    </a:lnTo>
                    <a:lnTo>
                      <a:pt x="19474" y="0"/>
                    </a:lnTo>
                    <a:lnTo>
                      <a:pt x="19474" y="19286"/>
                    </a:lnTo>
                    <a:lnTo>
                      <a:pt x="11053" y="11429"/>
                    </a:lnTo>
                    <a:lnTo>
                      <a:pt x="0"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1" name="Freeform 195"/>
              <p:cNvSpPr>
                <a:spLocks/>
              </p:cNvSpPr>
              <p:nvPr/>
            </p:nvSpPr>
            <p:spPr bwMode="auto">
              <a:xfrm>
                <a:off x="7742238" y="4421188"/>
                <a:ext cx="20637" cy="33337"/>
              </a:xfrm>
              <a:custGeom>
                <a:avLst/>
                <a:gdLst>
                  <a:gd name="T0" fmla="*/ 13125 w 20000"/>
                  <a:gd name="T1" fmla="*/ 19615 h 20000"/>
                  <a:gd name="T2" fmla="*/ 0 w 20000"/>
                  <a:gd name="T3" fmla="*/ 1538 h 20000"/>
                  <a:gd name="T4" fmla="*/ 3750 w 20000"/>
                  <a:gd name="T5" fmla="*/ 0 h 20000"/>
                  <a:gd name="T6" fmla="*/ 19375 w 20000"/>
                  <a:gd name="T7" fmla="*/ 9615 h 20000"/>
                  <a:gd name="T8" fmla="*/ 13125 w 20000"/>
                  <a:gd name="T9" fmla="*/ 19615 h 20000"/>
                </a:gdLst>
                <a:ahLst/>
                <a:cxnLst>
                  <a:cxn ang="0">
                    <a:pos x="T0" y="T1"/>
                  </a:cxn>
                  <a:cxn ang="0">
                    <a:pos x="T2" y="T3"/>
                  </a:cxn>
                  <a:cxn ang="0">
                    <a:pos x="T4" y="T5"/>
                  </a:cxn>
                  <a:cxn ang="0">
                    <a:pos x="T6" y="T7"/>
                  </a:cxn>
                  <a:cxn ang="0">
                    <a:pos x="T8" y="T9"/>
                  </a:cxn>
                </a:cxnLst>
                <a:rect l="0" t="0" r="r" b="b"/>
                <a:pathLst>
                  <a:path w="20000" h="20000">
                    <a:moveTo>
                      <a:pt x="13125" y="19615"/>
                    </a:moveTo>
                    <a:lnTo>
                      <a:pt x="0" y="1538"/>
                    </a:lnTo>
                    <a:lnTo>
                      <a:pt x="3750" y="0"/>
                    </a:lnTo>
                    <a:lnTo>
                      <a:pt x="19375" y="9615"/>
                    </a:lnTo>
                    <a:lnTo>
                      <a:pt x="13125"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2" name="Freeform 194"/>
              <p:cNvSpPr>
                <a:spLocks/>
              </p:cNvSpPr>
              <p:nvPr/>
            </p:nvSpPr>
            <p:spPr bwMode="auto">
              <a:xfrm>
                <a:off x="7785100" y="4494213"/>
                <a:ext cx="12700" cy="23812"/>
              </a:xfrm>
              <a:custGeom>
                <a:avLst/>
                <a:gdLst>
                  <a:gd name="T0" fmla="*/ 14286 w 20000"/>
                  <a:gd name="T1" fmla="*/ 19459 h 20000"/>
                  <a:gd name="T2" fmla="*/ 0 w 20000"/>
                  <a:gd name="T3" fmla="*/ 5405 h 20000"/>
                  <a:gd name="T4" fmla="*/ 0 w 20000"/>
                  <a:gd name="T5" fmla="*/ 0 h 20000"/>
                  <a:gd name="T6" fmla="*/ 3810 w 20000"/>
                  <a:gd name="T7" fmla="*/ 0 h 20000"/>
                  <a:gd name="T8" fmla="*/ 19048 w 20000"/>
                  <a:gd name="T9" fmla="*/ 14054 h 20000"/>
                  <a:gd name="T10" fmla="*/ 14286 w 20000"/>
                  <a:gd name="T11" fmla="*/ 19459 h 20000"/>
                </a:gdLst>
                <a:ahLst/>
                <a:cxnLst>
                  <a:cxn ang="0">
                    <a:pos x="T0" y="T1"/>
                  </a:cxn>
                  <a:cxn ang="0">
                    <a:pos x="T2" y="T3"/>
                  </a:cxn>
                  <a:cxn ang="0">
                    <a:pos x="T4" y="T5"/>
                  </a:cxn>
                  <a:cxn ang="0">
                    <a:pos x="T6" y="T7"/>
                  </a:cxn>
                  <a:cxn ang="0">
                    <a:pos x="T8" y="T9"/>
                  </a:cxn>
                  <a:cxn ang="0">
                    <a:pos x="T10" y="T11"/>
                  </a:cxn>
                </a:cxnLst>
                <a:rect l="0" t="0" r="r" b="b"/>
                <a:pathLst>
                  <a:path w="20000" h="20000">
                    <a:moveTo>
                      <a:pt x="14286" y="19459"/>
                    </a:moveTo>
                    <a:lnTo>
                      <a:pt x="0" y="5405"/>
                    </a:lnTo>
                    <a:lnTo>
                      <a:pt x="0" y="0"/>
                    </a:lnTo>
                    <a:lnTo>
                      <a:pt x="3810" y="0"/>
                    </a:lnTo>
                    <a:lnTo>
                      <a:pt x="19048" y="14054"/>
                    </a:lnTo>
                    <a:lnTo>
                      <a:pt x="14286" y="194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3" name="Freeform 193"/>
              <p:cNvSpPr>
                <a:spLocks/>
              </p:cNvSpPr>
              <p:nvPr/>
            </p:nvSpPr>
            <p:spPr bwMode="auto">
              <a:xfrm>
                <a:off x="8693150" y="4673600"/>
                <a:ext cx="20638" cy="30163"/>
              </a:xfrm>
              <a:custGeom>
                <a:avLst/>
                <a:gdLst>
                  <a:gd name="T0" fmla="*/ 6250 w 20000"/>
                  <a:gd name="T1" fmla="*/ 19583 h 20000"/>
                  <a:gd name="T2" fmla="*/ 0 w 20000"/>
                  <a:gd name="T3" fmla="*/ 15417 h 20000"/>
                  <a:gd name="T4" fmla="*/ 15625 w 20000"/>
                  <a:gd name="T5" fmla="*/ 0 h 20000"/>
                  <a:gd name="T6" fmla="*/ 19375 w 20000"/>
                  <a:gd name="T7" fmla="*/ 8750 h 20000"/>
                  <a:gd name="T8" fmla="*/ 6250 w 20000"/>
                  <a:gd name="T9" fmla="*/ 19583 h 20000"/>
                </a:gdLst>
                <a:ahLst/>
                <a:cxnLst>
                  <a:cxn ang="0">
                    <a:pos x="T0" y="T1"/>
                  </a:cxn>
                  <a:cxn ang="0">
                    <a:pos x="T2" y="T3"/>
                  </a:cxn>
                  <a:cxn ang="0">
                    <a:pos x="T4" y="T5"/>
                  </a:cxn>
                  <a:cxn ang="0">
                    <a:pos x="T6" y="T7"/>
                  </a:cxn>
                  <a:cxn ang="0">
                    <a:pos x="T8" y="T9"/>
                  </a:cxn>
                </a:cxnLst>
                <a:rect l="0" t="0" r="r" b="b"/>
                <a:pathLst>
                  <a:path w="20000" h="20000">
                    <a:moveTo>
                      <a:pt x="6250" y="19583"/>
                    </a:moveTo>
                    <a:lnTo>
                      <a:pt x="0" y="15417"/>
                    </a:lnTo>
                    <a:lnTo>
                      <a:pt x="15625" y="0"/>
                    </a:lnTo>
                    <a:lnTo>
                      <a:pt x="19375" y="8750"/>
                    </a:lnTo>
                    <a:lnTo>
                      <a:pt x="6250" y="1958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4" name="Freeform 192"/>
              <p:cNvSpPr>
                <a:spLocks/>
              </p:cNvSpPr>
              <p:nvPr/>
            </p:nvSpPr>
            <p:spPr bwMode="auto">
              <a:xfrm>
                <a:off x="7699375" y="4378325"/>
                <a:ext cx="20638" cy="20638"/>
              </a:xfrm>
              <a:custGeom>
                <a:avLst/>
                <a:gdLst>
                  <a:gd name="T0" fmla="*/ 19375 w 20000"/>
                  <a:gd name="T1" fmla="*/ 19375 h 20000"/>
                  <a:gd name="T2" fmla="*/ 0 w 20000"/>
                  <a:gd name="T3" fmla="*/ 6875 h 20000"/>
                  <a:gd name="T4" fmla="*/ 0 w 20000"/>
                  <a:gd name="T5" fmla="*/ 0 h 20000"/>
                  <a:gd name="T6" fmla="*/ 19375 w 20000"/>
                  <a:gd name="T7" fmla="*/ 16250 h 20000"/>
                  <a:gd name="T8" fmla="*/ 19375 w 20000"/>
                  <a:gd name="T9" fmla="*/ 19375 h 20000"/>
                </a:gdLst>
                <a:ahLst/>
                <a:cxnLst>
                  <a:cxn ang="0">
                    <a:pos x="T0" y="T1"/>
                  </a:cxn>
                  <a:cxn ang="0">
                    <a:pos x="T2" y="T3"/>
                  </a:cxn>
                  <a:cxn ang="0">
                    <a:pos x="T4" y="T5"/>
                  </a:cxn>
                  <a:cxn ang="0">
                    <a:pos x="T6" y="T7"/>
                  </a:cxn>
                  <a:cxn ang="0">
                    <a:pos x="T8" y="T9"/>
                  </a:cxn>
                </a:cxnLst>
                <a:rect l="0" t="0" r="r" b="b"/>
                <a:pathLst>
                  <a:path w="20000" h="20000">
                    <a:moveTo>
                      <a:pt x="19375" y="19375"/>
                    </a:moveTo>
                    <a:lnTo>
                      <a:pt x="0" y="6875"/>
                    </a:lnTo>
                    <a:lnTo>
                      <a:pt x="0" y="0"/>
                    </a:lnTo>
                    <a:lnTo>
                      <a:pt x="19375" y="16250"/>
                    </a:lnTo>
                    <a:lnTo>
                      <a:pt x="19375"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5" name="Freeform 191"/>
              <p:cNvSpPr>
                <a:spLocks/>
              </p:cNvSpPr>
              <p:nvPr/>
            </p:nvSpPr>
            <p:spPr bwMode="auto">
              <a:xfrm>
                <a:off x="8045450" y="4346575"/>
                <a:ext cx="17463" cy="17463"/>
              </a:xfrm>
              <a:custGeom>
                <a:avLst/>
                <a:gdLst>
                  <a:gd name="T0" fmla="*/ 3704 w 20000"/>
                  <a:gd name="T1" fmla="*/ 19259 h 20000"/>
                  <a:gd name="T2" fmla="*/ 0 w 20000"/>
                  <a:gd name="T3" fmla="*/ 7407 h 20000"/>
                  <a:gd name="T4" fmla="*/ 3704 w 20000"/>
                  <a:gd name="T5" fmla="*/ 0 h 20000"/>
                  <a:gd name="T6" fmla="*/ 11852 w 20000"/>
                  <a:gd name="T7" fmla="*/ 7407 h 20000"/>
                  <a:gd name="T8" fmla="*/ 19259 w 20000"/>
                  <a:gd name="T9" fmla="*/ 19259 h 20000"/>
                  <a:gd name="T10" fmla="*/ 3704 w 20000"/>
                  <a:gd name="T11" fmla="*/ 19259 h 20000"/>
                </a:gdLst>
                <a:ahLst/>
                <a:cxnLst>
                  <a:cxn ang="0">
                    <a:pos x="T0" y="T1"/>
                  </a:cxn>
                  <a:cxn ang="0">
                    <a:pos x="T2" y="T3"/>
                  </a:cxn>
                  <a:cxn ang="0">
                    <a:pos x="T4" y="T5"/>
                  </a:cxn>
                  <a:cxn ang="0">
                    <a:pos x="T6" y="T7"/>
                  </a:cxn>
                  <a:cxn ang="0">
                    <a:pos x="T8" y="T9"/>
                  </a:cxn>
                  <a:cxn ang="0">
                    <a:pos x="T10" y="T11"/>
                  </a:cxn>
                </a:cxnLst>
                <a:rect l="0" t="0" r="r" b="b"/>
                <a:pathLst>
                  <a:path w="20000" h="20000">
                    <a:moveTo>
                      <a:pt x="3704" y="19259"/>
                    </a:moveTo>
                    <a:lnTo>
                      <a:pt x="0" y="7407"/>
                    </a:lnTo>
                    <a:lnTo>
                      <a:pt x="3704" y="0"/>
                    </a:lnTo>
                    <a:lnTo>
                      <a:pt x="11852" y="7407"/>
                    </a:lnTo>
                    <a:lnTo>
                      <a:pt x="19259" y="19259"/>
                    </a:lnTo>
                    <a:lnTo>
                      <a:pt x="3704"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6" name="Freeform 190"/>
              <p:cNvSpPr>
                <a:spLocks/>
              </p:cNvSpPr>
              <p:nvPr/>
            </p:nvSpPr>
            <p:spPr bwMode="auto">
              <a:xfrm>
                <a:off x="7916863" y="4424363"/>
                <a:ext cx="9525" cy="7937"/>
              </a:xfrm>
              <a:custGeom>
                <a:avLst/>
                <a:gdLst>
                  <a:gd name="T0" fmla="*/ 0 w 20000"/>
                  <a:gd name="T1" fmla="*/ 0 h 20000"/>
                  <a:gd name="T2" fmla="*/ 12500 w 20000"/>
                  <a:gd name="T3" fmla="*/ 18333 h 20000"/>
                  <a:gd name="T4" fmla="*/ 18750 w 20000"/>
                  <a:gd name="T5" fmla="*/ 0 h 20000"/>
                  <a:gd name="T6" fmla="*/ 12500 w 20000"/>
                  <a:gd name="T7" fmla="*/ 18333 h 20000"/>
                  <a:gd name="T8" fmla="*/ 0 w 20000"/>
                  <a:gd name="T9" fmla="*/ 0 h 20000"/>
                </a:gdLst>
                <a:ahLst/>
                <a:cxnLst>
                  <a:cxn ang="0">
                    <a:pos x="T0" y="T1"/>
                  </a:cxn>
                  <a:cxn ang="0">
                    <a:pos x="T2" y="T3"/>
                  </a:cxn>
                  <a:cxn ang="0">
                    <a:pos x="T4" y="T5"/>
                  </a:cxn>
                  <a:cxn ang="0">
                    <a:pos x="T6" y="T7"/>
                  </a:cxn>
                  <a:cxn ang="0">
                    <a:pos x="T8" y="T9"/>
                  </a:cxn>
                </a:cxnLst>
                <a:rect l="0" t="0" r="r" b="b"/>
                <a:pathLst>
                  <a:path w="20000" h="20000">
                    <a:moveTo>
                      <a:pt x="0" y="0"/>
                    </a:moveTo>
                    <a:lnTo>
                      <a:pt x="12500" y="18333"/>
                    </a:lnTo>
                    <a:lnTo>
                      <a:pt x="18750" y="0"/>
                    </a:lnTo>
                    <a:lnTo>
                      <a:pt x="12500" y="18333"/>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7" name="Freeform 189"/>
              <p:cNvSpPr>
                <a:spLocks/>
              </p:cNvSpPr>
              <p:nvPr/>
            </p:nvSpPr>
            <p:spPr bwMode="auto">
              <a:xfrm>
                <a:off x="6051550" y="3333750"/>
                <a:ext cx="269875" cy="263525"/>
              </a:xfrm>
              <a:custGeom>
                <a:avLst/>
                <a:gdLst>
                  <a:gd name="T0" fmla="*/ 6338 w 20000"/>
                  <a:gd name="T1" fmla="*/ 769 h 20000"/>
                  <a:gd name="T2" fmla="*/ 7324 w 20000"/>
                  <a:gd name="T3" fmla="*/ 0 h 20000"/>
                  <a:gd name="T4" fmla="*/ 8545 w 20000"/>
                  <a:gd name="T5" fmla="*/ 288 h 20000"/>
                  <a:gd name="T6" fmla="*/ 10469 w 20000"/>
                  <a:gd name="T7" fmla="*/ 769 h 20000"/>
                  <a:gd name="T8" fmla="*/ 11455 w 20000"/>
                  <a:gd name="T9" fmla="*/ 769 h 20000"/>
                  <a:gd name="T10" fmla="*/ 11690 w 20000"/>
                  <a:gd name="T11" fmla="*/ 1490 h 20000"/>
                  <a:gd name="T12" fmla="*/ 12207 w 20000"/>
                  <a:gd name="T13" fmla="*/ 2260 h 20000"/>
                  <a:gd name="T14" fmla="*/ 12911 w 20000"/>
                  <a:gd name="T15" fmla="*/ 3462 h 20000"/>
                  <a:gd name="T16" fmla="*/ 13662 w 20000"/>
                  <a:gd name="T17" fmla="*/ 3462 h 20000"/>
                  <a:gd name="T18" fmla="*/ 14601 w 20000"/>
                  <a:gd name="T19" fmla="*/ 3462 h 20000"/>
                  <a:gd name="T20" fmla="*/ 14883 w 20000"/>
                  <a:gd name="T21" fmla="*/ 3990 h 20000"/>
                  <a:gd name="T22" fmla="*/ 14131 w 20000"/>
                  <a:gd name="T23" fmla="*/ 4231 h 20000"/>
                  <a:gd name="T24" fmla="*/ 14601 w 20000"/>
                  <a:gd name="T25" fmla="*/ 5481 h 20000"/>
                  <a:gd name="T26" fmla="*/ 13662 w 20000"/>
                  <a:gd name="T27" fmla="*/ 6010 h 20000"/>
                  <a:gd name="T28" fmla="*/ 13662 w 20000"/>
                  <a:gd name="T29" fmla="*/ 6779 h 20000"/>
                  <a:gd name="T30" fmla="*/ 13380 w 20000"/>
                  <a:gd name="T31" fmla="*/ 7260 h 20000"/>
                  <a:gd name="T32" fmla="*/ 13380 w 20000"/>
                  <a:gd name="T33" fmla="*/ 8462 h 20000"/>
                  <a:gd name="T34" fmla="*/ 14601 w 20000"/>
                  <a:gd name="T35" fmla="*/ 9471 h 20000"/>
                  <a:gd name="T36" fmla="*/ 14883 w 20000"/>
                  <a:gd name="T37" fmla="*/ 10433 h 20000"/>
                  <a:gd name="T38" fmla="*/ 16526 w 20000"/>
                  <a:gd name="T39" fmla="*/ 11490 h 20000"/>
                  <a:gd name="T40" fmla="*/ 17559 w 20000"/>
                  <a:gd name="T41" fmla="*/ 11971 h 20000"/>
                  <a:gd name="T42" fmla="*/ 18498 w 20000"/>
                  <a:gd name="T43" fmla="*/ 13750 h 20000"/>
                  <a:gd name="T44" fmla="*/ 18498 w 20000"/>
                  <a:gd name="T45" fmla="*/ 13942 h 20000"/>
                  <a:gd name="T46" fmla="*/ 18498 w 20000"/>
                  <a:gd name="T47" fmla="*/ 15192 h 20000"/>
                  <a:gd name="T48" fmla="*/ 19202 w 20000"/>
                  <a:gd name="T49" fmla="*/ 15721 h 20000"/>
                  <a:gd name="T50" fmla="*/ 19202 w 20000"/>
                  <a:gd name="T51" fmla="*/ 16683 h 20000"/>
                  <a:gd name="T52" fmla="*/ 19953 w 20000"/>
                  <a:gd name="T53" fmla="*/ 17933 h 20000"/>
                  <a:gd name="T54" fmla="*/ 19718 w 20000"/>
                  <a:gd name="T55" fmla="*/ 17933 h 20000"/>
                  <a:gd name="T56" fmla="*/ 18732 w 20000"/>
                  <a:gd name="T57" fmla="*/ 17933 h 20000"/>
                  <a:gd name="T58" fmla="*/ 17559 w 20000"/>
                  <a:gd name="T59" fmla="*/ 17933 h 20000"/>
                  <a:gd name="T60" fmla="*/ 17277 w 20000"/>
                  <a:gd name="T61" fmla="*/ 19183 h 20000"/>
                  <a:gd name="T62" fmla="*/ 16808 w 20000"/>
                  <a:gd name="T63" fmla="*/ 19952 h 20000"/>
                  <a:gd name="T64" fmla="*/ 12911 w 20000"/>
                  <a:gd name="T65" fmla="*/ 19952 h 20000"/>
                  <a:gd name="T66" fmla="*/ 10469 w 20000"/>
                  <a:gd name="T67" fmla="*/ 18942 h 20000"/>
                  <a:gd name="T68" fmla="*/ 10469 w 20000"/>
                  <a:gd name="T69" fmla="*/ 17163 h 20000"/>
                  <a:gd name="T70" fmla="*/ 9249 w 20000"/>
                  <a:gd name="T71" fmla="*/ 16683 h 20000"/>
                  <a:gd name="T72" fmla="*/ 9014 w 20000"/>
                  <a:gd name="T73" fmla="*/ 16442 h 20000"/>
                  <a:gd name="T74" fmla="*/ 7324 w 20000"/>
                  <a:gd name="T75" fmla="*/ 15721 h 20000"/>
                  <a:gd name="T76" fmla="*/ 3192 w 20000"/>
                  <a:gd name="T77" fmla="*/ 13173 h 20000"/>
                  <a:gd name="T78" fmla="*/ 1268 w 20000"/>
                  <a:gd name="T79" fmla="*/ 12692 h 20000"/>
                  <a:gd name="T80" fmla="*/ 0 w 20000"/>
                  <a:gd name="T81" fmla="*/ 9952 h 20000"/>
                  <a:gd name="T82" fmla="*/ 2723 w 20000"/>
                  <a:gd name="T83" fmla="*/ 8462 h 20000"/>
                  <a:gd name="T84" fmla="*/ 4131 w 20000"/>
                  <a:gd name="T85" fmla="*/ 7260 h 20000"/>
                  <a:gd name="T86" fmla="*/ 4648 w 20000"/>
                  <a:gd name="T87" fmla="*/ 6010 h 20000"/>
                  <a:gd name="T88" fmla="*/ 4648 w 20000"/>
                  <a:gd name="T89" fmla="*/ 4231 h 20000"/>
                  <a:gd name="T90" fmla="*/ 4648 w 20000"/>
                  <a:gd name="T91" fmla="*/ 3269 h 20000"/>
                  <a:gd name="T92" fmla="*/ 4648 w 20000"/>
                  <a:gd name="T93" fmla="*/ 2260 h 20000"/>
                  <a:gd name="T94" fmla="*/ 5869 w 20000"/>
                  <a:gd name="T95" fmla="*/ 1490 h 20000"/>
                  <a:gd name="T96" fmla="*/ 6338 w 20000"/>
                  <a:gd name="T97" fmla="*/ 7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6338" y="769"/>
                    </a:moveTo>
                    <a:lnTo>
                      <a:pt x="7324" y="0"/>
                    </a:lnTo>
                    <a:lnTo>
                      <a:pt x="8545" y="288"/>
                    </a:lnTo>
                    <a:lnTo>
                      <a:pt x="10469" y="769"/>
                    </a:lnTo>
                    <a:lnTo>
                      <a:pt x="11455" y="769"/>
                    </a:lnTo>
                    <a:lnTo>
                      <a:pt x="11690" y="1490"/>
                    </a:lnTo>
                    <a:lnTo>
                      <a:pt x="12207" y="2260"/>
                    </a:lnTo>
                    <a:lnTo>
                      <a:pt x="12911" y="3462"/>
                    </a:lnTo>
                    <a:lnTo>
                      <a:pt x="13662" y="3462"/>
                    </a:lnTo>
                    <a:lnTo>
                      <a:pt x="14601" y="3462"/>
                    </a:lnTo>
                    <a:lnTo>
                      <a:pt x="14883" y="3990"/>
                    </a:lnTo>
                    <a:lnTo>
                      <a:pt x="14131" y="4231"/>
                    </a:lnTo>
                    <a:lnTo>
                      <a:pt x="14601" y="5481"/>
                    </a:lnTo>
                    <a:lnTo>
                      <a:pt x="13662" y="6010"/>
                    </a:lnTo>
                    <a:lnTo>
                      <a:pt x="13662" y="6779"/>
                    </a:lnTo>
                    <a:lnTo>
                      <a:pt x="13380" y="7260"/>
                    </a:lnTo>
                    <a:lnTo>
                      <a:pt x="13380" y="8462"/>
                    </a:lnTo>
                    <a:lnTo>
                      <a:pt x="14601" y="9471"/>
                    </a:lnTo>
                    <a:lnTo>
                      <a:pt x="14883" y="10433"/>
                    </a:lnTo>
                    <a:lnTo>
                      <a:pt x="16526" y="11490"/>
                    </a:lnTo>
                    <a:lnTo>
                      <a:pt x="17559" y="11971"/>
                    </a:lnTo>
                    <a:lnTo>
                      <a:pt x="18498" y="13750"/>
                    </a:lnTo>
                    <a:lnTo>
                      <a:pt x="18498" y="13942"/>
                    </a:lnTo>
                    <a:lnTo>
                      <a:pt x="18498" y="15192"/>
                    </a:lnTo>
                    <a:lnTo>
                      <a:pt x="19202" y="15721"/>
                    </a:lnTo>
                    <a:lnTo>
                      <a:pt x="19202" y="16683"/>
                    </a:lnTo>
                    <a:lnTo>
                      <a:pt x="19953" y="17933"/>
                    </a:lnTo>
                    <a:lnTo>
                      <a:pt x="19718" y="17933"/>
                    </a:lnTo>
                    <a:lnTo>
                      <a:pt x="18732" y="17933"/>
                    </a:lnTo>
                    <a:lnTo>
                      <a:pt x="17559" y="17933"/>
                    </a:lnTo>
                    <a:lnTo>
                      <a:pt x="17277" y="19183"/>
                    </a:lnTo>
                    <a:lnTo>
                      <a:pt x="16808" y="19952"/>
                    </a:lnTo>
                    <a:lnTo>
                      <a:pt x="12911" y="19952"/>
                    </a:lnTo>
                    <a:lnTo>
                      <a:pt x="10469" y="18942"/>
                    </a:lnTo>
                    <a:lnTo>
                      <a:pt x="10469" y="17163"/>
                    </a:lnTo>
                    <a:lnTo>
                      <a:pt x="9249" y="16683"/>
                    </a:lnTo>
                    <a:lnTo>
                      <a:pt x="9014" y="16442"/>
                    </a:lnTo>
                    <a:lnTo>
                      <a:pt x="7324" y="15721"/>
                    </a:lnTo>
                    <a:lnTo>
                      <a:pt x="3192" y="13173"/>
                    </a:lnTo>
                    <a:lnTo>
                      <a:pt x="1268" y="12692"/>
                    </a:lnTo>
                    <a:lnTo>
                      <a:pt x="0" y="9952"/>
                    </a:lnTo>
                    <a:lnTo>
                      <a:pt x="2723" y="8462"/>
                    </a:lnTo>
                    <a:lnTo>
                      <a:pt x="4131" y="7260"/>
                    </a:lnTo>
                    <a:lnTo>
                      <a:pt x="4648" y="6010"/>
                    </a:lnTo>
                    <a:lnTo>
                      <a:pt x="4648" y="4231"/>
                    </a:lnTo>
                    <a:lnTo>
                      <a:pt x="4648" y="3269"/>
                    </a:lnTo>
                    <a:lnTo>
                      <a:pt x="4648" y="2260"/>
                    </a:lnTo>
                    <a:lnTo>
                      <a:pt x="5869" y="1490"/>
                    </a:lnTo>
                    <a:lnTo>
                      <a:pt x="6338" y="7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8" name="Freeform 188"/>
              <p:cNvSpPr>
                <a:spLocks/>
              </p:cNvSpPr>
              <p:nvPr/>
            </p:nvSpPr>
            <p:spPr bwMode="auto">
              <a:xfrm>
                <a:off x="6176963" y="3251200"/>
                <a:ext cx="569912" cy="469900"/>
              </a:xfrm>
              <a:custGeom>
                <a:avLst/>
                <a:gdLst>
                  <a:gd name="T0" fmla="*/ 4504 w 20000"/>
                  <a:gd name="T1" fmla="*/ 1808 h 20000"/>
                  <a:gd name="T2" fmla="*/ 5061 w 20000"/>
                  <a:gd name="T3" fmla="*/ 3212 h 20000"/>
                  <a:gd name="T4" fmla="*/ 6800 w 20000"/>
                  <a:gd name="T5" fmla="*/ 4049 h 20000"/>
                  <a:gd name="T6" fmla="*/ 9342 w 20000"/>
                  <a:gd name="T7" fmla="*/ 3914 h 20000"/>
                  <a:gd name="T8" fmla="*/ 9253 w 20000"/>
                  <a:gd name="T9" fmla="*/ 4049 h 20000"/>
                  <a:gd name="T10" fmla="*/ 9810 w 20000"/>
                  <a:gd name="T11" fmla="*/ 4049 h 20000"/>
                  <a:gd name="T12" fmla="*/ 10502 w 20000"/>
                  <a:gd name="T13" fmla="*/ 3212 h 20000"/>
                  <a:gd name="T14" fmla="*/ 11773 w 20000"/>
                  <a:gd name="T15" fmla="*/ 2105 h 20000"/>
                  <a:gd name="T16" fmla="*/ 12910 w 20000"/>
                  <a:gd name="T17" fmla="*/ 2375 h 20000"/>
                  <a:gd name="T18" fmla="*/ 16611 w 20000"/>
                  <a:gd name="T19" fmla="*/ 4049 h 20000"/>
                  <a:gd name="T20" fmla="*/ 16834 w 20000"/>
                  <a:gd name="T21" fmla="*/ 6424 h 20000"/>
                  <a:gd name="T22" fmla="*/ 16834 w 20000"/>
                  <a:gd name="T23" fmla="*/ 7557 h 20000"/>
                  <a:gd name="T24" fmla="*/ 16611 w 20000"/>
                  <a:gd name="T25" fmla="*/ 8394 h 20000"/>
                  <a:gd name="T26" fmla="*/ 16611 w 20000"/>
                  <a:gd name="T27" fmla="*/ 9096 h 20000"/>
                  <a:gd name="T28" fmla="*/ 17101 w 20000"/>
                  <a:gd name="T29" fmla="*/ 11309 h 20000"/>
                  <a:gd name="T30" fmla="*/ 18105 w 20000"/>
                  <a:gd name="T31" fmla="*/ 12308 h 20000"/>
                  <a:gd name="T32" fmla="*/ 17547 w 20000"/>
                  <a:gd name="T33" fmla="*/ 13846 h 20000"/>
                  <a:gd name="T34" fmla="*/ 18930 w 20000"/>
                  <a:gd name="T35" fmla="*/ 15358 h 20000"/>
                  <a:gd name="T36" fmla="*/ 19621 w 20000"/>
                  <a:gd name="T37" fmla="*/ 17031 h 20000"/>
                  <a:gd name="T38" fmla="*/ 19978 w 20000"/>
                  <a:gd name="T39" fmla="*/ 17598 h 20000"/>
                  <a:gd name="T40" fmla="*/ 19844 w 20000"/>
                  <a:gd name="T41" fmla="*/ 17868 h 20000"/>
                  <a:gd name="T42" fmla="*/ 19041 w 20000"/>
                  <a:gd name="T43" fmla="*/ 18273 h 20000"/>
                  <a:gd name="T44" fmla="*/ 18462 w 20000"/>
                  <a:gd name="T45" fmla="*/ 19271 h 20000"/>
                  <a:gd name="T46" fmla="*/ 18016 w 20000"/>
                  <a:gd name="T47" fmla="*/ 19703 h 20000"/>
                  <a:gd name="T48" fmla="*/ 16054 w 20000"/>
                  <a:gd name="T49" fmla="*/ 19406 h 20000"/>
                  <a:gd name="T50" fmla="*/ 14091 w 20000"/>
                  <a:gd name="T51" fmla="*/ 18974 h 20000"/>
                  <a:gd name="T52" fmla="*/ 13177 w 20000"/>
                  <a:gd name="T53" fmla="*/ 17166 h 20000"/>
                  <a:gd name="T54" fmla="*/ 12219 w 20000"/>
                  <a:gd name="T55" fmla="*/ 17598 h 20000"/>
                  <a:gd name="T56" fmla="*/ 11438 w 20000"/>
                  <a:gd name="T57" fmla="*/ 18165 h 20000"/>
                  <a:gd name="T58" fmla="*/ 9922 w 20000"/>
                  <a:gd name="T59" fmla="*/ 17436 h 20000"/>
                  <a:gd name="T60" fmla="*/ 8986 w 20000"/>
                  <a:gd name="T61" fmla="*/ 16491 h 20000"/>
                  <a:gd name="T62" fmla="*/ 7737 w 20000"/>
                  <a:gd name="T63" fmla="*/ 15223 h 20000"/>
                  <a:gd name="T64" fmla="*/ 7157 w 20000"/>
                  <a:gd name="T65" fmla="*/ 14521 h 20000"/>
                  <a:gd name="T66" fmla="*/ 6577 w 20000"/>
                  <a:gd name="T67" fmla="*/ 13117 h 20000"/>
                  <a:gd name="T68" fmla="*/ 5663 w 20000"/>
                  <a:gd name="T69" fmla="*/ 13117 h 20000"/>
                  <a:gd name="T70" fmla="*/ 5418 w 20000"/>
                  <a:gd name="T71" fmla="*/ 12848 h 20000"/>
                  <a:gd name="T72" fmla="*/ 5061 w 20000"/>
                  <a:gd name="T73" fmla="*/ 13522 h 20000"/>
                  <a:gd name="T74" fmla="*/ 4727 w 20000"/>
                  <a:gd name="T75" fmla="*/ 12308 h 20000"/>
                  <a:gd name="T76" fmla="*/ 4370 w 20000"/>
                  <a:gd name="T77" fmla="*/ 11309 h 20000"/>
                  <a:gd name="T78" fmla="*/ 3924 w 20000"/>
                  <a:gd name="T79" fmla="*/ 10202 h 20000"/>
                  <a:gd name="T80" fmla="*/ 2653 w 20000"/>
                  <a:gd name="T81" fmla="*/ 9366 h 20000"/>
                  <a:gd name="T82" fmla="*/ 1962 w 20000"/>
                  <a:gd name="T83" fmla="*/ 8232 h 20000"/>
                  <a:gd name="T84" fmla="*/ 2096 w 20000"/>
                  <a:gd name="T85" fmla="*/ 7287 h 20000"/>
                  <a:gd name="T86" fmla="*/ 2542 w 20000"/>
                  <a:gd name="T87" fmla="*/ 6559 h 20000"/>
                  <a:gd name="T88" fmla="*/ 2653 w 20000"/>
                  <a:gd name="T89" fmla="*/ 5722 h 20000"/>
                  <a:gd name="T90" fmla="*/ 2096 w 20000"/>
                  <a:gd name="T91" fmla="*/ 5452 h 20000"/>
                  <a:gd name="T92" fmla="*/ 1382 w 20000"/>
                  <a:gd name="T93" fmla="*/ 4750 h 20000"/>
                  <a:gd name="T94" fmla="*/ 1048 w 20000"/>
                  <a:gd name="T95" fmla="*/ 3914 h 20000"/>
                  <a:gd name="T96" fmla="*/ 580 w 20000"/>
                  <a:gd name="T97" fmla="*/ 2537 h 20000"/>
                  <a:gd name="T98" fmla="*/ 468 w 20000"/>
                  <a:gd name="T99" fmla="*/ 1673 h 20000"/>
                  <a:gd name="T100" fmla="*/ 468 w 20000"/>
                  <a:gd name="T101" fmla="*/ 0 h 20000"/>
                  <a:gd name="T102" fmla="*/ 2542 w 20000"/>
                  <a:gd name="T103" fmla="*/ 14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00" h="20000">
                    <a:moveTo>
                      <a:pt x="3233" y="1107"/>
                    </a:moveTo>
                    <a:lnTo>
                      <a:pt x="4504" y="1808"/>
                    </a:lnTo>
                    <a:lnTo>
                      <a:pt x="4370" y="2105"/>
                    </a:lnTo>
                    <a:lnTo>
                      <a:pt x="5061" y="3212"/>
                    </a:lnTo>
                    <a:lnTo>
                      <a:pt x="5886" y="3482"/>
                    </a:lnTo>
                    <a:lnTo>
                      <a:pt x="6800" y="4049"/>
                    </a:lnTo>
                    <a:lnTo>
                      <a:pt x="8294" y="4318"/>
                    </a:lnTo>
                    <a:lnTo>
                      <a:pt x="9342" y="3914"/>
                    </a:lnTo>
                    <a:lnTo>
                      <a:pt x="9588" y="3914"/>
                    </a:lnTo>
                    <a:lnTo>
                      <a:pt x="9253" y="4049"/>
                    </a:lnTo>
                    <a:lnTo>
                      <a:pt x="9253" y="4318"/>
                    </a:lnTo>
                    <a:lnTo>
                      <a:pt x="9810" y="4049"/>
                    </a:lnTo>
                    <a:lnTo>
                      <a:pt x="9588" y="3482"/>
                    </a:lnTo>
                    <a:lnTo>
                      <a:pt x="10502" y="3212"/>
                    </a:lnTo>
                    <a:lnTo>
                      <a:pt x="11081" y="2105"/>
                    </a:lnTo>
                    <a:lnTo>
                      <a:pt x="11773" y="2105"/>
                    </a:lnTo>
                    <a:lnTo>
                      <a:pt x="12687" y="1808"/>
                    </a:lnTo>
                    <a:lnTo>
                      <a:pt x="12910" y="2375"/>
                    </a:lnTo>
                    <a:lnTo>
                      <a:pt x="14181" y="2807"/>
                    </a:lnTo>
                    <a:lnTo>
                      <a:pt x="16611" y="4049"/>
                    </a:lnTo>
                    <a:lnTo>
                      <a:pt x="16834" y="5452"/>
                    </a:lnTo>
                    <a:lnTo>
                      <a:pt x="16834" y="6424"/>
                    </a:lnTo>
                    <a:lnTo>
                      <a:pt x="16611" y="7287"/>
                    </a:lnTo>
                    <a:lnTo>
                      <a:pt x="16834" y="7557"/>
                    </a:lnTo>
                    <a:lnTo>
                      <a:pt x="16499" y="7665"/>
                    </a:lnTo>
                    <a:lnTo>
                      <a:pt x="16611" y="8394"/>
                    </a:lnTo>
                    <a:lnTo>
                      <a:pt x="16834" y="8664"/>
                    </a:lnTo>
                    <a:lnTo>
                      <a:pt x="16611" y="9096"/>
                    </a:lnTo>
                    <a:lnTo>
                      <a:pt x="17101" y="10202"/>
                    </a:lnTo>
                    <a:lnTo>
                      <a:pt x="17101" y="11309"/>
                    </a:lnTo>
                    <a:lnTo>
                      <a:pt x="18016" y="11579"/>
                    </a:lnTo>
                    <a:lnTo>
                      <a:pt x="18105" y="12308"/>
                    </a:lnTo>
                    <a:lnTo>
                      <a:pt x="17770" y="12848"/>
                    </a:lnTo>
                    <a:lnTo>
                      <a:pt x="17547" y="13846"/>
                    </a:lnTo>
                    <a:lnTo>
                      <a:pt x="18350" y="15223"/>
                    </a:lnTo>
                    <a:lnTo>
                      <a:pt x="18930" y="15358"/>
                    </a:lnTo>
                    <a:lnTo>
                      <a:pt x="19509" y="16059"/>
                    </a:lnTo>
                    <a:lnTo>
                      <a:pt x="19621" y="17031"/>
                    </a:lnTo>
                    <a:lnTo>
                      <a:pt x="19978" y="17031"/>
                    </a:lnTo>
                    <a:lnTo>
                      <a:pt x="19978" y="17598"/>
                    </a:lnTo>
                    <a:lnTo>
                      <a:pt x="19844" y="17598"/>
                    </a:lnTo>
                    <a:lnTo>
                      <a:pt x="19844" y="17868"/>
                    </a:lnTo>
                    <a:lnTo>
                      <a:pt x="19509" y="17868"/>
                    </a:lnTo>
                    <a:lnTo>
                      <a:pt x="19041" y="18273"/>
                    </a:lnTo>
                    <a:lnTo>
                      <a:pt x="18707" y="18273"/>
                    </a:lnTo>
                    <a:lnTo>
                      <a:pt x="18462" y="19271"/>
                    </a:lnTo>
                    <a:lnTo>
                      <a:pt x="18462" y="19973"/>
                    </a:lnTo>
                    <a:lnTo>
                      <a:pt x="18016" y="19703"/>
                    </a:lnTo>
                    <a:lnTo>
                      <a:pt x="17101" y="19406"/>
                    </a:lnTo>
                    <a:lnTo>
                      <a:pt x="16054" y="19406"/>
                    </a:lnTo>
                    <a:lnTo>
                      <a:pt x="15139" y="19271"/>
                    </a:lnTo>
                    <a:lnTo>
                      <a:pt x="14091" y="18974"/>
                    </a:lnTo>
                    <a:lnTo>
                      <a:pt x="13623" y="17868"/>
                    </a:lnTo>
                    <a:lnTo>
                      <a:pt x="13177" y="17166"/>
                    </a:lnTo>
                    <a:lnTo>
                      <a:pt x="12575" y="17436"/>
                    </a:lnTo>
                    <a:lnTo>
                      <a:pt x="12219" y="17598"/>
                    </a:lnTo>
                    <a:lnTo>
                      <a:pt x="11773" y="17868"/>
                    </a:lnTo>
                    <a:lnTo>
                      <a:pt x="11438" y="18165"/>
                    </a:lnTo>
                    <a:lnTo>
                      <a:pt x="10725" y="17868"/>
                    </a:lnTo>
                    <a:lnTo>
                      <a:pt x="9922" y="17436"/>
                    </a:lnTo>
                    <a:lnTo>
                      <a:pt x="9342" y="17031"/>
                    </a:lnTo>
                    <a:lnTo>
                      <a:pt x="8986" y="16491"/>
                    </a:lnTo>
                    <a:lnTo>
                      <a:pt x="8294" y="16329"/>
                    </a:lnTo>
                    <a:lnTo>
                      <a:pt x="7737" y="15223"/>
                    </a:lnTo>
                    <a:lnTo>
                      <a:pt x="7514" y="14683"/>
                    </a:lnTo>
                    <a:lnTo>
                      <a:pt x="7157" y="14521"/>
                    </a:lnTo>
                    <a:lnTo>
                      <a:pt x="6800" y="13522"/>
                    </a:lnTo>
                    <a:lnTo>
                      <a:pt x="6577" y="13117"/>
                    </a:lnTo>
                    <a:lnTo>
                      <a:pt x="6243" y="13522"/>
                    </a:lnTo>
                    <a:lnTo>
                      <a:pt x="5663" y="13117"/>
                    </a:lnTo>
                    <a:lnTo>
                      <a:pt x="5663" y="12848"/>
                    </a:lnTo>
                    <a:lnTo>
                      <a:pt x="5418" y="12848"/>
                    </a:lnTo>
                    <a:lnTo>
                      <a:pt x="5418" y="13522"/>
                    </a:lnTo>
                    <a:lnTo>
                      <a:pt x="5061" y="13522"/>
                    </a:lnTo>
                    <a:lnTo>
                      <a:pt x="4727" y="12848"/>
                    </a:lnTo>
                    <a:lnTo>
                      <a:pt x="4727" y="12308"/>
                    </a:lnTo>
                    <a:lnTo>
                      <a:pt x="4370" y="12011"/>
                    </a:lnTo>
                    <a:lnTo>
                      <a:pt x="4370" y="11309"/>
                    </a:lnTo>
                    <a:lnTo>
                      <a:pt x="4370" y="11201"/>
                    </a:lnTo>
                    <a:lnTo>
                      <a:pt x="3924" y="10202"/>
                    </a:lnTo>
                    <a:lnTo>
                      <a:pt x="3456" y="9933"/>
                    </a:lnTo>
                    <a:lnTo>
                      <a:pt x="2653" y="9366"/>
                    </a:lnTo>
                    <a:lnTo>
                      <a:pt x="2542" y="8799"/>
                    </a:lnTo>
                    <a:lnTo>
                      <a:pt x="1962" y="8232"/>
                    </a:lnTo>
                    <a:lnTo>
                      <a:pt x="1962" y="7557"/>
                    </a:lnTo>
                    <a:lnTo>
                      <a:pt x="2096" y="7287"/>
                    </a:lnTo>
                    <a:lnTo>
                      <a:pt x="2096" y="6856"/>
                    </a:lnTo>
                    <a:lnTo>
                      <a:pt x="2542" y="6559"/>
                    </a:lnTo>
                    <a:lnTo>
                      <a:pt x="2319" y="5857"/>
                    </a:lnTo>
                    <a:lnTo>
                      <a:pt x="2653" y="5722"/>
                    </a:lnTo>
                    <a:lnTo>
                      <a:pt x="2542" y="5452"/>
                    </a:lnTo>
                    <a:lnTo>
                      <a:pt x="2096" y="5452"/>
                    </a:lnTo>
                    <a:lnTo>
                      <a:pt x="1739" y="5452"/>
                    </a:lnTo>
                    <a:lnTo>
                      <a:pt x="1382" y="4750"/>
                    </a:lnTo>
                    <a:lnTo>
                      <a:pt x="1137" y="4318"/>
                    </a:lnTo>
                    <a:lnTo>
                      <a:pt x="1048" y="3914"/>
                    </a:lnTo>
                    <a:lnTo>
                      <a:pt x="803" y="3212"/>
                    </a:lnTo>
                    <a:lnTo>
                      <a:pt x="580" y="2537"/>
                    </a:lnTo>
                    <a:lnTo>
                      <a:pt x="580" y="2375"/>
                    </a:lnTo>
                    <a:lnTo>
                      <a:pt x="468" y="1673"/>
                    </a:lnTo>
                    <a:lnTo>
                      <a:pt x="0" y="567"/>
                    </a:lnTo>
                    <a:lnTo>
                      <a:pt x="468" y="0"/>
                    </a:lnTo>
                    <a:lnTo>
                      <a:pt x="1137" y="1107"/>
                    </a:lnTo>
                    <a:lnTo>
                      <a:pt x="2542" y="1404"/>
                    </a:lnTo>
                    <a:lnTo>
                      <a:pt x="3233" y="110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49" name="Freeform 187"/>
              <p:cNvSpPr>
                <a:spLocks/>
              </p:cNvSpPr>
              <p:nvPr/>
            </p:nvSpPr>
            <p:spPr bwMode="auto">
              <a:xfrm>
                <a:off x="5934075" y="3471863"/>
                <a:ext cx="36513" cy="122237"/>
              </a:xfrm>
              <a:custGeom>
                <a:avLst/>
                <a:gdLst>
                  <a:gd name="T0" fmla="*/ 8966 w 20000"/>
                  <a:gd name="T1" fmla="*/ 622 h 20000"/>
                  <a:gd name="T2" fmla="*/ 14138 w 20000"/>
                  <a:gd name="T3" fmla="*/ 622 h 20000"/>
                  <a:gd name="T4" fmla="*/ 14138 w 20000"/>
                  <a:gd name="T5" fmla="*/ 0 h 20000"/>
                  <a:gd name="T6" fmla="*/ 19655 w 20000"/>
                  <a:gd name="T7" fmla="*/ 0 h 20000"/>
                  <a:gd name="T8" fmla="*/ 19655 w 20000"/>
                  <a:gd name="T9" fmla="*/ 622 h 20000"/>
                  <a:gd name="T10" fmla="*/ 14138 w 20000"/>
                  <a:gd name="T11" fmla="*/ 3212 h 20000"/>
                  <a:gd name="T12" fmla="*/ 14138 w 20000"/>
                  <a:gd name="T13" fmla="*/ 4249 h 20000"/>
                  <a:gd name="T14" fmla="*/ 12759 w 20000"/>
                  <a:gd name="T15" fmla="*/ 4249 h 20000"/>
                  <a:gd name="T16" fmla="*/ 12759 w 20000"/>
                  <a:gd name="T17" fmla="*/ 5907 h 20000"/>
                  <a:gd name="T18" fmla="*/ 14138 w 20000"/>
                  <a:gd name="T19" fmla="*/ 7565 h 20000"/>
                  <a:gd name="T20" fmla="*/ 14138 w 20000"/>
                  <a:gd name="T21" fmla="*/ 11295 h 20000"/>
                  <a:gd name="T22" fmla="*/ 14138 w 20000"/>
                  <a:gd name="T23" fmla="*/ 14404 h 20000"/>
                  <a:gd name="T24" fmla="*/ 14138 w 20000"/>
                  <a:gd name="T25" fmla="*/ 18238 h 20000"/>
                  <a:gd name="T26" fmla="*/ 8966 w 20000"/>
                  <a:gd name="T27" fmla="*/ 19896 h 20000"/>
                  <a:gd name="T28" fmla="*/ 8966 w 20000"/>
                  <a:gd name="T29" fmla="*/ 16062 h 20000"/>
                  <a:gd name="T30" fmla="*/ 5517 w 20000"/>
                  <a:gd name="T31" fmla="*/ 13368 h 20000"/>
                  <a:gd name="T32" fmla="*/ 0 w 20000"/>
                  <a:gd name="T33" fmla="*/ 11295 h 20000"/>
                  <a:gd name="T34" fmla="*/ 3448 w 20000"/>
                  <a:gd name="T35" fmla="*/ 9119 h 20000"/>
                  <a:gd name="T36" fmla="*/ 0 w 20000"/>
                  <a:gd name="T37" fmla="*/ 7565 h 20000"/>
                  <a:gd name="T38" fmla="*/ 3448 w 20000"/>
                  <a:gd name="T39" fmla="*/ 7047 h 20000"/>
                  <a:gd name="T40" fmla="*/ 5517 w 20000"/>
                  <a:gd name="T41" fmla="*/ 4249 h 20000"/>
                  <a:gd name="T42" fmla="*/ 8966 w 20000"/>
                  <a:gd name="T43" fmla="*/ 62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8966" y="622"/>
                    </a:moveTo>
                    <a:lnTo>
                      <a:pt x="14138" y="622"/>
                    </a:lnTo>
                    <a:lnTo>
                      <a:pt x="14138" y="0"/>
                    </a:lnTo>
                    <a:lnTo>
                      <a:pt x="19655" y="0"/>
                    </a:lnTo>
                    <a:lnTo>
                      <a:pt x="19655" y="622"/>
                    </a:lnTo>
                    <a:lnTo>
                      <a:pt x="14138" y="3212"/>
                    </a:lnTo>
                    <a:lnTo>
                      <a:pt x="14138" y="4249"/>
                    </a:lnTo>
                    <a:lnTo>
                      <a:pt x="12759" y="4249"/>
                    </a:lnTo>
                    <a:lnTo>
                      <a:pt x="12759" y="5907"/>
                    </a:lnTo>
                    <a:lnTo>
                      <a:pt x="14138" y="7565"/>
                    </a:lnTo>
                    <a:lnTo>
                      <a:pt x="14138" y="11295"/>
                    </a:lnTo>
                    <a:lnTo>
                      <a:pt x="14138" y="14404"/>
                    </a:lnTo>
                    <a:lnTo>
                      <a:pt x="14138" y="18238"/>
                    </a:lnTo>
                    <a:lnTo>
                      <a:pt x="8966" y="19896"/>
                    </a:lnTo>
                    <a:lnTo>
                      <a:pt x="8966" y="16062"/>
                    </a:lnTo>
                    <a:lnTo>
                      <a:pt x="5517" y="13368"/>
                    </a:lnTo>
                    <a:lnTo>
                      <a:pt x="0" y="11295"/>
                    </a:lnTo>
                    <a:lnTo>
                      <a:pt x="3448" y="9119"/>
                    </a:lnTo>
                    <a:lnTo>
                      <a:pt x="0" y="7565"/>
                    </a:lnTo>
                    <a:lnTo>
                      <a:pt x="3448" y="7047"/>
                    </a:lnTo>
                    <a:lnTo>
                      <a:pt x="5517" y="4249"/>
                    </a:lnTo>
                    <a:lnTo>
                      <a:pt x="8966" y="62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0" name="Freeform 186"/>
              <p:cNvSpPr>
                <a:spLocks/>
              </p:cNvSpPr>
              <p:nvPr/>
            </p:nvSpPr>
            <p:spPr bwMode="auto">
              <a:xfrm>
                <a:off x="8580438" y="3051175"/>
                <a:ext cx="266700" cy="334963"/>
              </a:xfrm>
              <a:custGeom>
                <a:avLst/>
                <a:gdLst>
                  <a:gd name="T0" fmla="*/ 9857 w 20000"/>
                  <a:gd name="T1" fmla="*/ 19583 h 20000"/>
                  <a:gd name="T2" fmla="*/ 8857 w 20000"/>
                  <a:gd name="T3" fmla="*/ 18598 h 20000"/>
                  <a:gd name="T4" fmla="*/ 9143 w 20000"/>
                  <a:gd name="T5" fmla="*/ 17424 h 20000"/>
                  <a:gd name="T6" fmla="*/ 7619 w 20000"/>
                  <a:gd name="T7" fmla="*/ 17045 h 20000"/>
                  <a:gd name="T8" fmla="*/ 4667 w 20000"/>
                  <a:gd name="T9" fmla="*/ 18030 h 20000"/>
                  <a:gd name="T10" fmla="*/ 3190 w 20000"/>
                  <a:gd name="T11" fmla="*/ 18409 h 20000"/>
                  <a:gd name="T12" fmla="*/ 2714 w 20000"/>
                  <a:gd name="T13" fmla="*/ 18409 h 20000"/>
                  <a:gd name="T14" fmla="*/ 2714 w 20000"/>
                  <a:gd name="T15" fmla="*/ 19394 h 20000"/>
                  <a:gd name="T16" fmla="*/ 1238 w 20000"/>
                  <a:gd name="T17" fmla="*/ 18977 h 20000"/>
                  <a:gd name="T18" fmla="*/ 0 w 20000"/>
                  <a:gd name="T19" fmla="*/ 18409 h 20000"/>
                  <a:gd name="T20" fmla="*/ 1238 w 20000"/>
                  <a:gd name="T21" fmla="*/ 17652 h 20000"/>
                  <a:gd name="T22" fmla="*/ 2429 w 20000"/>
                  <a:gd name="T23" fmla="*/ 16439 h 20000"/>
                  <a:gd name="T24" fmla="*/ 2714 w 20000"/>
                  <a:gd name="T25" fmla="*/ 15492 h 20000"/>
                  <a:gd name="T26" fmla="*/ 3905 w 20000"/>
                  <a:gd name="T27" fmla="*/ 15492 h 20000"/>
                  <a:gd name="T28" fmla="*/ 4667 w 20000"/>
                  <a:gd name="T29" fmla="*/ 15492 h 20000"/>
                  <a:gd name="T30" fmla="*/ 7905 w 20000"/>
                  <a:gd name="T31" fmla="*/ 14470 h 20000"/>
                  <a:gd name="T32" fmla="*/ 8857 w 20000"/>
                  <a:gd name="T33" fmla="*/ 15265 h 20000"/>
                  <a:gd name="T34" fmla="*/ 9857 w 20000"/>
                  <a:gd name="T35" fmla="*/ 14470 h 20000"/>
                  <a:gd name="T36" fmla="*/ 9619 w 20000"/>
                  <a:gd name="T37" fmla="*/ 13333 h 20000"/>
                  <a:gd name="T38" fmla="*/ 9857 w 20000"/>
                  <a:gd name="T39" fmla="*/ 10758 h 20000"/>
                  <a:gd name="T40" fmla="*/ 11095 w 20000"/>
                  <a:gd name="T41" fmla="*/ 10758 h 20000"/>
                  <a:gd name="T42" fmla="*/ 10810 w 20000"/>
                  <a:gd name="T43" fmla="*/ 11364 h 20000"/>
                  <a:gd name="T44" fmla="*/ 11571 w 20000"/>
                  <a:gd name="T45" fmla="*/ 11932 h 20000"/>
                  <a:gd name="T46" fmla="*/ 13571 w 20000"/>
                  <a:gd name="T47" fmla="*/ 11174 h 20000"/>
                  <a:gd name="T48" fmla="*/ 14810 w 20000"/>
                  <a:gd name="T49" fmla="*/ 9205 h 20000"/>
                  <a:gd name="T50" fmla="*/ 15000 w 20000"/>
                  <a:gd name="T51" fmla="*/ 6061 h 20000"/>
                  <a:gd name="T52" fmla="*/ 14810 w 20000"/>
                  <a:gd name="T53" fmla="*/ 4508 h 20000"/>
                  <a:gd name="T54" fmla="*/ 14286 w 20000"/>
                  <a:gd name="T55" fmla="*/ 3712 h 20000"/>
                  <a:gd name="T56" fmla="*/ 14810 w 20000"/>
                  <a:gd name="T57" fmla="*/ 1932 h 20000"/>
                  <a:gd name="T58" fmla="*/ 15000 w 20000"/>
                  <a:gd name="T59" fmla="*/ 985 h 20000"/>
                  <a:gd name="T60" fmla="*/ 16000 w 20000"/>
                  <a:gd name="T61" fmla="*/ 1553 h 20000"/>
                  <a:gd name="T62" fmla="*/ 16286 w 20000"/>
                  <a:gd name="T63" fmla="*/ 985 h 20000"/>
                  <a:gd name="T64" fmla="*/ 15524 w 20000"/>
                  <a:gd name="T65" fmla="*/ 0 h 20000"/>
                  <a:gd name="T66" fmla="*/ 16762 w 20000"/>
                  <a:gd name="T67" fmla="*/ 379 h 20000"/>
                  <a:gd name="T68" fmla="*/ 18000 w 20000"/>
                  <a:gd name="T69" fmla="*/ 2538 h 20000"/>
                  <a:gd name="T70" fmla="*/ 19190 w 20000"/>
                  <a:gd name="T71" fmla="*/ 4697 h 20000"/>
                  <a:gd name="T72" fmla="*/ 19476 w 20000"/>
                  <a:gd name="T73" fmla="*/ 6061 h 20000"/>
                  <a:gd name="T74" fmla="*/ 19476 w 20000"/>
                  <a:gd name="T75" fmla="*/ 7841 h 20000"/>
                  <a:gd name="T76" fmla="*/ 18238 w 20000"/>
                  <a:gd name="T77" fmla="*/ 8220 h 20000"/>
                  <a:gd name="T78" fmla="*/ 19190 w 20000"/>
                  <a:gd name="T79" fmla="*/ 11364 h 20000"/>
                  <a:gd name="T80" fmla="*/ 19952 w 20000"/>
                  <a:gd name="T81" fmla="*/ 14318 h 20000"/>
                  <a:gd name="T82" fmla="*/ 19190 w 20000"/>
                  <a:gd name="T83" fmla="*/ 15492 h 20000"/>
                  <a:gd name="T84" fmla="*/ 18238 w 20000"/>
                  <a:gd name="T85" fmla="*/ 14886 h 20000"/>
                  <a:gd name="T86" fmla="*/ 17524 w 20000"/>
                  <a:gd name="T87" fmla="*/ 15265 h 20000"/>
                  <a:gd name="T88" fmla="*/ 17048 w 20000"/>
                  <a:gd name="T89" fmla="*/ 15265 h 20000"/>
                  <a:gd name="T90" fmla="*/ 16762 w 20000"/>
                  <a:gd name="T91" fmla="*/ 16439 h 20000"/>
                  <a:gd name="T92" fmla="*/ 15524 w 20000"/>
                  <a:gd name="T93" fmla="*/ 15871 h 20000"/>
                  <a:gd name="T94" fmla="*/ 14810 w 20000"/>
                  <a:gd name="T95" fmla="*/ 17045 h 20000"/>
                  <a:gd name="T96" fmla="*/ 12857 w 20000"/>
                  <a:gd name="T97" fmla="*/ 17424 h 20000"/>
                  <a:gd name="T98" fmla="*/ 11810 w 20000"/>
                  <a:gd name="T99" fmla="*/ 16818 h 20000"/>
                  <a:gd name="T100" fmla="*/ 11571 w 20000"/>
                  <a:gd name="T101" fmla="*/ 16061 h 20000"/>
                  <a:gd name="T102" fmla="*/ 12286 w 20000"/>
                  <a:gd name="T103" fmla="*/ 17424 h 20000"/>
                  <a:gd name="T104" fmla="*/ 11095 w 20000"/>
                  <a:gd name="T105" fmla="*/ 1840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0810" y="19962"/>
                    </a:moveTo>
                    <a:lnTo>
                      <a:pt x="9857" y="19583"/>
                    </a:lnTo>
                    <a:lnTo>
                      <a:pt x="8857" y="18977"/>
                    </a:lnTo>
                    <a:lnTo>
                      <a:pt x="8857" y="18598"/>
                    </a:lnTo>
                    <a:lnTo>
                      <a:pt x="8857" y="18030"/>
                    </a:lnTo>
                    <a:lnTo>
                      <a:pt x="9143" y="17424"/>
                    </a:lnTo>
                    <a:lnTo>
                      <a:pt x="8857" y="17045"/>
                    </a:lnTo>
                    <a:lnTo>
                      <a:pt x="7619" y="17045"/>
                    </a:lnTo>
                    <a:lnTo>
                      <a:pt x="6619" y="17424"/>
                    </a:lnTo>
                    <a:lnTo>
                      <a:pt x="4667" y="18030"/>
                    </a:lnTo>
                    <a:lnTo>
                      <a:pt x="3190" y="18598"/>
                    </a:lnTo>
                    <a:lnTo>
                      <a:pt x="3190" y="18409"/>
                    </a:lnTo>
                    <a:lnTo>
                      <a:pt x="2714" y="18030"/>
                    </a:lnTo>
                    <a:lnTo>
                      <a:pt x="2714" y="18409"/>
                    </a:lnTo>
                    <a:lnTo>
                      <a:pt x="2714" y="18977"/>
                    </a:lnTo>
                    <a:lnTo>
                      <a:pt x="2714" y="19394"/>
                    </a:lnTo>
                    <a:lnTo>
                      <a:pt x="1952" y="18977"/>
                    </a:lnTo>
                    <a:lnTo>
                      <a:pt x="1238" y="18977"/>
                    </a:lnTo>
                    <a:lnTo>
                      <a:pt x="0" y="19394"/>
                    </a:lnTo>
                    <a:lnTo>
                      <a:pt x="0" y="18409"/>
                    </a:lnTo>
                    <a:lnTo>
                      <a:pt x="762" y="18030"/>
                    </a:lnTo>
                    <a:lnTo>
                      <a:pt x="1238" y="17652"/>
                    </a:lnTo>
                    <a:lnTo>
                      <a:pt x="1952" y="17424"/>
                    </a:lnTo>
                    <a:lnTo>
                      <a:pt x="2429" y="16439"/>
                    </a:lnTo>
                    <a:lnTo>
                      <a:pt x="3190" y="16061"/>
                    </a:lnTo>
                    <a:lnTo>
                      <a:pt x="2714" y="15492"/>
                    </a:lnTo>
                    <a:lnTo>
                      <a:pt x="3905" y="15265"/>
                    </a:lnTo>
                    <a:lnTo>
                      <a:pt x="3905" y="15492"/>
                    </a:lnTo>
                    <a:lnTo>
                      <a:pt x="4476" y="15492"/>
                    </a:lnTo>
                    <a:lnTo>
                      <a:pt x="4667" y="15492"/>
                    </a:lnTo>
                    <a:lnTo>
                      <a:pt x="7619" y="14886"/>
                    </a:lnTo>
                    <a:lnTo>
                      <a:pt x="7905" y="14470"/>
                    </a:lnTo>
                    <a:lnTo>
                      <a:pt x="8381" y="14886"/>
                    </a:lnTo>
                    <a:lnTo>
                      <a:pt x="8857" y="15265"/>
                    </a:lnTo>
                    <a:lnTo>
                      <a:pt x="9143" y="14886"/>
                    </a:lnTo>
                    <a:lnTo>
                      <a:pt x="9857" y="14470"/>
                    </a:lnTo>
                    <a:lnTo>
                      <a:pt x="9143" y="13939"/>
                    </a:lnTo>
                    <a:lnTo>
                      <a:pt x="9619" y="13333"/>
                    </a:lnTo>
                    <a:lnTo>
                      <a:pt x="10333" y="11932"/>
                    </a:lnTo>
                    <a:lnTo>
                      <a:pt x="9857" y="10758"/>
                    </a:lnTo>
                    <a:lnTo>
                      <a:pt x="11095" y="10152"/>
                    </a:lnTo>
                    <a:lnTo>
                      <a:pt x="11095" y="10758"/>
                    </a:lnTo>
                    <a:lnTo>
                      <a:pt x="10810" y="11174"/>
                    </a:lnTo>
                    <a:lnTo>
                      <a:pt x="10810" y="11364"/>
                    </a:lnTo>
                    <a:lnTo>
                      <a:pt x="11095" y="11932"/>
                    </a:lnTo>
                    <a:lnTo>
                      <a:pt x="11571" y="11932"/>
                    </a:lnTo>
                    <a:lnTo>
                      <a:pt x="11810" y="11742"/>
                    </a:lnTo>
                    <a:lnTo>
                      <a:pt x="13571" y="11174"/>
                    </a:lnTo>
                    <a:lnTo>
                      <a:pt x="14286" y="9205"/>
                    </a:lnTo>
                    <a:lnTo>
                      <a:pt x="14810" y="9205"/>
                    </a:lnTo>
                    <a:lnTo>
                      <a:pt x="14810" y="7652"/>
                    </a:lnTo>
                    <a:lnTo>
                      <a:pt x="15000" y="6061"/>
                    </a:lnTo>
                    <a:lnTo>
                      <a:pt x="14810" y="4091"/>
                    </a:lnTo>
                    <a:lnTo>
                      <a:pt x="14810" y="4508"/>
                    </a:lnTo>
                    <a:lnTo>
                      <a:pt x="14286" y="4091"/>
                    </a:lnTo>
                    <a:lnTo>
                      <a:pt x="14286" y="3712"/>
                    </a:lnTo>
                    <a:lnTo>
                      <a:pt x="14286" y="2538"/>
                    </a:lnTo>
                    <a:lnTo>
                      <a:pt x="14810" y="1932"/>
                    </a:lnTo>
                    <a:lnTo>
                      <a:pt x="14286" y="1174"/>
                    </a:lnTo>
                    <a:lnTo>
                      <a:pt x="15000" y="985"/>
                    </a:lnTo>
                    <a:lnTo>
                      <a:pt x="15524" y="1932"/>
                    </a:lnTo>
                    <a:lnTo>
                      <a:pt x="16000" y="1553"/>
                    </a:lnTo>
                    <a:lnTo>
                      <a:pt x="16286" y="1553"/>
                    </a:lnTo>
                    <a:lnTo>
                      <a:pt x="16286" y="985"/>
                    </a:lnTo>
                    <a:lnTo>
                      <a:pt x="15524" y="985"/>
                    </a:lnTo>
                    <a:lnTo>
                      <a:pt x="15524" y="0"/>
                    </a:lnTo>
                    <a:lnTo>
                      <a:pt x="16000" y="379"/>
                    </a:lnTo>
                    <a:lnTo>
                      <a:pt x="16762" y="379"/>
                    </a:lnTo>
                    <a:lnTo>
                      <a:pt x="17048" y="1932"/>
                    </a:lnTo>
                    <a:lnTo>
                      <a:pt x="18000" y="2538"/>
                    </a:lnTo>
                    <a:lnTo>
                      <a:pt x="18714" y="3712"/>
                    </a:lnTo>
                    <a:lnTo>
                      <a:pt x="19190" y="4697"/>
                    </a:lnTo>
                    <a:lnTo>
                      <a:pt x="19476" y="4697"/>
                    </a:lnTo>
                    <a:lnTo>
                      <a:pt x="19476" y="6061"/>
                    </a:lnTo>
                    <a:lnTo>
                      <a:pt x="18714" y="6667"/>
                    </a:lnTo>
                    <a:lnTo>
                      <a:pt x="19476" y="7841"/>
                    </a:lnTo>
                    <a:lnTo>
                      <a:pt x="18714" y="7841"/>
                    </a:lnTo>
                    <a:lnTo>
                      <a:pt x="18238" y="8220"/>
                    </a:lnTo>
                    <a:lnTo>
                      <a:pt x="18238" y="9205"/>
                    </a:lnTo>
                    <a:lnTo>
                      <a:pt x="19190" y="11364"/>
                    </a:lnTo>
                    <a:lnTo>
                      <a:pt x="19190" y="13485"/>
                    </a:lnTo>
                    <a:lnTo>
                      <a:pt x="19952" y="14318"/>
                    </a:lnTo>
                    <a:lnTo>
                      <a:pt x="19190" y="14470"/>
                    </a:lnTo>
                    <a:lnTo>
                      <a:pt x="19190" y="15492"/>
                    </a:lnTo>
                    <a:lnTo>
                      <a:pt x="18000" y="16061"/>
                    </a:lnTo>
                    <a:lnTo>
                      <a:pt x="18238" y="14886"/>
                    </a:lnTo>
                    <a:lnTo>
                      <a:pt x="17524" y="14470"/>
                    </a:lnTo>
                    <a:lnTo>
                      <a:pt x="17524" y="15265"/>
                    </a:lnTo>
                    <a:lnTo>
                      <a:pt x="17524" y="15492"/>
                    </a:lnTo>
                    <a:lnTo>
                      <a:pt x="17048" y="15265"/>
                    </a:lnTo>
                    <a:lnTo>
                      <a:pt x="16762" y="15492"/>
                    </a:lnTo>
                    <a:lnTo>
                      <a:pt x="16762" y="16439"/>
                    </a:lnTo>
                    <a:lnTo>
                      <a:pt x="16286" y="17045"/>
                    </a:lnTo>
                    <a:lnTo>
                      <a:pt x="15524" y="15871"/>
                    </a:lnTo>
                    <a:lnTo>
                      <a:pt x="15000" y="16061"/>
                    </a:lnTo>
                    <a:lnTo>
                      <a:pt x="14810" y="17045"/>
                    </a:lnTo>
                    <a:lnTo>
                      <a:pt x="14048" y="16818"/>
                    </a:lnTo>
                    <a:lnTo>
                      <a:pt x="12857" y="17424"/>
                    </a:lnTo>
                    <a:lnTo>
                      <a:pt x="13048" y="16818"/>
                    </a:lnTo>
                    <a:lnTo>
                      <a:pt x="11810" y="16818"/>
                    </a:lnTo>
                    <a:lnTo>
                      <a:pt x="11810" y="16061"/>
                    </a:lnTo>
                    <a:lnTo>
                      <a:pt x="11571" y="16061"/>
                    </a:lnTo>
                    <a:lnTo>
                      <a:pt x="11571" y="17045"/>
                    </a:lnTo>
                    <a:lnTo>
                      <a:pt x="12286" y="17424"/>
                    </a:lnTo>
                    <a:lnTo>
                      <a:pt x="12286" y="18030"/>
                    </a:lnTo>
                    <a:lnTo>
                      <a:pt x="11095" y="18409"/>
                    </a:lnTo>
                    <a:lnTo>
                      <a:pt x="10810" y="199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1" name="Freeform 185"/>
              <p:cNvSpPr>
                <a:spLocks/>
              </p:cNvSpPr>
              <p:nvPr/>
            </p:nvSpPr>
            <p:spPr bwMode="auto">
              <a:xfrm>
                <a:off x="8743950" y="2876550"/>
                <a:ext cx="149225" cy="180975"/>
              </a:xfrm>
              <a:custGeom>
                <a:avLst/>
                <a:gdLst>
                  <a:gd name="T0" fmla="*/ 3162 w 20000"/>
                  <a:gd name="T1" fmla="*/ 19930 h 20000"/>
                  <a:gd name="T2" fmla="*/ 2308 w 20000"/>
                  <a:gd name="T3" fmla="*/ 19228 h 20000"/>
                  <a:gd name="T4" fmla="*/ 2308 w 20000"/>
                  <a:gd name="T5" fmla="*/ 17404 h 20000"/>
                  <a:gd name="T6" fmla="*/ 0 w 20000"/>
                  <a:gd name="T7" fmla="*/ 16351 h 20000"/>
                  <a:gd name="T8" fmla="*/ 0 w 20000"/>
                  <a:gd name="T9" fmla="*/ 14526 h 20000"/>
                  <a:gd name="T10" fmla="*/ 1368 w 20000"/>
                  <a:gd name="T11" fmla="*/ 12632 h 20000"/>
                  <a:gd name="T12" fmla="*/ 0 w 20000"/>
                  <a:gd name="T13" fmla="*/ 10877 h 20000"/>
                  <a:gd name="T14" fmla="*/ 940 w 20000"/>
                  <a:gd name="T15" fmla="*/ 10526 h 20000"/>
                  <a:gd name="T16" fmla="*/ 2308 w 20000"/>
                  <a:gd name="T17" fmla="*/ 10877 h 20000"/>
                  <a:gd name="T18" fmla="*/ 4444 w 20000"/>
                  <a:gd name="T19" fmla="*/ 10877 h 20000"/>
                  <a:gd name="T20" fmla="*/ 3504 w 20000"/>
                  <a:gd name="T21" fmla="*/ 8702 h 20000"/>
                  <a:gd name="T22" fmla="*/ 4444 w 20000"/>
                  <a:gd name="T23" fmla="*/ 8702 h 20000"/>
                  <a:gd name="T24" fmla="*/ 3504 w 20000"/>
                  <a:gd name="T25" fmla="*/ 6175 h 20000"/>
                  <a:gd name="T26" fmla="*/ 3162 w 20000"/>
                  <a:gd name="T27" fmla="*/ 2877 h 20000"/>
                  <a:gd name="T28" fmla="*/ 1368 w 20000"/>
                  <a:gd name="T29" fmla="*/ 421 h 20000"/>
                  <a:gd name="T30" fmla="*/ 2308 w 20000"/>
                  <a:gd name="T31" fmla="*/ 0 h 20000"/>
                  <a:gd name="T32" fmla="*/ 4444 w 20000"/>
                  <a:gd name="T33" fmla="*/ 1123 h 20000"/>
                  <a:gd name="T34" fmla="*/ 8034 w 20000"/>
                  <a:gd name="T35" fmla="*/ 4000 h 20000"/>
                  <a:gd name="T36" fmla="*/ 11538 w 20000"/>
                  <a:gd name="T37" fmla="*/ 5754 h 20000"/>
                  <a:gd name="T38" fmla="*/ 12821 w 20000"/>
                  <a:gd name="T39" fmla="*/ 5754 h 20000"/>
                  <a:gd name="T40" fmla="*/ 14188 w 20000"/>
                  <a:gd name="T41" fmla="*/ 6877 h 20000"/>
                  <a:gd name="T42" fmla="*/ 15983 w 20000"/>
                  <a:gd name="T43" fmla="*/ 6877 h 20000"/>
                  <a:gd name="T44" fmla="*/ 16410 w 20000"/>
                  <a:gd name="T45" fmla="*/ 4702 h 20000"/>
                  <a:gd name="T46" fmla="*/ 17265 w 20000"/>
                  <a:gd name="T47" fmla="*/ 5053 h 20000"/>
                  <a:gd name="T48" fmla="*/ 17265 w 20000"/>
                  <a:gd name="T49" fmla="*/ 7579 h 20000"/>
                  <a:gd name="T50" fmla="*/ 18547 w 20000"/>
                  <a:gd name="T51" fmla="*/ 9754 h 20000"/>
                  <a:gd name="T52" fmla="*/ 19915 w 20000"/>
                  <a:gd name="T53" fmla="*/ 9474 h 20000"/>
                  <a:gd name="T54" fmla="*/ 19915 w 20000"/>
                  <a:gd name="T55" fmla="*/ 9754 h 20000"/>
                  <a:gd name="T56" fmla="*/ 18547 w 20000"/>
                  <a:gd name="T57" fmla="*/ 10526 h 20000"/>
                  <a:gd name="T58" fmla="*/ 17692 w 20000"/>
                  <a:gd name="T59" fmla="*/ 10877 h 20000"/>
                  <a:gd name="T60" fmla="*/ 15043 w 20000"/>
                  <a:gd name="T61" fmla="*/ 11579 h 20000"/>
                  <a:gd name="T62" fmla="*/ 13675 w 20000"/>
                  <a:gd name="T63" fmla="*/ 12632 h 20000"/>
                  <a:gd name="T64" fmla="*/ 13675 w 20000"/>
                  <a:gd name="T65" fmla="*/ 15228 h 20000"/>
                  <a:gd name="T66" fmla="*/ 13675 w 20000"/>
                  <a:gd name="T67" fmla="*/ 16351 h 20000"/>
                  <a:gd name="T68" fmla="*/ 8034 w 20000"/>
                  <a:gd name="T69" fmla="*/ 14526 h 20000"/>
                  <a:gd name="T70" fmla="*/ 5812 w 20000"/>
                  <a:gd name="T71" fmla="*/ 13754 h 20000"/>
                  <a:gd name="T72" fmla="*/ 4872 w 20000"/>
                  <a:gd name="T73" fmla="*/ 14526 h 20000"/>
                  <a:gd name="T74" fmla="*/ 4444 w 20000"/>
                  <a:gd name="T75" fmla="*/ 15649 h 20000"/>
                  <a:gd name="T76" fmla="*/ 3504 w 20000"/>
                  <a:gd name="T77" fmla="*/ 14526 h 20000"/>
                  <a:gd name="T78" fmla="*/ 2308 w 20000"/>
                  <a:gd name="T79" fmla="*/ 15228 h 20000"/>
                  <a:gd name="T80" fmla="*/ 2308 w 20000"/>
                  <a:gd name="T81" fmla="*/ 15649 h 20000"/>
                  <a:gd name="T82" fmla="*/ 4444 w 20000"/>
                  <a:gd name="T83" fmla="*/ 16351 h 20000"/>
                  <a:gd name="T84" fmla="*/ 4872 w 20000"/>
                  <a:gd name="T85" fmla="*/ 17404 h 20000"/>
                  <a:gd name="T86" fmla="*/ 5812 w 20000"/>
                  <a:gd name="T87" fmla="*/ 17404 h 20000"/>
                  <a:gd name="T88" fmla="*/ 4872 w 20000"/>
                  <a:gd name="T89" fmla="*/ 18526 h 20000"/>
                  <a:gd name="T90" fmla="*/ 4444 w 20000"/>
                  <a:gd name="T91" fmla="*/ 18526 h 20000"/>
                  <a:gd name="T92" fmla="*/ 3504 w 20000"/>
                  <a:gd name="T93" fmla="*/ 19930 h 20000"/>
                  <a:gd name="T94" fmla="*/ 3162 w 20000"/>
                  <a:gd name="T95" fmla="*/ 199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3162" y="19930"/>
                    </a:moveTo>
                    <a:lnTo>
                      <a:pt x="2308" y="19228"/>
                    </a:lnTo>
                    <a:lnTo>
                      <a:pt x="2308" y="17404"/>
                    </a:lnTo>
                    <a:lnTo>
                      <a:pt x="0" y="16351"/>
                    </a:lnTo>
                    <a:lnTo>
                      <a:pt x="0" y="14526"/>
                    </a:lnTo>
                    <a:lnTo>
                      <a:pt x="1368" y="12632"/>
                    </a:lnTo>
                    <a:lnTo>
                      <a:pt x="0" y="10877"/>
                    </a:lnTo>
                    <a:lnTo>
                      <a:pt x="940" y="10526"/>
                    </a:lnTo>
                    <a:lnTo>
                      <a:pt x="2308" y="10877"/>
                    </a:lnTo>
                    <a:lnTo>
                      <a:pt x="4444" y="10877"/>
                    </a:lnTo>
                    <a:lnTo>
                      <a:pt x="3504" y="8702"/>
                    </a:lnTo>
                    <a:lnTo>
                      <a:pt x="4444" y="8702"/>
                    </a:lnTo>
                    <a:lnTo>
                      <a:pt x="3504" y="6175"/>
                    </a:lnTo>
                    <a:lnTo>
                      <a:pt x="3162" y="2877"/>
                    </a:lnTo>
                    <a:lnTo>
                      <a:pt x="1368" y="421"/>
                    </a:lnTo>
                    <a:lnTo>
                      <a:pt x="2308" y="0"/>
                    </a:lnTo>
                    <a:lnTo>
                      <a:pt x="4444" y="1123"/>
                    </a:lnTo>
                    <a:lnTo>
                      <a:pt x="8034" y="4000"/>
                    </a:lnTo>
                    <a:lnTo>
                      <a:pt x="11538" y="5754"/>
                    </a:lnTo>
                    <a:lnTo>
                      <a:pt x="12821" y="5754"/>
                    </a:lnTo>
                    <a:lnTo>
                      <a:pt x="14188" y="6877"/>
                    </a:lnTo>
                    <a:lnTo>
                      <a:pt x="15983" y="6877"/>
                    </a:lnTo>
                    <a:lnTo>
                      <a:pt x="16410" y="4702"/>
                    </a:lnTo>
                    <a:lnTo>
                      <a:pt x="17265" y="5053"/>
                    </a:lnTo>
                    <a:lnTo>
                      <a:pt x="17265" y="7579"/>
                    </a:lnTo>
                    <a:lnTo>
                      <a:pt x="18547" y="9754"/>
                    </a:lnTo>
                    <a:lnTo>
                      <a:pt x="19915" y="9474"/>
                    </a:lnTo>
                    <a:lnTo>
                      <a:pt x="19915" y="9754"/>
                    </a:lnTo>
                    <a:lnTo>
                      <a:pt x="18547" y="10526"/>
                    </a:lnTo>
                    <a:lnTo>
                      <a:pt x="17692" y="10877"/>
                    </a:lnTo>
                    <a:lnTo>
                      <a:pt x="15043" y="11579"/>
                    </a:lnTo>
                    <a:lnTo>
                      <a:pt x="13675" y="12632"/>
                    </a:lnTo>
                    <a:lnTo>
                      <a:pt x="13675" y="15228"/>
                    </a:lnTo>
                    <a:lnTo>
                      <a:pt x="13675" y="16351"/>
                    </a:lnTo>
                    <a:lnTo>
                      <a:pt x="8034" y="14526"/>
                    </a:lnTo>
                    <a:lnTo>
                      <a:pt x="5812" y="13754"/>
                    </a:lnTo>
                    <a:lnTo>
                      <a:pt x="4872" y="14526"/>
                    </a:lnTo>
                    <a:lnTo>
                      <a:pt x="4444" y="15649"/>
                    </a:lnTo>
                    <a:lnTo>
                      <a:pt x="3504" y="14526"/>
                    </a:lnTo>
                    <a:lnTo>
                      <a:pt x="2308" y="15228"/>
                    </a:lnTo>
                    <a:lnTo>
                      <a:pt x="2308" y="15649"/>
                    </a:lnTo>
                    <a:lnTo>
                      <a:pt x="4444" y="16351"/>
                    </a:lnTo>
                    <a:lnTo>
                      <a:pt x="4872" y="17404"/>
                    </a:lnTo>
                    <a:lnTo>
                      <a:pt x="5812" y="17404"/>
                    </a:lnTo>
                    <a:lnTo>
                      <a:pt x="4872" y="18526"/>
                    </a:lnTo>
                    <a:lnTo>
                      <a:pt x="4444" y="18526"/>
                    </a:lnTo>
                    <a:lnTo>
                      <a:pt x="3504" y="19930"/>
                    </a:lnTo>
                    <a:lnTo>
                      <a:pt x="3162" y="199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2" name="Freeform 184"/>
              <p:cNvSpPr>
                <a:spLocks/>
              </p:cNvSpPr>
              <p:nvPr/>
            </p:nvSpPr>
            <p:spPr bwMode="auto">
              <a:xfrm>
                <a:off x="8543925" y="3635375"/>
                <a:ext cx="12700" cy="26988"/>
              </a:xfrm>
              <a:custGeom>
                <a:avLst/>
                <a:gdLst>
                  <a:gd name="T0" fmla="*/ 0 w 20000"/>
                  <a:gd name="T1" fmla="*/ 19524 h 20000"/>
                  <a:gd name="T2" fmla="*/ 0 w 20000"/>
                  <a:gd name="T3" fmla="*/ 14762 h 20000"/>
                  <a:gd name="T4" fmla="*/ 5714 w 20000"/>
                  <a:gd name="T5" fmla="*/ 7143 h 20000"/>
                  <a:gd name="T6" fmla="*/ 5714 w 20000"/>
                  <a:gd name="T7" fmla="*/ 2857 h 20000"/>
                  <a:gd name="T8" fmla="*/ 14286 w 20000"/>
                  <a:gd name="T9" fmla="*/ 2857 h 20000"/>
                  <a:gd name="T10" fmla="*/ 19048 w 20000"/>
                  <a:gd name="T11" fmla="*/ 0 h 20000"/>
                  <a:gd name="T12" fmla="*/ 5714 w 20000"/>
                  <a:gd name="T13" fmla="*/ 14762 h 20000"/>
                  <a:gd name="T14" fmla="*/ 14286 w 20000"/>
                  <a:gd name="T15" fmla="*/ 19524 h 20000"/>
                  <a:gd name="T16" fmla="*/ 0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9524"/>
                    </a:moveTo>
                    <a:lnTo>
                      <a:pt x="0" y="14762"/>
                    </a:lnTo>
                    <a:lnTo>
                      <a:pt x="5714" y="7143"/>
                    </a:lnTo>
                    <a:lnTo>
                      <a:pt x="5714" y="2857"/>
                    </a:lnTo>
                    <a:lnTo>
                      <a:pt x="14286" y="2857"/>
                    </a:lnTo>
                    <a:lnTo>
                      <a:pt x="19048" y="0"/>
                    </a:lnTo>
                    <a:lnTo>
                      <a:pt x="5714" y="14762"/>
                    </a:lnTo>
                    <a:lnTo>
                      <a:pt x="14286" y="19524"/>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3" name="Freeform 183"/>
              <p:cNvSpPr>
                <a:spLocks/>
              </p:cNvSpPr>
              <p:nvPr/>
            </p:nvSpPr>
            <p:spPr bwMode="auto">
              <a:xfrm>
                <a:off x="8574088" y="3576638"/>
                <a:ext cx="17462" cy="11112"/>
              </a:xfrm>
              <a:custGeom>
                <a:avLst/>
                <a:gdLst>
                  <a:gd name="T0" fmla="*/ 7407 w 20000"/>
                  <a:gd name="T1" fmla="*/ 18824 h 20000"/>
                  <a:gd name="T2" fmla="*/ 0 w 20000"/>
                  <a:gd name="T3" fmla="*/ 11765 h 20000"/>
                  <a:gd name="T4" fmla="*/ 19259 w 20000"/>
                  <a:gd name="T5" fmla="*/ 0 h 20000"/>
                  <a:gd name="T6" fmla="*/ 14815 w 20000"/>
                  <a:gd name="T7" fmla="*/ 11765 h 20000"/>
                  <a:gd name="T8" fmla="*/ 7407 w 20000"/>
                  <a:gd name="T9" fmla="*/ 18824 h 20000"/>
                </a:gdLst>
                <a:ahLst/>
                <a:cxnLst>
                  <a:cxn ang="0">
                    <a:pos x="T0" y="T1"/>
                  </a:cxn>
                  <a:cxn ang="0">
                    <a:pos x="T2" y="T3"/>
                  </a:cxn>
                  <a:cxn ang="0">
                    <a:pos x="T4" y="T5"/>
                  </a:cxn>
                  <a:cxn ang="0">
                    <a:pos x="T6" y="T7"/>
                  </a:cxn>
                  <a:cxn ang="0">
                    <a:pos x="T8" y="T9"/>
                  </a:cxn>
                </a:cxnLst>
                <a:rect l="0" t="0" r="r" b="b"/>
                <a:pathLst>
                  <a:path w="20000" h="20000">
                    <a:moveTo>
                      <a:pt x="7407" y="18824"/>
                    </a:moveTo>
                    <a:lnTo>
                      <a:pt x="0" y="11765"/>
                    </a:lnTo>
                    <a:lnTo>
                      <a:pt x="19259" y="0"/>
                    </a:lnTo>
                    <a:lnTo>
                      <a:pt x="14815" y="11765"/>
                    </a:lnTo>
                    <a:lnTo>
                      <a:pt x="7407"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4" name="Freeform 182"/>
              <p:cNvSpPr>
                <a:spLocks/>
              </p:cNvSpPr>
              <p:nvPr/>
            </p:nvSpPr>
            <p:spPr bwMode="auto">
              <a:xfrm>
                <a:off x="5949950" y="3465513"/>
                <a:ext cx="119063" cy="131762"/>
              </a:xfrm>
              <a:custGeom>
                <a:avLst/>
                <a:gdLst>
                  <a:gd name="T0" fmla="*/ 1702 w 20000"/>
                  <a:gd name="T1" fmla="*/ 3942 h 20000"/>
                  <a:gd name="T2" fmla="*/ 4468 w 20000"/>
                  <a:gd name="T3" fmla="*/ 3942 h 20000"/>
                  <a:gd name="T4" fmla="*/ 5532 w 20000"/>
                  <a:gd name="T5" fmla="*/ 4904 h 20000"/>
                  <a:gd name="T6" fmla="*/ 6064 w 20000"/>
                  <a:gd name="T7" fmla="*/ 4904 h 20000"/>
                  <a:gd name="T8" fmla="*/ 8298 w 20000"/>
                  <a:gd name="T9" fmla="*/ 4904 h 20000"/>
                  <a:gd name="T10" fmla="*/ 12660 w 20000"/>
                  <a:gd name="T11" fmla="*/ 2981 h 20000"/>
                  <a:gd name="T12" fmla="*/ 17021 w 20000"/>
                  <a:gd name="T13" fmla="*/ 0 h 20000"/>
                  <a:gd name="T14" fmla="*/ 19894 w 20000"/>
                  <a:gd name="T15" fmla="*/ 5481 h 20000"/>
                  <a:gd name="T16" fmla="*/ 15957 w 20000"/>
                  <a:gd name="T17" fmla="*/ 7500 h 20000"/>
                  <a:gd name="T18" fmla="*/ 9894 w 20000"/>
                  <a:gd name="T19" fmla="*/ 8846 h 20000"/>
                  <a:gd name="T20" fmla="*/ 9894 w 20000"/>
                  <a:gd name="T21" fmla="*/ 9423 h 20000"/>
                  <a:gd name="T22" fmla="*/ 14362 w 20000"/>
                  <a:gd name="T23" fmla="*/ 13365 h 20000"/>
                  <a:gd name="T24" fmla="*/ 13298 w 20000"/>
                  <a:gd name="T25" fmla="*/ 14327 h 20000"/>
                  <a:gd name="T26" fmla="*/ 12660 w 20000"/>
                  <a:gd name="T27" fmla="*/ 15865 h 20000"/>
                  <a:gd name="T28" fmla="*/ 10532 w 20000"/>
                  <a:gd name="T29" fmla="*/ 16923 h 20000"/>
                  <a:gd name="T30" fmla="*/ 9894 w 20000"/>
                  <a:gd name="T31" fmla="*/ 16923 h 20000"/>
                  <a:gd name="T32" fmla="*/ 6064 w 20000"/>
                  <a:gd name="T33" fmla="*/ 19904 h 20000"/>
                  <a:gd name="T34" fmla="*/ 0 w 20000"/>
                  <a:gd name="T35" fmla="*/ 19327 h 20000"/>
                  <a:gd name="T36" fmla="*/ 1702 w 20000"/>
                  <a:gd name="T37" fmla="*/ 17885 h 20000"/>
                  <a:gd name="T38" fmla="*/ 1702 w 20000"/>
                  <a:gd name="T39" fmla="*/ 14327 h 20000"/>
                  <a:gd name="T40" fmla="*/ 1702 w 20000"/>
                  <a:gd name="T41" fmla="*/ 11442 h 20000"/>
                  <a:gd name="T42" fmla="*/ 1702 w 20000"/>
                  <a:gd name="T43" fmla="*/ 7885 h 20000"/>
                  <a:gd name="T44" fmla="*/ 1170 w 20000"/>
                  <a:gd name="T45" fmla="*/ 6442 h 20000"/>
                  <a:gd name="T46" fmla="*/ 1170 w 20000"/>
                  <a:gd name="T47" fmla="*/ 4904 h 20000"/>
                  <a:gd name="T48" fmla="*/ 1702 w 20000"/>
                  <a:gd name="T49" fmla="*/ 4904 h 20000"/>
                  <a:gd name="T50" fmla="*/ 1702 w 20000"/>
                  <a:gd name="T51" fmla="*/ 394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1702" y="3942"/>
                    </a:moveTo>
                    <a:lnTo>
                      <a:pt x="4468" y="3942"/>
                    </a:lnTo>
                    <a:lnTo>
                      <a:pt x="5532" y="4904"/>
                    </a:lnTo>
                    <a:lnTo>
                      <a:pt x="6064" y="4904"/>
                    </a:lnTo>
                    <a:lnTo>
                      <a:pt x="8298" y="4904"/>
                    </a:lnTo>
                    <a:lnTo>
                      <a:pt x="12660" y="2981"/>
                    </a:lnTo>
                    <a:lnTo>
                      <a:pt x="17021" y="0"/>
                    </a:lnTo>
                    <a:lnTo>
                      <a:pt x="19894" y="5481"/>
                    </a:lnTo>
                    <a:lnTo>
                      <a:pt x="15957" y="7500"/>
                    </a:lnTo>
                    <a:lnTo>
                      <a:pt x="9894" y="8846"/>
                    </a:lnTo>
                    <a:lnTo>
                      <a:pt x="9894" y="9423"/>
                    </a:lnTo>
                    <a:lnTo>
                      <a:pt x="14362" y="13365"/>
                    </a:lnTo>
                    <a:lnTo>
                      <a:pt x="13298" y="14327"/>
                    </a:lnTo>
                    <a:lnTo>
                      <a:pt x="12660" y="15865"/>
                    </a:lnTo>
                    <a:lnTo>
                      <a:pt x="10532" y="16923"/>
                    </a:lnTo>
                    <a:lnTo>
                      <a:pt x="9894" y="16923"/>
                    </a:lnTo>
                    <a:lnTo>
                      <a:pt x="6064" y="19904"/>
                    </a:lnTo>
                    <a:lnTo>
                      <a:pt x="0" y="19327"/>
                    </a:lnTo>
                    <a:lnTo>
                      <a:pt x="1702" y="17885"/>
                    </a:lnTo>
                    <a:lnTo>
                      <a:pt x="1702" y="14327"/>
                    </a:lnTo>
                    <a:lnTo>
                      <a:pt x="1702" y="11442"/>
                    </a:lnTo>
                    <a:lnTo>
                      <a:pt x="1702" y="7885"/>
                    </a:lnTo>
                    <a:lnTo>
                      <a:pt x="1170" y="6442"/>
                    </a:lnTo>
                    <a:lnTo>
                      <a:pt x="1170" y="4904"/>
                    </a:lnTo>
                    <a:lnTo>
                      <a:pt x="1702" y="4904"/>
                    </a:lnTo>
                    <a:lnTo>
                      <a:pt x="1702" y="394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5" name="Freeform 181"/>
              <p:cNvSpPr>
                <a:spLocks/>
              </p:cNvSpPr>
              <p:nvPr/>
            </p:nvSpPr>
            <p:spPr bwMode="auto">
              <a:xfrm>
                <a:off x="7874000" y="4033838"/>
                <a:ext cx="149225" cy="128587"/>
              </a:xfrm>
              <a:custGeom>
                <a:avLst/>
                <a:gdLst>
                  <a:gd name="T0" fmla="*/ 10684 w 20000"/>
                  <a:gd name="T1" fmla="*/ 1576 h 20000"/>
                  <a:gd name="T2" fmla="*/ 10684 w 20000"/>
                  <a:gd name="T3" fmla="*/ 3054 h 20000"/>
                  <a:gd name="T4" fmla="*/ 12821 w 20000"/>
                  <a:gd name="T5" fmla="*/ 3054 h 20000"/>
                  <a:gd name="T6" fmla="*/ 13675 w 20000"/>
                  <a:gd name="T7" fmla="*/ 4039 h 20000"/>
                  <a:gd name="T8" fmla="*/ 14188 w 20000"/>
                  <a:gd name="T9" fmla="*/ 3054 h 20000"/>
                  <a:gd name="T10" fmla="*/ 14188 w 20000"/>
                  <a:gd name="T11" fmla="*/ 985 h 20000"/>
                  <a:gd name="T12" fmla="*/ 15897 w 20000"/>
                  <a:gd name="T13" fmla="*/ 0 h 20000"/>
                  <a:gd name="T14" fmla="*/ 17265 w 20000"/>
                  <a:gd name="T15" fmla="*/ 1576 h 20000"/>
                  <a:gd name="T16" fmla="*/ 19487 w 20000"/>
                  <a:gd name="T17" fmla="*/ 1576 h 20000"/>
                  <a:gd name="T18" fmla="*/ 19487 w 20000"/>
                  <a:gd name="T19" fmla="*/ 3054 h 20000"/>
                  <a:gd name="T20" fmla="*/ 19915 w 20000"/>
                  <a:gd name="T21" fmla="*/ 7192 h 20000"/>
                  <a:gd name="T22" fmla="*/ 19915 w 20000"/>
                  <a:gd name="T23" fmla="*/ 10640 h 20000"/>
                  <a:gd name="T24" fmla="*/ 18547 w 20000"/>
                  <a:gd name="T25" fmla="*/ 11724 h 20000"/>
                  <a:gd name="T26" fmla="*/ 17265 w 20000"/>
                  <a:gd name="T27" fmla="*/ 12217 h 20000"/>
                  <a:gd name="T28" fmla="*/ 15043 w 20000"/>
                  <a:gd name="T29" fmla="*/ 13300 h 20000"/>
                  <a:gd name="T30" fmla="*/ 13675 w 20000"/>
                  <a:gd name="T31" fmla="*/ 13695 h 20000"/>
                  <a:gd name="T32" fmla="*/ 14188 w 20000"/>
                  <a:gd name="T33" fmla="*/ 15862 h 20000"/>
                  <a:gd name="T34" fmla="*/ 14188 w 20000"/>
                  <a:gd name="T35" fmla="*/ 17340 h 20000"/>
                  <a:gd name="T36" fmla="*/ 11966 w 20000"/>
                  <a:gd name="T37" fmla="*/ 17833 h 20000"/>
                  <a:gd name="T38" fmla="*/ 8376 w 20000"/>
                  <a:gd name="T39" fmla="*/ 19901 h 20000"/>
                  <a:gd name="T40" fmla="*/ 6667 w 20000"/>
                  <a:gd name="T41" fmla="*/ 18916 h 20000"/>
                  <a:gd name="T42" fmla="*/ 5812 w 20000"/>
                  <a:gd name="T43" fmla="*/ 18916 h 20000"/>
                  <a:gd name="T44" fmla="*/ 5812 w 20000"/>
                  <a:gd name="T45" fmla="*/ 17340 h 20000"/>
                  <a:gd name="T46" fmla="*/ 4872 w 20000"/>
                  <a:gd name="T47" fmla="*/ 16355 h 20000"/>
                  <a:gd name="T48" fmla="*/ 4444 w 20000"/>
                  <a:gd name="T49" fmla="*/ 17340 h 20000"/>
                  <a:gd name="T50" fmla="*/ 2650 w 20000"/>
                  <a:gd name="T51" fmla="*/ 15862 h 20000"/>
                  <a:gd name="T52" fmla="*/ 2650 w 20000"/>
                  <a:gd name="T53" fmla="*/ 13695 h 20000"/>
                  <a:gd name="T54" fmla="*/ 855 w 20000"/>
                  <a:gd name="T55" fmla="*/ 9261 h 20000"/>
                  <a:gd name="T56" fmla="*/ 0 w 20000"/>
                  <a:gd name="T57" fmla="*/ 6601 h 20000"/>
                  <a:gd name="T58" fmla="*/ 2222 w 20000"/>
                  <a:gd name="T59" fmla="*/ 5025 h 20000"/>
                  <a:gd name="T60" fmla="*/ 2222 w 20000"/>
                  <a:gd name="T61" fmla="*/ 1576 h 20000"/>
                  <a:gd name="T62" fmla="*/ 4872 w 20000"/>
                  <a:gd name="T63" fmla="*/ 985 h 20000"/>
                  <a:gd name="T64" fmla="*/ 8034 w 20000"/>
                  <a:gd name="T65" fmla="*/ 1576 h 20000"/>
                  <a:gd name="T66" fmla="*/ 8376 w 20000"/>
                  <a:gd name="T67" fmla="*/ 985 h 20000"/>
                  <a:gd name="T68" fmla="*/ 10171 w 20000"/>
                  <a:gd name="T69" fmla="*/ 1576 h 20000"/>
                  <a:gd name="T70" fmla="*/ 10684 w 20000"/>
                  <a:gd name="T71" fmla="*/ 15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10684" y="1576"/>
                    </a:moveTo>
                    <a:lnTo>
                      <a:pt x="10684" y="3054"/>
                    </a:lnTo>
                    <a:lnTo>
                      <a:pt x="12821" y="3054"/>
                    </a:lnTo>
                    <a:lnTo>
                      <a:pt x="13675" y="4039"/>
                    </a:lnTo>
                    <a:lnTo>
                      <a:pt x="14188" y="3054"/>
                    </a:lnTo>
                    <a:lnTo>
                      <a:pt x="14188" y="985"/>
                    </a:lnTo>
                    <a:lnTo>
                      <a:pt x="15897" y="0"/>
                    </a:lnTo>
                    <a:lnTo>
                      <a:pt x="17265" y="1576"/>
                    </a:lnTo>
                    <a:lnTo>
                      <a:pt x="19487" y="1576"/>
                    </a:lnTo>
                    <a:lnTo>
                      <a:pt x="19487" y="3054"/>
                    </a:lnTo>
                    <a:lnTo>
                      <a:pt x="19915" y="7192"/>
                    </a:lnTo>
                    <a:lnTo>
                      <a:pt x="19915" y="10640"/>
                    </a:lnTo>
                    <a:lnTo>
                      <a:pt x="18547" y="11724"/>
                    </a:lnTo>
                    <a:lnTo>
                      <a:pt x="17265" y="12217"/>
                    </a:lnTo>
                    <a:lnTo>
                      <a:pt x="15043" y="13300"/>
                    </a:lnTo>
                    <a:lnTo>
                      <a:pt x="13675" y="13695"/>
                    </a:lnTo>
                    <a:lnTo>
                      <a:pt x="14188" y="15862"/>
                    </a:lnTo>
                    <a:lnTo>
                      <a:pt x="14188" y="17340"/>
                    </a:lnTo>
                    <a:lnTo>
                      <a:pt x="11966" y="17833"/>
                    </a:lnTo>
                    <a:lnTo>
                      <a:pt x="8376" y="19901"/>
                    </a:lnTo>
                    <a:lnTo>
                      <a:pt x="6667" y="18916"/>
                    </a:lnTo>
                    <a:lnTo>
                      <a:pt x="5812" y="18916"/>
                    </a:lnTo>
                    <a:lnTo>
                      <a:pt x="5812" y="17340"/>
                    </a:lnTo>
                    <a:lnTo>
                      <a:pt x="4872" y="16355"/>
                    </a:lnTo>
                    <a:lnTo>
                      <a:pt x="4444" y="17340"/>
                    </a:lnTo>
                    <a:lnTo>
                      <a:pt x="2650" y="15862"/>
                    </a:lnTo>
                    <a:lnTo>
                      <a:pt x="2650" y="13695"/>
                    </a:lnTo>
                    <a:lnTo>
                      <a:pt x="855" y="9261"/>
                    </a:lnTo>
                    <a:lnTo>
                      <a:pt x="0" y="6601"/>
                    </a:lnTo>
                    <a:lnTo>
                      <a:pt x="2222" y="5025"/>
                    </a:lnTo>
                    <a:lnTo>
                      <a:pt x="2222" y="1576"/>
                    </a:lnTo>
                    <a:lnTo>
                      <a:pt x="4872" y="985"/>
                    </a:lnTo>
                    <a:lnTo>
                      <a:pt x="8034" y="1576"/>
                    </a:lnTo>
                    <a:lnTo>
                      <a:pt x="8376" y="985"/>
                    </a:lnTo>
                    <a:lnTo>
                      <a:pt x="10171" y="1576"/>
                    </a:lnTo>
                    <a:lnTo>
                      <a:pt x="10684" y="157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6" name="Freeform 180"/>
              <p:cNvSpPr>
                <a:spLocks/>
              </p:cNvSpPr>
              <p:nvPr/>
            </p:nvSpPr>
            <p:spPr bwMode="auto">
              <a:xfrm>
                <a:off x="6397625" y="3695700"/>
                <a:ext cx="20638" cy="47625"/>
              </a:xfrm>
              <a:custGeom>
                <a:avLst/>
                <a:gdLst>
                  <a:gd name="T0" fmla="*/ 3750 w 20000"/>
                  <a:gd name="T1" fmla="*/ 17027 h 20000"/>
                  <a:gd name="T2" fmla="*/ 0 w 20000"/>
                  <a:gd name="T3" fmla="*/ 5405 h 20000"/>
                  <a:gd name="T4" fmla="*/ 3750 w 20000"/>
                  <a:gd name="T5" fmla="*/ 4324 h 20000"/>
                  <a:gd name="T6" fmla="*/ 9375 w 20000"/>
                  <a:gd name="T7" fmla="*/ 0 h 20000"/>
                  <a:gd name="T8" fmla="*/ 19375 w 20000"/>
                  <a:gd name="T9" fmla="*/ 4324 h 20000"/>
                  <a:gd name="T10" fmla="*/ 19375 w 20000"/>
                  <a:gd name="T11" fmla="*/ 11081 h 20000"/>
                  <a:gd name="T12" fmla="*/ 19375 w 20000"/>
                  <a:gd name="T13" fmla="*/ 17027 h 20000"/>
                  <a:gd name="T14" fmla="*/ 15625 w 20000"/>
                  <a:gd name="T15" fmla="*/ 19730 h 20000"/>
                  <a:gd name="T16" fmla="*/ 9375 w 20000"/>
                  <a:gd name="T17" fmla="*/ 17027 h 20000"/>
                  <a:gd name="T18" fmla="*/ 3750 w 20000"/>
                  <a:gd name="T19" fmla="*/ 170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3750" y="17027"/>
                    </a:moveTo>
                    <a:lnTo>
                      <a:pt x="0" y="5405"/>
                    </a:lnTo>
                    <a:lnTo>
                      <a:pt x="3750" y="4324"/>
                    </a:lnTo>
                    <a:lnTo>
                      <a:pt x="9375" y="0"/>
                    </a:lnTo>
                    <a:lnTo>
                      <a:pt x="19375" y="4324"/>
                    </a:lnTo>
                    <a:lnTo>
                      <a:pt x="19375" y="11081"/>
                    </a:lnTo>
                    <a:lnTo>
                      <a:pt x="19375" y="17027"/>
                    </a:lnTo>
                    <a:lnTo>
                      <a:pt x="15625" y="19730"/>
                    </a:lnTo>
                    <a:lnTo>
                      <a:pt x="9375" y="17027"/>
                    </a:lnTo>
                    <a:lnTo>
                      <a:pt x="3750" y="1702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7" name="Freeform 179"/>
              <p:cNvSpPr>
                <a:spLocks/>
              </p:cNvSpPr>
              <p:nvPr/>
            </p:nvSpPr>
            <p:spPr bwMode="auto">
              <a:xfrm>
                <a:off x="8347075" y="3019425"/>
                <a:ext cx="149225" cy="220663"/>
              </a:xfrm>
              <a:custGeom>
                <a:avLst/>
                <a:gdLst>
                  <a:gd name="T0" fmla="*/ 19915 w 20000"/>
                  <a:gd name="T1" fmla="*/ 1494 h 20000"/>
                  <a:gd name="T2" fmla="*/ 19915 w 20000"/>
                  <a:gd name="T3" fmla="*/ 2069 h 20000"/>
                  <a:gd name="T4" fmla="*/ 19060 w 20000"/>
                  <a:gd name="T5" fmla="*/ 2356 h 20000"/>
                  <a:gd name="T6" fmla="*/ 18547 w 20000"/>
                  <a:gd name="T7" fmla="*/ 3851 h 20000"/>
                  <a:gd name="T8" fmla="*/ 17692 w 20000"/>
                  <a:gd name="T9" fmla="*/ 5920 h 20000"/>
                  <a:gd name="T10" fmla="*/ 18547 w 20000"/>
                  <a:gd name="T11" fmla="*/ 5920 h 20000"/>
                  <a:gd name="T12" fmla="*/ 19060 w 20000"/>
                  <a:gd name="T13" fmla="*/ 7701 h 20000"/>
                  <a:gd name="T14" fmla="*/ 17692 w 20000"/>
                  <a:gd name="T15" fmla="*/ 8563 h 20000"/>
                  <a:gd name="T16" fmla="*/ 17265 w 20000"/>
                  <a:gd name="T17" fmla="*/ 9195 h 20000"/>
                  <a:gd name="T18" fmla="*/ 15556 w 20000"/>
                  <a:gd name="T19" fmla="*/ 10057 h 20000"/>
                  <a:gd name="T20" fmla="*/ 15556 w 20000"/>
                  <a:gd name="T21" fmla="*/ 10690 h 20000"/>
                  <a:gd name="T22" fmla="*/ 13675 w 20000"/>
                  <a:gd name="T23" fmla="*/ 10977 h 20000"/>
                  <a:gd name="T24" fmla="*/ 12821 w 20000"/>
                  <a:gd name="T25" fmla="*/ 12529 h 20000"/>
                  <a:gd name="T26" fmla="*/ 12821 w 20000"/>
                  <a:gd name="T27" fmla="*/ 13678 h 20000"/>
                  <a:gd name="T28" fmla="*/ 11966 w 20000"/>
                  <a:gd name="T29" fmla="*/ 13678 h 20000"/>
                  <a:gd name="T30" fmla="*/ 13675 w 20000"/>
                  <a:gd name="T31" fmla="*/ 14540 h 20000"/>
                  <a:gd name="T32" fmla="*/ 16410 w 20000"/>
                  <a:gd name="T33" fmla="*/ 16034 h 20000"/>
                  <a:gd name="T34" fmla="*/ 17265 w 20000"/>
                  <a:gd name="T35" fmla="*/ 16034 h 20000"/>
                  <a:gd name="T36" fmla="*/ 17265 w 20000"/>
                  <a:gd name="T37" fmla="*/ 16897 h 20000"/>
                  <a:gd name="T38" fmla="*/ 13675 w 20000"/>
                  <a:gd name="T39" fmla="*/ 17816 h 20000"/>
                  <a:gd name="T40" fmla="*/ 11966 w 20000"/>
                  <a:gd name="T41" fmla="*/ 19310 h 20000"/>
                  <a:gd name="T42" fmla="*/ 9744 w 20000"/>
                  <a:gd name="T43" fmla="*/ 19943 h 20000"/>
                  <a:gd name="T44" fmla="*/ 8376 w 20000"/>
                  <a:gd name="T45" fmla="*/ 18736 h 20000"/>
                  <a:gd name="T46" fmla="*/ 8034 w 20000"/>
                  <a:gd name="T47" fmla="*/ 18736 h 20000"/>
                  <a:gd name="T48" fmla="*/ 8034 w 20000"/>
                  <a:gd name="T49" fmla="*/ 19943 h 20000"/>
                  <a:gd name="T50" fmla="*/ 7009 w 20000"/>
                  <a:gd name="T51" fmla="*/ 19310 h 20000"/>
                  <a:gd name="T52" fmla="*/ 5812 w 20000"/>
                  <a:gd name="T53" fmla="*/ 19310 h 20000"/>
                  <a:gd name="T54" fmla="*/ 6154 w 20000"/>
                  <a:gd name="T55" fmla="*/ 18391 h 20000"/>
                  <a:gd name="T56" fmla="*/ 4444 w 20000"/>
                  <a:gd name="T57" fmla="*/ 18391 h 20000"/>
                  <a:gd name="T58" fmla="*/ 4872 w 20000"/>
                  <a:gd name="T59" fmla="*/ 16897 h 20000"/>
                  <a:gd name="T60" fmla="*/ 5812 w 20000"/>
                  <a:gd name="T61" fmla="*/ 16322 h 20000"/>
                  <a:gd name="T62" fmla="*/ 6154 w 20000"/>
                  <a:gd name="T63" fmla="*/ 16322 h 20000"/>
                  <a:gd name="T64" fmla="*/ 4872 w 20000"/>
                  <a:gd name="T65" fmla="*/ 16034 h 20000"/>
                  <a:gd name="T66" fmla="*/ 4872 w 20000"/>
                  <a:gd name="T67" fmla="*/ 14540 h 20000"/>
                  <a:gd name="T68" fmla="*/ 5812 w 20000"/>
                  <a:gd name="T69" fmla="*/ 13678 h 20000"/>
                  <a:gd name="T70" fmla="*/ 4872 w 20000"/>
                  <a:gd name="T71" fmla="*/ 13103 h 20000"/>
                  <a:gd name="T72" fmla="*/ 4444 w 20000"/>
                  <a:gd name="T73" fmla="*/ 13103 h 20000"/>
                  <a:gd name="T74" fmla="*/ 2222 w 20000"/>
                  <a:gd name="T75" fmla="*/ 12529 h 20000"/>
                  <a:gd name="T76" fmla="*/ 2222 w 20000"/>
                  <a:gd name="T77" fmla="*/ 13103 h 20000"/>
                  <a:gd name="T78" fmla="*/ 1368 w 20000"/>
                  <a:gd name="T79" fmla="*/ 13103 h 20000"/>
                  <a:gd name="T80" fmla="*/ 0 w 20000"/>
                  <a:gd name="T81" fmla="*/ 12529 h 20000"/>
                  <a:gd name="T82" fmla="*/ 1368 w 20000"/>
                  <a:gd name="T83" fmla="*/ 10057 h 20000"/>
                  <a:gd name="T84" fmla="*/ 4444 w 20000"/>
                  <a:gd name="T85" fmla="*/ 8563 h 20000"/>
                  <a:gd name="T86" fmla="*/ 5812 w 20000"/>
                  <a:gd name="T87" fmla="*/ 7701 h 20000"/>
                  <a:gd name="T88" fmla="*/ 6154 w 20000"/>
                  <a:gd name="T89" fmla="*/ 6782 h 20000"/>
                  <a:gd name="T90" fmla="*/ 6154 w 20000"/>
                  <a:gd name="T91" fmla="*/ 5345 h 20000"/>
                  <a:gd name="T92" fmla="*/ 8034 w 20000"/>
                  <a:gd name="T93" fmla="*/ 4770 h 20000"/>
                  <a:gd name="T94" fmla="*/ 9316 w 20000"/>
                  <a:gd name="T95" fmla="*/ 5920 h 20000"/>
                  <a:gd name="T96" fmla="*/ 11538 w 20000"/>
                  <a:gd name="T97" fmla="*/ 5920 h 20000"/>
                  <a:gd name="T98" fmla="*/ 12821 w 20000"/>
                  <a:gd name="T99" fmla="*/ 5920 h 20000"/>
                  <a:gd name="T100" fmla="*/ 11966 w 20000"/>
                  <a:gd name="T101" fmla="*/ 4770 h 20000"/>
                  <a:gd name="T102" fmla="*/ 11966 w 20000"/>
                  <a:gd name="T103" fmla="*/ 4425 h 20000"/>
                  <a:gd name="T104" fmla="*/ 13675 w 20000"/>
                  <a:gd name="T105" fmla="*/ 3851 h 20000"/>
                  <a:gd name="T106" fmla="*/ 15043 w 20000"/>
                  <a:gd name="T107" fmla="*/ 3506 h 20000"/>
                  <a:gd name="T108" fmla="*/ 15556 w 20000"/>
                  <a:gd name="T109" fmla="*/ 2356 h 20000"/>
                  <a:gd name="T110" fmla="*/ 17265 w 20000"/>
                  <a:gd name="T111" fmla="*/ 1494 h 20000"/>
                  <a:gd name="T112" fmla="*/ 17265 w 20000"/>
                  <a:gd name="T113" fmla="*/ 0 h 20000"/>
                  <a:gd name="T114" fmla="*/ 18547 w 20000"/>
                  <a:gd name="T115" fmla="*/ 575 h 20000"/>
                  <a:gd name="T116" fmla="*/ 19915 w 20000"/>
                  <a:gd name="T117" fmla="*/ 149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19915" y="1494"/>
                    </a:moveTo>
                    <a:lnTo>
                      <a:pt x="19915" y="2069"/>
                    </a:lnTo>
                    <a:lnTo>
                      <a:pt x="19060" y="2356"/>
                    </a:lnTo>
                    <a:lnTo>
                      <a:pt x="18547" y="3851"/>
                    </a:lnTo>
                    <a:lnTo>
                      <a:pt x="17692" y="5920"/>
                    </a:lnTo>
                    <a:lnTo>
                      <a:pt x="18547" y="5920"/>
                    </a:lnTo>
                    <a:lnTo>
                      <a:pt x="19060" y="7701"/>
                    </a:lnTo>
                    <a:lnTo>
                      <a:pt x="17692" y="8563"/>
                    </a:lnTo>
                    <a:lnTo>
                      <a:pt x="17265" y="9195"/>
                    </a:lnTo>
                    <a:lnTo>
                      <a:pt x="15556" y="10057"/>
                    </a:lnTo>
                    <a:lnTo>
                      <a:pt x="15556" y="10690"/>
                    </a:lnTo>
                    <a:lnTo>
                      <a:pt x="13675" y="10977"/>
                    </a:lnTo>
                    <a:lnTo>
                      <a:pt x="12821" y="12529"/>
                    </a:lnTo>
                    <a:lnTo>
                      <a:pt x="12821" y="13678"/>
                    </a:lnTo>
                    <a:lnTo>
                      <a:pt x="11966" y="13678"/>
                    </a:lnTo>
                    <a:lnTo>
                      <a:pt x="13675" y="14540"/>
                    </a:lnTo>
                    <a:lnTo>
                      <a:pt x="16410" y="16034"/>
                    </a:lnTo>
                    <a:lnTo>
                      <a:pt x="17265" y="16034"/>
                    </a:lnTo>
                    <a:lnTo>
                      <a:pt x="17265" y="16897"/>
                    </a:lnTo>
                    <a:lnTo>
                      <a:pt x="13675" y="17816"/>
                    </a:lnTo>
                    <a:lnTo>
                      <a:pt x="11966" y="19310"/>
                    </a:lnTo>
                    <a:lnTo>
                      <a:pt x="9744" y="19943"/>
                    </a:lnTo>
                    <a:lnTo>
                      <a:pt x="8376" y="18736"/>
                    </a:lnTo>
                    <a:lnTo>
                      <a:pt x="8034" y="18736"/>
                    </a:lnTo>
                    <a:lnTo>
                      <a:pt x="8034" y="19943"/>
                    </a:lnTo>
                    <a:lnTo>
                      <a:pt x="7009" y="19310"/>
                    </a:lnTo>
                    <a:lnTo>
                      <a:pt x="5812" y="19310"/>
                    </a:lnTo>
                    <a:lnTo>
                      <a:pt x="6154" y="18391"/>
                    </a:lnTo>
                    <a:lnTo>
                      <a:pt x="4444" y="18391"/>
                    </a:lnTo>
                    <a:lnTo>
                      <a:pt x="4872" y="16897"/>
                    </a:lnTo>
                    <a:lnTo>
                      <a:pt x="5812" y="16322"/>
                    </a:lnTo>
                    <a:lnTo>
                      <a:pt x="6154" y="16322"/>
                    </a:lnTo>
                    <a:lnTo>
                      <a:pt x="4872" y="16034"/>
                    </a:lnTo>
                    <a:lnTo>
                      <a:pt x="4872" y="14540"/>
                    </a:lnTo>
                    <a:lnTo>
                      <a:pt x="5812" y="13678"/>
                    </a:lnTo>
                    <a:lnTo>
                      <a:pt x="4872" y="13103"/>
                    </a:lnTo>
                    <a:lnTo>
                      <a:pt x="4444" y="13103"/>
                    </a:lnTo>
                    <a:lnTo>
                      <a:pt x="2222" y="12529"/>
                    </a:lnTo>
                    <a:lnTo>
                      <a:pt x="2222" y="13103"/>
                    </a:lnTo>
                    <a:lnTo>
                      <a:pt x="1368" y="13103"/>
                    </a:lnTo>
                    <a:lnTo>
                      <a:pt x="0" y="12529"/>
                    </a:lnTo>
                    <a:lnTo>
                      <a:pt x="1368" y="10057"/>
                    </a:lnTo>
                    <a:lnTo>
                      <a:pt x="4444" y="8563"/>
                    </a:lnTo>
                    <a:lnTo>
                      <a:pt x="5812" y="7701"/>
                    </a:lnTo>
                    <a:lnTo>
                      <a:pt x="6154" y="6782"/>
                    </a:lnTo>
                    <a:lnTo>
                      <a:pt x="6154" y="5345"/>
                    </a:lnTo>
                    <a:lnTo>
                      <a:pt x="8034" y="4770"/>
                    </a:lnTo>
                    <a:lnTo>
                      <a:pt x="9316" y="5920"/>
                    </a:lnTo>
                    <a:lnTo>
                      <a:pt x="11538" y="5920"/>
                    </a:lnTo>
                    <a:lnTo>
                      <a:pt x="12821" y="5920"/>
                    </a:lnTo>
                    <a:lnTo>
                      <a:pt x="11966" y="4770"/>
                    </a:lnTo>
                    <a:lnTo>
                      <a:pt x="11966" y="4425"/>
                    </a:lnTo>
                    <a:lnTo>
                      <a:pt x="13675" y="3851"/>
                    </a:lnTo>
                    <a:lnTo>
                      <a:pt x="15043" y="3506"/>
                    </a:lnTo>
                    <a:lnTo>
                      <a:pt x="15556" y="2356"/>
                    </a:lnTo>
                    <a:lnTo>
                      <a:pt x="17265" y="1494"/>
                    </a:lnTo>
                    <a:lnTo>
                      <a:pt x="17265" y="0"/>
                    </a:lnTo>
                    <a:lnTo>
                      <a:pt x="18547" y="575"/>
                    </a:lnTo>
                    <a:lnTo>
                      <a:pt x="19915" y="149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8" name="Freeform 178"/>
              <p:cNvSpPr>
                <a:spLocks/>
              </p:cNvSpPr>
              <p:nvPr/>
            </p:nvSpPr>
            <p:spPr bwMode="auto">
              <a:xfrm>
                <a:off x="8426450" y="3195638"/>
                <a:ext cx="103188" cy="168275"/>
              </a:xfrm>
              <a:custGeom>
                <a:avLst/>
                <a:gdLst>
                  <a:gd name="T0" fmla="*/ 1975 w 20000"/>
                  <a:gd name="T1" fmla="*/ 4302 h 20000"/>
                  <a:gd name="T2" fmla="*/ 4444 w 20000"/>
                  <a:gd name="T3" fmla="*/ 2340 h 20000"/>
                  <a:gd name="T4" fmla="*/ 9506 w 20000"/>
                  <a:gd name="T5" fmla="*/ 1208 h 20000"/>
                  <a:gd name="T6" fmla="*/ 9506 w 20000"/>
                  <a:gd name="T7" fmla="*/ 0 h 20000"/>
                  <a:gd name="T8" fmla="*/ 14568 w 20000"/>
                  <a:gd name="T9" fmla="*/ 5132 h 20000"/>
                  <a:gd name="T10" fmla="*/ 18519 w 20000"/>
                  <a:gd name="T11" fmla="*/ 8604 h 20000"/>
                  <a:gd name="T12" fmla="*/ 18519 w 20000"/>
                  <a:gd name="T13" fmla="*/ 11698 h 20000"/>
                  <a:gd name="T14" fmla="*/ 19877 w 20000"/>
                  <a:gd name="T15" fmla="*/ 12528 h 20000"/>
                  <a:gd name="T16" fmla="*/ 19877 w 20000"/>
                  <a:gd name="T17" fmla="*/ 14491 h 20000"/>
                  <a:gd name="T18" fmla="*/ 18519 w 20000"/>
                  <a:gd name="T19" fmla="*/ 16377 h 20000"/>
                  <a:gd name="T20" fmla="*/ 16543 w 20000"/>
                  <a:gd name="T21" fmla="*/ 16377 h 20000"/>
                  <a:gd name="T22" fmla="*/ 15309 w 20000"/>
                  <a:gd name="T23" fmla="*/ 16377 h 20000"/>
                  <a:gd name="T24" fmla="*/ 15309 w 20000"/>
                  <a:gd name="T25" fmla="*/ 17585 h 20000"/>
                  <a:gd name="T26" fmla="*/ 13333 w 20000"/>
                  <a:gd name="T27" fmla="*/ 16830 h 20000"/>
                  <a:gd name="T28" fmla="*/ 13333 w 20000"/>
                  <a:gd name="T29" fmla="*/ 16377 h 20000"/>
                  <a:gd name="T30" fmla="*/ 12099 w 20000"/>
                  <a:gd name="T31" fmla="*/ 17585 h 20000"/>
                  <a:gd name="T32" fmla="*/ 12099 w 20000"/>
                  <a:gd name="T33" fmla="*/ 17962 h 20000"/>
                  <a:gd name="T34" fmla="*/ 11481 w 20000"/>
                  <a:gd name="T35" fmla="*/ 17585 h 20000"/>
                  <a:gd name="T36" fmla="*/ 10247 w 20000"/>
                  <a:gd name="T37" fmla="*/ 17962 h 20000"/>
                  <a:gd name="T38" fmla="*/ 11481 w 20000"/>
                  <a:gd name="T39" fmla="*/ 18717 h 20000"/>
                  <a:gd name="T40" fmla="*/ 10247 w 20000"/>
                  <a:gd name="T41" fmla="*/ 19472 h 20000"/>
                  <a:gd name="T42" fmla="*/ 9506 w 20000"/>
                  <a:gd name="T43" fmla="*/ 18717 h 20000"/>
                  <a:gd name="T44" fmla="*/ 8272 w 20000"/>
                  <a:gd name="T45" fmla="*/ 19472 h 20000"/>
                  <a:gd name="T46" fmla="*/ 6296 w 20000"/>
                  <a:gd name="T47" fmla="*/ 19925 h 20000"/>
                  <a:gd name="T48" fmla="*/ 6296 w 20000"/>
                  <a:gd name="T49" fmla="*/ 17585 h 20000"/>
                  <a:gd name="T50" fmla="*/ 5062 w 20000"/>
                  <a:gd name="T51" fmla="*/ 17962 h 20000"/>
                  <a:gd name="T52" fmla="*/ 4444 w 20000"/>
                  <a:gd name="T53" fmla="*/ 15623 h 20000"/>
                  <a:gd name="T54" fmla="*/ 5062 w 20000"/>
                  <a:gd name="T55" fmla="*/ 14868 h 20000"/>
                  <a:gd name="T56" fmla="*/ 4444 w 20000"/>
                  <a:gd name="T57" fmla="*/ 14491 h 20000"/>
                  <a:gd name="T58" fmla="*/ 4444 w 20000"/>
                  <a:gd name="T59" fmla="*/ 13660 h 20000"/>
                  <a:gd name="T60" fmla="*/ 5062 w 20000"/>
                  <a:gd name="T61" fmla="*/ 13283 h 20000"/>
                  <a:gd name="T62" fmla="*/ 5062 w 20000"/>
                  <a:gd name="T63" fmla="*/ 12528 h 20000"/>
                  <a:gd name="T64" fmla="*/ 4444 w 20000"/>
                  <a:gd name="T65" fmla="*/ 11698 h 20000"/>
                  <a:gd name="T66" fmla="*/ 1975 w 20000"/>
                  <a:gd name="T67" fmla="*/ 9434 h 20000"/>
                  <a:gd name="T68" fmla="*/ 1235 w 20000"/>
                  <a:gd name="T69" fmla="*/ 8604 h 20000"/>
                  <a:gd name="T70" fmla="*/ 1235 w 20000"/>
                  <a:gd name="T71" fmla="*/ 8226 h 20000"/>
                  <a:gd name="T72" fmla="*/ 4444 w 20000"/>
                  <a:gd name="T73" fmla="*/ 8604 h 20000"/>
                  <a:gd name="T74" fmla="*/ 3210 w 20000"/>
                  <a:gd name="T75" fmla="*/ 7396 h 20000"/>
                  <a:gd name="T76" fmla="*/ 1975 w 20000"/>
                  <a:gd name="T77" fmla="*/ 6642 h 20000"/>
                  <a:gd name="T78" fmla="*/ 1235 w 20000"/>
                  <a:gd name="T79" fmla="*/ 5434 h 20000"/>
                  <a:gd name="T80" fmla="*/ 0 w 20000"/>
                  <a:gd name="T81" fmla="*/ 5132 h 20000"/>
                  <a:gd name="T82" fmla="*/ 1975 w 20000"/>
                  <a:gd name="T83" fmla="*/ 5132 h 20000"/>
                  <a:gd name="T84" fmla="*/ 1975 w 20000"/>
                  <a:gd name="T85" fmla="*/ 430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75" y="4302"/>
                    </a:moveTo>
                    <a:lnTo>
                      <a:pt x="4444" y="2340"/>
                    </a:lnTo>
                    <a:lnTo>
                      <a:pt x="9506" y="1208"/>
                    </a:lnTo>
                    <a:lnTo>
                      <a:pt x="9506" y="0"/>
                    </a:lnTo>
                    <a:lnTo>
                      <a:pt x="14568" y="5132"/>
                    </a:lnTo>
                    <a:lnTo>
                      <a:pt x="18519" y="8604"/>
                    </a:lnTo>
                    <a:lnTo>
                      <a:pt x="18519" y="11698"/>
                    </a:lnTo>
                    <a:lnTo>
                      <a:pt x="19877" y="12528"/>
                    </a:lnTo>
                    <a:lnTo>
                      <a:pt x="19877" y="14491"/>
                    </a:lnTo>
                    <a:lnTo>
                      <a:pt x="18519" y="16377"/>
                    </a:lnTo>
                    <a:lnTo>
                      <a:pt x="16543" y="16377"/>
                    </a:lnTo>
                    <a:lnTo>
                      <a:pt x="15309" y="16377"/>
                    </a:lnTo>
                    <a:lnTo>
                      <a:pt x="15309" y="17585"/>
                    </a:lnTo>
                    <a:lnTo>
                      <a:pt x="13333" y="16830"/>
                    </a:lnTo>
                    <a:lnTo>
                      <a:pt x="13333" y="16377"/>
                    </a:lnTo>
                    <a:lnTo>
                      <a:pt x="12099" y="17585"/>
                    </a:lnTo>
                    <a:lnTo>
                      <a:pt x="12099" y="17962"/>
                    </a:lnTo>
                    <a:lnTo>
                      <a:pt x="11481" y="17585"/>
                    </a:lnTo>
                    <a:lnTo>
                      <a:pt x="10247" y="17962"/>
                    </a:lnTo>
                    <a:lnTo>
                      <a:pt x="11481" y="18717"/>
                    </a:lnTo>
                    <a:lnTo>
                      <a:pt x="10247" y="19472"/>
                    </a:lnTo>
                    <a:lnTo>
                      <a:pt x="9506" y="18717"/>
                    </a:lnTo>
                    <a:lnTo>
                      <a:pt x="8272" y="19472"/>
                    </a:lnTo>
                    <a:lnTo>
                      <a:pt x="6296" y="19925"/>
                    </a:lnTo>
                    <a:lnTo>
                      <a:pt x="6296" y="17585"/>
                    </a:lnTo>
                    <a:lnTo>
                      <a:pt x="5062" y="17962"/>
                    </a:lnTo>
                    <a:lnTo>
                      <a:pt x="4444" y="15623"/>
                    </a:lnTo>
                    <a:lnTo>
                      <a:pt x="5062" y="14868"/>
                    </a:lnTo>
                    <a:lnTo>
                      <a:pt x="4444" y="14491"/>
                    </a:lnTo>
                    <a:lnTo>
                      <a:pt x="4444" y="13660"/>
                    </a:lnTo>
                    <a:lnTo>
                      <a:pt x="5062" y="13283"/>
                    </a:lnTo>
                    <a:lnTo>
                      <a:pt x="5062" y="12528"/>
                    </a:lnTo>
                    <a:lnTo>
                      <a:pt x="4444" y="11698"/>
                    </a:lnTo>
                    <a:lnTo>
                      <a:pt x="1975" y="9434"/>
                    </a:lnTo>
                    <a:lnTo>
                      <a:pt x="1235" y="8604"/>
                    </a:lnTo>
                    <a:lnTo>
                      <a:pt x="1235" y="8226"/>
                    </a:lnTo>
                    <a:lnTo>
                      <a:pt x="4444" y="8604"/>
                    </a:lnTo>
                    <a:lnTo>
                      <a:pt x="3210" y="7396"/>
                    </a:lnTo>
                    <a:lnTo>
                      <a:pt x="1975" y="6642"/>
                    </a:lnTo>
                    <a:lnTo>
                      <a:pt x="1235" y="5434"/>
                    </a:lnTo>
                    <a:lnTo>
                      <a:pt x="0" y="5132"/>
                    </a:lnTo>
                    <a:lnTo>
                      <a:pt x="1975" y="5132"/>
                    </a:lnTo>
                    <a:lnTo>
                      <a:pt x="1975" y="430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59" name="Freeform 177"/>
              <p:cNvSpPr>
                <a:spLocks/>
              </p:cNvSpPr>
              <p:nvPr/>
            </p:nvSpPr>
            <p:spPr bwMode="auto">
              <a:xfrm>
                <a:off x="6278563" y="3570288"/>
                <a:ext cx="42862" cy="44450"/>
              </a:xfrm>
              <a:custGeom>
                <a:avLst/>
                <a:gdLst>
                  <a:gd name="T0" fmla="*/ 0 w 20000"/>
                  <a:gd name="T1" fmla="*/ 12174 h 20000"/>
                  <a:gd name="T2" fmla="*/ 2941 w 20000"/>
                  <a:gd name="T3" fmla="*/ 7826 h 20000"/>
                  <a:gd name="T4" fmla="*/ 4706 w 20000"/>
                  <a:gd name="T5" fmla="*/ 0 h 20000"/>
                  <a:gd name="T6" fmla="*/ 12059 w 20000"/>
                  <a:gd name="T7" fmla="*/ 0 h 20000"/>
                  <a:gd name="T8" fmla="*/ 15000 w 20000"/>
                  <a:gd name="T9" fmla="*/ 3188 h 20000"/>
                  <a:gd name="T10" fmla="*/ 18235 w 20000"/>
                  <a:gd name="T11" fmla="*/ 3188 h 20000"/>
                  <a:gd name="T12" fmla="*/ 18235 w 20000"/>
                  <a:gd name="T13" fmla="*/ 6087 h 20000"/>
                  <a:gd name="T14" fmla="*/ 12059 w 20000"/>
                  <a:gd name="T15" fmla="*/ 7826 h 20000"/>
                  <a:gd name="T16" fmla="*/ 15000 w 20000"/>
                  <a:gd name="T17" fmla="*/ 10725 h 20000"/>
                  <a:gd name="T18" fmla="*/ 19706 w 20000"/>
                  <a:gd name="T19" fmla="*/ 19710 h 20000"/>
                  <a:gd name="T20" fmla="*/ 12059 w 20000"/>
                  <a:gd name="T21" fmla="*/ 19710 h 20000"/>
                  <a:gd name="T22" fmla="*/ 10588 w 20000"/>
                  <a:gd name="T23" fmla="*/ 15072 h 20000"/>
                  <a:gd name="T24" fmla="*/ 0 w 20000"/>
                  <a:gd name="T25" fmla="*/ 1217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0" y="12174"/>
                    </a:moveTo>
                    <a:lnTo>
                      <a:pt x="2941" y="7826"/>
                    </a:lnTo>
                    <a:lnTo>
                      <a:pt x="4706" y="0"/>
                    </a:lnTo>
                    <a:lnTo>
                      <a:pt x="12059" y="0"/>
                    </a:lnTo>
                    <a:lnTo>
                      <a:pt x="15000" y="3188"/>
                    </a:lnTo>
                    <a:lnTo>
                      <a:pt x="18235" y="3188"/>
                    </a:lnTo>
                    <a:lnTo>
                      <a:pt x="18235" y="6087"/>
                    </a:lnTo>
                    <a:lnTo>
                      <a:pt x="12059" y="7826"/>
                    </a:lnTo>
                    <a:lnTo>
                      <a:pt x="15000" y="10725"/>
                    </a:lnTo>
                    <a:lnTo>
                      <a:pt x="19706" y="19710"/>
                    </a:lnTo>
                    <a:lnTo>
                      <a:pt x="12059" y="19710"/>
                    </a:lnTo>
                    <a:lnTo>
                      <a:pt x="10588" y="15072"/>
                    </a:lnTo>
                    <a:lnTo>
                      <a:pt x="0" y="1217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0" name="Freeform 176"/>
              <p:cNvSpPr>
                <a:spLocks/>
              </p:cNvSpPr>
              <p:nvPr/>
            </p:nvSpPr>
            <p:spPr bwMode="auto">
              <a:xfrm>
                <a:off x="7794625" y="3794125"/>
                <a:ext cx="223838" cy="266700"/>
              </a:xfrm>
              <a:custGeom>
                <a:avLst/>
                <a:gdLst>
                  <a:gd name="T0" fmla="*/ 2323 w 20000"/>
                  <a:gd name="T1" fmla="*/ 2952 h 20000"/>
                  <a:gd name="T2" fmla="*/ 3229 w 20000"/>
                  <a:gd name="T3" fmla="*/ 476 h 20000"/>
                  <a:gd name="T4" fmla="*/ 4646 w 20000"/>
                  <a:gd name="T5" fmla="*/ 0 h 20000"/>
                  <a:gd name="T6" fmla="*/ 6459 w 20000"/>
                  <a:gd name="T7" fmla="*/ 1238 h 20000"/>
                  <a:gd name="T8" fmla="*/ 6459 w 20000"/>
                  <a:gd name="T9" fmla="*/ 2952 h 20000"/>
                  <a:gd name="T10" fmla="*/ 10198 w 20000"/>
                  <a:gd name="T11" fmla="*/ 3714 h 20000"/>
                  <a:gd name="T12" fmla="*/ 11445 w 20000"/>
                  <a:gd name="T13" fmla="*/ 4476 h 20000"/>
                  <a:gd name="T14" fmla="*/ 11671 w 20000"/>
                  <a:gd name="T15" fmla="*/ 6429 h 20000"/>
                  <a:gd name="T16" fmla="*/ 9972 w 20000"/>
                  <a:gd name="T17" fmla="*/ 6429 h 20000"/>
                  <a:gd name="T18" fmla="*/ 12578 w 20000"/>
                  <a:gd name="T19" fmla="*/ 8857 h 20000"/>
                  <a:gd name="T20" fmla="*/ 14051 w 20000"/>
                  <a:gd name="T21" fmla="*/ 10095 h 20000"/>
                  <a:gd name="T22" fmla="*/ 16431 w 20000"/>
                  <a:gd name="T23" fmla="*/ 12286 h 20000"/>
                  <a:gd name="T24" fmla="*/ 19320 w 20000"/>
                  <a:gd name="T25" fmla="*/ 14810 h 20000"/>
                  <a:gd name="T26" fmla="*/ 19943 w 20000"/>
                  <a:gd name="T27" fmla="*/ 16238 h 20000"/>
                  <a:gd name="T28" fmla="*/ 19943 w 20000"/>
                  <a:gd name="T29" fmla="*/ 18000 h 20000"/>
                  <a:gd name="T30" fmla="*/ 18414 w 20000"/>
                  <a:gd name="T31" fmla="*/ 18714 h 20000"/>
                  <a:gd name="T32" fmla="*/ 16431 w 20000"/>
                  <a:gd name="T33" fmla="*/ 18476 h 20000"/>
                  <a:gd name="T34" fmla="*/ 16091 w 20000"/>
                  <a:gd name="T35" fmla="*/ 19952 h 20000"/>
                  <a:gd name="T36" fmla="*/ 14051 w 20000"/>
                  <a:gd name="T37" fmla="*/ 19476 h 20000"/>
                  <a:gd name="T38" fmla="*/ 14618 w 20000"/>
                  <a:gd name="T39" fmla="*/ 18000 h 20000"/>
                  <a:gd name="T40" fmla="*/ 14618 w 20000"/>
                  <a:gd name="T41" fmla="*/ 15524 h 20000"/>
                  <a:gd name="T42" fmla="*/ 14051 w 20000"/>
                  <a:gd name="T43" fmla="*/ 14810 h 20000"/>
                  <a:gd name="T44" fmla="*/ 12578 w 20000"/>
                  <a:gd name="T45" fmla="*/ 13333 h 20000"/>
                  <a:gd name="T46" fmla="*/ 12295 w 20000"/>
                  <a:gd name="T47" fmla="*/ 12095 h 20000"/>
                  <a:gd name="T48" fmla="*/ 9972 w 20000"/>
                  <a:gd name="T49" fmla="*/ 9619 h 20000"/>
                  <a:gd name="T50" fmla="*/ 7875 w 20000"/>
                  <a:gd name="T51" fmla="*/ 10095 h 20000"/>
                  <a:gd name="T52" fmla="*/ 6459 w 20000"/>
                  <a:gd name="T53" fmla="*/ 10333 h 20000"/>
                  <a:gd name="T54" fmla="*/ 4646 w 20000"/>
                  <a:gd name="T55" fmla="*/ 10333 h 20000"/>
                  <a:gd name="T56" fmla="*/ 3229 w 20000"/>
                  <a:gd name="T57" fmla="*/ 11095 h 20000"/>
                  <a:gd name="T58" fmla="*/ 2606 w 20000"/>
                  <a:gd name="T59" fmla="*/ 9143 h 20000"/>
                  <a:gd name="T60" fmla="*/ 2606 w 20000"/>
                  <a:gd name="T61" fmla="*/ 7143 h 20000"/>
                  <a:gd name="T62" fmla="*/ 1473 w 20000"/>
                  <a:gd name="T63" fmla="*/ 6905 h 20000"/>
                  <a:gd name="T64" fmla="*/ 1473 w 20000"/>
                  <a:gd name="T65" fmla="*/ 5667 h 20000"/>
                  <a:gd name="T66" fmla="*/ 0 w 20000"/>
                  <a:gd name="T67" fmla="*/ 5190 h 20000"/>
                  <a:gd name="T68" fmla="*/ 227 w 20000"/>
                  <a:gd name="T69" fmla="*/ 3905 h 20000"/>
                  <a:gd name="T70" fmla="*/ 907 w 20000"/>
                  <a:gd name="T71" fmla="*/ 3190 h 20000"/>
                  <a:gd name="T72" fmla="*/ 2323 w 20000"/>
                  <a:gd name="T73" fmla="*/ 24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2323" y="2476"/>
                    </a:moveTo>
                    <a:lnTo>
                      <a:pt x="2323" y="2952"/>
                    </a:lnTo>
                    <a:lnTo>
                      <a:pt x="3796" y="2952"/>
                    </a:lnTo>
                    <a:lnTo>
                      <a:pt x="3229" y="476"/>
                    </a:lnTo>
                    <a:lnTo>
                      <a:pt x="3796" y="0"/>
                    </a:lnTo>
                    <a:lnTo>
                      <a:pt x="4646" y="0"/>
                    </a:lnTo>
                    <a:lnTo>
                      <a:pt x="5212" y="762"/>
                    </a:lnTo>
                    <a:lnTo>
                      <a:pt x="6459" y="1238"/>
                    </a:lnTo>
                    <a:lnTo>
                      <a:pt x="6459" y="1762"/>
                    </a:lnTo>
                    <a:lnTo>
                      <a:pt x="6459" y="2952"/>
                    </a:lnTo>
                    <a:lnTo>
                      <a:pt x="8442" y="3714"/>
                    </a:lnTo>
                    <a:lnTo>
                      <a:pt x="10198" y="3714"/>
                    </a:lnTo>
                    <a:lnTo>
                      <a:pt x="10878" y="4476"/>
                    </a:lnTo>
                    <a:lnTo>
                      <a:pt x="11445" y="4476"/>
                    </a:lnTo>
                    <a:lnTo>
                      <a:pt x="11671" y="5190"/>
                    </a:lnTo>
                    <a:lnTo>
                      <a:pt x="11671" y="6429"/>
                    </a:lnTo>
                    <a:lnTo>
                      <a:pt x="10878" y="6429"/>
                    </a:lnTo>
                    <a:lnTo>
                      <a:pt x="9972" y="6429"/>
                    </a:lnTo>
                    <a:lnTo>
                      <a:pt x="9972" y="7143"/>
                    </a:lnTo>
                    <a:lnTo>
                      <a:pt x="12578" y="8857"/>
                    </a:lnTo>
                    <a:lnTo>
                      <a:pt x="13201" y="9143"/>
                    </a:lnTo>
                    <a:lnTo>
                      <a:pt x="14051" y="10095"/>
                    </a:lnTo>
                    <a:lnTo>
                      <a:pt x="14958" y="11095"/>
                    </a:lnTo>
                    <a:lnTo>
                      <a:pt x="16431" y="12286"/>
                    </a:lnTo>
                    <a:lnTo>
                      <a:pt x="17564" y="13524"/>
                    </a:lnTo>
                    <a:lnTo>
                      <a:pt x="19320" y="14810"/>
                    </a:lnTo>
                    <a:lnTo>
                      <a:pt x="19320" y="16238"/>
                    </a:lnTo>
                    <a:lnTo>
                      <a:pt x="19943" y="16238"/>
                    </a:lnTo>
                    <a:lnTo>
                      <a:pt x="19943" y="17238"/>
                    </a:lnTo>
                    <a:lnTo>
                      <a:pt x="19943" y="18000"/>
                    </a:lnTo>
                    <a:lnTo>
                      <a:pt x="19943" y="18714"/>
                    </a:lnTo>
                    <a:lnTo>
                      <a:pt x="18414" y="18714"/>
                    </a:lnTo>
                    <a:lnTo>
                      <a:pt x="17564" y="18000"/>
                    </a:lnTo>
                    <a:lnTo>
                      <a:pt x="16431" y="18476"/>
                    </a:lnTo>
                    <a:lnTo>
                      <a:pt x="16431" y="19476"/>
                    </a:lnTo>
                    <a:lnTo>
                      <a:pt x="16091" y="19952"/>
                    </a:lnTo>
                    <a:lnTo>
                      <a:pt x="15524" y="19476"/>
                    </a:lnTo>
                    <a:lnTo>
                      <a:pt x="14051" y="19476"/>
                    </a:lnTo>
                    <a:lnTo>
                      <a:pt x="14051" y="18714"/>
                    </a:lnTo>
                    <a:lnTo>
                      <a:pt x="14618" y="18000"/>
                    </a:lnTo>
                    <a:lnTo>
                      <a:pt x="14618" y="16238"/>
                    </a:lnTo>
                    <a:lnTo>
                      <a:pt x="14618" y="15524"/>
                    </a:lnTo>
                    <a:lnTo>
                      <a:pt x="14051" y="15286"/>
                    </a:lnTo>
                    <a:lnTo>
                      <a:pt x="14051" y="14810"/>
                    </a:lnTo>
                    <a:lnTo>
                      <a:pt x="13201" y="14286"/>
                    </a:lnTo>
                    <a:lnTo>
                      <a:pt x="12578" y="13333"/>
                    </a:lnTo>
                    <a:lnTo>
                      <a:pt x="12295" y="12286"/>
                    </a:lnTo>
                    <a:lnTo>
                      <a:pt x="12295" y="12095"/>
                    </a:lnTo>
                    <a:lnTo>
                      <a:pt x="10878" y="10333"/>
                    </a:lnTo>
                    <a:lnTo>
                      <a:pt x="9972" y="9619"/>
                    </a:lnTo>
                    <a:lnTo>
                      <a:pt x="8442" y="9143"/>
                    </a:lnTo>
                    <a:lnTo>
                      <a:pt x="7875" y="10095"/>
                    </a:lnTo>
                    <a:lnTo>
                      <a:pt x="7025" y="10095"/>
                    </a:lnTo>
                    <a:lnTo>
                      <a:pt x="6459" y="10333"/>
                    </a:lnTo>
                    <a:lnTo>
                      <a:pt x="5552" y="9619"/>
                    </a:lnTo>
                    <a:lnTo>
                      <a:pt x="4646" y="10333"/>
                    </a:lnTo>
                    <a:lnTo>
                      <a:pt x="4079" y="10333"/>
                    </a:lnTo>
                    <a:lnTo>
                      <a:pt x="3229" y="11095"/>
                    </a:lnTo>
                    <a:lnTo>
                      <a:pt x="2606" y="10810"/>
                    </a:lnTo>
                    <a:lnTo>
                      <a:pt x="2606" y="9143"/>
                    </a:lnTo>
                    <a:lnTo>
                      <a:pt x="3229" y="7619"/>
                    </a:lnTo>
                    <a:lnTo>
                      <a:pt x="2606" y="7143"/>
                    </a:lnTo>
                    <a:lnTo>
                      <a:pt x="2323" y="6429"/>
                    </a:lnTo>
                    <a:lnTo>
                      <a:pt x="1473" y="6905"/>
                    </a:lnTo>
                    <a:lnTo>
                      <a:pt x="907" y="6429"/>
                    </a:lnTo>
                    <a:lnTo>
                      <a:pt x="1473" y="5667"/>
                    </a:lnTo>
                    <a:lnTo>
                      <a:pt x="227" y="4952"/>
                    </a:lnTo>
                    <a:lnTo>
                      <a:pt x="0" y="5190"/>
                    </a:lnTo>
                    <a:lnTo>
                      <a:pt x="0" y="4476"/>
                    </a:lnTo>
                    <a:lnTo>
                      <a:pt x="227" y="3905"/>
                    </a:lnTo>
                    <a:lnTo>
                      <a:pt x="1473" y="3714"/>
                    </a:lnTo>
                    <a:lnTo>
                      <a:pt x="907" y="3190"/>
                    </a:lnTo>
                    <a:lnTo>
                      <a:pt x="1473" y="2952"/>
                    </a:lnTo>
                    <a:lnTo>
                      <a:pt x="2323" y="247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1" name="Freeform 175"/>
              <p:cNvSpPr>
                <a:spLocks/>
              </p:cNvSpPr>
              <p:nvPr/>
            </p:nvSpPr>
            <p:spPr bwMode="auto">
              <a:xfrm>
                <a:off x="5949950" y="3422650"/>
                <a:ext cx="36513" cy="53975"/>
              </a:xfrm>
              <a:custGeom>
                <a:avLst/>
                <a:gdLst>
                  <a:gd name="T0" fmla="*/ 9310 w 20000"/>
                  <a:gd name="T1" fmla="*/ 2381 h 20000"/>
                  <a:gd name="T2" fmla="*/ 19655 w 20000"/>
                  <a:gd name="T3" fmla="*/ 0 h 20000"/>
                  <a:gd name="T4" fmla="*/ 19655 w 20000"/>
                  <a:gd name="T5" fmla="*/ 3571 h 20000"/>
                  <a:gd name="T6" fmla="*/ 19655 w 20000"/>
                  <a:gd name="T7" fmla="*/ 8571 h 20000"/>
                  <a:gd name="T8" fmla="*/ 14483 w 20000"/>
                  <a:gd name="T9" fmla="*/ 12381 h 20000"/>
                  <a:gd name="T10" fmla="*/ 14483 w 20000"/>
                  <a:gd name="T11" fmla="*/ 13571 h 20000"/>
                  <a:gd name="T12" fmla="*/ 10690 w 20000"/>
                  <a:gd name="T13" fmla="*/ 18333 h 20000"/>
                  <a:gd name="T14" fmla="*/ 5517 w 20000"/>
                  <a:gd name="T15" fmla="*/ 18333 h 20000"/>
                  <a:gd name="T16" fmla="*/ 5517 w 20000"/>
                  <a:gd name="T17" fmla="*/ 19762 h 20000"/>
                  <a:gd name="T18" fmla="*/ 0 w 20000"/>
                  <a:gd name="T19" fmla="*/ 19762 h 20000"/>
                  <a:gd name="T20" fmla="*/ 0 w 20000"/>
                  <a:gd name="T21" fmla="*/ 15952 h 20000"/>
                  <a:gd name="T22" fmla="*/ 3793 w 20000"/>
                  <a:gd name="T23" fmla="*/ 12381 h 20000"/>
                  <a:gd name="T24" fmla="*/ 5517 w 20000"/>
                  <a:gd name="T25" fmla="*/ 6190 h 20000"/>
                  <a:gd name="T26" fmla="*/ 9310 w 20000"/>
                  <a:gd name="T27" fmla="*/ 238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9310" y="2381"/>
                    </a:moveTo>
                    <a:lnTo>
                      <a:pt x="19655" y="0"/>
                    </a:lnTo>
                    <a:lnTo>
                      <a:pt x="19655" y="3571"/>
                    </a:lnTo>
                    <a:lnTo>
                      <a:pt x="19655" y="8571"/>
                    </a:lnTo>
                    <a:lnTo>
                      <a:pt x="14483" y="12381"/>
                    </a:lnTo>
                    <a:lnTo>
                      <a:pt x="14483" y="13571"/>
                    </a:lnTo>
                    <a:lnTo>
                      <a:pt x="10690" y="18333"/>
                    </a:lnTo>
                    <a:lnTo>
                      <a:pt x="5517" y="18333"/>
                    </a:lnTo>
                    <a:lnTo>
                      <a:pt x="5517" y="19762"/>
                    </a:lnTo>
                    <a:lnTo>
                      <a:pt x="0" y="19762"/>
                    </a:lnTo>
                    <a:lnTo>
                      <a:pt x="0" y="15952"/>
                    </a:lnTo>
                    <a:lnTo>
                      <a:pt x="3793" y="12381"/>
                    </a:lnTo>
                    <a:lnTo>
                      <a:pt x="5517" y="6190"/>
                    </a:lnTo>
                    <a:lnTo>
                      <a:pt x="9310" y="23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2" name="Freeform 174"/>
              <p:cNvSpPr>
                <a:spLocks/>
              </p:cNvSpPr>
              <p:nvPr/>
            </p:nvSpPr>
            <p:spPr bwMode="auto">
              <a:xfrm>
                <a:off x="7821613" y="4273550"/>
                <a:ext cx="115887" cy="152400"/>
              </a:xfrm>
              <a:custGeom>
                <a:avLst/>
                <a:gdLst>
                  <a:gd name="T0" fmla="*/ 0 w 20000"/>
                  <a:gd name="T1" fmla="*/ 335 h 20000"/>
                  <a:gd name="T2" fmla="*/ 440 w 20000"/>
                  <a:gd name="T3" fmla="*/ 0 h 20000"/>
                  <a:gd name="T4" fmla="*/ 4505 w 20000"/>
                  <a:gd name="T5" fmla="*/ 1674 h 20000"/>
                  <a:gd name="T6" fmla="*/ 3407 w 20000"/>
                  <a:gd name="T7" fmla="*/ 3431 h 20000"/>
                  <a:gd name="T8" fmla="*/ 5604 w 20000"/>
                  <a:gd name="T9" fmla="*/ 3431 h 20000"/>
                  <a:gd name="T10" fmla="*/ 6264 w 20000"/>
                  <a:gd name="T11" fmla="*/ 1674 h 20000"/>
                  <a:gd name="T12" fmla="*/ 7363 w 20000"/>
                  <a:gd name="T13" fmla="*/ 2594 h 20000"/>
                  <a:gd name="T14" fmla="*/ 8022 w 20000"/>
                  <a:gd name="T15" fmla="*/ 1674 h 20000"/>
                  <a:gd name="T16" fmla="*/ 9121 w 20000"/>
                  <a:gd name="T17" fmla="*/ 1674 h 20000"/>
                  <a:gd name="T18" fmla="*/ 15385 w 20000"/>
                  <a:gd name="T19" fmla="*/ 7364 h 20000"/>
                  <a:gd name="T20" fmla="*/ 15385 w 20000"/>
                  <a:gd name="T21" fmla="*/ 10879 h 20000"/>
                  <a:gd name="T22" fmla="*/ 16593 w 20000"/>
                  <a:gd name="T23" fmla="*/ 12971 h 20000"/>
                  <a:gd name="T24" fmla="*/ 16593 w 20000"/>
                  <a:gd name="T25" fmla="*/ 14728 h 20000"/>
                  <a:gd name="T26" fmla="*/ 18132 w 20000"/>
                  <a:gd name="T27" fmla="*/ 15146 h 20000"/>
                  <a:gd name="T28" fmla="*/ 19890 w 20000"/>
                  <a:gd name="T29" fmla="*/ 19916 h 20000"/>
                  <a:gd name="T30" fmla="*/ 19341 w 20000"/>
                  <a:gd name="T31" fmla="*/ 18577 h 20000"/>
                  <a:gd name="T32" fmla="*/ 16593 w 20000"/>
                  <a:gd name="T33" fmla="*/ 19498 h 20000"/>
                  <a:gd name="T34" fmla="*/ 16593 w 20000"/>
                  <a:gd name="T35" fmla="*/ 19916 h 20000"/>
                  <a:gd name="T36" fmla="*/ 13626 w 20000"/>
                  <a:gd name="T37" fmla="*/ 18243 h 20000"/>
                  <a:gd name="T38" fmla="*/ 10220 w 20000"/>
                  <a:gd name="T39" fmla="*/ 16485 h 20000"/>
                  <a:gd name="T40" fmla="*/ 6264 w 20000"/>
                  <a:gd name="T41" fmla="*/ 13808 h 20000"/>
                  <a:gd name="T42" fmla="*/ 5604 w 20000"/>
                  <a:gd name="T43" fmla="*/ 12552 h 20000"/>
                  <a:gd name="T44" fmla="*/ 2857 w 20000"/>
                  <a:gd name="T45" fmla="*/ 10377 h 20000"/>
                  <a:gd name="T46" fmla="*/ 2857 w 20000"/>
                  <a:gd name="T47" fmla="*/ 9038 h 20000"/>
                  <a:gd name="T48" fmla="*/ 2857 w 20000"/>
                  <a:gd name="T49" fmla="*/ 6946 h 20000"/>
                  <a:gd name="T50" fmla="*/ 1758 w 20000"/>
                  <a:gd name="T51" fmla="*/ 6109 h 20000"/>
                  <a:gd name="T52" fmla="*/ 440 w 20000"/>
                  <a:gd name="T53" fmla="*/ 3431 h 20000"/>
                  <a:gd name="T54" fmla="*/ 0 w 20000"/>
                  <a:gd name="T55" fmla="*/ 3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0" y="335"/>
                    </a:moveTo>
                    <a:lnTo>
                      <a:pt x="440" y="0"/>
                    </a:lnTo>
                    <a:lnTo>
                      <a:pt x="4505" y="1674"/>
                    </a:lnTo>
                    <a:lnTo>
                      <a:pt x="3407" y="3431"/>
                    </a:lnTo>
                    <a:lnTo>
                      <a:pt x="5604" y="3431"/>
                    </a:lnTo>
                    <a:lnTo>
                      <a:pt x="6264" y="1674"/>
                    </a:lnTo>
                    <a:lnTo>
                      <a:pt x="7363" y="2594"/>
                    </a:lnTo>
                    <a:lnTo>
                      <a:pt x="8022" y="1674"/>
                    </a:lnTo>
                    <a:lnTo>
                      <a:pt x="9121" y="1674"/>
                    </a:lnTo>
                    <a:lnTo>
                      <a:pt x="15385" y="7364"/>
                    </a:lnTo>
                    <a:lnTo>
                      <a:pt x="15385" y="10879"/>
                    </a:lnTo>
                    <a:lnTo>
                      <a:pt x="16593" y="12971"/>
                    </a:lnTo>
                    <a:lnTo>
                      <a:pt x="16593" y="14728"/>
                    </a:lnTo>
                    <a:lnTo>
                      <a:pt x="18132" y="15146"/>
                    </a:lnTo>
                    <a:lnTo>
                      <a:pt x="19890" y="19916"/>
                    </a:lnTo>
                    <a:lnTo>
                      <a:pt x="19341" y="18577"/>
                    </a:lnTo>
                    <a:lnTo>
                      <a:pt x="16593" y="19498"/>
                    </a:lnTo>
                    <a:lnTo>
                      <a:pt x="16593" y="19916"/>
                    </a:lnTo>
                    <a:lnTo>
                      <a:pt x="13626" y="18243"/>
                    </a:lnTo>
                    <a:lnTo>
                      <a:pt x="10220" y="16485"/>
                    </a:lnTo>
                    <a:lnTo>
                      <a:pt x="6264" y="13808"/>
                    </a:lnTo>
                    <a:lnTo>
                      <a:pt x="5604" y="12552"/>
                    </a:lnTo>
                    <a:lnTo>
                      <a:pt x="2857" y="10377"/>
                    </a:lnTo>
                    <a:lnTo>
                      <a:pt x="2857" y="9038"/>
                    </a:lnTo>
                    <a:lnTo>
                      <a:pt x="2857" y="6946"/>
                    </a:lnTo>
                    <a:lnTo>
                      <a:pt x="1758" y="6109"/>
                    </a:lnTo>
                    <a:lnTo>
                      <a:pt x="440" y="3431"/>
                    </a:lnTo>
                    <a:lnTo>
                      <a:pt x="0" y="3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3" name="Freeform 173"/>
              <p:cNvSpPr>
                <a:spLocks/>
              </p:cNvSpPr>
              <p:nvPr/>
            </p:nvSpPr>
            <p:spPr bwMode="auto">
              <a:xfrm>
                <a:off x="7278688" y="2713038"/>
                <a:ext cx="879475" cy="407987"/>
              </a:xfrm>
              <a:custGeom>
                <a:avLst/>
                <a:gdLst>
                  <a:gd name="T0" fmla="*/ 5853 w 20000"/>
                  <a:gd name="T1" fmla="*/ 0 h 20000"/>
                  <a:gd name="T2" fmla="*/ 8613 w 20000"/>
                  <a:gd name="T3" fmla="*/ 3053 h 20000"/>
                  <a:gd name="T4" fmla="*/ 10260 w 20000"/>
                  <a:gd name="T5" fmla="*/ 2243 h 20000"/>
                  <a:gd name="T6" fmla="*/ 11821 w 20000"/>
                  <a:gd name="T7" fmla="*/ 3364 h 20000"/>
                  <a:gd name="T8" fmla="*/ 12413 w 20000"/>
                  <a:gd name="T9" fmla="*/ 4330 h 20000"/>
                  <a:gd name="T10" fmla="*/ 13685 w 20000"/>
                  <a:gd name="T11" fmla="*/ 4330 h 20000"/>
                  <a:gd name="T12" fmla="*/ 15347 w 20000"/>
                  <a:gd name="T13" fmla="*/ 1464 h 20000"/>
                  <a:gd name="T14" fmla="*/ 17139 w 20000"/>
                  <a:gd name="T15" fmla="*/ 2243 h 20000"/>
                  <a:gd name="T16" fmla="*/ 17066 w 20000"/>
                  <a:gd name="T17" fmla="*/ 5140 h 20000"/>
                  <a:gd name="T18" fmla="*/ 16908 w 20000"/>
                  <a:gd name="T19" fmla="*/ 5981 h 20000"/>
                  <a:gd name="T20" fmla="*/ 17442 w 20000"/>
                  <a:gd name="T21" fmla="*/ 6449 h 20000"/>
                  <a:gd name="T22" fmla="*/ 18035 w 20000"/>
                  <a:gd name="T23" fmla="*/ 6760 h 20000"/>
                  <a:gd name="T24" fmla="*/ 18627 w 20000"/>
                  <a:gd name="T25" fmla="*/ 5639 h 20000"/>
                  <a:gd name="T26" fmla="*/ 19451 w 20000"/>
                  <a:gd name="T27" fmla="*/ 6916 h 20000"/>
                  <a:gd name="T28" fmla="*/ 19986 w 20000"/>
                  <a:gd name="T29" fmla="*/ 8224 h 20000"/>
                  <a:gd name="T30" fmla="*/ 19393 w 20000"/>
                  <a:gd name="T31" fmla="*/ 8224 h 20000"/>
                  <a:gd name="T32" fmla="*/ 18627 w 20000"/>
                  <a:gd name="T33" fmla="*/ 9346 h 20000"/>
                  <a:gd name="T34" fmla="*/ 18483 w 20000"/>
                  <a:gd name="T35" fmla="*/ 9813 h 20000"/>
                  <a:gd name="T36" fmla="*/ 18266 w 20000"/>
                  <a:gd name="T37" fmla="*/ 9502 h 20000"/>
                  <a:gd name="T38" fmla="*/ 17890 w 20000"/>
                  <a:gd name="T39" fmla="*/ 10125 h 20000"/>
                  <a:gd name="T40" fmla="*/ 17442 w 20000"/>
                  <a:gd name="T41" fmla="*/ 11589 h 20000"/>
                  <a:gd name="T42" fmla="*/ 16908 w 20000"/>
                  <a:gd name="T43" fmla="*/ 12741 h 20000"/>
                  <a:gd name="T44" fmla="*/ 16315 w 20000"/>
                  <a:gd name="T45" fmla="*/ 12897 h 20000"/>
                  <a:gd name="T46" fmla="*/ 15578 w 20000"/>
                  <a:gd name="T47" fmla="*/ 12741 h 20000"/>
                  <a:gd name="T48" fmla="*/ 15491 w 20000"/>
                  <a:gd name="T49" fmla="*/ 14019 h 20000"/>
                  <a:gd name="T50" fmla="*/ 15723 w 20000"/>
                  <a:gd name="T51" fmla="*/ 15639 h 20000"/>
                  <a:gd name="T52" fmla="*/ 15260 w 20000"/>
                  <a:gd name="T53" fmla="*/ 17072 h 20000"/>
                  <a:gd name="T54" fmla="*/ 14740 w 20000"/>
                  <a:gd name="T55" fmla="*/ 18193 h 20000"/>
                  <a:gd name="T56" fmla="*/ 12211 w 20000"/>
                  <a:gd name="T57" fmla="*/ 19969 h 20000"/>
                  <a:gd name="T58" fmla="*/ 11590 w 20000"/>
                  <a:gd name="T59" fmla="*/ 19657 h 20000"/>
                  <a:gd name="T60" fmla="*/ 10029 w 20000"/>
                  <a:gd name="T61" fmla="*/ 19034 h 20000"/>
                  <a:gd name="T62" fmla="*/ 8829 w 20000"/>
                  <a:gd name="T63" fmla="*/ 18380 h 20000"/>
                  <a:gd name="T64" fmla="*/ 7413 w 20000"/>
                  <a:gd name="T65" fmla="*/ 18692 h 20000"/>
                  <a:gd name="T66" fmla="*/ 6662 w 20000"/>
                  <a:gd name="T67" fmla="*/ 19034 h 20000"/>
                  <a:gd name="T68" fmla="*/ 5910 w 20000"/>
                  <a:gd name="T69" fmla="*/ 16604 h 20000"/>
                  <a:gd name="T70" fmla="*/ 5535 w 20000"/>
                  <a:gd name="T71" fmla="*/ 16106 h 20000"/>
                  <a:gd name="T72" fmla="*/ 4350 w 20000"/>
                  <a:gd name="T73" fmla="*/ 14829 h 20000"/>
                  <a:gd name="T74" fmla="*/ 3136 w 20000"/>
                  <a:gd name="T75" fmla="*/ 14517 h 20000"/>
                  <a:gd name="T76" fmla="*/ 2399 w 20000"/>
                  <a:gd name="T77" fmla="*/ 13209 h 20000"/>
                  <a:gd name="T78" fmla="*/ 2399 w 20000"/>
                  <a:gd name="T79" fmla="*/ 12243 h 20000"/>
                  <a:gd name="T80" fmla="*/ 2023 w 20000"/>
                  <a:gd name="T81" fmla="*/ 10312 h 20000"/>
                  <a:gd name="T82" fmla="*/ 1431 w 20000"/>
                  <a:gd name="T83" fmla="*/ 9502 h 20000"/>
                  <a:gd name="T84" fmla="*/ 1214 w 20000"/>
                  <a:gd name="T85" fmla="*/ 8847 h 20000"/>
                  <a:gd name="T86" fmla="*/ 592 w 20000"/>
                  <a:gd name="T87" fmla="*/ 8536 h 20000"/>
                  <a:gd name="T88" fmla="*/ 231 w 20000"/>
                  <a:gd name="T89" fmla="*/ 8069 h 20000"/>
                  <a:gd name="T90" fmla="*/ 0 w 20000"/>
                  <a:gd name="T91" fmla="*/ 6916 h 20000"/>
                  <a:gd name="T92" fmla="*/ 983 w 20000"/>
                  <a:gd name="T93" fmla="*/ 5639 h 20000"/>
                  <a:gd name="T94" fmla="*/ 1358 w 20000"/>
                  <a:gd name="T95" fmla="*/ 4330 h 20000"/>
                  <a:gd name="T96" fmla="*/ 1806 w 20000"/>
                  <a:gd name="T97" fmla="*/ 3551 h 20000"/>
                  <a:gd name="T98" fmla="*/ 2775 w 20000"/>
                  <a:gd name="T99" fmla="*/ 3863 h 20000"/>
                  <a:gd name="T100" fmla="*/ 3584 w 20000"/>
                  <a:gd name="T101" fmla="*/ 4330 h 20000"/>
                  <a:gd name="T102" fmla="*/ 4942 w 20000"/>
                  <a:gd name="T103" fmla="*/ 4642 h 20000"/>
                  <a:gd name="T104" fmla="*/ 5853 w 20000"/>
                  <a:gd name="T105" fmla="*/ 3551 h 20000"/>
                  <a:gd name="T106" fmla="*/ 5462 w 20000"/>
                  <a:gd name="T107" fmla="*/ 1464 h 20000"/>
                  <a:gd name="T108" fmla="*/ 5853 w 20000"/>
                  <a:gd name="T109" fmla="*/ 4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5853" y="498"/>
                    </a:moveTo>
                    <a:lnTo>
                      <a:pt x="5853" y="0"/>
                    </a:lnTo>
                    <a:lnTo>
                      <a:pt x="7717" y="966"/>
                    </a:lnTo>
                    <a:lnTo>
                      <a:pt x="8613" y="3053"/>
                    </a:lnTo>
                    <a:lnTo>
                      <a:pt x="9205" y="3053"/>
                    </a:lnTo>
                    <a:lnTo>
                      <a:pt x="10260" y="2243"/>
                    </a:lnTo>
                    <a:lnTo>
                      <a:pt x="10766" y="2555"/>
                    </a:lnTo>
                    <a:lnTo>
                      <a:pt x="11821" y="3364"/>
                    </a:lnTo>
                    <a:lnTo>
                      <a:pt x="11980" y="3863"/>
                    </a:lnTo>
                    <a:lnTo>
                      <a:pt x="12413" y="4330"/>
                    </a:lnTo>
                    <a:lnTo>
                      <a:pt x="12803" y="4330"/>
                    </a:lnTo>
                    <a:lnTo>
                      <a:pt x="13685" y="4330"/>
                    </a:lnTo>
                    <a:lnTo>
                      <a:pt x="14957" y="3364"/>
                    </a:lnTo>
                    <a:lnTo>
                      <a:pt x="15347" y="1464"/>
                    </a:lnTo>
                    <a:lnTo>
                      <a:pt x="16460" y="2243"/>
                    </a:lnTo>
                    <a:lnTo>
                      <a:pt x="17139" y="2243"/>
                    </a:lnTo>
                    <a:lnTo>
                      <a:pt x="17066" y="3053"/>
                    </a:lnTo>
                    <a:lnTo>
                      <a:pt x="17066" y="5140"/>
                    </a:lnTo>
                    <a:lnTo>
                      <a:pt x="17066" y="5639"/>
                    </a:lnTo>
                    <a:lnTo>
                      <a:pt x="16908" y="5981"/>
                    </a:lnTo>
                    <a:lnTo>
                      <a:pt x="17283" y="6760"/>
                    </a:lnTo>
                    <a:lnTo>
                      <a:pt x="17442" y="6449"/>
                    </a:lnTo>
                    <a:lnTo>
                      <a:pt x="17803" y="6449"/>
                    </a:lnTo>
                    <a:lnTo>
                      <a:pt x="18035" y="6760"/>
                    </a:lnTo>
                    <a:lnTo>
                      <a:pt x="18266" y="5981"/>
                    </a:lnTo>
                    <a:lnTo>
                      <a:pt x="18627" y="5639"/>
                    </a:lnTo>
                    <a:lnTo>
                      <a:pt x="19003" y="6106"/>
                    </a:lnTo>
                    <a:lnTo>
                      <a:pt x="19451" y="6916"/>
                    </a:lnTo>
                    <a:lnTo>
                      <a:pt x="19682" y="7383"/>
                    </a:lnTo>
                    <a:lnTo>
                      <a:pt x="19986" y="8224"/>
                    </a:lnTo>
                    <a:lnTo>
                      <a:pt x="19827" y="8536"/>
                    </a:lnTo>
                    <a:lnTo>
                      <a:pt x="19393" y="8224"/>
                    </a:lnTo>
                    <a:lnTo>
                      <a:pt x="18858" y="8536"/>
                    </a:lnTo>
                    <a:lnTo>
                      <a:pt x="18627" y="9346"/>
                    </a:lnTo>
                    <a:lnTo>
                      <a:pt x="18483" y="9346"/>
                    </a:lnTo>
                    <a:lnTo>
                      <a:pt x="18483" y="9813"/>
                    </a:lnTo>
                    <a:lnTo>
                      <a:pt x="18410" y="9813"/>
                    </a:lnTo>
                    <a:lnTo>
                      <a:pt x="18266" y="9502"/>
                    </a:lnTo>
                    <a:lnTo>
                      <a:pt x="18121" y="9502"/>
                    </a:lnTo>
                    <a:lnTo>
                      <a:pt x="17890" y="10125"/>
                    </a:lnTo>
                    <a:lnTo>
                      <a:pt x="17890" y="10623"/>
                    </a:lnTo>
                    <a:lnTo>
                      <a:pt x="17442" y="11589"/>
                    </a:lnTo>
                    <a:lnTo>
                      <a:pt x="17066" y="11589"/>
                    </a:lnTo>
                    <a:lnTo>
                      <a:pt x="16908" y="12741"/>
                    </a:lnTo>
                    <a:lnTo>
                      <a:pt x="16850" y="12897"/>
                    </a:lnTo>
                    <a:lnTo>
                      <a:pt x="16315" y="12897"/>
                    </a:lnTo>
                    <a:lnTo>
                      <a:pt x="15867" y="12897"/>
                    </a:lnTo>
                    <a:lnTo>
                      <a:pt x="15578" y="12741"/>
                    </a:lnTo>
                    <a:lnTo>
                      <a:pt x="15491" y="13209"/>
                    </a:lnTo>
                    <a:lnTo>
                      <a:pt x="15491" y="14019"/>
                    </a:lnTo>
                    <a:lnTo>
                      <a:pt x="15723" y="14517"/>
                    </a:lnTo>
                    <a:lnTo>
                      <a:pt x="15723" y="15639"/>
                    </a:lnTo>
                    <a:lnTo>
                      <a:pt x="15347" y="16106"/>
                    </a:lnTo>
                    <a:lnTo>
                      <a:pt x="15260" y="17072"/>
                    </a:lnTo>
                    <a:lnTo>
                      <a:pt x="14957" y="17570"/>
                    </a:lnTo>
                    <a:lnTo>
                      <a:pt x="14740" y="18193"/>
                    </a:lnTo>
                    <a:lnTo>
                      <a:pt x="12948" y="18692"/>
                    </a:lnTo>
                    <a:lnTo>
                      <a:pt x="12211" y="19969"/>
                    </a:lnTo>
                    <a:lnTo>
                      <a:pt x="11821" y="19969"/>
                    </a:lnTo>
                    <a:lnTo>
                      <a:pt x="11590" y="19657"/>
                    </a:lnTo>
                    <a:lnTo>
                      <a:pt x="11228" y="19657"/>
                    </a:lnTo>
                    <a:lnTo>
                      <a:pt x="10029" y="19034"/>
                    </a:lnTo>
                    <a:lnTo>
                      <a:pt x="9812" y="18380"/>
                    </a:lnTo>
                    <a:lnTo>
                      <a:pt x="8829" y="18380"/>
                    </a:lnTo>
                    <a:lnTo>
                      <a:pt x="8613" y="18692"/>
                    </a:lnTo>
                    <a:lnTo>
                      <a:pt x="7413" y="18692"/>
                    </a:lnTo>
                    <a:lnTo>
                      <a:pt x="7269" y="19034"/>
                    </a:lnTo>
                    <a:lnTo>
                      <a:pt x="6662" y="19034"/>
                    </a:lnTo>
                    <a:lnTo>
                      <a:pt x="6301" y="18193"/>
                    </a:lnTo>
                    <a:lnTo>
                      <a:pt x="5910" y="16604"/>
                    </a:lnTo>
                    <a:lnTo>
                      <a:pt x="5679" y="16106"/>
                    </a:lnTo>
                    <a:lnTo>
                      <a:pt x="5535" y="16106"/>
                    </a:lnTo>
                    <a:lnTo>
                      <a:pt x="4942" y="15639"/>
                    </a:lnTo>
                    <a:lnTo>
                      <a:pt x="4350" y="14829"/>
                    </a:lnTo>
                    <a:lnTo>
                      <a:pt x="3960" y="14829"/>
                    </a:lnTo>
                    <a:lnTo>
                      <a:pt x="3136" y="14517"/>
                    </a:lnTo>
                    <a:lnTo>
                      <a:pt x="2543" y="14019"/>
                    </a:lnTo>
                    <a:lnTo>
                      <a:pt x="2399" y="13209"/>
                    </a:lnTo>
                    <a:lnTo>
                      <a:pt x="2543" y="12897"/>
                    </a:lnTo>
                    <a:lnTo>
                      <a:pt x="2399" y="12243"/>
                    </a:lnTo>
                    <a:lnTo>
                      <a:pt x="2399" y="11433"/>
                    </a:lnTo>
                    <a:lnTo>
                      <a:pt x="2023" y="10312"/>
                    </a:lnTo>
                    <a:lnTo>
                      <a:pt x="1575" y="9346"/>
                    </a:lnTo>
                    <a:lnTo>
                      <a:pt x="1431" y="9502"/>
                    </a:lnTo>
                    <a:lnTo>
                      <a:pt x="1358" y="9034"/>
                    </a:lnTo>
                    <a:lnTo>
                      <a:pt x="1214" y="8847"/>
                    </a:lnTo>
                    <a:lnTo>
                      <a:pt x="983" y="9502"/>
                    </a:lnTo>
                    <a:lnTo>
                      <a:pt x="592" y="8536"/>
                    </a:lnTo>
                    <a:lnTo>
                      <a:pt x="376" y="8224"/>
                    </a:lnTo>
                    <a:lnTo>
                      <a:pt x="231" y="8069"/>
                    </a:lnTo>
                    <a:lnTo>
                      <a:pt x="0" y="7757"/>
                    </a:lnTo>
                    <a:lnTo>
                      <a:pt x="0" y="6916"/>
                    </a:lnTo>
                    <a:lnTo>
                      <a:pt x="159" y="6449"/>
                    </a:lnTo>
                    <a:lnTo>
                      <a:pt x="983" y="5639"/>
                    </a:lnTo>
                    <a:lnTo>
                      <a:pt x="983" y="5140"/>
                    </a:lnTo>
                    <a:lnTo>
                      <a:pt x="1358" y="4330"/>
                    </a:lnTo>
                    <a:lnTo>
                      <a:pt x="1431" y="4019"/>
                    </a:lnTo>
                    <a:lnTo>
                      <a:pt x="1806" y="3551"/>
                    </a:lnTo>
                    <a:lnTo>
                      <a:pt x="2543" y="3364"/>
                    </a:lnTo>
                    <a:lnTo>
                      <a:pt x="2775" y="3863"/>
                    </a:lnTo>
                    <a:lnTo>
                      <a:pt x="3526" y="3551"/>
                    </a:lnTo>
                    <a:lnTo>
                      <a:pt x="3584" y="4330"/>
                    </a:lnTo>
                    <a:lnTo>
                      <a:pt x="4118" y="4642"/>
                    </a:lnTo>
                    <a:lnTo>
                      <a:pt x="4942" y="4642"/>
                    </a:lnTo>
                    <a:lnTo>
                      <a:pt x="6069" y="4330"/>
                    </a:lnTo>
                    <a:lnTo>
                      <a:pt x="5853" y="3551"/>
                    </a:lnTo>
                    <a:lnTo>
                      <a:pt x="5679" y="2741"/>
                    </a:lnTo>
                    <a:lnTo>
                      <a:pt x="5462" y="1464"/>
                    </a:lnTo>
                    <a:lnTo>
                      <a:pt x="5535" y="1277"/>
                    </a:lnTo>
                    <a:lnTo>
                      <a:pt x="5853" y="49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4" name="Freeform 172"/>
              <p:cNvSpPr>
                <a:spLocks/>
              </p:cNvSpPr>
              <p:nvPr/>
            </p:nvSpPr>
            <p:spPr bwMode="auto">
              <a:xfrm>
                <a:off x="7202488" y="3543300"/>
                <a:ext cx="234950" cy="128588"/>
              </a:xfrm>
              <a:custGeom>
                <a:avLst/>
                <a:gdLst>
                  <a:gd name="T0" fmla="*/ 2005 w 20000"/>
                  <a:gd name="T1" fmla="*/ 0 h 20000"/>
                  <a:gd name="T2" fmla="*/ 3360 w 20000"/>
                  <a:gd name="T3" fmla="*/ 1084 h 20000"/>
                  <a:gd name="T4" fmla="*/ 7317 w 20000"/>
                  <a:gd name="T5" fmla="*/ 4039 h 20000"/>
                  <a:gd name="T6" fmla="*/ 8130 w 20000"/>
                  <a:gd name="T7" fmla="*/ 6700 h 20000"/>
                  <a:gd name="T8" fmla="*/ 8726 w 20000"/>
                  <a:gd name="T9" fmla="*/ 6108 h 20000"/>
                  <a:gd name="T10" fmla="*/ 9539 w 20000"/>
                  <a:gd name="T11" fmla="*/ 6108 h 20000"/>
                  <a:gd name="T12" fmla="*/ 10136 w 20000"/>
                  <a:gd name="T13" fmla="*/ 8276 h 20000"/>
                  <a:gd name="T14" fmla="*/ 11545 w 20000"/>
                  <a:gd name="T15" fmla="*/ 9261 h 20000"/>
                  <a:gd name="T16" fmla="*/ 12412 w 20000"/>
                  <a:gd name="T17" fmla="*/ 8276 h 20000"/>
                  <a:gd name="T18" fmla="*/ 12412 w 20000"/>
                  <a:gd name="T19" fmla="*/ 10739 h 20000"/>
                  <a:gd name="T20" fmla="*/ 13225 w 20000"/>
                  <a:gd name="T21" fmla="*/ 10739 h 20000"/>
                  <a:gd name="T22" fmla="*/ 15447 w 20000"/>
                  <a:gd name="T23" fmla="*/ 12315 h 20000"/>
                  <a:gd name="T24" fmla="*/ 15989 w 20000"/>
                  <a:gd name="T25" fmla="*/ 11724 h 20000"/>
                  <a:gd name="T26" fmla="*/ 17398 w 20000"/>
                  <a:gd name="T27" fmla="*/ 12315 h 20000"/>
                  <a:gd name="T28" fmla="*/ 19946 w 20000"/>
                  <a:gd name="T29" fmla="*/ 12315 h 20000"/>
                  <a:gd name="T30" fmla="*/ 19675 w 20000"/>
                  <a:gd name="T31" fmla="*/ 14877 h 20000"/>
                  <a:gd name="T32" fmla="*/ 19946 w 20000"/>
                  <a:gd name="T33" fmla="*/ 19901 h 20000"/>
                  <a:gd name="T34" fmla="*/ 17724 w 20000"/>
                  <a:gd name="T35" fmla="*/ 19901 h 20000"/>
                  <a:gd name="T36" fmla="*/ 17724 w 20000"/>
                  <a:gd name="T37" fmla="*/ 18916 h 20000"/>
                  <a:gd name="T38" fmla="*/ 16856 w 20000"/>
                  <a:gd name="T39" fmla="*/ 18916 h 20000"/>
                  <a:gd name="T40" fmla="*/ 15447 w 20000"/>
                  <a:gd name="T41" fmla="*/ 18916 h 20000"/>
                  <a:gd name="T42" fmla="*/ 15176 w 20000"/>
                  <a:gd name="T43" fmla="*/ 18916 h 20000"/>
                  <a:gd name="T44" fmla="*/ 14092 w 20000"/>
                  <a:gd name="T45" fmla="*/ 17340 h 20000"/>
                  <a:gd name="T46" fmla="*/ 13225 w 20000"/>
                  <a:gd name="T47" fmla="*/ 18325 h 20000"/>
                  <a:gd name="T48" fmla="*/ 11870 w 20000"/>
                  <a:gd name="T49" fmla="*/ 16847 h 20000"/>
                  <a:gd name="T50" fmla="*/ 11545 w 20000"/>
                  <a:gd name="T51" fmla="*/ 15862 h 20000"/>
                  <a:gd name="T52" fmla="*/ 9322 w 20000"/>
                  <a:gd name="T53" fmla="*/ 14877 h 20000"/>
                  <a:gd name="T54" fmla="*/ 6450 w 20000"/>
                  <a:gd name="T55" fmla="*/ 13300 h 20000"/>
                  <a:gd name="T56" fmla="*/ 4770 w 20000"/>
                  <a:gd name="T57" fmla="*/ 12315 h 20000"/>
                  <a:gd name="T58" fmla="*/ 2818 w 20000"/>
                  <a:gd name="T59" fmla="*/ 10739 h 20000"/>
                  <a:gd name="T60" fmla="*/ 1138 w 20000"/>
                  <a:gd name="T61" fmla="*/ 9261 h 20000"/>
                  <a:gd name="T62" fmla="*/ 0 w 20000"/>
                  <a:gd name="T63" fmla="*/ 7685 h 20000"/>
                  <a:gd name="T64" fmla="*/ 1138 w 20000"/>
                  <a:gd name="T65" fmla="*/ 6700 h 20000"/>
                  <a:gd name="T66" fmla="*/ 596 w 20000"/>
                  <a:gd name="T67" fmla="*/ 5123 h 20000"/>
                  <a:gd name="T68" fmla="*/ 1138 w 20000"/>
                  <a:gd name="T69" fmla="*/ 3645 h 20000"/>
                  <a:gd name="T70" fmla="*/ 2005 w 20000"/>
                  <a:gd name="T7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2005" y="0"/>
                    </a:moveTo>
                    <a:lnTo>
                      <a:pt x="3360" y="1084"/>
                    </a:lnTo>
                    <a:lnTo>
                      <a:pt x="7317" y="4039"/>
                    </a:lnTo>
                    <a:lnTo>
                      <a:pt x="8130" y="6700"/>
                    </a:lnTo>
                    <a:lnTo>
                      <a:pt x="8726" y="6108"/>
                    </a:lnTo>
                    <a:lnTo>
                      <a:pt x="9539" y="6108"/>
                    </a:lnTo>
                    <a:lnTo>
                      <a:pt x="10136" y="8276"/>
                    </a:lnTo>
                    <a:lnTo>
                      <a:pt x="11545" y="9261"/>
                    </a:lnTo>
                    <a:lnTo>
                      <a:pt x="12412" y="8276"/>
                    </a:lnTo>
                    <a:lnTo>
                      <a:pt x="12412" y="10739"/>
                    </a:lnTo>
                    <a:lnTo>
                      <a:pt x="13225" y="10739"/>
                    </a:lnTo>
                    <a:lnTo>
                      <a:pt x="15447" y="12315"/>
                    </a:lnTo>
                    <a:lnTo>
                      <a:pt x="15989" y="11724"/>
                    </a:lnTo>
                    <a:lnTo>
                      <a:pt x="17398" y="12315"/>
                    </a:lnTo>
                    <a:lnTo>
                      <a:pt x="19946" y="12315"/>
                    </a:lnTo>
                    <a:lnTo>
                      <a:pt x="19675" y="14877"/>
                    </a:lnTo>
                    <a:lnTo>
                      <a:pt x="19946" y="19901"/>
                    </a:lnTo>
                    <a:lnTo>
                      <a:pt x="17724" y="19901"/>
                    </a:lnTo>
                    <a:lnTo>
                      <a:pt x="17724" y="18916"/>
                    </a:lnTo>
                    <a:lnTo>
                      <a:pt x="16856" y="18916"/>
                    </a:lnTo>
                    <a:lnTo>
                      <a:pt x="15447" y="18916"/>
                    </a:lnTo>
                    <a:lnTo>
                      <a:pt x="15176" y="18916"/>
                    </a:lnTo>
                    <a:lnTo>
                      <a:pt x="14092" y="17340"/>
                    </a:lnTo>
                    <a:lnTo>
                      <a:pt x="13225" y="18325"/>
                    </a:lnTo>
                    <a:lnTo>
                      <a:pt x="11870" y="16847"/>
                    </a:lnTo>
                    <a:lnTo>
                      <a:pt x="11545" y="15862"/>
                    </a:lnTo>
                    <a:lnTo>
                      <a:pt x="9322" y="14877"/>
                    </a:lnTo>
                    <a:lnTo>
                      <a:pt x="6450" y="13300"/>
                    </a:lnTo>
                    <a:lnTo>
                      <a:pt x="4770" y="12315"/>
                    </a:lnTo>
                    <a:lnTo>
                      <a:pt x="2818" y="10739"/>
                    </a:lnTo>
                    <a:lnTo>
                      <a:pt x="1138" y="9261"/>
                    </a:lnTo>
                    <a:lnTo>
                      <a:pt x="0" y="7685"/>
                    </a:lnTo>
                    <a:lnTo>
                      <a:pt x="1138" y="6700"/>
                    </a:lnTo>
                    <a:lnTo>
                      <a:pt x="596" y="5123"/>
                    </a:lnTo>
                    <a:lnTo>
                      <a:pt x="1138" y="3645"/>
                    </a:lnTo>
                    <a:lnTo>
                      <a:pt x="200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5" name="Freeform 171"/>
              <p:cNvSpPr>
                <a:spLocks/>
              </p:cNvSpPr>
              <p:nvPr/>
            </p:nvSpPr>
            <p:spPr bwMode="auto">
              <a:xfrm>
                <a:off x="6450013" y="3721100"/>
                <a:ext cx="207962" cy="254000"/>
              </a:xfrm>
              <a:custGeom>
                <a:avLst/>
                <a:gdLst>
                  <a:gd name="T0" fmla="*/ 8196 w 20000"/>
                  <a:gd name="T1" fmla="*/ 6216 h 20000"/>
                  <a:gd name="T2" fmla="*/ 8196 w 20000"/>
                  <a:gd name="T3" fmla="*/ 4411 h 20000"/>
                  <a:gd name="T4" fmla="*/ 8563 w 20000"/>
                  <a:gd name="T5" fmla="*/ 3609 h 20000"/>
                  <a:gd name="T6" fmla="*/ 8563 w 20000"/>
                  <a:gd name="T7" fmla="*/ 2857 h 20000"/>
                  <a:gd name="T8" fmla="*/ 9847 w 20000"/>
                  <a:gd name="T9" fmla="*/ 2857 h 20000"/>
                  <a:gd name="T10" fmla="*/ 10092 w 20000"/>
                  <a:gd name="T11" fmla="*/ 2857 h 20000"/>
                  <a:gd name="T12" fmla="*/ 9847 w 20000"/>
                  <a:gd name="T13" fmla="*/ 2055 h 20000"/>
                  <a:gd name="T14" fmla="*/ 9174 w 20000"/>
                  <a:gd name="T15" fmla="*/ 2055 h 20000"/>
                  <a:gd name="T16" fmla="*/ 8563 w 20000"/>
                  <a:gd name="T17" fmla="*/ 301 h 20000"/>
                  <a:gd name="T18" fmla="*/ 9174 w 20000"/>
                  <a:gd name="T19" fmla="*/ 0 h 20000"/>
                  <a:gd name="T20" fmla="*/ 9847 w 20000"/>
                  <a:gd name="T21" fmla="*/ 0 h 20000"/>
                  <a:gd name="T22" fmla="*/ 11682 w 20000"/>
                  <a:gd name="T23" fmla="*/ 2356 h 20000"/>
                  <a:gd name="T24" fmla="*/ 15229 w 20000"/>
                  <a:gd name="T25" fmla="*/ 3358 h 20000"/>
                  <a:gd name="T26" fmla="*/ 16820 w 20000"/>
                  <a:gd name="T27" fmla="*/ 3609 h 20000"/>
                  <a:gd name="T28" fmla="*/ 18960 w 20000"/>
                  <a:gd name="T29" fmla="*/ 5714 h 20000"/>
                  <a:gd name="T30" fmla="*/ 19939 w 20000"/>
                  <a:gd name="T31" fmla="*/ 6216 h 20000"/>
                  <a:gd name="T32" fmla="*/ 18960 w 20000"/>
                  <a:gd name="T33" fmla="*/ 8822 h 20000"/>
                  <a:gd name="T34" fmla="*/ 16820 w 20000"/>
                  <a:gd name="T35" fmla="*/ 11178 h 20000"/>
                  <a:gd name="T36" fmla="*/ 16453 w 20000"/>
                  <a:gd name="T37" fmla="*/ 11178 h 20000"/>
                  <a:gd name="T38" fmla="*/ 15841 w 20000"/>
                  <a:gd name="T39" fmla="*/ 10877 h 20000"/>
                  <a:gd name="T40" fmla="*/ 15229 w 20000"/>
                  <a:gd name="T41" fmla="*/ 11880 h 20000"/>
                  <a:gd name="T42" fmla="*/ 14862 w 20000"/>
                  <a:gd name="T43" fmla="*/ 13233 h 20000"/>
                  <a:gd name="T44" fmla="*/ 15229 w 20000"/>
                  <a:gd name="T45" fmla="*/ 14536 h 20000"/>
                  <a:gd name="T46" fmla="*/ 12599 w 20000"/>
                  <a:gd name="T47" fmla="*/ 15038 h 20000"/>
                  <a:gd name="T48" fmla="*/ 11682 w 20000"/>
                  <a:gd name="T49" fmla="*/ 15789 h 20000"/>
                  <a:gd name="T50" fmla="*/ 11682 w 20000"/>
                  <a:gd name="T51" fmla="*/ 16591 h 20000"/>
                  <a:gd name="T52" fmla="*/ 11070 w 20000"/>
                  <a:gd name="T53" fmla="*/ 17093 h 20000"/>
                  <a:gd name="T54" fmla="*/ 8563 w 20000"/>
                  <a:gd name="T55" fmla="*/ 17393 h 20000"/>
                  <a:gd name="T56" fmla="*/ 8563 w 20000"/>
                  <a:gd name="T57" fmla="*/ 18647 h 20000"/>
                  <a:gd name="T58" fmla="*/ 8196 w 20000"/>
                  <a:gd name="T59" fmla="*/ 19148 h 20000"/>
                  <a:gd name="T60" fmla="*/ 7217 w 20000"/>
                  <a:gd name="T61" fmla="*/ 19148 h 20000"/>
                  <a:gd name="T62" fmla="*/ 4465 w 20000"/>
                  <a:gd name="T63" fmla="*/ 19699 h 20000"/>
                  <a:gd name="T64" fmla="*/ 3119 w 20000"/>
                  <a:gd name="T65" fmla="*/ 19950 h 20000"/>
                  <a:gd name="T66" fmla="*/ 0 w 20000"/>
                  <a:gd name="T67" fmla="*/ 14536 h 20000"/>
                  <a:gd name="T68" fmla="*/ 8196 w 20000"/>
                  <a:gd name="T69" fmla="*/ 11880 h 20000"/>
                  <a:gd name="T70" fmla="*/ 9174 w 20000"/>
                  <a:gd name="T71" fmla="*/ 7519 h 20000"/>
                  <a:gd name="T72" fmla="*/ 8196 w 20000"/>
                  <a:gd name="T73" fmla="*/ 621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8196" y="6216"/>
                    </a:moveTo>
                    <a:lnTo>
                      <a:pt x="8196" y="4411"/>
                    </a:lnTo>
                    <a:lnTo>
                      <a:pt x="8563" y="3609"/>
                    </a:lnTo>
                    <a:lnTo>
                      <a:pt x="8563" y="2857"/>
                    </a:lnTo>
                    <a:lnTo>
                      <a:pt x="9847" y="2857"/>
                    </a:lnTo>
                    <a:lnTo>
                      <a:pt x="10092" y="2857"/>
                    </a:lnTo>
                    <a:lnTo>
                      <a:pt x="9847" y="2055"/>
                    </a:lnTo>
                    <a:lnTo>
                      <a:pt x="9174" y="2055"/>
                    </a:lnTo>
                    <a:lnTo>
                      <a:pt x="8563" y="301"/>
                    </a:lnTo>
                    <a:lnTo>
                      <a:pt x="9174" y="0"/>
                    </a:lnTo>
                    <a:lnTo>
                      <a:pt x="9847" y="0"/>
                    </a:lnTo>
                    <a:lnTo>
                      <a:pt x="11682" y="2356"/>
                    </a:lnTo>
                    <a:lnTo>
                      <a:pt x="15229" y="3358"/>
                    </a:lnTo>
                    <a:lnTo>
                      <a:pt x="16820" y="3609"/>
                    </a:lnTo>
                    <a:lnTo>
                      <a:pt x="18960" y="5714"/>
                    </a:lnTo>
                    <a:lnTo>
                      <a:pt x="19939" y="6216"/>
                    </a:lnTo>
                    <a:lnTo>
                      <a:pt x="18960" y="8822"/>
                    </a:lnTo>
                    <a:lnTo>
                      <a:pt x="16820" y="11178"/>
                    </a:lnTo>
                    <a:lnTo>
                      <a:pt x="16453" y="11178"/>
                    </a:lnTo>
                    <a:lnTo>
                      <a:pt x="15841" y="10877"/>
                    </a:lnTo>
                    <a:lnTo>
                      <a:pt x="15229" y="11880"/>
                    </a:lnTo>
                    <a:lnTo>
                      <a:pt x="14862" y="13233"/>
                    </a:lnTo>
                    <a:lnTo>
                      <a:pt x="15229" y="14536"/>
                    </a:lnTo>
                    <a:lnTo>
                      <a:pt x="12599" y="15038"/>
                    </a:lnTo>
                    <a:lnTo>
                      <a:pt x="11682" y="15789"/>
                    </a:lnTo>
                    <a:lnTo>
                      <a:pt x="11682" y="16591"/>
                    </a:lnTo>
                    <a:lnTo>
                      <a:pt x="11070" y="17093"/>
                    </a:lnTo>
                    <a:lnTo>
                      <a:pt x="8563" y="17393"/>
                    </a:lnTo>
                    <a:lnTo>
                      <a:pt x="8563" y="18647"/>
                    </a:lnTo>
                    <a:lnTo>
                      <a:pt x="8196" y="19148"/>
                    </a:lnTo>
                    <a:lnTo>
                      <a:pt x="7217" y="19148"/>
                    </a:lnTo>
                    <a:lnTo>
                      <a:pt x="4465" y="19699"/>
                    </a:lnTo>
                    <a:lnTo>
                      <a:pt x="3119" y="19950"/>
                    </a:lnTo>
                    <a:lnTo>
                      <a:pt x="0" y="14536"/>
                    </a:lnTo>
                    <a:lnTo>
                      <a:pt x="8196" y="11880"/>
                    </a:lnTo>
                    <a:lnTo>
                      <a:pt x="9174" y="7519"/>
                    </a:lnTo>
                    <a:lnTo>
                      <a:pt x="8196" y="621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6" name="Freeform 170"/>
              <p:cNvSpPr>
                <a:spLocks/>
              </p:cNvSpPr>
              <p:nvPr/>
            </p:nvSpPr>
            <p:spPr bwMode="auto">
              <a:xfrm>
                <a:off x="6677025" y="3327400"/>
                <a:ext cx="438150" cy="438150"/>
              </a:xfrm>
              <a:custGeom>
                <a:avLst/>
                <a:gdLst>
                  <a:gd name="T0" fmla="*/ 16348 w 20000"/>
                  <a:gd name="T1" fmla="*/ 0 h 20000"/>
                  <a:gd name="T2" fmla="*/ 18783 w 20000"/>
                  <a:gd name="T3" fmla="*/ 1480 h 20000"/>
                  <a:gd name="T4" fmla="*/ 19681 w 20000"/>
                  <a:gd name="T5" fmla="*/ 2700 h 20000"/>
                  <a:gd name="T6" fmla="*/ 17565 w 20000"/>
                  <a:gd name="T7" fmla="*/ 3919 h 20000"/>
                  <a:gd name="T8" fmla="*/ 15594 w 20000"/>
                  <a:gd name="T9" fmla="*/ 3599 h 20000"/>
                  <a:gd name="T10" fmla="*/ 15768 w 20000"/>
                  <a:gd name="T11" fmla="*/ 4790 h 20000"/>
                  <a:gd name="T12" fmla="*/ 16348 w 20000"/>
                  <a:gd name="T13" fmla="*/ 6299 h 20000"/>
                  <a:gd name="T14" fmla="*/ 17565 w 20000"/>
                  <a:gd name="T15" fmla="*/ 7054 h 20000"/>
                  <a:gd name="T16" fmla="*/ 17130 w 20000"/>
                  <a:gd name="T17" fmla="*/ 7808 h 20000"/>
                  <a:gd name="T18" fmla="*/ 17130 w 20000"/>
                  <a:gd name="T19" fmla="*/ 8999 h 20000"/>
                  <a:gd name="T20" fmla="*/ 16058 w 20000"/>
                  <a:gd name="T21" fmla="*/ 10363 h 20000"/>
                  <a:gd name="T22" fmla="*/ 15594 w 20000"/>
                  <a:gd name="T23" fmla="*/ 11727 h 20000"/>
                  <a:gd name="T24" fmla="*/ 14406 w 20000"/>
                  <a:gd name="T25" fmla="*/ 13062 h 20000"/>
                  <a:gd name="T26" fmla="*/ 13971 w 20000"/>
                  <a:gd name="T27" fmla="*/ 13527 h 20000"/>
                  <a:gd name="T28" fmla="*/ 12145 w 20000"/>
                  <a:gd name="T29" fmla="*/ 13527 h 20000"/>
                  <a:gd name="T30" fmla="*/ 11710 w 20000"/>
                  <a:gd name="T31" fmla="*/ 14107 h 20000"/>
                  <a:gd name="T32" fmla="*/ 12029 w 20000"/>
                  <a:gd name="T33" fmla="*/ 15472 h 20000"/>
                  <a:gd name="T34" fmla="*/ 12464 w 20000"/>
                  <a:gd name="T35" fmla="*/ 16952 h 20000"/>
                  <a:gd name="T36" fmla="*/ 13217 w 20000"/>
                  <a:gd name="T37" fmla="*/ 18926 h 20000"/>
                  <a:gd name="T38" fmla="*/ 12609 w 20000"/>
                  <a:gd name="T39" fmla="*/ 18926 h 20000"/>
                  <a:gd name="T40" fmla="*/ 11710 w 20000"/>
                  <a:gd name="T41" fmla="*/ 19216 h 20000"/>
                  <a:gd name="T42" fmla="*/ 10493 w 20000"/>
                  <a:gd name="T43" fmla="*/ 19390 h 20000"/>
                  <a:gd name="T44" fmla="*/ 10058 w 20000"/>
                  <a:gd name="T45" fmla="*/ 19681 h 20000"/>
                  <a:gd name="T46" fmla="*/ 8551 w 20000"/>
                  <a:gd name="T47" fmla="*/ 19390 h 20000"/>
                  <a:gd name="T48" fmla="*/ 8116 w 20000"/>
                  <a:gd name="T49" fmla="*/ 18200 h 20000"/>
                  <a:gd name="T50" fmla="*/ 7362 w 20000"/>
                  <a:gd name="T51" fmla="*/ 17417 h 20000"/>
                  <a:gd name="T52" fmla="*/ 6290 w 20000"/>
                  <a:gd name="T53" fmla="*/ 17417 h 20000"/>
                  <a:gd name="T54" fmla="*/ 4957 w 20000"/>
                  <a:gd name="T55" fmla="*/ 18026 h 20000"/>
                  <a:gd name="T56" fmla="*/ 3913 w 20000"/>
                  <a:gd name="T57" fmla="*/ 17417 h 20000"/>
                  <a:gd name="T58" fmla="*/ 1942 w 20000"/>
                  <a:gd name="T59" fmla="*/ 17736 h 20000"/>
                  <a:gd name="T60" fmla="*/ 1188 w 20000"/>
                  <a:gd name="T61" fmla="*/ 17271 h 20000"/>
                  <a:gd name="T62" fmla="*/ 1942 w 20000"/>
                  <a:gd name="T63" fmla="*/ 16226 h 20000"/>
                  <a:gd name="T64" fmla="*/ 3014 w 20000"/>
                  <a:gd name="T65" fmla="*/ 15762 h 20000"/>
                  <a:gd name="T66" fmla="*/ 3159 w 20000"/>
                  <a:gd name="T67" fmla="*/ 15472 h 20000"/>
                  <a:gd name="T68" fmla="*/ 2725 w 20000"/>
                  <a:gd name="T69" fmla="*/ 14862 h 20000"/>
                  <a:gd name="T70" fmla="*/ 1797 w 20000"/>
                  <a:gd name="T71" fmla="*/ 13062 h 20000"/>
                  <a:gd name="T72" fmla="*/ 0 w 20000"/>
                  <a:gd name="T73" fmla="*/ 11437 h 20000"/>
                  <a:gd name="T74" fmla="*/ 2725 w 20000"/>
                  <a:gd name="T75" fmla="*/ 11872 h 20000"/>
                  <a:gd name="T76" fmla="*/ 3913 w 20000"/>
                  <a:gd name="T77" fmla="*/ 11727 h 20000"/>
                  <a:gd name="T78" fmla="*/ 6638 w 20000"/>
                  <a:gd name="T79" fmla="*/ 10972 h 20000"/>
                  <a:gd name="T80" fmla="*/ 6928 w 20000"/>
                  <a:gd name="T81" fmla="*/ 9173 h 20000"/>
                  <a:gd name="T82" fmla="*/ 7362 w 20000"/>
                  <a:gd name="T83" fmla="*/ 8999 h 20000"/>
                  <a:gd name="T84" fmla="*/ 8261 w 20000"/>
                  <a:gd name="T85" fmla="*/ 8563 h 20000"/>
                  <a:gd name="T86" fmla="*/ 9014 w 20000"/>
                  <a:gd name="T87" fmla="*/ 8563 h 20000"/>
                  <a:gd name="T88" fmla="*/ 9768 w 20000"/>
                  <a:gd name="T89" fmla="*/ 8708 h 20000"/>
                  <a:gd name="T90" fmla="*/ 10058 w 20000"/>
                  <a:gd name="T91" fmla="*/ 7518 h 20000"/>
                  <a:gd name="T92" fmla="*/ 10203 w 20000"/>
                  <a:gd name="T93" fmla="*/ 6299 h 20000"/>
                  <a:gd name="T94" fmla="*/ 10812 w 20000"/>
                  <a:gd name="T95" fmla="*/ 5399 h 20000"/>
                  <a:gd name="T96" fmla="*/ 10957 w 20000"/>
                  <a:gd name="T97" fmla="*/ 4790 h 20000"/>
                  <a:gd name="T98" fmla="*/ 11710 w 20000"/>
                  <a:gd name="T99" fmla="*/ 4035 h 20000"/>
                  <a:gd name="T100" fmla="*/ 12145 w 20000"/>
                  <a:gd name="T101" fmla="*/ 2700 h 20000"/>
                  <a:gd name="T102" fmla="*/ 12145 w 20000"/>
                  <a:gd name="T103" fmla="*/ 900 h 20000"/>
                  <a:gd name="T104" fmla="*/ 13681 w 20000"/>
                  <a:gd name="T105" fmla="*/ 2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5594" y="290"/>
                    </a:moveTo>
                    <a:lnTo>
                      <a:pt x="16348" y="0"/>
                    </a:lnTo>
                    <a:lnTo>
                      <a:pt x="18029" y="755"/>
                    </a:lnTo>
                    <a:lnTo>
                      <a:pt x="18783" y="1480"/>
                    </a:lnTo>
                    <a:lnTo>
                      <a:pt x="19971" y="2409"/>
                    </a:lnTo>
                    <a:lnTo>
                      <a:pt x="19681" y="2700"/>
                    </a:lnTo>
                    <a:lnTo>
                      <a:pt x="18783" y="3454"/>
                    </a:lnTo>
                    <a:lnTo>
                      <a:pt x="17565" y="3919"/>
                    </a:lnTo>
                    <a:lnTo>
                      <a:pt x="16812" y="3599"/>
                    </a:lnTo>
                    <a:lnTo>
                      <a:pt x="15594" y="3599"/>
                    </a:lnTo>
                    <a:lnTo>
                      <a:pt x="15159" y="4035"/>
                    </a:lnTo>
                    <a:lnTo>
                      <a:pt x="15768" y="4790"/>
                    </a:lnTo>
                    <a:lnTo>
                      <a:pt x="15768" y="6009"/>
                    </a:lnTo>
                    <a:lnTo>
                      <a:pt x="16348" y="6299"/>
                    </a:lnTo>
                    <a:lnTo>
                      <a:pt x="16522" y="6763"/>
                    </a:lnTo>
                    <a:lnTo>
                      <a:pt x="17565" y="7054"/>
                    </a:lnTo>
                    <a:lnTo>
                      <a:pt x="17565" y="7518"/>
                    </a:lnTo>
                    <a:lnTo>
                      <a:pt x="17130" y="7808"/>
                    </a:lnTo>
                    <a:lnTo>
                      <a:pt x="16522" y="8244"/>
                    </a:lnTo>
                    <a:lnTo>
                      <a:pt x="17130" y="8999"/>
                    </a:lnTo>
                    <a:lnTo>
                      <a:pt x="16522" y="9463"/>
                    </a:lnTo>
                    <a:lnTo>
                      <a:pt x="16058" y="10363"/>
                    </a:lnTo>
                    <a:lnTo>
                      <a:pt x="15594" y="10972"/>
                    </a:lnTo>
                    <a:lnTo>
                      <a:pt x="15594" y="11727"/>
                    </a:lnTo>
                    <a:lnTo>
                      <a:pt x="14406" y="12337"/>
                    </a:lnTo>
                    <a:lnTo>
                      <a:pt x="14406" y="13062"/>
                    </a:lnTo>
                    <a:lnTo>
                      <a:pt x="14116" y="13353"/>
                    </a:lnTo>
                    <a:lnTo>
                      <a:pt x="13971" y="13527"/>
                    </a:lnTo>
                    <a:lnTo>
                      <a:pt x="12464" y="14107"/>
                    </a:lnTo>
                    <a:lnTo>
                      <a:pt x="12145" y="13527"/>
                    </a:lnTo>
                    <a:lnTo>
                      <a:pt x="12029" y="13817"/>
                    </a:lnTo>
                    <a:lnTo>
                      <a:pt x="11710" y="14107"/>
                    </a:lnTo>
                    <a:lnTo>
                      <a:pt x="10957" y="15298"/>
                    </a:lnTo>
                    <a:lnTo>
                      <a:pt x="12029" y="15472"/>
                    </a:lnTo>
                    <a:lnTo>
                      <a:pt x="12029" y="16836"/>
                    </a:lnTo>
                    <a:lnTo>
                      <a:pt x="12464" y="16952"/>
                    </a:lnTo>
                    <a:lnTo>
                      <a:pt x="13217" y="18636"/>
                    </a:lnTo>
                    <a:lnTo>
                      <a:pt x="13217" y="18926"/>
                    </a:lnTo>
                    <a:lnTo>
                      <a:pt x="12928" y="19216"/>
                    </a:lnTo>
                    <a:lnTo>
                      <a:pt x="12609" y="18926"/>
                    </a:lnTo>
                    <a:lnTo>
                      <a:pt x="12145" y="19216"/>
                    </a:lnTo>
                    <a:lnTo>
                      <a:pt x="11710" y="19216"/>
                    </a:lnTo>
                    <a:lnTo>
                      <a:pt x="10493" y="19216"/>
                    </a:lnTo>
                    <a:lnTo>
                      <a:pt x="10493" y="19390"/>
                    </a:lnTo>
                    <a:lnTo>
                      <a:pt x="10058" y="19390"/>
                    </a:lnTo>
                    <a:lnTo>
                      <a:pt x="10058" y="19681"/>
                    </a:lnTo>
                    <a:lnTo>
                      <a:pt x="9768" y="19971"/>
                    </a:lnTo>
                    <a:lnTo>
                      <a:pt x="8551" y="19390"/>
                    </a:lnTo>
                    <a:lnTo>
                      <a:pt x="8261" y="18636"/>
                    </a:lnTo>
                    <a:lnTo>
                      <a:pt x="8116" y="18200"/>
                    </a:lnTo>
                    <a:lnTo>
                      <a:pt x="7507" y="18200"/>
                    </a:lnTo>
                    <a:lnTo>
                      <a:pt x="7362" y="17417"/>
                    </a:lnTo>
                    <a:lnTo>
                      <a:pt x="6928" y="17271"/>
                    </a:lnTo>
                    <a:lnTo>
                      <a:pt x="6290" y="17417"/>
                    </a:lnTo>
                    <a:lnTo>
                      <a:pt x="4957" y="17736"/>
                    </a:lnTo>
                    <a:lnTo>
                      <a:pt x="4957" y="18026"/>
                    </a:lnTo>
                    <a:lnTo>
                      <a:pt x="4348" y="17736"/>
                    </a:lnTo>
                    <a:lnTo>
                      <a:pt x="3913" y="17417"/>
                    </a:lnTo>
                    <a:lnTo>
                      <a:pt x="3014" y="17736"/>
                    </a:lnTo>
                    <a:lnTo>
                      <a:pt x="1942" y="17736"/>
                    </a:lnTo>
                    <a:lnTo>
                      <a:pt x="1188" y="18026"/>
                    </a:lnTo>
                    <a:lnTo>
                      <a:pt x="1188" y="17271"/>
                    </a:lnTo>
                    <a:lnTo>
                      <a:pt x="1507" y="16226"/>
                    </a:lnTo>
                    <a:lnTo>
                      <a:pt x="1942" y="16226"/>
                    </a:lnTo>
                    <a:lnTo>
                      <a:pt x="2551" y="15762"/>
                    </a:lnTo>
                    <a:lnTo>
                      <a:pt x="3014" y="15762"/>
                    </a:lnTo>
                    <a:lnTo>
                      <a:pt x="3014" y="15472"/>
                    </a:lnTo>
                    <a:lnTo>
                      <a:pt x="3159" y="15472"/>
                    </a:lnTo>
                    <a:lnTo>
                      <a:pt x="3159" y="14862"/>
                    </a:lnTo>
                    <a:lnTo>
                      <a:pt x="2725" y="14862"/>
                    </a:lnTo>
                    <a:lnTo>
                      <a:pt x="2551" y="13817"/>
                    </a:lnTo>
                    <a:lnTo>
                      <a:pt x="1797" y="13062"/>
                    </a:lnTo>
                    <a:lnTo>
                      <a:pt x="1072" y="12917"/>
                    </a:lnTo>
                    <a:lnTo>
                      <a:pt x="0" y="11437"/>
                    </a:lnTo>
                    <a:lnTo>
                      <a:pt x="1797" y="11872"/>
                    </a:lnTo>
                    <a:lnTo>
                      <a:pt x="2725" y="11872"/>
                    </a:lnTo>
                    <a:lnTo>
                      <a:pt x="3449" y="11872"/>
                    </a:lnTo>
                    <a:lnTo>
                      <a:pt x="3913" y="11727"/>
                    </a:lnTo>
                    <a:lnTo>
                      <a:pt x="5101" y="11437"/>
                    </a:lnTo>
                    <a:lnTo>
                      <a:pt x="6638" y="10972"/>
                    </a:lnTo>
                    <a:lnTo>
                      <a:pt x="6638" y="9463"/>
                    </a:lnTo>
                    <a:lnTo>
                      <a:pt x="6928" y="9173"/>
                    </a:lnTo>
                    <a:lnTo>
                      <a:pt x="7043" y="8999"/>
                    </a:lnTo>
                    <a:lnTo>
                      <a:pt x="7362" y="8999"/>
                    </a:lnTo>
                    <a:lnTo>
                      <a:pt x="8116" y="8999"/>
                    </a:lnTo>
                    <a:lnTo>
                      <a:pt x="8261" y="8563"/>
                    </a:lnTo>
                    <a:lnTo>
                      <a:pt x="8551" y="8244"/>
                    </a:lnTo>
                    <a:lnTo>
                      <a:pt x="9014" y="8563"/>
                    </a:lnTo>
                    <a:lnTo>
                      <a:pt x="9304" y="8563"/>
                    </a:lnTo>
                    <a:lnTo>
                      <a:pt x="9768" y="8708"/>
                    </a:lnTo>
                    <a:lnTo>
                      <a:pt x="10203" y="8244"/>
                    </a:lnTo>
                    <a:lnTo>
                      <a:pt x="10058" y="7518"/>
                    </a:lnTo>
                    <a:lnTo>
                      <a:pt x="10203" y="7054"/>
                    </a:lnTo>
                    <a:lnTo>
                      <a:pt x="10203" y="6299"/>
                    </a:lnTo>
                    <a:lnTo>
                      <a:pt x="10957" y="5864"/>
                    </a:lnTo>
                    <a:lnTo>
                      <a:pt x="10812" y="5399"/>
                    </a:lnTo>
                    <a:lnTo>
                      <a:pt x="10493" y="4790"/>
                    </a:lnTo>
                    <a:lnTo>
                      <a:pt x="10957" y="4790"/>
                    </a:lnTo>
                    <a:lnTo>
                      <a:pt x="12029" y="4790"/>
                    </a:lnTo>
                    <a:lnTo>
                      <a:pt x="11710" y="4035"/>
                    </a:lnTo>
                    <a:lnTo>
                      <a:pt x="12029" y="3599"/>
                    </a:lnTo>
                    <a:lnTo>
                      <a:pt x="12145" y="2700"/>
                    </a:lnTo>
                    <a:lnTo>
                      <a:pt x="12029" y="1480"/>
                    </a:lnTo>
                    <a:lnTo>
                      <a:pt x="12145" y="900"/>
                    </a:lnTo>
                    <a:lnTo>
                      <a:pt x="12928" y="464"/>
                    </a:lnTo>
                    <a:lnTo>
                      <a:pt x="13681" y="290"/>
                    </a:lnTo>
                    <a:lnTo>
                      <a:pt x="15594" y="2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7" name="Freeform 169"/>
              <p:cNvSpPr>
                <a:spLocks/>
              </p:cNvSpPr>
              <p:nvPr/>
            </p:nvSpPr>
            <p:spPr bwMode="auto">
              <a:xfrm>
                <a:off x="8356600" y="3914775"/>
                <a:ext cx="131763" cy="187325"/>
              </a:xfrm>
              <a:custGeom>
                <a:avLst/>
                <a:gdLst>
                  <a:gd name="T0" fmla="*/ 19904 w 20000"/>
                  <a:gd name="T1" fmla="*/ 19932 h 20000"/>
                  <a:gd name="T2" fmla="*/ 19327 w 20000"/>
                  <a:gd name="T3" fmla="*/ 18915 h 20000"/>
                  <a:gd name="T4" fmla="*/ 17885 w 20000"/>
                  <a:gd name="T5" fmla="*/ 18169 h 20000"/>
                  <a:gd name="T6" fmla="*/ 16923 w 20000"/>
                  <a:gd name="T7" fmla="*/ 17492 h 20000"/>
                  <a:gd name="T8" fmla="*/ 15385 w 20000"/>
                  <a:gd name="T9" fmla="*/ 16475 h 20000"/>
                  <a:gd name="T10" fmla="*/ 14423 w 20000"/>
                  <a:gd name="T11" fmla="*/ 16068 h 20000"/>
                  <a:gd name="T12" fmla="*/ 13942 w 20000"/>
                  <a:gd name="T13" fmla="*/ 14712 h 20000"/>
                  <a:gd name="T14" fmla="*/ 12981 w 20000"/>
                  <a:gd name="T15" fmla="*/ 15390 h 20000"/>
                  <a:gd name="T16" fmla="*/ 14423 w 20000"/>
                  <a:gd name="T17" fmla="*/ 17492 h 20000"/>
                  <a:gd name="T18" fmla="*/ 13942 w 20000"/>
                  <a:gd name="T19" fmla="*/ 17492 h 20000"/>
                  <a:gd name="T20" fmla="*/ 12019 w 20000"/>
                  <a:gd name="T21" fmla="*/ 16068 h 20000"/>
                  <a:gd name="T22" fmla="*/ 8942 w 20000"/>
                  <a:gd name="T23" fmla="*/ 15390 h 20000"/>
                  <a:gd name="T24" fmla="*/ 7885 w 20000"/>
                  <a:gd name="T25" fmla="*/ 16068 h 20000"/>
                  <a:gd name="T26" fmla="*/ 7500 w 20000"/>
                  <a:gd name="T27" fmla="*/ 16068 h 20000"/>
                  <a:gd name="T28" fmla="*/ 6442 w 20000"/>
                  <a:gd name="T29" fmla="*/ 15390 h 20000"/>
                  <a:gd name="T30" fmla="*/ 5000 w 20000"/>
                  <a:gd name="T31" fmla="*/ 14712 h 20000"/>
                  <a:gd name="T32" fmla="*/ 5481 w 20000"/>
                  <a:gd name="T33" fmla="*/ 13627 h 20000"/>
                  <a:gd name="T34" fmla="*/ 5481 w 20000"/>
                  <a:gd name="T35" fmla="*/ 12610 h 20000"/>
                  <a:gd name="T36" fmla="*/ 5000 w 20000"/>
                  <a:gd name="T37" fmla="*/ 12610 h 20000"/>
                  <a:gd name="T38" fmla="*/ 3942 w 20000"/>
                  <a:gd name="T39" fmla="*/ 13627 h 20000"/>
                  <a:gd name="T40" fmla="*/ 3558 w 20000"/>
                  <a:gd name="T41" fmla="*/ 13288 h 20000"/>
                  <a:gd name="T42" fmla="*/ 1538 w 20000"/>
                  <a:gd name="T43" fmla="*/ 9831 h 20000"/>
                  <a:gd name="T44" fmla="*/ 0 w 20000"/>
                  <a:gd name="T45" fmla="*/ 7322 h 20000"/>
                  <a:gd name="T46" fmla="*/ 1538 w 20000"/>
                  <a:gd name="T47" fmla="*/ 8068 h 20000"/>
                  <a:gd name="T48" fmla="*/ 2500 w 20000"/>
                  <a:gd name="T49" fmla="*/ 8746 h 20000"/>
                  <a:gd name="T50" fmla="*/ 3558 w 20000"/>
                  <a:gd name="T51" fmla="*/ 8068 h 20000"/>
                  <a:gd name="T52" fmla="*/ 2500 w 20000"/>
                  <a:gd name="T53" fmla="*/ 5966 h 20000"/>
                  <a:gd name="T54" fmla="*/ 2500 w 20000"/>
                  <a:gd name="T55" fmla="*/ 3458 h 20000"/>
                  <a:gd name="T56" fmla="*/ 3558 w 20000"/>
                  <a:gd name="T57" fmla="*/ 0 h 20000"/>
                  <a:gd name="T58" fmla="*/ 5000 w 20000"/>
                  <a:gd name="T59" fmla="*/ 0 h 20000"/>
                  <a:gd name="T60" fmla="*/ 7885 w 20000"/>
                  <a:gd name="T61" fmla="*/ 678 h 20000"/>
                  <a:gd name="T62" fmla="*/ 8942 w 20000"/>
                  <a:gd name="T63" fmla="*/ 0 h 20000"/>
                  <a:gd name="T64" fmla="*/ 9423 w 20000"/>
                  <a:gd name="T65" fmla="*/ 678 h 20000"/>
                  <a:gd name="T66" fmla="*/ 9423 w 20000"/>
                  <a:gd name="T67" fmla="*/ 1763 h 20000"/>
                  <a:gd name="T68" fmla="*/ 9423 w 20000"/>
                  <a:gd name="T69" fmla="*/ 3458 h 20000"/>
                  <a:gd name="T70" fmla="*/ 11442 w 20000"/>
                  <a:gd name="T71" fmla="*/ 4542 h 20000"/>
                  <a:gd name="T72" fmla="*/ 11442 w 20000"/>
                  <a:gd name="T73" fmla="*/ 5966 h 20000"/>
                  <a:gd name="T74" fmla="*/ 10481 w 20000"/>
                  <a:gd name="T75" fmla="*/ 8068 h 20000"/>
                  <a:gd name="T76" fmla="*/ 7885 w 20000"/>
                  <a:gd name="T77" fmla="*/ 8746 h 20000"/>
                  <a:gd name="T78" fmla="*/ 7500 w 20000"/>
                  <a:gd name="T79" fmla="*/ 10102 h 20000"/>
                  <a:gd name="T80" fmla="*/ 8942 w 20000"/>
                  <a:gd name="T81" fmla="*/ 11932 h 20000"/>
                  <a:gd name="T82" fmla="*/ 8942 w 20000"/>
                  <a:gd name="T83" fmla="*/ 12610 h 20000"/>
                  <a:gd name="T84" fmla="*/ 8942 w 20000"/>
                  <a:gd name="T85" fmla="*/ 13627 h 20000"/>
                  <a:gd name="T86" fmla="*/ 11442 w 20000"/>
                  <a:gd name="T87" fmla="*/ 14712 h 20000"/>
                  <a:gd name="T88" fmla="*/ 12019 w 20000"/>
                  <a:gd name="T89" fmla="*/ 14373 h 20000"/>
                  <a:gd name="T90" fmla="*/ 12019 w 20000"/>
                  <a:gd name="T91" fmla="*/ 13627 h 20000"/>
                  <a:gd name="T92" fmla="*/ 14423 w 20000"/>
                  <a:gd name="T93" fmla="*/ 13627 h 20000"/>
                  <a:gd name="T94" fmla="*/ 15385 w 20000"/>
                  <a:gd name="T95" fmla="*/ 15390 h 20000"/>
                  <a:gd name="T96" fmla="*/ 15962 w 20000"/>
                  <a:gd name="T97" fmla="*/ 15390 h 20000"/>
                  <a:gd name="T98" fmla="*/ 15962 w 20000"/>
                  <a:gd name="T99" fmla="*/ 14712 h 20000"/>
                  <a:gd name="T100" fmla="*/ 19327 w 20000"/>
                  <a:gd name="T101" fmla="*/ 15390 h 20000"/>
                  <a:gd name="T102" fmla="*/ 17885 w 20000"/>
                  <a:gd name="T103" fmla="*/ 16068 h 20000"/>
                  <a:gd name="T104" fmla="*/ 18365 w 20000"/>
                  <a:gd name="T105" fmla="*/ 17153 h 20000"/>
                  <a:gd name="T106" fmla="*/ 19904 w 20000"/>
                  <a:gd name="T107" fmla="*/ 17492 h 20000"/>
                  <a:gd name="T108" fmla="*/ 19904 w 20000"/>
                  <a:gd name="T109" fmla="*/ 199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19904" y="19932"/>
                    </a:moveTo>
                    <a:lnTo>
                      <a:pt x="19327" y="18915"/>
                    </a:lnTo>
                    <a:lnTo>
                      <a:pt x="17885" y="18169"/>
                    </a:lnTo>
                    <a:lnTo>
                      <a:pt x="16923" y="17492"/>
                    </a:lnTo>
                    <a:lnTo>
                      <a:pt x="15385" y="16475"/>
                    </a:lnTo>
                    <a:lnTo>
                      <a:pt x="14423" y="16068"/>
                    </a:lnTo>
                    <a:lnTo>
                      <a:pt x="13942" y="14712"/>
                    </a:lnTo>
                    <a:lnTo>
                      <a:pt x="12981" y="15390"/>
                    </a:lnTo>
                    <a:lnTo>
                      <a:pt x="14423" y="17492"/>
                    </a:lnTo>
                    <a:lnTo>
                      <a:pt x="13942" y="17492"/>
                    </a:lnTo>
                    <a:lnTo>
                      <a:pt x="12019" y="16068"/>
                    </a:lnTo>
                    <a:lnTo>
                      <a:pt x="8942" y="15390"/>
                    </a:lnTo>
                    <a:lnTo>
                      <a:pt x="7885" y="16068"/>
                    </a:lnTo>
                    <a:lnTo>
                      <a:pt x="7500" y="16068"/>
                    </a:lnTo>
                    <a:lnTo>
                      <a:pt x="6442" y="15390"/>
                    </a:lnTo>
                    <a:lnTo>
                      <a:pt x="5000" y="14712"/>
                    </a:lnTo>
                    <a:lnTo>
                      <a:pt x="5481" y="13627"/>
                    </a:lnTo>
                    <a:lnTo>
                      <a:pt x="5481" y="12610"/>
                    </a:lnTo>
                    <a:lnTo>
                      <a:pt x="5000" y="12610"/>
                    </a:lnTo>
                    <a:lnTo>
                      <a:pt x="3942" y="13627"/>
                    </a:lnTo>
                    <a:lnTo>
                      <a:pt x="3558" y="13288"/>
                    </a:lnTo>
                    <a:lnTo>
                      <a:pt x="1538" y="9831"/>
                    </a:lnTo>
                    <a:lnTo>
                      <a:pt x="0" y="7322"/>
                    </a:lnTo>
                    <a:lnTo>
                      <a:pt x="1538" y="8068"/>
                    </a:lnTo>
                    <a:lnTo>
                      <a:pt x="2500" y="8746"/>
                    </a:lnTo>
                    <a:lnTo>
                      <a:pt x="3558" y="8068"/>
                    </a:lnTo>
                    <a:lnTo>
                      <a:pt x="2500" y="5966"/>
                    </a:lnTo>
                    <a:lnTo>
                      <a:pt x="2500" y="3458"/>
                    </a:lnTo>
                    <a:lnTo>
                      <a:pt x="3558" y="0"/>
                    </a:lnTo>
                    <a:lnTo>
                      <a:pt x="5000" y="0"/>
                    </a:lnTo>
                    <a:lnTo>
                      <a:pt x="7885" y="678"/>
                    </a:lnTo>
                    <a:lnTo>
                      <a:pt x="8942" y="0"/>
                    </a:lnTo>
                    <a:lnTo>
                      <a:pt x="9423" y="678"/>
                    </a:lnTo>
                    <a:lnTo>
                      <a:pt x="9423" y="1763"/>
                    </a:lnTo>
                    <a:lnTo>
                      <a:pt x="9423" y="3458"/>
                    </a:lnTo>
                    <a:lnTo>
                      <a:pt x="11442" y="4542"/>
                    </a:lnTo>
                    <a:lnTo>
                      <a:pt x="11442" y="5966"/>
                    </a:lnTo>
                    <a:lnTo>
                      <a:pt x="10481" y="8068"/>
                    </a:lnTo>
                    <a:lnTo>
                      <a:pt x="7885" y="8746"/>
                    </a:lnTo>
                    <a:lnTo>
                      <a:pt x="7500" y="10102"/>
                    </a:lnTo>
                    <a:lnTo>
                      <a:pt x="8942" y="11932"/>
                    </a:lnTo>
                    <a:lnTo>
                      <a:pt x="8942" y="12610"/>
                    </a:lnTo>
                    <a:lnTo>
                      <a:pt x="8942" y="13627"/>
                    </a:lnTo>
                    <a:lnTo>
                      <a:pt x="11442" y="14712"/>
                    </a:lnTo>
                    <a:lnTo>
                      <a:pt x="12019" y="14373"/>
                    </a:lnTo>
                    <a:lnTo>
                      <a:pt x="12019" y="13627"/>
                    </a:lnTo>
                    <a:lnTo>
                      <a:pt x="14423" y="13627"/>
                    </a:lnTo>
                    <a:lnTo>
                      <a:pt x="15385" y="15390"/>
                    </a:lnTo>
                    <a:lnTo>
                      <a:pt x="15962" y="15390"/>
                    </a:lnTo>
                    <a:lnTo>
                      <a:pt x="15962" y="14712"/>
                    </a:lnTo>
                    <a:lnTo>
                      <a:pt x="19327" y="15390"/>
                    </a:lnTo>
                    <a:lnTo>
                      <a:pt x="17885" y="16068"/>
                    </a:lnTo>
                    <a:lnTo>
                      <a:pt x="18365" y="17153"/>
                    </a:lnTo>
                    <a:lnTo>
                      <a:pt x="19904" y="17492"/>
                    </a:lnTo>
                    <a:lnTo>
                      <a:pt x="19904" y="1993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8" name="Freeform 168"/>
              <p:cNvSpPr>
                <a:spLocks/>
              </p:cNvSpPr>
              <p:nvPr/>
            </p:nvSpPr>
            <p:spPr bwMode="auto">
              <a:xfrm>
                <a:off x="8442325" y="4181475"/>
                <a:ext cx="128588" cy="128588"/>
              </a:xfrm>
              <a:custGeom>
                <a:avLst/>
                <a:gdLst>
                  <a:gd name="T0" fmla="*/ 14877 w 20000"/>
                  <a:gd name="T1" fmla="*/ 19901 h 20000"/>
                  <a:gd name="T2" fmla="*/ 13695 w 20000"/>
                  <a:gd name="T3" fmla="*/ 18916 h 20000"/>
                  <a:gd name="T4" fmla="*/ 13695 w 20000"/>
                  <a:gd name="T5" fmla="*/ 18325 h 20000"/>
                  <a:gd name="T6" fmla="*/ 13695 w 20000"/>
                  <a:gd name="T7" fmla="*/ 17340 h 20000"/>
                  <a:gd name="T8" fmla="*/ 13300 w 20000"/>
                  <a:gd name="T9" fmla="*/ 18325 h 20000"/>
                  <a:gd name="T10" fmla="*/ 9655 w 20000"/>
                  <a:gd name="T11" fmla="*/ 17340 h 20000"/>
                  <a:gd name="T12" fmla="*/ 8177 w 20000"/>
                  <a:gd name="T13" fmla="*/ 13300 h 20000"/>
                  <a:gd name="T14" fmla="*/ 9163 w 20000"/>
                  <a:gd name="T15" fmla="*/ 11724 h 20000"/>
                  <a:gd name="T16" fmla="*/ 8177 w 20000"/>
                  <a:gd name="T17" fmla="*/ 10246 h 20000"/>
                  <a:gd name="T18" fmla="*/ 5616 w 20000"/>
                  <a:gd name="T19" fmla="*/ 9163 h 20000"/>
                  <a:gd name="T20" fmla="*/ 6601 w 20000"/>
                  <a:gd name="T21" fmla="*/ 11724 h 20000"/>
                  <a:gd name="T22" fmla="*/ 5025 w 20000"/>
                  <a:gd name="T23" fmla="*/ 10640 h 20000"/>
                  <a:gd name="T24" fmla="*/ 4039 w 20000"/>
                  <a:gd name="T25" fmla="*/ 10246 h 20000"/>
                  <a:gd name="T26" fmla="*/ 4039 w 20000"/>
                  <a:gd name="T27" fmla="*/ 10640 h 20000"/>
                  <a:gd name="T28" fmla="*/ 3054 w 20000"/>
                  <a:gd name="T29" fmla="*/ 10640 h 20000"/>
                  <a:gd name="T30" fmla="*/ 2562 w 20000"/>
                  <a:gd name="T31" fmla="*/ 9163 h 20000"/>
                  <a:gd name="T32" fmla="*/ 985 w 20000"/>
                  <a:gd name="T33" fmla="*/ 10640 h 20000"/>
                  <a:gd name="T34" fmla="*/ 0 w 20000"/>
                  <a:gd name="T35" fmla="*/ 13300 h 20000"/>
                  <a:gd name="T36" fmla="*/ 0 w 20000"/>
                  <a:gd name="T37" fmla="*/ 11724 h 20000"/>
                  <a:gd name="T38" fmla="*/ 0 w 20000"/>
                  <a:gd name="T39" fmla="*/ 8177 h 20000"/>
                  <a:gd name="T40" fmla="*/ 3054 w 20000"/>
                  <a:gd name="T41" fmla="*/ 7586 h 20000"/>
                  <a:gd name="T42" fmla="*/ 4039 w 20000"/>
                  <a:gd name="T43" fmla="*/ 5616 h 20000"/>
                  <a:gd name="T44" fmla="*/ 6601 w 20000"/>
                  <a:gd name="T45" fmla="*/ 5025 h 20000"/>
                  <a:gd name="T46" fmla="*/ 7192 w 20000"/>
                  <a:gd name="T47" fmla="*/ 6601 h 20000"/>
                  <a:gd name="T48" fmla="*/ 6601 w 20000"/>
                  <a:gd name="T49" fmla="*/ 7586 h 20000"/>
                  <a:gd name="T50" fmla="*/ 6601 w 20000"/>
                  <a:gd name="T51" fmla="*/ 8177 h 20000"/>
                  <a:gd name="T52" fmla="*/ 9163 w 20000"/>
                  <a:gd name="T53" fmla="*/ 6601 h 20000"/>
                  <a:gd name="T54" fmla="*/ 9655 w 20000"/>
                  <a:gd name="T55" fmla="*/ 5025 h 20000"/>
                  <a:gd name="T56" fmla="*/ 11724 w 20000"/>
                  <a:gd name="T57" fmla="*/ 5616 h 20000"/>
                  <a:gd name="T58" fmla="*/ 11724 w 20000"/>
                  <a:gd name="T59" fmla="*/ 3547 h 20000"/>
                  <a:gd name="T60" fmla="*/ 12217 w 20000"/>
                  <a:gd name="T61" fmla="*/ 4039 h 20000"/>
                  <a:gd name="T62" fmla="*/ 13300 w 20000"/>
                  <a:gd name="T63" fmla="*/ 3547 h 20000"/>
                  <a:gd name="T64" fmla="*/ 14877 w 20000"/>
                  <a:gd name="T65" fmla="*/ 3547 h 20000"/>
                  <a:gd name="T66" fmla="*/ 13695 w 20000"/>
                  <a:gd name="T67" fmla="*/ 0 h 20000"/>
                  <a:gd name="T68" fmla="*/ 16355 w 20000"/>
                  <a:gd name="T69" fmla="*/ 1576 h 20000"/>
                  <a:gd name="T70" fmla="*/ 17833 w 20000"/>
                  <a:gd name="T71" fmla="*/ 2562 h 20000"/>
                  <a:gd name="T72" fmla="*/ 17833 w 20000"/>
                  <a:gd name="T73" fmla="*/ 5025 h 20000"/>
                  <a:gd name="T74" fmla="*/ 17340 w 20000"/>
                  <a:gd name="T75" fmla="*/ 5616 h 20000"/>
                  <a:gd name="T76" fmla="*/ 18916 w 20000"/>
                  <a:gd name="T77" fmla="*/ 5616 h 20000"/>
                  <a:gd name="T78" fmla="*/ 18916 w 20000"/>
                  <a:gd name="T79" fmla="*/ 9163 h 20000"/>
                  <a:gd name="T80" fmla="*/ 19901 w 20000"/>
                  <a:gd name="T81" fmla="*/ 11724 h 20000"/>
                  <a:gd name="T82" fmla="*/ 17833 w 20000"/>
                  <a:gd name="T83" fmla="*/ 12217 h 20000"/>
                  <a:gd name="T84" fmla="*/ 18916 w 20000"/>
                  <a:gd name="T85" fmla="*/ 15862 h 20000"/>
                  <a:gd name="T86" fmla="*/ 17833 w 20000"/>
                  <a:gd name="T87" fmla="*/ 15862 h 20000"/>
                  <a:gd name="T88" fmla="*/ 16355 w 20000"/>
                  <a:gd name="T89" fmla="*/ 11724 h 20000"/>
                  <a:gd name="T90" fmla="*/ 13695 w 20000"/>
                  <a:gd name="T91" fmla="*/ 14286 h 20000"/>
                  <a:gd name="T92" fmla="*/ 15862 w 20000"/>
                  <a:gd name="T93" fmla="*/ 16256 h 20000"/>
                  <a:gd name="T94" fmla="*/ 14877 w 20000"/>
                  <a:gd name="T95" fmla="*/ 19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4877" y="19901"/>
                    </a:moveTo>
                    <a:lnTo>
                      <a:pt x="13695" y="18916"/>
                    </a:lnTo>
                    <a:lnTo>
                      <a:pt x="13695" y="18325"/>
                    </a:lnTo>
                    <a:lnTo>
                      <a:pt x="13695" y="17340"/>
                    </a:lnTo>
                    <a:lnTo>
                      <a:pt x="13300" y="18325"/>
                    </a:lnTo>
                    <a:lnTo>
                      <a:pt x="9655" y="17340"/>
                    </a:lnTo>
                    <a:lnTo>
                      <a:pt x="8177" y="13300"/>
                    </a:lnTo>
                    <a:lnTo>
                      <a:pt x="9163" y="11724"/>
                    </a:lnTo>
                    <a:lnTo>
                      <a:pt x="8177" y="10246"/>
                    </a:lnTo>
                    <a:lnTo>
                      <a:pt x="5616" y="9163"/>
                    </a:lnTo>
                    <a:lnTo>
                      <a:pt x="6601" y="11724"/>
                    </a:lnTo>
                    <a:lnTo>
                      <a:pt x="5025" y="10640"/>
                    </a:lnTo>
                    <a:lnTo>
                      <a:pt x="4039" y="10246"/>
                    </a:lnTo>
                    <a:lnTo>
                      <a:pt x="4039" y="10640"/>
                    </a:lnTo>
                    <a:lnTo>
                      <a:pt x="3054" y="10640"/>
                    </a:lnTo>
                    <a:lnTo>
                      <a:pt x="2562" y="9163"/>
                    </a:lnTo>
                    <a:lnTo>
                      <a:pt x="985" y="10640"/>
                    </a:lnTo>
                    <a:lnTo>
                      <a:pt x="0" y="13300"/>
                    </a:lnTo>
                    <a:lnTo>
                      <a:pt x="0" y="11724"/>
                    </a:lnTo>
                    <a:lnTo>
                      <a:pt x="0" y="8177"/>
                    </a:lnTo>
                    <a:lnTo>
                      <a:pt x="3054" y="7586"/>
                    </a:lnTo>
                    <a:lnTo>
                      <a:pt x="4039" y="5616"/>
                    </a:lnTo>
                    <a:lnTo>
                      <a:pt x="6601" y="5025"/>
                    </a:lnTo>
                    <a:lnTo>
                      <a:pt x="7192" y="6601"/>
                    </a:lnTo>
                    <a:lnTo>
                      <a:pt x="6601" y="7586"/>
                    </a:lnTo>
                    <a:lnTo>
                      <a:pt x="6601" y="8177"/>
                    </a:lnTo>
                    <a:lnTo>
                      <a:pt x="9163" y="6601"/>
                    </a:lnTo>
                    <a:lnTo>
                      <a:pt x="9655" y="5025"/>
                    </a:lnTo>
                    <a:lnTo>
                      <a:pt x="11724" y="5616"/>
                    </a:lnTo>
                    <a:lnTo>
                      <a:pt x="11724" y="3547"/>
                    </a:lnTo>
                    <a:lnTo>
                      <a:pt x="12217" y="4039"/>
                    </a:lnTo>
                    <a:lnTo>
                      <a:pt x="13300" y="3547"/>
                    </a:lnTo>
                    <a:lnTo>
                      <a:pt x="14877" y="3547"/>
                    </a:lnTo>
                    <a:lnTo>
                      <a:pt x="13695" y="0"/>
                    </a:lnTo>
                    <a:lnTo>
                      <a:pt x="16355" y="1576"/>
                    </a:lnTo>
                    <a:lnTo>
                      <a:pt x="17833" y="2562"/>
                    </a:lnTo>
                    <a:lnTo>
                      <a:pt x="17833" y="5025"/>
                    </a:lnTo>
                    <a:lnTo>
                      <a:pt x="17340" y="5616"/>
                    </a:lnTo>
                    <a:lnTo>
                      <a:pt x="18916" y="5616"/>
                    </a:lnTo>
                    <a:lnTo>
                      <a:pt x="18916" y="9163"/>
                    </a:lnTo>
                    <a:lnTo>
                      <a:pt x="19901" y="11724"/>
                    </a:lnTo>
                    <a:lnTo>
                      <a:pt x="17833" y="12217"/>
                    </a:lnTo>
                    <a:lnTo>
                      <a:pt x="18916" y="15862"/>
                    </a:lnTo>
                    <a:lnTo>
                      <a:pt x="17833" y="15862"/>
                    </a:lnTo>
                    <a:lnTo>
                      <a:pt x="16355" y="11724"/>
                    </a:lnTo>
                    <a:lnTo>
                      <a:pt x="13695" y="14286"/>
                    </a:lnTo>
                    <a:lnTo>
                      <a:pt x="15862" y="16256"/>
                    </a:lnTo>
                    <a:lnTo>
                      <a:pt x="14877" y="1990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69" name="Freeform 167"/>
              <p:cNvSpPr>
                <a:spLocks/>
              </p:cNvSpPr>
              <p:nvPr/>
            </p:nvSpPr>
            <p:spPr bwMode="auto">
              <a:xfrm>
                <a:off x="8432800" y="4119563"/>
                <a:ext cx="30163" cy="47625"/>
              </a:xfrm>
              <a:custGeom>
                <a:avLst/>
                <a:gdLst>
                  <a:gd name="T0" fmla="*/ 0 w 20000"/>
                  <a:gd name="T1" fmla="*/ 19730 h 20000"/>
                  <a:gd name="T2" fmla="*/ 0 w 20000"/>
                  <a:gd name="T3" fmla="*/ 7027 h 20000"/>
                  <a:gd name="T4" fmla="*/ 0 w 20000"/>
                  <a:gd name="T5" fmla="*/ 0 h 20000"/>
                  <a:gd name="T6" fmla="*/ 6667 w 20000"/>
                  <a:gd name="T7" fmla="*/ 0 h 20000"/>
                  <a:gd name="T8" fmla="*/ 10833 w 20000"/>
                  <a:gd name="T9" fmla="*/ 4324 h 20000"/>
                  <a:gd name="T10" fmla="*/ 12917 w 20000"/>
                  <a:gd name="T11" fmla="*/ 1081 h 20000"/>
                  <a:gd name="T12" fmla="*/ 19583 w 20000"/>
                  <a:gd name="T13" fmla="*/ 4324 h 20000"/>
                  <a:gd name="T14" fmla="*/ 19583 w 20000"/>
                  <a:gd name="T15" fmla="*/ 8378 h 20000"/>
                  <a:gd name="T16" fmla="*/ 17083 w 20000"/>
                  <a:gd name="T17" fmla="*/ 11081 h 20000"/>
                  <a:gd name="T18" fmla="*/ 0 w 20000"/>
                  <a:gd name="T19" fmla="*/ 197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0" y="19730"/>
                    </a:moveTo>
                    <a:lnTo>
                      <a:pt x="0" y="7027"/>
                    </a:lnTo>
                    <a:lnTo>
                      <a:pt x="0" y="0"/>
                    </a:lnTo>
                    <a:lnTo>
                      <a:pt x="6667" y="0"/>
                    </a:lnTo>
                    <a:lnTo>
                      <a:pt x="10833" y="4324"/>
                    </a:lnTo>
                    <a:lnTo>
                      <a:pt x="12917" y="1081"/>
                    </a:lnTo>
                    <a:lnTo>
                      <a:pt x="19583" y="4324"/>
                    </a:lnTo>
                    <a:lnTo>
                      <a:pt x="19583" y="8378"/>
                    </a:lnTo>
                    <a:lnTo>
                      <a:pt x="17083" y="11081"/>
                    </a:lnTo>
                    <a:lnTo>
                      <a:pt x="0" y="197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0" name="Freeform 166"/>
              <p:cNvSpPr>
                <a:spLocks/>
              </p:cNvSpPr>
              <p:nvPr/>
            </p:nvSpPr>
            <p:spPr bwMode="auto">
              <a:xfrm>
                <a:off x="8297863" y="4129088"/>
                <a:ext cx="69850" cy="88900"/>
              </a:xfrm>
              <a:custGeom>
                <a:avLst/>
                <a:gdLst>
                  <a:gd name="T0" fmla="*/ 0 w 20000"/>
                  <a:gd name="T1" fmla="*/ 19857 h 20000"/>
                  <a:gd name="T2" fmla="*/ 4909 w 20000"/>
                  <a:gd name="T3" fmla="*/ 16857 h 20000"/>
                  <a:gd name="T4" fmla="*/ 7636 w 20000"/>
                  <a:gd name="T5" fmla="*/ 15429 h 20000"/>
                  <a:gd name="T6" fmla="*/ 11273 w 20000"/>
                  <a:gd name="T7" fmla="*/ 11000 h 20000"/>
                  <a:gd name="T8" fmla="*/ 14182 w 20000"/>
                  <a:gd name="T9" fmla="*/ 8143 h 20000"/>
                  <a:gd name="T10" fmla="*/ 16909 w 20000"/>
                  <a:gd name="T11" fmla="*/ 7286 h 20000"/>
                  <a:gd name="T12" fmla="*/ 16909 w 20000"/>
                  <a:gd name="T13" fmla="*/ 3714 h 20000"/>
                  <a:gd name="T14" fmla="*/ 18727 w 20000"/>
                  <a:gd name="T15" fmla="*/ 0 h 20000"/>
                  <a:gd name="T16" fmla="*/ 18727 w 20000"/>
                  <a:gd name="T17" fmla="*/ 2286 h 20000"/>
                  <a:gd name="T18" fmla="*/ 18727 w 20000"/>
                  <a:gd name="T19" fmla="*/ 3714 h 20000"/>
                  <a:gd name="T20" fmla="*/ 19818 w 20000"/>
                  <a:gd name="T21" fmla="*/ 7286 h 20000"/>
                  <a:gd name="T22" fmla="*/ 16909 w 20000"/>
                  <a:gd name="T23" fmla="*/ 8143 h 20000"/>
                  <a:gd name="T24" fmla="*/ 16909 w 20000"/>
                  <a:gd name="T25" fmla="*/ 11000 h 20000"/>
                  <a:gd name="T26" fmla="*/ 14182 w 20000"/>
                  <a:gd name="T27" fmla="*/ 11714 h 20000"/>
                  <a:gd name="T28" fmla="*/ 11273 w 20000"/>
                  <a:gd name="T29" fmla="*/ 15429 h 20000"/>
                  <a:gd name="T30" fmla="*/ 7636 w 20000"/>
                  <a:gd name="T31" fmla="*/ 16857 h 20000"/>
                  <a:gd name="T32" fmla="*/ 3818 w 20000"/>
                  <a:gd name="T33" fmla="*/ 19000 h 20000"/>
                  <a:gd name="T34" fmla="*/ 0 w 20000"/>
                  <a:gd name="T35" fmla="*/ 1985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0" y="19857"/>
                    </a:moveTo>
                    <a:lnTo>
                      <a:pt x="4909" y="16857"/>
                    </a:lnTo>
                    <a:lnTo>
                      <a:pt x="7636" y="15429"/>
                    </a:lnTo>
                    <a:lnTo>
                      <a:pt x="11273" y="11000"/>
                    </a:lnTo>
                    <a:lnTo>
                      <a:pt x="14182" y="8143"/>
                    </a:lnTo>
                    <a:lnTo>
                      <a:pt x="16909" y="7286"/>
                    </a:lnTo>
                    <a:lnTo>
                      <a:pt x="16909" y="3714"/>
                    </a:lnTo>
                    <a:lnTo>
                      <a:pt x="18727" y="0"/>
                    </a:lnTo>
                    <a:lnTo>
                      <a:pt x="18727" y="2286"/>
                    </a:lnTo>
                    <a:lnTo>
                      <a:pt x="18727" y="3714"/>
                    </a:lnTo>
                    <a:lnTo>
                      <a:pt x="19818" y="7286"/>
                    </a:lnTo>
                    <a:lnTo>
                      <a:pt x="16909" y="8143"/>
                    </a:lnTo>
                    <a:lnTo>
                      <a:pt x="16909" y="11000"/>
                    </a:lnTo>
                    <a:lnTo>
                      <a:pt x="14182" y="11714"/>
                    </a:lnTo>
                    <a:lnTo>
                      <a:pt x="11273" y="15429"/>
                    </a:lnTo>
                    <a:lnTo>
                      <a:pt x="7636" y="16857"/>
                    </a:lnTo>
                    <a:lnTo>
                      <a:pt x="3818" y="19000"/>
                    </a:lnTo>
                    <a:lnTo>
                      <a:pt x="0" y="1985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1" name="Freeform 165"/>
              <p:cNvSpPr>
                <a:spLocks/>
              </p:cNvSpPr>
              <p:nvPr/>
            </p:nvSpPr>
            <p:spPr bwMode="auto">
              <a:xfrm>
                <a:off x="8494713" y="4095750"/>
                <a:ext cx="44450" cy="50800"/>
              </a:xfrm>
              <a:custGeom>
                <a:avLst/>
                <a:gdLst>
                  <a:gd name="T0" fmla="*/ 19710 w 20000"/>
                  <a:gd name="T1" fmla="*/ 19747 h 20000"/>
                  <a:gd name="T2" fmla="*/ 15072 w 20000"/>
                  <a:gd name="T3" fmla="*/ 17215 h 20000"/>
                  <a:gd name="T4" fmla="*/ 10725 w 20000"/>
                  <a:gd name="T5" fmla="*/ 10380 h 20000"/>
                  <a:gd name="T6" fmla="*/ 4638 w 20000"/>
                  <a:gd name="T7" fmla="*/ 9367 h 20000"/>
                  <a:gd name="T8" fmla="*/ 0 w 20000"/>
                  <a:gd name="T9" fmla="*/ 2532 h 20000"/>
                  <a:gd name="T10" fmla="*/ 11884 w 20000"/>
                  <a:gd name="T11" fmla="*/ 0 h 20000"/>
                  <a:gd name="T12" fmla="*/ 15072 w 20000"/>
                  <a:gd name="T13" fmla="*/ 2532 h 20000"/>
                  <a:gd name="T14" fmla="*/ 16522 w 20000"/>
                  <a:gd name="T15" fmla="*/ 5316 h 20000"/>
                  <a:gd name="T16" fmla="*/ 15072 w 20000"/>
                  <a:gd name="T17" fmla="*/ 9367 h 20000"/>
                  <a:gd name="T18" fmla="*/ 19710 w 20000"/>
                  <a:gd name="T19" fmla="*/ 1974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19710" y="19747"/>
                    </a:moveTo>
                    <a:lnTo>
                      <a:pt x="15072" y="17215"/>
                    </a:lnTo>
                    <a:lnTo>
                      <a:pt x="10725" y="10380"/>
                    </a:lnTo>
                    <a:lnTo>
                      <a:pt x="4638" y="9367"/>
                    </a:lnTo>
                    <a:lnTo>
                      <a:pt x="0" y="2532"/>
                    </a:lnTo>
                    <a:lnTo>
                      <a:pt x="11884" y="0"/>
                    </a:lnTo>
                    <a:lnTo>
                      <a:pt x="15072" y="2532"/>
                    </a:lnTo>
                    <a:lnTo>
                      <a:pt x="16522" y="5316"/>
                    </a:lnTo>
                    <a:lnTo>
                      <a:pt x="15072" y="9367"/>
                    </a:lnTo>
                    <a:lnTo>
                      <a:pt x="19710" y="1974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2" name="Freeform 164"/>
              <p:cNvSpPr>
                <a:spLocks/>
              </p:cNvSpPr>
              <p:nvPr/>
            </p:nvSpPr>
            <p:spPr bwMode="auto">
              <a:xfrm>
                <a:off x="8448675" y="4144963"/>
                <a:ext cx="30163" cy="60325"/>
              </a:xfrm>
              <a:custGeom>
                <a:avLst/>
                <a:gdLst>
                  <a:gd name="T0" fmla="*/ 12917 w 20000"/>
                  <a:gd name="T1" fmla="*/ 19787 h 20000"/>
                  <a:gd name="T2" fmla="*/ 6667 w 20000"/>
                  <a:gd name="T3" fmla="*/ 15532 h 20000"/>
                  <a:gd name="T4" fmla="*/ 2500 w 20000"/>
                  <a:gd name="T5" fmla="*/ 15532 h 20000"/>
                  <a:gd name="T6" fmla="*/ 0 w 20000"/>
                  <a:gd name="T7" fmla="*/ 10851 h 20000"/>
                  <a:gd name="T8" fmla="*/ 6667 w 20000"/>
                  <a:gd name="T9" fmla="*/ 8723 h 20000"/>
                  <a:gd name="T10" fmla="*/ 12917 w 20000"/>
                  <a:gd name="T11" fmla="*/ 851 h 20000"/>
                  <a:gd name="T12" fmla="*/ 17083 w 20000"/>
                  <a:gd name="T13" fmla="*/ 0 h 20000"/>
                  <a:gd name="T14" fmla="*/ 19583 w 20000"/>
                  <a:gd name="T15" fmla="*/ 851 h 20000"/>
                  <a:gd name="T16" fmla="*/ 17083 w 20000"/>
                  <a:gd name="T17" fmla="*/ 6596 h 20000"/>
                  <a:gd name="T18" fmla="*/ 12917 w 20000"/>
                  <a:gd name="T19" fmla="*/ 14255 h 20000"/>
                  <a:gd name="T20" fmla="*/ 17083 w 20000"/>
                  <a:gd name="T21" fmla="*/ 19787 h 20000"/>
                  <a:gd name="T22" fmla="*/ 12917 w 20000"/>
                  <a:gd name="T23" fmla="*/ 197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2917" y="19787"/>
                    </a:moveTo>
                    <a:lnTo>
                      <a:pt x="6667" y="15532"/>
                    </a:lnTo>
                    <a:lnTo>
                      <a:pt x="2500" y="15532"/>
                    </a:lnTo>
                    <a:lnTo>
                      <a:pt x="0" y="10851"/>
                    </a:lnTo>
                    <a:lnTo>
                      <a:pt x="6667" y="8723"/>
                    </a:lnTo>
                    <a:lnTo>
                      <a:pt x="12917" y="851"/>
                    </a:lnTo>
                    <a:lnTo>
                      <a:pt x="17083" y="0"/>
                    </a:lnTo>
                    <a:lnTo>
                      <a:pt x="19583" y="851"/>
                    </a:lnTo>
                    <a:lnTo>
                      <a:pt x="17083" y="6596"/>
                    </a:lnTo>
                    <a:lnTo>
                      <a:pt x="12917" y="14255"/>
                    </a:lnTo>
                    <a:lnTo>
                      <a:pt x="17083" y="19787"/>
                    </a:lnTo>
                    <a:lnTo>
                      <a:pt x="12917" y="197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3" name="Freeform 163"/>
              <p:cNvSpPr>
                <a:spLocks/>
              </p:cNvSpPr>
              <p:nvPr/>
            </p:nvSpPr>
            <p:spPr bwMode="auto">
              <a:xfrm>
                <a:off x="8501063" y="4129088"/>
                <a:ext cx="26987" cy="42862"/>
              </a:xfrm>
              <a:custGeom>
                <a:avLst/>
                <a:gdLst>
                  <a:gd name="T0" fmla="*/ 14419 w 20000"/>
                  <a:gd name="T1" fmla="*/ 19706 h 20000"/>
                  <a:gd name="T2" fmla="*/ 6977 w 20000"/>
                  <a:gd name="T3" fmla="*/ 7647 h 20000"/>
                  <a:gd name="T4" fmla="*/ 2791 w 20000"/>
                  <a:gd name="T5" fmla="*/ 7647 h 20000"/>
                  <a:gd name="T6" fmla="*/ 0 w 20000"/>
                  <a:gd name="T7" fmla="*/ 0 h 20000"/>
                  <a:gd name="T8" fmla="*/ 2791 w 20000"/>
                  <a:gd name="T9" fmla="*/ 2941 h 20000"/>
                  <a:gd name="T10" fmla="*/ 12093 w 20000"/>
                  <a:gd name="T11" fmla="*/ 2941 h 20000"/>
                  <a:gd name="T12" fmla="*/ 12093 w 20000"/>
                  <a:gd name="T13" fmla="*/ 7647 h 20000"/>
                  <a:gd name="T14" fmla="*/ 19535 w 20000"/>
                  <a:gd name="T15" fmla="*/ 16765 h 20000"/>
                  <a:gd name="T16" fmla="*/ 14419 w 20000"/>
                  <a:gd name="T17"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4419" y="19706"/>
                    </a:moveTo>
                    <a:lnTo>
                      <a:pt x="6977" y="7647"/>
                    </a:lnTo>
                    <a:lnTo>
                      <a:pt x="2791" y="7647"/>
                    </a:lnTo>
                    <a:lnTo>
                      <a:pt x="0" y="0"/>
                    </a:lnTo>
                    <a:lnTo>
                      <a:pt x="2791" y="2941"/>
                    </a:lnTo>
                    <a:lnTo>
                      <a:pt x="12093" y="2941"/>
                    </a:lnTo>
                    <a:lnTo>
                      <a:pt x="12093" y="7647"/>
                    </a:lnTo>
                    <a:lnTo>
                      <a:pt x="19535" y="16765"/>
                    </a:lnTo>
                    <a:lnTo>
                      <a:pt x="14419"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4" name="Freeform 162"/>
              <p:cNvSpPr>
                <a:spLocks/>
              </p:cNvSpPr>
              <p:nvPr/>
            </p:nvSpPr>
            <p:spPr bwMode="auto">
              <a:xfrm>
                <a:off x="8474075" y="4138613"/>
                <a:ext cx="14288" cy="49212"/>
              </a:xfrm>
              <a:custGeom>
                <a:avLst/>
                <a:gdLst>
                  <a:gd name="T0" fmla="*/ 5455 w 20000"/>
                  <a:gd name="T1" fmla="*/ 19744 h 20000"/>
                  <a:gd name="T2" fmla="*/ 0 w 20000"/>
                  <a:gd name="T3" fmla="*/ 19744 h 20000"/>
                  <a:gd name="T4" fmla="*/ 13636 w 20000"/>
                  <a:gd name="T5" fmla="*/ 9231 h 20000"/>
                  <a:gd name="T6" fmla="*/ 19091 w 20000"/>
                  <a:gd name="T7" fmla="*/ 0 h 20000"/>
                  <a:gd name="T8" fmla="*/ 19091 w 20000"/>
                  <a:gd name="T9" fmla="*/ 10513 h 20000"/>
                  <a:gd name="T10" fmla="*/ 13636 w 20000"/>
                  <a:gd name="T11" fmla="*/ 13077 h 20000"/>
                  <a:gd name="T12" fmla="*/ 5455 w 20000"/>
                  <a:gd name="T13" fmla="*/ 1974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455" y="19744"/>
                    </a:moveTo>
                    <a:lnTo>
                      <a:pt x="0" y="19744"/>
                    </a:lnTo>
                    <a:lnTo>
                      <a:pt x="13636" y="9231"/>
                    </a:lnTo>
                    <a:lnTo>
                      <a:pt x="19091" y="0"/>
                    </a:lnTo>
                    <a:lnTo>
                      <a:pt x="19091" y="10513"/>
                    </a:lnTo>
                    <a:lnTo>
                      <a:pt x="13636" y="13077"/>
                    </a:lnTo>
                    <a:lnTo>
                      <a:pt x="5455" y="1974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5" name="Freeform 161"/>
              <p:cNvSpPr>
                <a:spLocks/>
              </p:cNvSpPr>
              <p:nvPr/>
            </p:nvSpPr>
            <p:spPr bwMode="auto">
              <a:xfrm>
                <a:off x="8488363" y="4171950"/>
                <a:ext cx="23812" cy="17463"/>
              </a:xfrm>
              <a:custGeom>
                <a:avLst/>
                <a:gdLst>
                  <a:gd name="T0" fmla="*/ 14054 w 20000"/>
                  <a:gd name="T1" fmla="*/ 19259 h 20000"/>
                  <a:gd name="T2" fmla="*/ 0 w 20000"/>
                  <a:gd name="T3" fmla="*/ 11852 h 20000"/>
                  <a:gd name="T4" fmla="*/ 5405 w 20000"/>
                  <a:gd name="T5" fmla="*/ 7407 h 20000"/>
                  <a:gd name="T6" fmla="*/ 14054 w 20000"/>
                  <a:gd name="T7" fmla="*/ 0 h 20000"/>
                  <a:gd name="T8" fmla="*/ 19459 w 20000"/>
                  <a:gd name="T9" fmla="*/ 7407 h 20000"/>
                  <a:gd name="T10" fmla="*/ 14054 w 20000"/>
                  <a:gd name="T11" fmla="*/ 19259 h 20000"/>
                </a:gdLst>
                <a:ahLst/>
                <a:cxnLst>
                  <a:cxn ang="0">
                    <a:pos x="T0" y="T1"/>
                  </a:cxn>
                  <a:cxn ang="0">
                    <a:pos x="T2" y="T3"/>
                  </a:cxn>
                  <a:cxn ang="0">
                    <a:pos x="T4" y="T5"/>
                  </a:cxn>
                  <a:cxn ang="0">
                    <a:pos x="T6" y="T7"/>
                  </a:cxn>
                  <a:cxn ang="0">
                    <a:pos x="T8" y="T9"/>
                  </a:cxn>
                  <a:cxn ang="0">
                    <a:pos x="T10" y="T11"/>
                  </a:cxn>
                </a:cxnLst>
                <a:rect l="0" t="0" r="r" b="b"/>
                <a:pathLst>
                  <a:path w="20000" h="20000">
                    <a:moveTo>
                      <a:pt x="14054" y="19259"/>
                    </a:moveTo>
                    <a:lnTo>
                      <a:pt x="0" y="11852"/>
                    </a:lnTo>
                    <a:lnTo>
                      <a:pt x="5405" y="7407"/>
                    </a:lnTo>
                    <a:lnTo>
                      <a:pt x="14054" y="0"/>
                    </a:lnTo>
                    <a:lnTo>
                      <a:pt x="19459" y="7407"/>
                    </a:lnTo>
                    <a:lnTo>
                      <a:pt x="14054"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6" name="Freeform 160"/>
              <p:cNvSpPr>
                <a:spLocks/>
              </p:cNvSpPr>
              <p:nvPr/>
            </p:nvSpPr>
            <p:spPr bwMode="auto">
              <a:xfrm>
                <a:off x="5943600" y="3502025"/>
                <a:ext cx="603250" cy="496888"/>
              </a:xfrm>
              <a:custGeom>
                <a:avLst/>
                <a:gdLst>
                  <a:gd name="T0" fmla="*/ 1412 w 20000"/>
                  <a:gd name="T1" fmla="*/ 3836 h 20000"/>
                  <a:gd name="T2" fmla="*/ 2297 w 20000"/>
                  <a:gd name="T3" fmla="*/ 3043 h 20000"/>
                  <a:gd name="T4" fmla="*/ 2845 w 20000"/>
                  <a:gd name="T5" fmla="*/ 2353 h 20000"/>
                  <a:gd name="T6" fmla="*/ 2192 w 20000"/>
                  <a:gd name="T7" fmla="*/ 1049 h 20000"/>
                  <a:gd name="T8" fmla="*/ 3393 w 20000"/>
                  <a:gd name="T9" fmla="*/ 537 h 20000"/>
                  <a:gd name="T10" fmla="*/ 5037 w 20000"/>
                  <a:gd name="T11" fmla="*/ 256 h 20000"/>
                  <a:gd name="T12" fmla="*/ 7629 w 20000"/>
                  <a:gd name="T13" fmla="*/ 1995 h 20000"/>
                  <a:gd name="T14" fmla="*/ 8303 w 20000"/>
                  <a:gd name="T15" fmla="*/ 2353 h 20000"/>
                  <a:gd name="T16" fmla="*/ 9399 w 20000"/>
                  <a:gd name="T17" fmla="*/ 3836 h 20000"/>
                  <a:gd name="T18" fmla="*/ 11886 w 20000"/>
                  <a:gd name="T19" fmla="*/ 4092 h 20000"/>
                  <a:gd name="T20" fmla="*/ 12540 w 20000"/>
                  <a:gd name="T21" fmla="*/ 4501 h 20000"/>
                  <a:gd name="T22" fmla="*/ 13109 w 20000"/>
                  <a:gd name="T23" fmla="*/ 5422 h 20000"/>
                  <a:gd name="T24" fmla="*/ 13446 w 20000"/>
                  <a:gd name="T25" fmla="*/ 5806 h 20000"/>
                  <a:gd name="T26" fmla="*/ 13741 w 20000"/>
                  <a:gd name="T27" fmla="*/ 6471 h 20000"/>
                  <a:gd name="T28" fmla="*/ 14310 w 20000"/>
                  <a:gd name="T29" fmla="*/ 7263 h 20000"/>
                  <a:gd name="T30" fmla="*/ 14204 w 20000"/>
                  <a:gd name="T31" fmla="*/ 7545 h 20000"/>
                  <a:gd name="T32" fmla="*/ 14521 w 20000"/>
                  <a:gd name="T33" fmla="*/ 8312 h 20000"/>
                  <a:gd name="T34" fmla="*/ 15174 w 20000"/>
                  <a:gd name="T35" fmla="*/ 9412 h 20000"/>
                  <a:gd name="T36" fmla="*/ 15595 w 20000"/>
                  <a:gd name="T37" fmla="*/ 9668 h 20000"/>
                  <a:gd name="T38" fmla="*/ 16059 w 20000"/>
                  <a:gd name="T39" fmla="*/ 10563 h 20000"/>
                  <a:gd name="T40" fmla="*/ 16586 w 20000"/>
                  <a:gd name="T41" fmla="*/ 11611 h 20000"/>
                  <a:gd name="T42" fmla="*/ 19642 w 20000"/>
                  <a:gd name="T43" fmla="*/ 12020 h 20000"/>
                  <a:gd name="T44" fmla="*/ 19642 w 20000"/>
                  <a:gd name="T45" fmla="*/ 14936 h 20000"/>
                  <a:gd name="T46" fmla="*/ 13741 w 20000"/>
                  <a:gd name="T47" fmla="*/ 17187 h 20000"/>
                  <a:gd name="T48" fmla="*/ 11675 w 20000"/>
                  <a:gd name="T49" fmla="*/ 19974 h 20000"/>
                  <a:gd name="T50" fmla="*/ 9947 w 20000"/>
                  <a:gd name="T51" fmla="*/ 17980 h 20000"/>
                  <a:gd name="T52" fmla="*/ 8830 w 20000"/>
                  <a:gd name="T53" fmla="*/ 18261 h 20000"/>
                  <a:gd name="T54" fmla="*/ 8746 w 20000"/>
                  <a:gd name="T55" fmla="*/ 19028 h 20000"/>
                  <a:gd name="T56" fmla="*/ 7629 w 20000"/>
                  <a:gd name="T57" fmla="*/ 18261 h 20000"/>
                  <a:gd name="T58" fmla="*/ 6238 w 20000"/>
                  <a:gd name="T59" fmla="*/ 15857 h 20000"/>
                  <a:gd name="T60" fmla="*/ 5037 w 20000"/>
                  <a:gd name="T61" fmla="*/ 14552 h 20000"/>
                  <a:gd name="T62" fmla="*/ 4489 w 20000"/>
                  <a:gd name="T63" fmla="*/ 12711 h 20000"/>
                  <a:gd name="T64" fmla="*/ 3604 w 20000"/>
                  <a:gd name="T65" fmla="*/ 10307 h 20000"/>
                  <a:gd name="T66" fmla="*/ 2508 w 20000"/>
                  <a:gd name="T67" fmla="*/ 9258 h 20000"/>
                  <a:gd name="T68" fmla="*/ 1981 w 20000"/>
                  <a:gd name="T69" fmla="*/ 7928 h 20000"/>
                  <a:gd name="T70" fmla="*/ 780 w 20000"/>
                  <a:gd name="T71" fmla="*/ 5422 h 20000"/>
                  <a:gd name="T72" fmla="*/ 0 w 20000"/>
                  <a:gd name="T73" fmla="*/ 5166 h 20000"/>
                  <a:gd name="T74" fmla="*/ 211 w 20000"/>
                  <a:gd name="T75" fmla="*/ 37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211" y="3708"/>
                    </a:moveTo>
                    <a:lnTo>
                      <a:pt x="1412" y="3836"/>
                    </a:lnTo>
                    <a:lnTo>
                      <a:pt x="2192" y="3043"/>
                    </a:lnTo>
                    <a:lnTo>
                      <a:pt x="2297" y="3043"/>
                    </a:lnTo>
                    <a:lnTo>
                      <a:pt x="2719" y="2762"/>
                    </a:lnTo>
                    <a:lnTo>
                      <a:pt x="2845" y="2353"/>
                    </a:lnTo>
                    <a:lnTo>
                      <a:pt x="3056" y="2097"/>
                    </a:lnTo>
                    <a:lnTo>
                      <a:pt x="2192" y="1049"/>
                    </a:lnTo>
                    <a:lnTo>
                      <a:pt x="2192" y="921"/>
                    </a:lnTo>
                    <a:lnTo>
                      <a:pt x="3393" y="537"/>
                    </a:lnTo>
                    <a:lnTo>
                      <a:pt x="4152" y="0"/>
                    </a:lnTo>
                    <a:lnTo>
                      <a:pt x="5037" y="256"/>
                    </a:lnTo>
                    <a:lnTo>
                      <a:pt x="6891" y="1586"/>
                    </a:lnTo>
                    <a:lnTo>
                      <a:pt x="7629" y="1995"/>
                    </a:lnTo>
                    <a:lnTo>
                      <a:pt x="7756" y="2097"/>
                    </a:lnTo>
                    <a:lnTo>
                      <a:pt x="8303" y="2353"/>
                    </a:lnTo>
                    <a:lnTo>
                      <a:pt x="8303" y="3299"/>
                    </a:lnTo>
                    <a:lnTo>
                      <a:pt x="9399" y="3836"/>
                    </a:lnTo>
                    <a:lnTo>
                      <a:pt x="11149" y="3836"/>
                    </a:lnTo>
                    <a:lnTo>
                      <a:pt x="11886" y="4092"/>
                    </a:lnTo>
                    <a:lnTo>
                      <a:pt x="12013" y="4501"/>
                    </a:lnTo>
                    <a:lnTo>
                      <a:pt x="12540" y="4501"/>
                    </a:lnTo>
                    <a:lnTo>
                      <a:pt x="12792" y="5166"/>
                    </a:lnTo>
                    <a:lnTo>
                      <a:pt x="13109" y="5422"/>
                    </a:lnTo>
                    <a:lnTo>
                      <a:pt x="13109" y="5806"/>
                    </a:lnTo>
                    <a:lnTo>
                      <a:pt x="13446" y="5806"/>
                    </a:lnTo>
                    <a:lnTo>
                      <a:pt x="13446" y="6061"/>
                    </a:lnTo>
                    <a:lnTo>
                      <a:pt x="13741" y="6471"/>
                    </a:lnTo>
                    <a:lnTo>
                      <a:pt x="14204" y="6598"/>
                    </a:lnTo>
                    <a:lnTo>
                      <a:pt x="14310" y="7263"/>
                    </a:lnTo>
                    <a:lnTo>
                      <a:pt x="14310" y="7545"/>
                    </a:lnTo>
                    <a:lnTo>
                      <a:pt x="14204" y="7545"/>
                    </a:lnTo>
                    <a:lnTo>
                      <a:pt x="14310" y="7928"/>
                    </a:lnTo>
                    <a:lnTo>
                      <a:pt x="14521" y="8312"/>
                    </a:lnTo>
                    <a:lnTo>
                      <a:pt x="14858" y="8849"/>
                    </a:lnTo>
                    <a:lnTo>
                      <a:pt x="15174" y="9412"/>
                    </a:lnTo>
                    <a:lnTo>
                      <a:pt x="15385" y="9412"/>
                    </a:lnTo>
                    <a:lnTo>
                      <a:pt x="15595" y="9668"/>
                    </a:lnTo>
                    <a:lnTo>
                      <a:pt x="15722" y="10051"/>
                    </a:lnTo>
                    <a:lnTo>
                      <a:pt x="16059" y="10563"/>
                    </a:lnTo>
                    <a:lnTo>
                      <a:pt x="16502" y="11100"/>
                    </a:lnTo>
                    <a:lnTo>
                      <a:pt x="16586" y="11611"/>
                    </a:lnTo>
                    <a:lnTo>
                      <a:pt x="19431" y="12174"/>
                    </a:lnTo>
                    <a:lnTo>
                      <a:pt x="19642" y="12020"/>
                    </a:lnTo>
                    <a:lnTo>
                      <a:pt x="19979" y="12711"/>
                    </a:lnTo>
                    <a:lnTo>
                      <a:pt x="19642" y="14936"/>
                    </a:lnTo>
                    <a:lnTo>
                      <a:pt x="16818" y="16266"/>
                    </a:lnTo>
                    <a:lnTo>
                      <a:pt x="13741" y="17187"/>
                    </a:lnTo>
                    <a:lnTo>
                      <a:pt x="12223" y="19719"/>
                    </a:lnTo>
                    <a:lnTo>
                      <a:pt x="11675" y="19974"/>
                    </a:lnTo>
                    <a:lnTo>
                      <a:pt x="11675" y="19028"/>
                    </a:lnTo>
                    <a:lnTo>
                      <a:pt x="9947" y="17980"/>
                    </a:lnTo>
                    <a:lnTo>
                      <a:pt x="9168" y="18261"/>
                    </a:lnTo>
                    <a:lnTo>
                      <a:pt x="8830" y="18261"/>
                    </a:lnTo>
                    <a:lnTo>
                      <a:pt x="8746" y="18261"/>
                    </a:lnTo>
                    <a:lnTo>
                      <a:pt x="8746" y="19028"/>
                    </a:lnTo>
                    <a:lnTo>
                      <a:pt x="8198" y="19437"/>
                    </a:lnTo>
                    <a:lnTo>
                      <a:pt x="7629" y="18261"/>
                    </a:lnTo>
                    <a:lnTo>
                      <a:pt x="7102" y="17570"/>
                    </a:lnTo>
                    <a:lnTo>
                      <a:pt x="6238" y="15857"/>
                    </a:lnTo>
                    <a:lnTo>
                      <a:pt x="5690" y="14808"/>
                    </a:lnTo>
                    <a:lnTo>
                      <a:pt x="5037" y="14552"/>
                    </a:lnTo>
                    <a:lnTo>
                      <a:pt x="4489" y="13478"/>
                    </a:lnTo>
                    <a:lnTo>
                      <a:pt x="4489" y="12711"/>
                    </a:lnTo>
                    <a:lnTo>
                      <a:pt x="4489" y="12174"/>
                    </a:lnTo>
                    <a:lnTo>
                      <a:pt x="3604" y="10307"/>
                    </a:lnTo>
                    <a:lnTo>
                      <a:pt x="2845" y="9923"/>
                    </a:lnTo>
                    <a:lnTo>
                      <a:pt x="2508" y="9258"/>
                    </a:lnTo>
                    <a:lnTo>
                      <a:pt x="2719" y="9003"/>
                    </a:lnTo>
                    <a:lnTo>
                      <a:pt x="1981" y="7928"/>
                    </a:lnTo>
                    <a:lnTo>
                      <a:pt x="1307" y="6471"/>
                    </a:lnTo>
                    <a:lnTo>
                      <a:pt x="780" y="5422"/>
                    </a:lnTo>
                    <a:lnTo>
                      <a:pt x="443" y="5166"/>
                    </a:lnTo>
                    <a:lnTo>
                      <a:pt x="0" y="5166"/>
                    </a:lnTo>
                    <a:lnTo>
                      <a:pt x="211" y="4348"/>
                    </a:lnTo>
                    <a:lnTo>
                      <a:pt x="211" y="37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7" name="Freeform 159"/>
              <p:cNvSpPr>
                <a:spLocks/>
              </p:cNvSpPr>
              <p:nvPr/>
            </p:nvSpPr>
            <p:spPr bwMode="auto">
              <a:xfrm>
                <a:off x="7235825" y="4181475"/>
                <a:ext cx="63500" cy="112713"/>
              </a:xfrm>
              <a:custGeom>
                <a:avLst/>
                <a:gdLst>
                  <a:gd name="T0" fmla="*/ 8283 w 20000"/>
                  <a:gd name="T1" fmla="*/ 19887 h 20000"/>
                  <a:gd name="T2" fmla="*/ 5253 w 20000"/>
                  <a:gd name="T3" fmla="*/ 16836 h 20000"/>
                  <a:gd name="T4" fmla="*/ 3232 w 20000"/>
                  <a:gd name="T5" fmla="*/ 12203 h 20000"/>
                  <a:gd name="T6" fmla="*/ 0 w 20000"/>
                  <a:gd name="T7" fmla="*/ 8701 h 20000"/>
                  <a:gd name="T8" fmla="*/ 2020 w 20000"/>
                  <a:gd name="T9" fmla="*/ 8701 h 20000"/>
                  <a:gd name="T10" fmla="*/ 3232 w 20000"/>
                  <a:gd name="T11" fmla="*/ 4633 h 20000"/>
                  <a:gd name="T12" fmla="*/ 2020 w 20000"/>
                  <a:gd name="T13" fmla="*/ 4068 h 20000"/>
                  <a:gd name="T14" fmla="*/ 3232 w 20000"/>
                  <a:gd name="T15" fmla="*/ 2938 h 20000"/>
                  <a:gd name="T16" fmla="*/ 5253 w 20000"/>
                  <a:gd name="T17" fmla="*/ 1130 h 20000"/>
                  <a:gd name="T18" fmla="*/ 3232 w 20000"/>
                  <a:gd name="T19" fmla="*/ 0 h 20000"/>
                  <a:gd name="T20" fmla="*/ 11515 w 20000"/>
                  <a:gd name="T21" fmla="*/ 2938 h 20000"/>
                  <a:gd name="T22" fmla="*/ 11515 w 20000"/>
                  <a:gd name="T23" fmla="*/ 4068 h 20000"/>
                  <a:gd name="T24" fmla="*/ 15758 w 20000"/>
                  <a:gd name="T25" fmla="*/ 6441 h 20000"/>
                  <a:gd name="T26" fmla="*/ 19798 w 20000"/>
                  <a:gd name="T27" fmla="*/ 11751 h 20000"/>
                  <a:gd name="T28" fmla="*/ 18586 w 20000"/>
                  <a:gd name="T29" fmla="*/ 16836 h 20000"/>
                  <a:gd name="T30" fmla="*/ 8283 w 20000"/>
                  <a:gd name="T31" fmla="*/ 198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8283" y="19887"/>
                    </a:moveTo>
                    <a:lnTo>
                      <a:pt x="5253" y="16836"/>
                    </a:lnTo>
                    <a:lnTo>
                      <a:pt x="3232" y="12203"/>
                    </a:lnTo>
                    <a:lnTo>
                      <a:pt x="0" y="8701"/>
                    </a:lnTo>
                    <a:lnTo>
                      <a:pt x="2020" y="8701"/>
                    </a:lnTo>
                    <a:lnTo>
                      <a:pt x="3232" y="4633"/>
                    </a:lnTo>
                    <a:lnTo>
                      <a:pt x="2020" y="4068"/>
                    </a:lnTo>
                    <a:lnTo>
                      <a:pt x="3232" y="2938"/>
                    </a:lnTo>
                    <a:lnTo>
                      <a:pt x="5253" y="1130"/>
                    </a:lnTo>
                    <a:lnTo>
                      <a:pt x="3232" y="0"/>
                    </a:lnTo>
                    <a:lnTo>
                      <a:pt x="11515" y="2938"/>
                    </a:lnTo>
                    <a:lnTo>
                      <a:pt x="11515" y="4068"/>
                    </a:lnTo>
                    <a:lnTo>
                      <a:pt x="15758" y="6441"/>
                    </a:lnTo>
                    <a:lnTo>
                      <a:pt x="19798" y="11751"/>
                    </a:lnTo>
                    <a:lnTo>
                      <a:pt x="18586" y="16836"/>
                    </a:lnTo>
                    <a:lnTo>
                      <a:pt x="8283" y="198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8" name="Freeform 158"/>
              <p:cNvSpPr>
                <a:spLocks/>
              </p:cNvSpPr>
              <p:nvPr/>
            </p:nvSpPr>
            <p:spPr bwMode="auto">
              <a:xfrm>
                <a:off x="5959475" y="3336925"/>
                <a:ext cx="177800" cy="161925"/>
              </a:xfrm>
              <a:custGeom>
                <a:avLst/>
                <a:gdLst>
                  <a:gd name="T0" fmla="*/ 783 w 20000"/>
                  <a:gd name="T1" fmla="*/ 5276 h 20000"/>
                  <a:gd name="T2" fmla="*/ 1139 w 20000"/>
                  <a:gd name="T3" fmla="*/ 6063 h 20000"/>
                  <a:gd name="T4" fmla="*/ 2633 w 20000"/>
                  <a:gd name="T5" fmla="*/ 5276 h 20000"/>
                  <a:gd name="T6" fmla="*/ 2918 w 20000"/>
                  <a:gd name="T7" fmla="*/ 4882 h 20000"/>
                  <a:gd name="T8" fmla="*/ 2918 w 20000"/>
                  <a:gd name="T9" fmla="*/ 4016 h 20000"/>
                  <a:gd name="T10" fmla="*/ 2918 w 20000"/>
                  <a:gd name="T11" fmla="*/ 2047 h 20000"/>
                  <a:gd name="T12" fmla="*/ 3701 w 20000"/>
                  <a:gd name="T13" fmla="*/ 2047 h 20000"/>
                  <a:gd name="T14" fmla="*/ 4413 w 20000"/>
                  <a:gd name="T15" fmla="*/ 2835 h 20000"/>
                  <a:gd name="T16" fmla="*/ 5979 w 20000"/>
                  <a:gd name="T17" fmla="*/ 2835 h 20000"/>
                  <a:gd name="T18" fmla="*/ 7758 w 20000"/>
                  <a:gd name="T19" fmla="*/ 2047 h 20000"/>
                  <a:gd name="T20" fmla="*/ 10320 w 20000"/>
                  <a:gd name="T21" fmla="*/ 2835 h 20000"/>
                  <a:gd name="T22" fmla="*/ 12527 w 20000"/>
                  <a:gd name="T23" fmla="*/ 2835 h 20000"/>
                  <a:gd name="T24" fmla="*/ 15160 w 20000"/>
                  <a:gd name="T25" fmla="*/ 787 h 20000"/>
                  <a:gd name="T26" fmla="*/ 16584 w 20000"/>
                  <a:gd name="T27" fmla="*/ 787 h 20000"/>
                  <a:gd name="T28" fmla="*/ 18078 w 20000"/>
                  <a:gd name="T29" fmla="*/ 787 h 20000"/>
                  <a:gd name="T30" fmla="*/ 19217 w 20000"/>
                  <a:gd name="T31" fmla="*/ 0 h 20000"/>
                  <a:gd name="T32" fmla="*/ 19929 w 20000"/>
                  <a:gd name="T33" fmla="*/ 787 h 20000"/>
                  <a:gd name="T34" fmla="*/ 19217 w 20000"/>
                  <a:gd name="T35" fmla="*/ 2047 h 20000"/>
                  <a:gd name="T36" fmla="*/ 17367 w 20000"/>
                  <a:gd name="T37" fmla="*/ 3228 h 20000"/>
                  <a:gd name="T38" fmla="*/ 17367 w 20000"/>
                  <a:gd name="T39" fmla="*/ 4882 h 20000"/>
                  <a:gd name="T40" fmla="*/ 17367 w 20000"/>
                  <a:gd name="T41" fmla="*/ 6457 h 20000"/>
                  <a:gd name="T42" fmla="*/ 17367 w 20000"/>
                  <a:gd name="T43" fmla="*/ 9370 h 20000"/>
                  <a:gd name="T44" fmla="*/ 16584 w 20000"/>
                  <a:gd name="T45" fmla="*/ 11417 h 20000"/>
                  <a:gd name="T46" fmla="*/ 14448 w 20000"/>
                  <a:gd name="T47" fmla="*/ 13386 h 20000"/>
                  <a:gd name="T48" fmla="*/ 10320 w 20000"/>
                  <a:gd name="T49" fmla="*/ 15906 h 20000"/>
                  <a:gd name="T50" fmla="*/ 7402 w 20000"/>
                  <a:gd name="T51" fmla="*/ 18346 h 20000"/>
                  <a:gd name="T52" fmla="*/ 4413 w 20000"/>
                  <a:gd name="T53" fmla="*/ 19921 h 20000"/>
                  <a:gd name="T54" fmla="*/ 2918 w 20000"/>
                  <a:gd name="T55" fmla="*/ 19921 h 20000"/>
                  <a:gd name="T56" fmla="*/ 2633 w 20000"/>
                  <a:gd name="T57" fmla="*/ 19921 h 20000"/>
                  <a:gd name="T58" fmla="*/ 1922 w 20000"/>
                  <a:gd name="T59" fmla="*/ 19134 h 20000"/>
                  <a:gd name="T60" fmla="*/ 0 w 20000"/>
                  <a:gd name="T61" fmla="*/ 19134 h 20000"/>
                  <a:gd name="T62" fmla="*/ 1139 w 20000"/>
                  <a:gd name="T63" fmla="*/ 17087 h 20000"/>
                  <a:gd name="T64" fmla="*/ 1139 w 20000"/>
                  <a:gd name="T65" fmla="*/ 16693 h 20000"/>
                  <a:gd name="T66" fmla="*/ 1922 w 20000"/>
                  <a:gd name="T67" fmla="*/ 15118 h 20000"/>
                  <a:gd name="T68" fmla="*/ 1922 w 20000"/>
                  <a:gd name="T69" fmla="*/ 14646 h 20000"/>
                  <a:gd name="T70" fmla="*/ 2918 w 20000"/>
                  <a:gd name="T71" fmla="*/ 13386 h 20000"/>
                  <a:gd name="T72" fmla="*/ 2918 w 20000"/>
                  <a:gd name="T73" fmla="*/ 11732 h 20000"/>
                  <a:gd name="T74" fmla="*/ 2918 w 20000"/>
                  <a:gd name="T75" fmla="*/ 10630 h 20000"/>
                  <a:gd name="T76" fmla="*/ 783 w 20000"/>
                  <a:gd name="T77" fmla="*/ 11417 h 20000"/>
                  <a:gd name="T78" fmla="*/ 783 w 20000"/>
                  <a:gd name="T79" fmla="*/ 9764 h 20000"/>
                  <a:gd name="T80" fmla="*/ 783 w 20000"/>
                  <a:gd name="T81" fmla="*/ 8504 h 20000"/>
                  <a:gd name="T82" fmla="*/ 0 w 20000"/>
                  <a:gd name="T83" fmla="*/ 7244 h 20000"/>
                  <a:gd name="T84" fmla="*/ 783 w 20000"/>
                  <a:gd name="T85" fmla="*/ 52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783" y="5276"/>
                    </a:moveTo>
                    <a:lnTo>
                      <a:pt x="1139" y="6063"/>
                    </a:lnTo>
                    <a:lnTo>
                      <a:pt x="2633" y="5276"/>
                    </a:lnTo>
                    <a:lnTo>
                      <a:pt x="2918" y="4882"/>
                    </a:lnTo>
                    <a:lnTo>
                      <a:pt x="2918" y="4016"/>
                    </a:lnTo>
                    <a:lnTo>
                      <a:pt x="2918" y="2047"/>
                    </a:lnTo>
                    <a:lnTo>
                      <a:pt x="3701" y="2047"/>
                    </a:lnTo>
                    <a:lnTo>
                      <a:pt x="4413" y="2835"/>
                    </a:lnTo>
                    <a:lnTo>
                      <a:pt x="5979" y="2835"/>
                    </a:lnTo>
                    <a:lnTo>
                      <a:pt x="7758" y="2047"/>
                    </a:lnTo>
                    <a:lnTo>
                      <a:pt x="10320" y="2835"/>
                    </a:lnTo>
                    <a:lnTo>
                      <a:pt x="12527" y="2835"/>
                    </a:lnTo>
                    <a:lnTo>
                      <a:pt x="15160" y="787"/>
                    </a:lnTo>
                    <a:lnTo>
                      <a:pt x="16584" y="787"/>
                    </a:lnTo>
                    <a:lnTo>
                      <a:pt x="18078" y="787"/>
                    </a:lnTo>
                    <a:lnTo>
                      <a:pt x="19217" y="0"/>
                    </a:lnTo>
                    <a:lnTo>
                      <a:pt x="19929" y="787"/>
                    </a:lnTo>
                    <a:lnTo>
                      <a:pt x="19217" y="2047"/>
                    </a:lnTo>
                    <a:lnTo>
                      <a:pt x="17367" y="3228"/>
                    </a:lnTo>
                    <a:lnTo>
                      <a:pt x="17367" y="4882"/>
                    </a:lnTo>
                    <a:lnTo>
                      <a:pt x="17367" y="6457"/>
                    </a:lnTo>
                    <a:lnTo>
                      <a:pt x="17367" y="9370"/>
                    </a:lnTo>
                    <a:lnTo>
                      <a:pt x="16584" y="11417"/>
                    </a:lnTo>
                    <a:lnTo>
                      <a:pt x="14448" y="13386"/>
                    </a:lnTo>
                    <a:lnTo>
                      <a:pt x="10320" y="15906"/>
                    </a:lnTo>
                    <a:lnTo>
                      <a:pt x="7402" y="18346"/>
                    </a:lnTo>
                    <a:lnTo>
                      <a:pt x="4413" y="19921"/>
                    </a:lnTo>
                    <a:lnTo>
                      <a:pt x="2918" y="19921"/>
                    </a:lnTo>
                    <a:lnTo>
                      <a:pt x="2633" y="19921"/>
                    </a:lnTo>
                    <a:lnTo>
                      <a:pt x="1922" y="19134"/>
                    </a:lnTo>
                    <a:lnTo>
                      <a:pt x="0" y="19134"/>
                    </a:lnTo>
                    <a:lnTo>
                      <a:pt x="1139" y="17087"/>
                    </a:lnTo>
                    <a:lnTo>
                      <a:pt x="1139" y="16693"/>
                    </a:lnTo>
                    <a:lnTo>
                      <a:pt x="1922" y="15118"/>
                    </a:lnTo>
                    <a:lnTo>
                      <a:pt x="1922" y="14646"/>
                    </a:lnTo>
                    <a:lnTo>
                      <a:pt x="2918" y="13386"/>
                    </a:lnTo>
                    <a:lnTo>
                      <a:pt x="2918" y="11732"/>
                    </a:lnTo>
                    <a:lnTo>
                      <a:pt x="2918" y="10630"/>
                    </a:lnTo>
                    <a:lnTo>
                      <a:pt x="783" y="11417"/>
                    </a:lnTo>
                    <a:lnTo>
                      <a:pt x="783" y="9764"/>
                    </a:lnTo>
                    <a:lnTo>
                      <a:pt x="783" y="8504"/>
                    </a:lnTo>
                    <a:lnTo>
                      <a:pt x="0" y="7244"/>
                    </a:lnTo>
                    <a:lnTo>
                      <a:pt x="783" y="527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79" name="Freeform 157"/>
              <p:cNvSpPr>
                <a:spLocks/>
              </p:cNvSpPr>
              <p:nvPr/>
            </p:nvSpPr>
            <p:spPr bwMode="auto">
              <a:xfrm>
                <a:off x="7724775" y="3852863"/>
                <a:ext cx="234950" cy="447675"/>
              </a:xfrm>
              <a:custGeom>
                <a:avLst/>
                <a:gdLst>
                  <a:gd name="T0" fmla="*/ 5908 w 20000"/>
                  <a:gd name="T1" fmla="*/ 455 h 20000"/>
                  <a:gd name="T2" fmla="*/ 7317 w 20000"/>
                  <a:gd name="T3" fmla="*/ 739 h 20000"/>
                  <a:gd name="T4" fmla="*/ 7317 w 20000"/>
                  <a:gd name="T5" fmla="*/ 1449 h 20000"/>
                  <a:gd name="T6" fmla="*/ 8401 w 20000"/>
                  <a:gd name="T7" fmla="*/ 1619 h 20000"/>
                  <a:gd name="T8" fmla="*/ 8401 w 20000"/>
                  <a:gd name="T9" fmla="*/ 2784 h 20000"/>
                  <a:gd name="T10" fmla="*/ 8997 w 20000"/>
                  <a:gd name="T11" fmla="*/ 3949 h 20000"/>
                  <a:gd name="T12" fmla="*/ 10407 w 20000"/>
                  <a:gd name="T13" fmla="*/ 3523 h 20000"/>
                  <a:gd name="T14" fmla="*/ 12087 w 20000"/>
                  <a:gd name="T15" fmla="*/ 3523 h 20000"/>
                  <a:gd name="T16" fmla="*/ 13496 w 20000"/>
                  <a:gd name="T17" fmla="*/ 3352 h 20000"/>
                  <a:gd name="T18" fmla="*/ 15447 w 20000"/>
                  <a:gd name="T19" fmla="*/ 3068 h 20000"/>
                  <a:gd name="T20" fmla="*/ 17724 w 20000"/>
                  <a:gd name="T21" fmla="*/ 4545 h 20000"/>
                  <a:gd name="T22" fmla="*/ 17940 w 20000"/>
                  <a:gd name="T23" fmla="*/ 5284 h 20000"/>
                  <a:gd name="T24" fmla="*/ 19404 w 20000"/>
                  <a:gd name="T25" fmla="*/ 6165 h 20000"/>
                  <a:gd name="T26" fmla="*/ 19946 w 20000"/>
                  <a:gd name="T27" fmla="*/ 6619 h 20000"/>
                  <a:gd name="T28" fmla="*/ 19946 w 20000"/>
                  <a:gd name="T29" fmla="*/ 8068 h 20000"/>
                  <a:gd name="T30" fmla="*/ 19079 w 20000"/>
                  <a:gd name="T31" fmla="*/ 8523 h 20000"/>
                  <a:gd name="T32" fmla="*/ 17724 w 20000"/>
                  <a:gd name="T33" fmla="*/ 8523 h 20000"/>
                  <a:gd name="T34" fmla="*/ 14038 w 20000"/>
                  <a:gd name="T35" fmla="*/ 8523 h 20000"/>
                  <a:gd name="T36" fmla="*/ 12629 w 20000"/>
                  <a:gd name="T37" fmla="*/ 9972 h 20000"/>
                  <a:gd name="T38" fmla="*/ 14309 w 20000"/>
                  <a:gd name="T39" fmla="*/ 12017 h 20000"/>
                  <a:gd name="T40" fmla="*/ 11220 w 20000"/>
                  <a:gd name="T41" fmla="*/ 10852 h 20000"/>
                  <a:gd name="T42" fmla="*/ 9539 w 20000"/>
                  <a:gd name="T43" fmla="*/ 9688 h 20000"/>
                  <a:gd name="T44" fmla="*/ 7317 w 20000"/>
                  <a:gd name="T45" fmla="*/ 10852 h 20000"/>
                  <a:gd name="T46" fmla="*/ 6179 w 20000"/>
                  <a:gd name="T47" fmla="*/ 12614 h 20000"/>
                  <a:gd name="T48" fmla="*/ 5312 w 20000"/>
                  <a:gd name="T49" fmla="*/ 14233 h 20000"/>
                  <a:gd name="T50" fmla="*/ 7317 w 20000"/>
                  <a:gd name="T51" fmla="*/ 15398 h 20000"/>
                  <a:gd name="T52" fmla="*/ 8130 w 20000"/>
                  <a:gd name="T53" fmla="*/ 16307 h 20000"/>
                  <a:gd name="T54" fmla="*/ 10407 w 20000"/>
                  <a:gd name="T55" fmla="*/ 18523 h 20000"/>
                  <a:gd name="T56" fmla="*/ 12629 w 20000"/>
                  <a:gd name="T57" fmla="*/ 19375 h 20000"/>
                  <a:gd name="T58" fmla="*/ 11762 w 20000"/>
                  <a:gd name="T59" fmla="*/ 19688 h 20000"/>
                  <a:gd name="T60" fmla="*/ 10949 w 20000"/>
                  <a:gd name="T61" fmla="*/ 19972 h 20000"/>
                  <a:gd name="T62" fmla="*/ 10407 w 20000"/>
                  <a:gd name="T63" fmla="*/ 19375 h 20000"/>
                  <a:gd name="T64" fmla="*/ 8130 w 20000"/>
                  <a:gd name="T65" fmla="*/ 18920 h 20000"/>
                  <a:gd name="T66" fmla="*/ 6179 w 20000"/>
                  <a:gd name="T67" fmla="*/ 17756 h 20000"/>
                  <a:gd name="T68" fmla="*/ 4444 w 20000"/>
                  <a:gd name="T69" fmla="*/ 16307 h 20000"/>
                  <a:gd name="T70" fmla="*/ 3902 w 20000"/>
                  <a:gd name="T71" fmla="*/ 17017 h 20000"/>
                  <a:gd name="T72" fmla="*/ 3089 w 20000"/>
                  <a:gd name="T73" fmla="*/ 15852 h 20000"/>
                  <a:gd name="T74" fmla="*/ 3902 w 20000"/>
                  <a:gd name="T75" fmla="*/ 14517 h 20000"/>
                  <a:gd name="T76" fmla="*/ 4444 w 20000"/>
                  <a:gd name="T77" fmla="*/ 13949 h 20000"/>
                  <a:gd name="T78" fmla="*/ 5312 w 20000"/>
                  <a:gd name="T79" fmla="*/ 12330 h 20000"/>
                  <a:gd name="T80" fmla="*/ 5095 w 20000"/>
                  <a:gd name="T81" fmla="*/ 10114 h 20000"/>
                  <a:gd name="T82" fmla="*/ 2547 w 20000"/>
                  <a:gd name="T83" fmla="*/ 8068 h 20000"/>
                  <a:gd name="T84" fmla="*/ 3089 w 20000"/>
                  <a:gd name="T85" fmla="*/ 7017 h 20000"/>
                  <a:gd name="T86" fmla="*/ 3631 w 20000"/>
                  <a:gd name="T87" fmla="*/ 6165 h 20000"/>
                  <a:gd name="T88" fmla="*/ 2547 w 20000"/>
                  <a:gd name="T89" fmla="*/ 4972 h 20000"/>
                  <a:gd name="T90" fmla="*/ 325 w 20000"/>
                  <a:gd name="T91" fmla="*/ 3068 h 20000"/>
                  <a:gd name="T92" fmla="*/ 0 w 20000"/>
                  <a:gd name="T93" fmla="*/ 2784 h 20000"/>
                  <a:gd name="T94" fmla="*/ 325 w 20000"/>
                  <a:gd name="T95" fmla="*/ 1903 h 20000"/>
                  <a:gd name="T96" fmla="*/ 1409 w 20000"/>
                  <a:gd name="T97" fmla="*/ 1165 h 20000"/>
                  <a:gd name="T98" fmla="*/ 3089 w 20000"/>
                  <a:gd name="T99" fmla="*/ 455 h 20000"/>
                  <a:gd name="T100" fmla="*/ 4444 w 20000"/>
                  <a:gd name="T101" fmla="*/ 2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5908" y="0"/>
                    </a:moveTo>
                    <a:lnTo>
                      <a:pt x="5908" y="455"/>
                    </a:lnTo>
                    <a:lnTo>
                      <a:pt x="6179" y="284"/>
                    </a:lnTo>
                    <a:lnTo>
                      <a:pt x="7317" y="739"/>
                    </a:lnTo>
                    <a:lnTo>
                      <a:pt x="6775" y="1165"/>
                    </a:lnTo>
                    <a:lnTo>
                      <a:pt x="7317" y="1449"/>
                    </a:lnTo>
                    <a:lnTo>
                      <a:pt x="8130" y="1165"/>
                    </a:lnTo>
                    <a:lnTo>
                      <a:pt x="8401" y="1619"/>
                    </a:lnTo>
                    <a:lnTo>
                      <a:pt x="8997" y="1903"/>
                    </a:lnTo>
                    <a:lnTo>
                      <a:pt x="8401" y="2784"/>
                    </a:lnTo>
                    <a:lnTo>
                      <a:pt x="8401" y="3807"/>
                    </a:lnTo>
                    <a:lnTo>
                      <a:pt x="8997" y="3949"/>
                    </a:lnTo>
                    <a:lnTo>
                      <a:pt x="9864" y="3523"/>
                    </a:lnTo>
                    <a:lnTo>
                      <a:pt x="10407" y="3523"/>
                    </a:lnTo>
                    <a:lnTo>
                      <a:pt x="11220" y="3068"/>
                    </a:lnTo>
                    <a:lnTo>
                      <a:pt x="12087" y="3523"/>
                    </a:lnTo>
                    <a:lnTo>
                      <a:pt x="12629" y="3352"/>
                    </a:lnTo>
                    <a:lnTo>
                      <a:pt x="13496" y="3352"/>
                    </a:lnTo>
                    <a:lnTo>
                      <a:pt x="14038" y="2784"/>
                    </a:lnTo>
                    <a:lnTo>
                      <a:pt x="15447" y="3068"/>
                    </a:lnTo>
                    <a:lnTo>
                      <a:pt x="16314" y="3523"/>
                    </a:lnTo>
                    <a:lnTo>
                      <a:pt x="17724" y="4545"/>
                    </a:lnTo>
                    <a:lnTo>
                      <a:pt x="17724" y="4688"/>
                    </a:lnTo>
                    <a:lnTo>
                      <a:pt x="17940" y="5284"/>
                    </a:lnTo>
                    <a:lnTo>
                      <a:pt x="18537" y="5852"/>
                    </a:lnTo>
                    <a:lnTo>
                      <a:pt x="19404" y="6165"/>
                    </a:lnTo>
                    <a:lnTo>
                      <a:pt x="19404" y="6449"/>
                    </a:lnTo>
                    <a:lnTo>
                      <a:pt x="19946" y="6619"/>
                    </a:lnTo>
                    <a:lnTo>
                      <a:pt x="19946" y="7017"/>
                    </a:lnTo>
                    <a:lnTo>
                      <a:pt x="19946" y="8068"/>
                    </a:lnTo>
                    <a:lnTo>
                      <a:pt x="19404" y="8523"/>
                    </a:lnTo>
                    <a:lnTo>
                      <a:pt x="19079" y="8523"/>
                    </a:lnTo>
                    <a:lnTo>
                      <a:pt x="17940" y="8352"/>
                    </a:lnTo>
                    <a:lnTo>
                      <a:pt x="17724" y="8523"/>
                    </a:lnTo>
                    <a:lnTo>
                      <a:pt x="15718" y="8352"/>
                    </a:lnTo>
                    <a:lnTo>
                      <a:pt x="14038" y="8523"/>
                    </a:lnTo>
                    <a:lnTo>
                      <a:pt x="14038" y="9517"/>
                    </a:lnTo>
                    <a:lnTo>
                      <a:pt x="12629" y="9972"/>
                    </a:lnTo>
                    <a:lnTo>
                      <a:pt x="13171" y="10739"/>
                    </a:lnTo>
                    <a:lnTo>
                      <a:pt x="14309" y="12017"/>
                    </a:lnTo>
                    <a:lnTo>
                      <a:pt x="13496" y="11591"/>
                    </a:lnTo>
                    <a:lnTo>
                      <a:pt x="11220" y="10852"/>
                    </a:lnTo>
                    <a:lnTo>
                      <a:pt x="8997" y="10739"/>
                    </a:lnTo>
                    <a:lnTo>
                      <a:pt x="9539" y="9688"/>
                    </a:lnTo>
                    <a:lnTo>
                      <a:pt x="7317" y="9972"/>
                    </a:lnTo>
                    <a:lnTo>
                      <a:pt x="7317" y="10852"/>
                    </a:lnTo>
                    <a:lnTo>
                      <a:pt x="7317" y="11591"/>
                    </a:lnTo>
                    <a:lnTo>
                      <a:pt x="6179" y="12614"/>
                    </a:lnTo>
                    <a:lnTo>
                      <a:pt x="5908" y="13807"/>
                    </a:lnTo>
                    <a:lnTo>
                      <a:pt x="5312" y="14233"/>
                    </a:lnTo>
                    <a:lnTo>
                      <a:pt x="5908" y="15710"/>
                    </a:lnTo>
                    <a:lnTo>
                      <a:pt x="7317" y="15398"/>
                    </a:lnTo>
                    <a:lnTo>
                      <a:pt x="7588" y="16307"/>
                    </a:lnTo>
                    <a:lnTo>
                      <a:pt x="8130" y="16307"/>
                    </a:lnTo>
                    <a:lnTo>
                      <a:pt x="8997" y="18210"/>
                    </a:lnTo>
                    <a:lnTo>
                      <a:pt x="10407" y="18523"/>
                    </a:lnTo>
                    <a:lnTo>
                      <a:pt x="11762" y="18523"/>
                    </a:lnTo>
                    <a:lnTo>
                      <a:pt x="12629" y="19375"/>
                    </a:lnTo>
                    <a:lnTo>
                      <a:pt x="12087" y="19375"/>
                    </a:lnTo>
                    <a:lnTo>
                      <a:pt x="11762" y="19688"/>
                    </a:lnTo>
                    <a:lnTo>
                      <a:pt x="11220" y="19375"/>
                    </a:lnTo>
                    <a:lnTo>
                      <a:pt x="10949" y="19972"/>
                    </a:lnTo>
                    <a:lnTo>
                      <a:pt x="9864" y="19972"/>
                    </a:lnTo>
                    <a:lnTo>
                      <a:pt x="10407" y="19375"/>
                    </a:lnTo>
                    <a:lnTo>
                      <a:pt x="8401" y="18807"/>
                    </a:lnTo>
                    <a:lnTo>
                      <a:pt x="8130" y="18920"/>
                    </a:lnTo>
                    <a:lnTo>
                      <a:pt x="7317" y="18210"/>
                    </a:lnTo>
                    <a:lnTo>
                      <a:pt x="6179" y="17756"/>
                    </a:lnTo>
                    <a:lnTo>
                      <a:pt x="5095" y="16875"/>
                    </a:lnTo>
                    <a:lnTo>
                      <a:pt x="4444" y="16307"/>
                    </a:lnTo>
                    <a:lnTo>
                      <a:pt x="3902" y="16591"/>
                    </a:lnTo>
                    <a:lnTo>
                      <a:pt x="3902" y="17017"/>
                    </a:lnTo>
                    <a:lnTo>
                      <a:pt x="3631" y="16875"/>
                    </a:lnTo>
                    <a:lnTo>
                      <a:pt x="3089" y="15852"/>
                    </a:lnTo>
                    <a:lnTo>
                      <a:pt x="3631" y="14972"/>
                    </a:lnTo>
                    <a:lnTo>
                      <a:pt x="3902" y="14517"/>
                    </a:lnTo>
                    <a:lnTo>
                      <a:pt x="3902" y="14233"/>
                    </a:lnTo>
                    <a:lnTo>
                      <a:pt x="4444" y="13949"/>
                    </a:lnTo>
                    <a:lnTo>
                      <a:pt x="4444" y="13523"/>
                    </a:lnTo>
                    <a:lnTo>
                      <a:pt x="5312" y="12330"/>
                    </a:lnTo>
                    <a:lnTo>
                      <a:pt x="5908" y="11591"/>
                    </a:lnTo>
                    <a:lnTo>
                      <a:pt x="5095" y="10114"/>
                    </a:lnTo>
                    <a:lnTo>
                      <a:pt x="5095" y="9517"/>
                    </a:lnTo>
                    <a:lnTo>
                      <a:pt x="2547" y="8068"/>
                    </a:lnTo>
                    <a:lnTo>
                      <a:pt x="2547" y="7614"/>
                    </a:lnTo>
                    <a:lnTo>
                      <a:pt x="3089" y="7017"/>
                    </a:lnTo>
                    <a:lnTo>
                      <a:pt x="3089" y="6449"/>
                    </a:lnTo>
                    <a:lnTo>
                      <a:pt x="3631" y="6165"/>
                    </a:lnTo>
                    <a:lnTo>
                      <a:pt x="3089" y="5398"/>
                    </a:lnTo>
                    <a:lnTo>
                      <a:pt x="2547" y="4972"/>
                    </a:lnTo>
                    <a:lnTo>
                      <a:pt x="867" y="3523"/>
                    </a:lnTo>
                    <a:lnTo>
                      <a:pt x="325" y="3068"/>
                    </a:lnTo>
                    <a:lnTo>
                      <a:pt x="0" y="3068"/>
                    </a:lnTo>
                    <a:lnTo>
                      <a:pt x="0" y="2784"/>
                    </a:lnTo>
                    <a:lnTo>
                      <a:pt x="325" y="2614"/>
                    </a:lnTo>
                    <a:lnTo>
                      <a:pt x="325" y="1903"/>
                    </a:lnTo>
                    <a:lnTo>
                      <a:pt x="867" y="1449"/>
                    </a:lnTo>
                    <a:lnTo>
                      <a:pt x="1409" y="1165"/>
                    </a:lnTo>
                    <a:lnTo>
                      <a:pt x="3631" y="852"/>
                    </a:lnTo>
                    <a:lnTo>
                      <a:pt x="3089" y="455"/>
                    </a:lnTo>
                    <a:lnTo>
                      <a:pt x="3902" y="739"/>
                    </a:lnTo>
                    <a:lnTo>
                      <a:pt x="4444" y="284"/>
                    </a:lnTo>
                    <a:lnTo>
                      <a:pt x="590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0" name="Freeform 156"/>
              <p:cNvSpPr>
                <a:spLocks/>
              </p:cNvSpPr>
              <p:nvPr/>
            </p:nvSpPr>
            <p:spPr bwMode="auto">
              <a:xfrm>
                <a:off x="6413500" y="3689350"/>
                <a:ext cx="142875" cy="115888"/>
              </a:xfrm>
              <a:custGeom>
                <a:avLst/>
                <a:gdLst>
                  <a:gd name="T0" fmla="*/ 0 w 20000"/>
                  <a:gd name="T1" fmla="*/ 9121 h 20000"/>
                  <a:gd name="T2" fmla="*/ 536 w 20000"/>
                  <a:gd name="T3" fmla="*/ 8022 h 20000"/>
                  <a:gd name="T4" fmla="*/ 536 w 20000"/>
                  <a:gd name="T5" fmla="*/ 10220 h 20000"/>
                  <a:gd name="T6" fmla="*/ 1429 w 20000"/>
                  <a:gd name="T7" fmla="*/ 10769 h 20000"/>
                  <a:gd name="T8" fmla="*/ 1875 w 20000"/>
                  <a:gd name="T9" fmla="*/ 11868 h 20000"/>
                  <a:gd name="T10" fmla="*/ 4196 w 20000"/>
                  <a:gd name="T11" fmla="*/ 11868 h 20000"/>
                  <a:gd name="T12" fmla="*/ 5179 w 20000"/>
                  <a:gd name="T13" fmla="*/ 10769 h 20000"/>
                  <a:gd name="T14" fmla="*/ 9732 w 20000"/>
                  <a:gd name="T15" fmla="*/ 10769 h 20000"/>
                  <a:gd name="T16" fmla="*/ 11607 w 20000"/>
                  <a:gd name="T17" fmla="*/ 10220 h 20000"/>
                  <a:gd name="T18" fmla="*/ 13393 w 20000"/>
                  <a:gd name="T19" fmla="*/ 8022 h 20000"/>
                  <a:gd name="T20" fmla="*/ 15714 w 20000"/>
                  <a:gd name="T21" fmla="*/ 4505 h 20000"/>
                  <a:gd name="T22" fmla="*/ 17589 w 20000"/>
                  <a:gd name="T23" fmla="*/ 1648 h 20000"/>
                  <a:gd name="T24" fmla="*/ 18482 w 20000"/>
                  <a:gd name="T25" fmla="*/ 0 h 20000"/>
                  <a:gd name="T26" fmla="*/ 19464 w 20000"/>
                  <a:gd name="T27" fmla="*/ 1099 h 20000"/>
                  <a:gd name="T28" fmla="*/ 19464 w 20000"/>
                  <a:gd name="T29" fmla="*/ 2857 h 20000"/>
                  <a:gd name="T30" fmla="*/ 19464 w 20000"/>
                  <a:gd name="T31" fmla="*/ 5604 h 20000"/>
                  <a:gd name="T32" fmla="*/ 18482 w 20000"/>
                  <a:gd name="T33" fmla="*/ 5604 h 20000"/>
                  <a:gd name="T34" fmla="*/ 17589 w 20000"/>
                  <a:gd name="T35" fmla="*/ 6264 h 20000"/>
                  <a:gd name="T36" fmla="*/ 18482 w 20000"/>
                  <a:gd name="T37" fmla="*/ 10220 h 20000"/>
                  <a:gd name="T38" fmla="*/ 19464 w 20000"/>
                  <a:gd name="T39" fmla="*/ 10220 h 20000"/>
                  <a:gd name="T40" fmla="*/ 19911 w 20000"/>
                  <a:gd name="T41" fmla="*/ 11868 h 20000"/>
                  <a:gd name="T42" fmla="*/ 19464 w 20000"/>
                  <a:gd name="T43" fmla="*/ 11868 h 20000"/>
                  <a:gd name="T44" fmla="*/ 17589 w 20000"/>
                  <a:gd name="T45" fmla="*/ 11868 h 20000"/>
                  <a:gd name="T46" fmla="*/ 17589 w 20000"/>
                  <a:gd name="T47" fmla="*/ 13626 h 20000"/>
                  <a:gd name="T48" fmla="*/ 17143 w 20000"/>
                  <a:gd name="T49" fmla="*/ 15385 h 20000"/>
                  <a:gd name="T50" fmla="*/ 17143 w 20000"/>
                  <a:gd name="T51" fmla="*/ 19231 h 20000"/>
                  <a:gd name="T52" fmla="*/ 16250 w 20000"/>
                  <a:gd name="T53" fmla="*/ 19890 h 20000"/>
                  <a:gd name="T54" fmla="*/ 4196 w 20000"/>
                  <a:gd name="T55" fmla="*/ 17582 h 20000"/>
                  <a:gd name="T56" fmla="*/ 3750 w 20000"/>
                  <a:gd name="T57" fmla="*/ 15385 h 20000"/>
                  <a:gd name="T58" fmla="*/ 1875 w 20000"/>
                  <a:gd name="T59" fmla="*/ 12967 h 20000"/>
                  <a:gd name="T60" fmla="*/ 536 w 20000"/>
                  <a:gd name="T61" fmla="*/ 10769 h 20000"/>
                  <a:gd name="T62" fmla="*/ 0 w 20000"/>
                  <a:gd name="T63" fmla="*/ 912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0" y="9121"/>
                    </a:moveTo>
                    <a:lnTo>
                      <a:pt x="536" y="8022"/>
                    </a:lnTo>
                    <a:lnTo>
                      <a:pt x="536" y="10220"/>
                    </a:lnTo>
                    <a:lnTo>
                      <a:pt x="1429" y="10769"/>
                    </a:lnTo>
                    <a:lnTo>
                      <a:pt x="1875" y="11868"/>
                    </a:lnTo>
                    <a:lnTo>
                      <a:pt x="4196" y="11868"/>
                    </a:lnTo>
                    <a:lnTo>
                      <a:pt x="5179" y="10769"/>
                    </a:lnTo>
                    <a:lnTo>
                      <a:pt x="9732" y="10769"/>
                    </a:lnTo>
                    <a:lnTo>
                      <a:pt x="11607" y="10220"/>
                    </a:lnTo>
                    <a:lnTo>
                      <a:pt x="13393" y="8022"/>
                    </a:lnTo>
                    <a:lnTo>
                      <a:pt x="15714" y="4505"/>
                    </a:lnTo>
                    <a:lnTo>
                      <a:pt x="17589" y="1648"/>
                    </a:lnTo>
                    <a:lnTo>
                      <a:pt x="18482" y="0"/>
                    </a:lnTo>
                    <a:lnTo>
                      <a:pt x="19464" y="1099"/>
                    </a:lnTo>
                    <a:lnTo>
                      <a:pt x="19464" y="2857"/>
                    </a:lnTo>
                    <a:lnTo>
                      <a:pt x="19464" y="5604"/>
                    </a:lnTo>
                    <a:lnTo>
                      <a:pt x="18482" y="5604"/>
                    </a:lnTo>
                    <a:lnTo>
                      <a:pt x="17589" y="6264"/>
                    </a:lnTo>
                    <a:lnTo>
                      <a:pt x="18482" y="10220"/>
                    </a:lnTo>
                    <a:lnTo>
                      <a:pt x="19464" y="10220"/>
                    </a:lnTo>
                    <a:lnTo>
                      <a:pt x="19911" y="11868"/>
                    </a:lnTo>
                    <a:lnTo>
                      <a:pt x="19464" y="11868"/>
                    </a:lnTo>
                    <a:lnTo>
                      <a:pt x="17589" y="11868"/>
                    </a:lnTo>
                    <a:lnTo>
                      <a:pt x="17589" y="13626"/>
                    </a:lnTo>
                    <a:lnTo>
                      <a:pt x="17143" y="15385"/>
                    </a:lnTo>
                    <a:lnTo>
                      <a:pt x="17143" y="19231"/>
                    </a:lnTo>
                    <a:lnTo>
                      <a:pt x="16250" y="19890"/>
                    </a:lnTo>
                    <a:lnTo>
                      <a:pt x="4196" y="17582"/>
                    </a:lnTo>
                    <a:lnTo>
                      <a:pt x="3750" y="15385"/>
                    </a:lnTo>
                    <a:lnTo>
                      <a:pt x="1875" y="12967"/>
                    </a:lnTo>
                    <a:lnTo>
                      <a:pt x="536" y="10769"/>
                    </a:lnTo>
                    <a:lnTo>
                      <a:pt x="0" y="912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1" name="Freeform 155"/>
              <p:cNvSpPr>
                <a:spLocks/>
              </p:cNvSpPr>
              <p:nvPr/>
            </p:nvSpPr>
            <p:spPr bwMode="auto">
              <a:xfrm>
                <a:off x="7847013" y="3763963"/>
                <a:ext cx="228600" cy="450850"/>
              </a:xfrm>
              <a:custGeom>
                <a:avLst/>
                <a:gdLst>
                  <a:gd name="T0" fmla="*/ 557 w 20000"/>
                  <a:gd name="T1" fmla="*/ 1155 h 20000"/>
                  <a:gd name="T2" fmla="*/ 1727 w 20000"/>
                  <a:gd name="T3" fmla="*/ 1155 h 20000"/>
                  <a:gd name="T4" fmla="*/ 3175 w 20000"/>
                  <a:gd name="T5" fmla="*/ 873 h 20000"/>
                  <a:gd name="T6" fmla="*/ 4624 w 20000"/>
                  <a:gd name="T7" fmla="*/ 873 h 20000"/>
                  <a:gd name="T8" fmla="*/ 6072 w 20000"/>
                  <a:gd name="T9" fmla="*/ 169 h 20000"/>
                  <a:gd name="T10" fmla="*/ 8412 w 20000"/>
                  <a:gd name="T11" fmla="*/ 451 h 20000"/>
                  <a:gd name="T12" fmla="*/ 11253 w 20000"/>
                  <a:gd name="T13" fmla="*/ 592 h 20000"/>
                  <a:gd name="T14" fmla="*/ 12646 w 20000"/>
                  <a:gd name="T15" fmla="*/ 2479 h 20000"/>
                  <a:gd name="T16" fmla="*/ 14429 w 20000"/>
                  <a:gd name="T17" fmla="*/ 2479 h 20000"/>
                  <a:gd name="T18" fmla="*/ 12981 w 20000"/>
                  <a:gd name="T19" fmla="*/ 2789 h 20000"/>
                  <a:gd name="T20" fmla="*/ 12089 w 20000"/>
                  <a:gd name="T21" fmla="*/ 3211 h 20000"/>
                  <a:gd name="T22" fmla="*/ 11253 w 20000"/>
                  <a:gd name="T23" fmla="*/ 4394 h 20000"/>
                  <a:gd name="T24" fmla="*/ 9805 w 20000"/>
                  <a:gd name="T25" fmla="*/ 4817 h 20000"/>
                  <a:gd name="T26" fmla="*/ 11253 w 20000"/>
                  <a:gd name="T27" fmla="*/ 7296 h 20000"/>
                  <a:gd name="T28" fmla="*/ 14429 w 20000"/>
                  <a:gd name="T29" fmla="*/ 9324 h 20000"/>
                  <a:gd name="T30" fmla="*/ 15877 w 20000"/>
                  <a:gd name="T31" fmla="*/ 9775 h 20000"/>
                  <a:gd name="T32" fmla="*/ 17604 w 20000"/>
                  <a:gd name="T33" fmla="*/ 10930 h 20000"/>
                  <a:gd name="T34" fmla="*/ 18217 w 20000"/>
                  <a:gd name="T35" fmla="*/ 11690 h 20000"/>
                  <a:gd name="T36" fmla="*/ 19610 w 20000"/>
                  <a:gd name="T37" fmla="*/ 14000 h 20000"/>
                  <a:gd name="T38" fmla="*/ 19610 w 20000"/>
                  <a:gd name="T39" fmla="*/ 14592 h 20000"/>
                  <a:gd name="T40" fmla="*/ 19944 w 20000"/>
                  <a:gd name="T41" fmla="*/ 15014 h 20000"/>
                  <a:gd name="T42" fmla="*/ 19944 w 20000"/>
                  <a:gd name="T43" fmla="*/ 15775 h 20000"/>
                  <a:gd name="T44" fmla="*/ 17604 w 20000"/>
                  <a:gd name="T45" fmla="*/ 16930 h 20000"/>
                  <a:gd name="T46" fmla="*/ 16156 w 20000"/>
                  <a:gd name="T47" fmla="*/ 17352 h 20000"/>
                  <a:gd name="T48" fmla="*/ 13538 w 20000"/>
                  <a:gd name="T49" fmla="*/ 18085 h 20000"/>
                  <a:gd name="T50" fmla="*/ 12089 w 20000"/>
                  <a:gd name="T51" fmla="*/ 18366 h 20000"/>
                  <a:gd name="T52" fmla="*/ 10696 w 20000"/>
                  <a:gd name="T53" fmla="*/ 19239 h 20000"/>
                  <a:gd name="T54" fmla="*/ 8969 w 20000"/>
                  <a:gd name="T55" fmla="*/ 18535 h 20000"/>
                  <a:gd name="T56" fmla="*/ 8969 w 20000"/>
                  <a:gd name="T57" fmla="*/ 17803 h 20000"/>
                  <a:gd name="T58" fmla="*/ 7744 w 20000"/>
                  <a:gd name="T59" fmla="*/ 17634 h 20000"/>
                  <a:gd name="T60" fmla="*/ 11532 w 20000"/>
                  <a:gd name="T61" fmla="*/ 16930 h 20000"/>
                  <a:gd name="T62" fmla="*/ 11253 w 20000"/>
                  <a:gd name="T63" fmla="*/ 15887 h 20000"/>
                  <a:gd name="T64" fmla="*/ 13538 w 20000"/>
                  <a:gd name="T65" fmla="*/ 15437 h 20000"/>
                  <a:gd name="T66" fmla="*/ 15265 w 20000"/>
                  <a:gd name="T67" fmla="*/ 15014 h 20000"/>
                  <a:gd name="T68" fmla="*/ 15042 w 20000"/>
                  <a:gd name="T69" fmla="*/ 12845 h 20000"/>
                  <a:gd name="T70" fmla="*/ 15042 w 20000"/>
                  <a:gd name="T71" fmla="*/ 11972 h 20000"/>
                  <a:gd name="T72" fmla="*/ 15042 w 20000"/>
                  <a:gd name="T73" fmla="*/ 10930 h 20000"/>
                  <a:gd name="T74" fmla="*/ 14429 w 20000"/>
                  <a:gd name="T75" fmla="*/ 10085 h 20000"/>
                  <a:gd name="T76" fmla="*/ 11532 w 20000"/>
                  <a:gd name="T77" fmla="*/ 8592 h 20000"/>
                  <a:gd name="T78" fmla="*/ 9248 w 20000"/>
                  <a:gd name="T79" fmla="*/ 7296 h 20000"/>
                  <a:gd name="T80" fmla="*/ 7744 w 20000"/>
                  <a:gd name="T81" fmla="*/ 6563 h 20000"/>
                  <a:gd name="T82" fmla="*/ 5237 w 20000"/>
                  <a:gd name="T83" fmla="*/ 5127 h 20000"/>
                  <a:gd name="T84" fmla="*/ 6908 w 20000"/>
                  <a:gd name="T85" fmla="*/ 5127 h 20000"/>
                  <a:gd name="T86" fmla="*/ 6630 w 20000"/>
                  <a:gd name="T87" fmla="*/ 3944 h 20000"/>
                  <a:gd name="T88" fmla="*/ 5460 w 20000"/>
                  <a:gd name="T89" fmla="*/ 3521 h 20000"/>
                  <a:gd name="T90" fmla="*/ 1727 w 20000"/>
                  <a:gd name="T91" fmla="*/ 3070 h 20000"/>
                  <a:gd name="T92" fmla="*/ 1727 w 20000"/>
                  <a:gd name="T93" fmla="*/ 2028 h 20000"/>
                  <a:gd name="T94" fmla="*/ 0 w 20000"/>
                  <a:gd name="T95" fmla="*/ 13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0" y="1324"/>
                    </a:moveTo>
                    <a:lnTo>
                      <a:pt x="557" y="1155"/>
                    </a:lnTo>
                    <a:lnTo>
                      <a:pt x="891" y="1155"/>
                    </a:lnTo>
                    <a:lnTo>
                      <a:pt x="1727" y="1155"/>
                    </a:lnTo>
                    <a:lnTo>
                      <a:pt x="2284" y="873"/>
                    </a:lnTo>
                    <a:lnTo>
                      <a:pt x="3175" y="873"/>
                    </a:lnTo>
                    <a:lnTo>
                      <a:pt x="4011" y="1324"/>
                    </a:lnTo>
                    <a:lnTo>
                      <a:pt x="4624" y="873"/>
                    </a:lnTo>
                    <a:lnTo>
                      <a:pt x="6072" y="592"/>
                    </a:lnTo>
                    <a:lnTo>
                      <a:pt x="6072" y="169"/>
                    </a:lnTo>
                    <a:lnTo>
                      <a:pt x="7521" y="0"/>
                    </a:lnTo>
                    <a:lnTo>
                      <a:pt x="8412" y="451"/>
                    </a:lnTo>
                    <a:lnTo>
                      <a:pt x="10696" y="592"/>
                    </a:lnTo>
                    <a:lnTo>
                      <a:pt x="11253" y="592"/>
                    </a:lnTo>
                    <a:lnTo>
                      <a:pt x="10696" y="1324"/>
                    </a:lnTo>
                    <a:lnTo>
                      <a:pt x="12646" y="2479"/>
                    </a:lnTo>
                    <a:lnTo>
                      <a:pt x="13872" y="2366"/>
                    </a:lnTo>
                    <a:lnTo>
                      <a:pt x="14429" y="2479"/>
                    </a:lnTo>
                    <a:lnTo>
                      <a:pt x="13872" y="2789"/>
                    </a:lnTo>
                    <a:lnTo>
                      <a:pt x="12981" y="2789"/>
                    </a:lnTo>
                    <a:lnTo>
                      <a:pt x="12981" y="3211"/>
                    </a:lnTo>
                    <a:lnTo>
                      <a:pt x="12089" y="3211"/>
                    </a:lnTo>
                    <a:lnTo>
                      <a:pt x="11253" y="3634"/>
                    </a:lnTo>
                    <a:lnTo>
                      <a:pt x="11253" y="4394"/>
                    </a:lnTo>
                    <a:lnTo>
                      <a:pt x="10696" y="4676"/>
                    </a:lnTo>
                    <a:lnTo>
                      <a:pt x="9805" y="4817"/>
                    </a:lnTo>
                    <a:lnTo>
                      <a:pt x="9248" y="6113"/>
                    </a:lnTo>
                    <a:lnTo>
                      <a:pt x="11253" y="7296"/>
                    </a:lnTo>
                    <a:lnTo>
                      <a:pt x="12089" y="8169"/>
                    </a:lnTo>
                    <a:lnTo>
                      <a:pt x="14429" y="9324"/>
                    </a:lnTo>
                    <a:lnTo>
                      <a:pt x="15265" y="9634"/>
                    </a:lnTo>
                    <a:lnTo>
                      <a:pt x="15877" y="9775"/>
                    </a:lnTo>
                    <a:lnTo>
                      <a:pt x="16713" y="10366"/>
                    </a:lnTo>
                    <a:lnTo>
                      <a:pt x="17604" y="10930"/>
                    </a:lnTo>
                    <a:lnTo>
                      <a:pt x="18217" y="10930"/>
                    </a:lnTo>
                    <a:lnTo>
                      <a:pt x="18217" y="11690"/>
                    </a:lnTo>
                    <a:lnTo>
                      <a:pt x="19610" y="13577"/>
                    </a:lnTo>
                    <a:lnTo>
                      <a:pt x="19610" y="14000"/>
                    </a:lnTo>
                    <a:lnTo>
                      <a:pt x="19944" y="14282"/>
                    </a:lnTo>
                    <a:lnTo>
                      <a:pt x="19610" y="14592"/>
                    </a:lnTo>
                    <a:lnTo>
                      <a:pt x="19610" y="14732"/>
                    </a:lnTo>
                    <a:lnTo>
                      <a:pt x="19944" y="15014"/>
                    </a:lnTo>
                    <a:lnTo>
                      <a:pt x="19610" y="15437"/>
                    </a:lnTo>
                    <a:lnTo>
                      <a:pt x="19944" y="15775"/>
                    </a:lnTo>
                    <a:lnTo>
                      <a:pt x="19053" y="16479"/>
                    </a:lnTo>
                    <a:lnTo>
                      <a:pt x="17604" y="16930"/>
                    </a:lnTo>
                    <a:lnTo>
                      <a:pt x="16713" y="16930"/>
                    </a:lnTo>
                    <a:lnTo>
                      <a:pt x="16156" y="17352"/>
                    </a:lnTo>
                    <a:lnTo>
                      <a:pt x="13872" y="17803"/>
                    </a:lnTo>
                    <a:lnTo>
                      <a:pt x="13538" y="18085"/>
                    </a:lnTo>
                    <a:lnTo>
                      <a:pt x="12981" y="18817"/>
                    </a:lnTo>
                    <a:lnTo>
                      <a:pt x="12089" y="18366"/>
                    </a:lnTo>
                    <a:lnTo>
                      <a:pt x="12089" y="19239"/>
                    </a:lnTo>
                    <a:lnTo>
                      <a:pt x="10696" y="19239"/>
                    </a:lnTo>
                    <a:lnTo>
                      <a:pt x="8969" y="19972"/>
                    </a:lnTo>
                    <a:lnTo>
                      <a:pt x="8969" y="18535"/>
                    </a:lnTo>
                    <a:lnTo>
                      <a:pt x="9248" y="18366"/>
                    </a:lnTo>
                    <a:lnTo>
                      <a:pt x="8969" y="17803"/>
                    </a:lnTo>
                    <a:lnTo>
                      <a:pt x="8412" y="17803"/>
                    </a:lnTo>
                    <a:lnTo>
                      <a:pt x="7744" y="17634"/>
                    </a:lnTo>
                    <a:lnTo>
                      <a:pt x="10139" y="17042"/>
                    </a:lnTo>
                    <a:lnTo>
                      <a:pt x="11532" y="16930"/>
                    </a:lnTo>
                    <a:lnTo>
                      <a:pt x="11532" y="16479"/>
                    </a:lnTo>
                    <a:lnTo>
                      <a:pt x="11253" y="15887"/>
                    </a:lnTo>
                    <a:lnTo>
                      <a:pt x="12089" y="15775"/>
                    </a:lnTo>
                    <a:lnTo>
                      <a:pt x="13538" y="15437"/>
                    </a:lnTo>
                    <a:lnTo>
                      <a:pt x="14429" y="15324"/>
                    </a:lnTo>
                    <a:lnTo>
                      <a:pt x="15265" y="15014"/>
                    </a:lnTo>
                    <a:lnTo>
                      <a:pt x="15265" y="14000"/>
                    </a:lnTo>
                    <a:lnTo>
                      <a:pt x="15042" y="12845"/>
                    </a:lnTo>
                    <a:lnTo>
                      <a:pt x="15042" y="12394"/>
                    </a:lnTo>
                    <a:lnTo>
                      <a:pt x="15042" y="11972"/>
                    </a:lnTo>
                    <a:lnTo>
                      <a:pt x="15042" y="11521"/>
                    </a:lnTo>
                    <a:lnTo>
                      <a:pt x="15042" y="10930"/>
                    </a:lnTo>
                    <a:lnTo>
                      <a:pt x="14429" y="10930"/>
                    </a:lnTo>
                    <a:lnTo>
                      <a:pt x="14429" y="10085"/>
                    </a:lnTo>
                    <a:lnTo>
                      <a:pt x="12646" y="9324"/>
                    </a:lnTo>
                    <a:lnTo>
                      <a:pt x="11532" y="8592"/>
                    </a:lnTo>
                    <a:lnTo>
                      <a:pt x="10139" y="7887"/>
                    </a:lnTo>
                    <a:lnTo>
                      <a:pt x="9248" y="7296"/>
                    </a:lnTo>
                    <a:lnTo>
                      <a:pt x="8412" y="6732"/>
                    </a:lnTo>
                    <a:lnTo>
                      <a:pt x="7744" y="6563"/>
                    </a:lnTo>
                    <a:lnTo>
                      <a:pt x="5237" y="5549"/>
                    </a:lnTo>
                    <a:lnTo>
                      <a:pt x="5237" y="5127"/>
                    </a:lnTo>
                    <a:lnTo>
                      <a:pt x="6072" y="5127"/>
                    </a:lnTo>
                    <a:lnTo>
                      <a:pt x="6908" y="5127"/>
                    </a:lnTo>
                    <a:lnTo>
                      <a:pt x="6908" y="4394"/>
                    </a:lnTo>
                    <a:lnTo>
                      <a:pt x="6630" y="3944"/>
                    </a:lnTo>
                    <a:lnTo>
                      <a:pt x="6072" y="3944"/>
                    </a:lnTo>
                    <a:lnTo>
                      <a:pt x="5460" y="3521"/>
                    </a:lnTo>
                    <a:lnTo>
                      <a:pt x="3733" y="3521"/>
                    </a:lnTo>
                    <a:lnTo>
                      <a:pt x="1727" y="3070"/>
                    </a:lnTo>
                    <a:lnTo>
                      <a:pt x="1727" y="2366"/>
                    </a:lnTo>
                    <a:lnTo>
                      <a:pt x="1727" y="2028"/>
                    </a:lnTo>
                    <a:lnTo>
                      <a:pt x="557" y="1746"/>
                    </a:lnTo>
                    <a:lnTo>
                      <a:pt x="0" y="13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2" name="Freeform 154"/>
              <p:cNvSpPr>
                <a:spLocks/>
              </p:cNvSpPr>
              <p:nvPr/>
            </p:nvSpPr>
            <p:spPr bwMode="auto">
              <a:xfrm>
                <a:off x="2457450" y="4010025"/>
                <a:ext cx="66675" cy="41275"/>
              </a:xfrm>
              <a:custGeom>
                <a:avLst/>
                <a:gdLst>
                  <a:gd name="T0" fmla="*/ 0 w 20000"/>
                  <a:gd name="T1" fmla="*/ 11563 h 20000"/>
                  <a:gd name="T2" fmla="*/ 3048 w 20000"/>
                  <a:gd name="T3" fmla="*/ 6563 h 20000"/>
                  <a:gd name="T4" fmla="*/ 4952 w 20000"/>
                  <a:gd name="T5" fmla="*/ 0 h 20000"/>
                  <a:gd name="T6" fmla="*/ 11619 w 20000"/>
                  <a:gd name="T7" fmla="*/ 3438 h 20000"/>
                  <a:gd name="T8" fmla="*/ 17714 w 20000"/>
                  <a:gd name="T9" fmla="*/ 8438 h 20000"/>
                  <a:gd name="T10" fmla="*/ 19810 w 20000"/>
                  <a:gd name="T11" fmla="*/ 16563 h 20000"/>
                  <a:gd name="T12" fmla="*/ 15810 w 20000"/>
                  <a:gd name="T13" fmla="*/ 19688 h 20000"/>
                  <a:gd name="T14" fmla="*/ 6857 w 20000"/>
                  <a:gd name="T15" fmla="*/ 16563 h 20000"/>
                  <a:gd name="T16" fmla="*/ 0 w 20000"/>
                  <a:gd name="T17" fmla="*/ 1156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1563"/>
                    </a:moveTo>
                    <a:lnTo>
                      <a:pt x="3048" y="6563"/>
                    </a:lnTo>
                    <a:lnTo>
                      <a:pt x="4952" y="0"/>
                    </a:lnTo>
                    <a:lnTo>
                      <a:pt x="11619" y="3438"/>
                    </a:lnTo>
                    <a:lnTo>
                      <a:pt x="17714" y="8438"/>
                    </a:lnTo>
                    <a:lnTo>
                      <a:pt x="19810" y="16563"/>
                    </a:lnTo>
                    <a:lnTo>
                      <a:pt x="15810" y="19688"/>
                    </a:lnTo>
                    <a:lnTo>
                      <a:pt x="6857" y="16563"/>
                    </a:lnTo>
                    <a:lnTo>
                      <a:pt x="0" y="1156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3" name="Freeform 153"/>
              <p:cNvSpPr>
                <a:spLocks/>
              </p:cNvSpPr>
              <p:nvPr/>
            </p:nvSpPr>
            <p:spPr bwMode="auto">
              <a:xfrm>
                <a:off x="8096250" y="4260850"/>
                <a:ext cx="266700" cy="187325"/>
              </a:xfrm>
              <a:custGeom>
                <a:avLst/>
                <a:gdLst>
                  <a:gd name="T0" fmla="*/ 9619 w 20000"/>
                  <a:gd name="T1" fmla="*/ 7365 h 20000"/>
                  <a:gd name="T2" fmla="*/ 9857 w 20000"/>
                  <a:gd name="T3" fmla="*/ 9797 h 20000"/>
                  <a:gd name="T4" fmla="*/ 10810 w 20000"/>
                  <a:gd name="T5" fmla="*/ 8716 h 20000"/>
                  <a:gd name="T6" fmla="*/ 11571 w 20000"/>
                  <a:gd name="T7" fmla="*/ 8716 h 20000"/>
                  <a:gd name="T8" fmla="*/ 10810 w 20000"/>
                  <a:gd name="T9" fmla="*/ 7365 h 20000"/>
                  <a:gd name="T10" fmla="*/ 11095 w 20000"/>
                  <a:gd name="T11" fmla="*/ 6959 h 20000"/>
                  <a:gd name="T12" fmla="*/ 11571 w 20000"/>
                  <a:gd name="T13" fmla="*/ 5270 h 20000"/>
                  <a:gd name="T14" fmla="*/ 12286 w 20000"/>
                  <a:gd name="T15" fmla="*/ 4595 h 20000"/>
                  <a:gd name="T16" fmla="*/ 12857 w 20000"/>
                  <a:gd name="T17" fmla="*/ 5270 h 20000"/>
                  <a:gd name="T18" fmla="*/ 13571 w 20000"/>
                  <a:gd name="T19" fmla="*/ 2500 h 20000"/>
                  <a:gd name="T20" fmla="*/ 14333 w 20000"/>
                  <a:gd name="T21" fmla="*/ 0 h 20000"/>
                  <a:gd name="T22" fmla="*/ 14810 w 20000"/>
                  <a:gd name="T23" fmla="*/ 743 h 20000"/>
                  <a:gd name="T24" fmla="*/ 14810 w 20000"/>
                  <a:gd name="T25" fmla="*/ 1757 h 20000"/>
                  <a:gd name="T26" fmla="*/ 15000 w 20000"/>
                  <a:gd name="T27" fmla="*/ 743 h 20000"/>
                  <a:gd name="T28" fmla="*/ 15524 w 20000"/>
                  <a:gd name="T29" fmla="*/ 743 h 20000"/>
                  <a:gd name="T30" fmla="*/ 15524 w 20000"/>
                  <a:gd name="T31" fmla="*/ 1757 h 20000"/>
                  <a:gd name="T32" fmla="*/ 16286 w 20000"/>
                  <a:gd name="T33" fmla="*/ 1757 h 20000"/>
                  <a:gd name="T34" fmla="*/ 16286 w 20000"/>
                  <a:gd name="T35" fmla="*/ 2770 h 20000"/>
                  <a:gd name="T36" fmla="*/ 16762 w 20000"/>
                  <a:gd name="T37" fmla="*/ 3514 h 20000"/>
                  <a:gd name="T38" fmla="*/ 17048 w 20000"/>
                  <a:gd name="T39" fmla="*/ 3514 h 20000"/>
                  <a:gd name="T40" fmla="*/ 17048 w 20000"/>
                  <a:gd name="T41" fmla="*/ 4189 h 20000"/>
                  <a:gd name="T42" fmla="*/ 16762 w 20000"/>
                  <a:gd name="T43" fmla="*/ 4595 h 20000"/>
                  <a:gd name="T44" fmla="*/ 17524 w 20000"/>
                  <a:gd name="T45" fmla="*/ 4595 h 20000"/>
                  <a:gd name="T46" fmla="*/ 18000 w 20000"/>
                  <a:gd name="T47" fmla="*/ 4189 h 20000"/>
                  <a:gd name="T48" fmla="*/ 19000 w 20000"/>
                  <a:gd name="T49" fmla="*/ 5270 h 20000"/>
                  <a:gd name="T50" fmla="*/ 19952 w 20000"/>
                  <a:gd name="T51" fmla="*/ 5270 h 20000"/>
                  <a:gd name="T52" fmla="*/ 19952 w 20000"/>
                  <a:gd name="T53" fmla="*/ 6284 h 20000"/>
                  <a:gd name="T54" fmla="*/ 19000 w 20000"/>
                  <a:gd name="T55" fmla="*/ 6284 h 20000"/>
                  <a:gd name="T56" fmla="*/ 18238 w 20000"/>
                  <a:gd name="T57" fmla="*/ 6959 h 20000"/>
                  <a:gd name="T58" fmla="*/ 18000 w 20000"/>
                  <a:gd name="T59" fmla="*/ 6959 h 20000"/>
                  <a:gd name="T60" fmla="*/ 17524 w 20000"/>
                  <a:gd name="T61" fmla="*/ 6959 h 20000"/>
                  <a:gd name="T62" fmla="*/ 18714 w 20000"/>
                  <a:gd name="T63" fmla="*/ 8716 h 20000"/>
                  <a:gd name="T64" fmla="*/ 17048 w 20000"/>
                  <a:gd name="T65" fmla="*/ 9122 h 20000"/>
                  <a:gd name="T66" fmla="*/ 16762 w 20000"/>
                  <a:gd name="T67" fmla="*/ 8716 h 20000"/>
                  <a:gd name="T68" fmla="*/ 16286 w 20000"/>
                  <a:gd name="T69" fmla="*/ 9122 h 20000"/>
                  <a:gd name="T70" fmla="*/ 16762 w 20000"/>
                  <a:gd name="T71" fmla="*/ 10135 h 20000"/>
                  <a:gd name="T72" fmla="*/ 13048 w 20000"/>
                  <a:gd name="T73" fmla="*/ 9797 h 20000"/>
                  <a:gd name="T74" fmla="*/ 12286 w 20000"/>
                  <a:gd name="T75" fmla="*/ 13311 h 20000"/>
                  <a:gd name="T76" fmla="*/ 11095 w 20000"/>
                  <a:gd name="T77" fmla="*/ 13581 h 20000"/>
                  <a:gd name="T78" fmla="*/ 10810 w 20000"/>
                  <a:gd name="T79" fmla="*/ 17162 h 20000"/>
                  <a:gd name="T80" fmla="*/ 8667 w 20000"/>
                  <a:gd name="T81" fmla="*/ 18851 h 20000"/>
                  <a:gd name="T82" fmla="*/ 6619 w 20000"/>
                  <a:gd name="T83" fmla="*/ 19932 h 20000"/>
                  <a:gd name="T84" fmla="*/ 3905 w 20000"/>
                  <a:gd name="T85" fmla="*/ 19257 h 20000"/>
                  <a:gd name="T86" fmla="*/ 2714 w 20000"/>
                  <a:gd name="T87" fmla="*/ 19257 h 20000"/>
                  <a:gd name="T88" fmla="*/ 476 w 20000"/>
                  <a:gd name="T89" fmla="*/ 18176 h 20000"/>
                  <a:gd name="T90" fmla="*/ 0 w 20000"/>
                  <a:gd name="T91" fmla="*/ 16419 h 20000"/>
                  <a:gd name="T92" fmla="*/ 1238 w 20000"/>
                  <a:gd name="T93" fmla="*/ 16419 h 20000"/>
                  <a:gd name="T94" fmla="*/ 1952 w 20000"/>
                  <a:gd name="T95" fmla="*/ 17162 h 20000"/>
                  <a:gd name="T96" fmla="*/ 2476 w 20000"/>
                  <a:gd name="T97" fmla="*/ 17162 h 20000"/>
                  <a:gd name="T98" fmla="*/ 2714 w 20000"/>
                  <a:gd name="T99" fmla="*/ 15405 h 20000"/>
                  <a:gd name="T100" fmla="*/ 3190 w 20000"/>
                  <a:gd name="T101" fmla="*/ 13581 h 20000"/>
                  <a:gd name="T102" fmla="*/ 4476 w 20000"/>
                  <a:gd name="T103" fmla="*/ 13311 h 20000"/>
                  <a:gd name="T104" fmla="*/ 6619 w 20000"/>
                  <a:gd name="T105" fmla="*/ 11892 h 20000"/>
                  <a:gd name="T106" fmla="*/ 9143 w 20000"/>
                  <a:gd name="T107" fmla="*/ 8041 h 20000"/>
                  <a:gd name="T108" fmla="*/ 9619 w 20000"/>
                  <a:gd name="T109" fmla="*/ 73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9619" y="7365"/>
                    </a:moveTo>
                    <a:lnTo>
                      <a:pt x="9857" y="9797"/>
                    </a:lnTo>
                    <a:lnTo>
                      <a:pt x="10810" y="8716"/>
                    </a:lnTo>
                    <a:lnTo>
                      <a:pt x="11571" y="8716"/>
                    </a:lnTo>
                    <a:lnTo>
                      <a:pt x="10810" y="7365"/>
                    </a:lnTo>
                    <a:lnTo>
                      <a:pt x="11095" y="6959"/>
                    </a:lnTo>
                    <a:lnTo>
                      <a:pt x="11571" y="5270"/>
                    </a:lnTo>
                    <a:lnTo>
                      <a:pt x="12286" y="4595"/>
                    </a:lnTo>
                    <a:lnTo>
                      <a:pt x="12857" y="5270"/>
                    </a:lnTo>
                    <a:lnTo>
                      <a:pt x="13571" y="2500"/>
                    </a:lnTo>
                    <a:lnTo>
                      <a:pt x="14333" y="0"/>
                    </a:lnTo>
                    <a:lnTo>
                      <a:pt x="14810" y="743"/>
                    </a:lnTo>
                    <a:lnTo>
                      <a:pt x="14810" y="1757"/>
                    </a:lnTo>
                    <a:lnTo>
                      <a:pt x="15000" y="743"/>
                    </a:lnTo>
                    <a:lnTo>
                      <a:pt x="15524" y="743"/>
                    </a:lnTo>
                    <a:lnTo>
                      <a:pt x="15524" y="1757"/>
                    </a:lnTo>
                    <a:lnTo>
                      <a:pt x="16286" y="1757"/>
                    </a:lnTo>
                    <a:lnTo>
                      <a:pt x="16286" y="2770"/>
                    </a:lnTo>
                    <a:lnTo>
                      <a:pt x="16762" y="3514"/>
                    </a:lnTo>
                    <a:lnTo>
                      <a:pt x="17048" y="3514"/>
                    </a:lnTo>
                    <a:lnTo>
                      <a:pt x="17048" y="4189"/>
                    </a:lnTo>
                    <a:lnTo>
                      <a:pt x="16762" y="4595"/>
                    </a:lnTo>
                    <a:lnTo>
                      <a:pt x="17524" y="4595"/>
                    </a:lnTo>
                    <a:lnTo>
                      <a:pt x="18000" y="4189"/>
                    </a:lnTo>
                    <a:lnTo>
                      <a:pt x="19000" y="5270"/>
                    </a:lnTo>
                    <a:lnTo>
                      <a:pt x="19952" y="5270"/>
                    </a:lnTo>
                    <a:lnTo>
                      <a:pt x="19952" y="6284"/>
                    </a:lnTo>
                    <a:lnTo>
                      <a:pt x="19000" y="6284"/>
                    </a:lnTo>
                    <a:lnTo>
                      <a:pt x="18238" y="6959"/>
                    </a:lnTo>
                    <a:lnTo>
                      <a:pt x="18000" y="6959"/>
                    </a:lnTo>
                    <a:lnTo>
                      <a:pt x="17524" y="6959"/>
                    </a:lnTo>
                    <a:lnTo>
                      <a:pt x="18714" y="8716"/>
                    </a:lnTo>
                    <a:lnTo>
                      <a:pt x="17048" y="9122"/>
                    </a:lnTo>
                    <a:lnTo>
                      <a:pt x="16762" y="8716"/>
                    </a:lnTo>
                    <a:lnTo>
                      <a:pt x="16286" y="9122"/>
                    </a:lnTo>
                    <a:lnTo>
                      <a:pt x="16762" y="10135"/>
                    </a:lnTo>
                    <a:lnTo>
                      <a:pt x="13048" y="9797"/>
                    </a:lnTo>
                    <a:lnTo>
                      <a:pt x="12286" y="13311"/>
                    </a:lnTo>
                    <a:lnTo>
                      <a:pt x="11095" y="13581"/>
                    </a:lnTo>
                    <a:lnTo>
                      <a:pt x="10810" y="17162"/>
                    </a:lnTo>
                    <a:lnTo>
                      <a:pt x="8667" y="18851"/>
                    </a:lnTo>
                    <a:lnTo>
                      <a:pt x="6619" y="19932"/>
                    </a:lnTo>
                    <a:lnTo>
                      <a:pt x="3905" y="19257"/>
                    </a:lnTo>
                    <a:lnTo>
                      <a:pt x="2714" y="19257"/>
                    </a:lnTo>
                    <a:lnTo>
                      <a:pt x="476" y="18176"/>
                    </a:lnTo>
                    <a:lnTo>
                      <a:pt x="0" y="16419"/>
                    </a:lnTo>
                    <a:lnTo>
                      <a:pt x="1238" y="16419"/>
                    </a:lnTo>
                    <a:lnTo>
                      <a:pt x="1952" y="17162"/>
                    </a:lnTo>
                    <a:lnTo>
                      <a:pt x="2476" y="17162"/>
                    </a:lnTo>
                    <a:lnTo>
                      <a:pt x="2714" y="15405"/>
                    </a:lnTo>
                    <a:lnTo>
                      <a:pt x="3190" y="13581"/>
                    </a:lnTo>
                    <a:lnTo>
                      <a:pt x="4476" y="13311"/>
                    </a:lnTo>
                    <a:lnTo>
                      <a:pt x="6619" y="11892"/>
                    </a:lnTo>
                    <a:lnTo>
                      <a:pt x="9143" y="8041"/>
                    </a:lnTo>
                    <a:lnTo>
                      <a:pt x="9619" y="73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4" name="Freeform 152"/>
              <p:cNvSpPr>
                <a:spLocks/>
              </p:cNvSpPr>
              <p:nvPr/>
            </p:nvSpPr>
            <p:spPr bwMode="auto">
              <a:xfrm>
                <a:off x="7916863" y="4414838"/>
                <a:ext cx="17462" cy="17462"/>
              </a:xfrm>
              <a:custGeom>
                <a:avLst/>
                <a:gdLst>
                  <a:gd name="T0" fmla="*/ 19259 w 20000"/>
                  <a:gd name="T1" fmla="*/ 0 h 20000"/>
                  <a:gd name="T2" fmla="*/ 11111 w 20000"/>
                  <a:gd name="T3" fmla="*/ 11429 h 20000"/>
                  <a:gd name="T4" fmla="*/ 7407 w 20000"/>
                  <a:gd name="T5" fmla="*/ 19286 h 20000"/>
                  <a:gd name="T6" fmla="*/ 0 w 20000"/>
                  <a:gd name="T7" fmla="*/ 11429 h 20000"/>
                  <a:gd name="T8" fmla="*/ 0 w 20000"/>
                  <a:gd name="T9" fmla="*/ 7857 h 20000"/>
                  <a:gd name="T10" fmla="*/ 19259 w 20000"/>
                  <a:gd name="T11" fmla="*/ 0 h 20000"/>
                </a:gdLst>
                <a:ahLst/>
                <a:cxnLst>
                  <a:cxn ang="0">
                    <a:pos x="T0" y="T1"/>
                  </a:cxn>
                  <a:cxn ang="0">
                    <a:pos x="T2" y="T3"/>
                  </a:cxn>
                  <a:cxn ang="0">
                    <a:pos x="T4" y="T5"/>
                  </a:cxn>
                  <a:cxn ang="0">
                    <a:pos x="T6" y="T7"/>
                  </a:cxn>
                  <a:cxn ang="0">
                    <a:pos x="T8" y="T9"/>
                  </a:cxn>
                  <a:cxn ang="0">
                    <a:pos x="T10" y="T11"/>
                  </a:cxn>
                </a:cxnLst>
                <a:rect l="0" t="0" r="r" b="b"/>
                <a:pathLst>
                  <a:path w="20000" h="20000">
                    <a:moveTo>
                      <a:pt x="19259" y="0"/>
                    </a:moveTo>
                    <a:lnTo>
                      <a:pt x="11111" y="11429"/>
                    </a:lnTo>
                    <a:lnTo>
                      <a:pt x="7407" y="19286"/>
                    </a:lnTo>
                    <a:lnTo>
                      <a:pt x="0" y="11429"/>
                    </a:lnTo>
                    <a:lnTo>
                      <a:pt x="0" y="7857"/>
                    </a:lnTo>
                    <a:lnTo>
                      <a:pt x="1925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5" name="Freeform 151"/>
              <p:cNvSpPr>
                <a:spLocks/>
              </p:cNvSpPr>
              <p:nvPr/>
            </p:nvSpPr>
            <p:spPr bwMode="auto">
              <a:xfrm>
                <a:off x="6189663" y="3948113"/>
                <a:ext cx="122237" cy="138112"/>
              </a:xfrm>
              <a:custGeom>
                <a:avLst/>
                <a:gdLst>
                  <a:gd name="T0" fmla="*/ 3125 w 20000"/>
                  <a:gd name="T1" fmla="*/ 19908 h 20000"/>
                  <a:gd name="T2" fmla="*/ 2708 w 20000"/>
                  <a:gd name="T3" fmla="*/ 17523 h 20000"/>
                  <a:gd name="T4" fmla="*/ 1563 w 20000"/>
                  <a:gd name="T5" fmla="*/ 13303 h 20000"/>
                  <a:gd name="T6" fmla="*/ 0 w 20000"/>
                  <a:gd name="T7" fmla="*/ 8991 h 20000"/>
                  <a:gd name="T8" fmla="*/ 0 w 20000"/>
                  <a:gd name="T9" fmla="*/ 7156 h 20000"/>
                  <a:gd name="T10" fmla="*/ 0 w 20000"/>
                  <a:gd name="T11" fmla="*/ 5229 h 20000"/>
                  <a:gd name="T12" fmla="*/ 2708 w 20000"/>
                  <a:gd name="T13" fmla="*/ 3761 h 20000"/>
                  <a:gd name="T14" fmla="*/ 2708 w 20000"/>
                  <a:gd name="T15" fmla="*/ 1009 h 20000"/>
                  <a:gd name="T16" fmla="*/ 3125 w 20000"/>
                  <a:gd name="T17" fmla="*/ 1009 h 20000"/>
                  <a:gd name="T18" fmla="*/ 4792 w 20000"/>
                  <a:gd name="T19" fmla="*/ 1009 h 20000"/>
                  <a:gd name="T20" fmla="*/ 8646 w 20000"/>
                  <a:gd name="T21" fmla="*/ 0 h 20000"/>
                  <a:gd name="T22" fmla="*/ 17188 w 20000"/>
                  <a:gd name="T23" fmla="*/ 3761 h 20000"/>
                  <a:gd name="T24" fmla="*/ 17188 w 20000"/>
                  <a:gd name="T25" fmla="*/ 7156 h 20000"/>
                  <a:gd name="T26" fmla="*/ 19896 w 20000"/>
                  <a:gd name="T27" fmla="*/ 6239 h 20000"/>
                  <a:gd name="T28" fmla="*/ 18229 w 20000"/>
                  <a:gd name="T29" fmla="*/ 10000 h 20000"/>
                  <a:gd name="T30" fmla="*/ 15625 w 20000"/>
                  <a:gd name="T31" fmla="*/ 12385 h 20000"/>
                  <a:gd name="T32" fmla="*/ 15625 w 20000"/>
                  <a:gd name="T33" fmla="*/ 14679 h 20000"/>
                  <a:gd name="T34" fmla="*/ 18854 w 20000"/>
                  <a:gd name="T35" fmla="*/ 13303 h 20000"/>
                  <a:gd name="T36" fmla="*/ 18854 w 20000"/>
                  <a:gd name="T37" fmla="*/ 13761 h 20000"/>
                  <a:gd name="T38" fmla="*/ 16146 w 20000"/>
                  <a:gd name="T39" fmla="*/ 15229 h 20000"/>
                  <a:gd name="T40" fmla="*/ 12917 w 20000"/>
                  <a:gd name="T41" fmla="*/ 16147 h 20000"/>
                  <a:gd name="T42" fmla="*/ 3125 w 20000"/>
                  <a:gd name="T43" fmla="*/ 199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3125" y="19908"/>
                    </a:moveTo>
                    <a:lnTo>
                      <a:pt x="2708" y="17523"/>
                    </a:lnTo>
                    <a:lnTo>
                      <a:pt x="1563" y="13303"/>
                    </a:lnTo>
                    <a:lnTo>
                      <a:pt x="0" y="8991"/>
                    </a:lnTo>
                    <a:lnTo>
                      <a:pt x="0" y="7156"/>
                    </a:lnTo>
                    <a:lnTo>
                      <a:pt x="0" y="5229"/>
                    </a:lnTo>
                    <a:lnTo>
                      <a:pt x="2708" y="3761"/>
                    </a:lnTo>
                    <a:lnTo>
                      <a:pt x="2708" y="1009"/>
                    </a:lnTo>
                    <a:lnTo>
                      <a:pt x="3125" y="1009"/>
                    </a:lnTo>
                    <a:lnTo>
                      <a:pt x="4792" y="1009"/>
                    </a:lnTo>
                    <a:lnTo>
                      <a:pt x="8646" y="0"/>
                    </a:lnTo>
                    <a:lnTo>
                      <a:pt x="17188" y="3761"/>
                    </a:lnTo>
                    <a:lnTo>
                      <a:pt x="17188" y="7156"/>
                    </a:lnTo>
                    <a:lnTo>
                      <a:pt x="19896" y="6239"/>
                    </a:lnTo>
                    <a:lnTo>
                      <a:pt x="18229" y="10000"/>
                    </a:lnTo>
                    <a:lnTo>
                      <a:pt x="15625" y="12385"/>
                    </a:lnTo>
                    <a:lnTo>
                      <a:pt x="15625" y="14679"/>
                    </a:lnTo>
                    <a:lnTo>
                      <a:pt x="18854" y="13303"/>
                    </a:lnTo>
                    <a:lnTo>
                      <a:pt x="18854" y="13761"/>
                    </a:lnTo>
                    <a:lnTo>
                      <a:pt x="16146" y="15229"/>
                    </a:lnTo>
                    <a:lnTo>
                      <a:pt x="12917" y="16147"/>
                    </a:lnTo>
                    <a:lnTo>
                      <a:pt x="3125" y="199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6" name="Freeform 150"/>
              <p:cNvSpPr>
                <a:spLocks/>
              </p:cNvSpPr>
              <p:nvPr/>
            </p:nvSpPr>
            <p:spPr bwMode="auto">
              <a:xfrm>
                <a:off x="6208713" y="3905250"/>
                <a:ext cx="273050" cy="187325"/>
              </a:xfrm>
              <a:custGeom>
                <a:avLst/>
                <a:gdLst>
                  <a:gd name="T0" fmla="*/ 17587 w 20000"/>
                  <a:gd name="T1" fmla="*/ 0 h 20000"/>
                  <a:gd name="T2" fmla="*/ 19954 w 20000"/>
                  <a:gd name="T3" fmla="*/ 7297 h 20000"/>
                  <a:gd name="T4" fmla="*/ 18237 w 20000"/>
                  <a:gd name="T5" fmla="*/ 8378 h 20000"/>
                  <a:gd name="T6" fmla="*/ 18051 w 20000"/>
                  <a:gd name="T7" fmla="*/ 10135 h 20000"/>
                  <a:gd name="T8" fmla="*/ 18051 w 20000"/>
                  <a:gd name="T9" fmla="*/ 10811 h 20000"/>
                  <a:gd name="T10" fmla="*/ 12993 w 20000"/>
                  <a:gd name="T11" fmla="*/ 13581 h 20000"/>
                  <a:gd name="T12" fmla="*/ 11787 w 20000"/>
                  <a:gd name="T13" fmla="*/ 14257 h 20000"/>
                  <a:gd name="T14" fmla="*/ 10812 w 20000"/>
                  <a:gd name="T15" fmla="*/ 15743 h 20000"/>
                  <a:gd name="T16" fmla="*/ 9884 w 20000"/>
                  <a:gd name="T17" fmla="*/ 15743 h 20000"/>
                  <a:gd name="T18" fmla="*/ 9420 w 20000"/>
                  <a:gd name="T19" fmla="*/ 15743 h 20000"/>
                  <a:gd name="T20" fmla="*/ 7425 w 20000"/>
                  <a:gd name="T21" fmla="*/ 17432 h 20000"/>
                  <a:gd name="T22" fmla="*/ 4826 w 20000"/>
                  <a:gd name="T23" fmla="*/ 18108 h 20000"/>
                  <a:gd name="T24" fmla="*/ 3619 w 20000"/>
                  <a:gd name="T25" fmla="*/ 18514 h 20000"/>
                  <a:gd name="T26" fmla="*/ 3619 w 20000"/>
                  <a:gd name="T27" fmla="*/ 19932 h 20000"/>
                  <a:gd name="T28" fmla="*/ 2413 w 20000"/>
                  <a:gd name="T29" fmla="*/ 19932 h 20000"/>
                  <a:gd name="T30" fmla="*/ 742 w 20000"/>
                  <a:gd name="T31" fmla="*/ 19932 h 20000"/>
                  <a:gd name="T32" fmla="*/ 0 w 20000"/>
                  <a:gd name="T33" fmla="*/ 19189 h 20000"/>
                  <a:gd name="T34" fmla="*/ 4362 w 20000"/>
                  <a:gd name="T35" fmla="*/ 16419 h 20000"/>
                  <a:gd name="T36" fmla="*/ 5800 w 20000"/>
                  <a:gd name="T37" fmla="*/ 15743 h 20000"/>
                  <a:gd name="T38" fmla="*/ 6961 w 20000"/>
                  <a:gd name="T39" fmla="*/ 14662 h 20000"/>
                  <a:gd name="T40" fmla="*/ 6961 w 20000"/>
                  <a:gd name="T41" fmla="*/ 14257 h 20000"/>
                  <a:gd name="T42" fmla="*/ 5522 w 20000"/>
                  <a:gd name="T43" fmla="*/ 15338 h 20000"/>
                  <a:gd name="T44" fmla="*/ 5522 w 20000"/>
                  <a:gd name="T45" fmla="*/ 13581 h 20000"/>
                  <a:gd name="T46" fmla="*/ 6729 w 20000"/>
                  <a:gd name="T47" fmla="*/ 11892 h 20000"/>
                  <a:gd name="T48" fmla="*/ 7425 w 20000"/>
                  <a:gd name="T49" fmla="*/ 9122 h 20000"/>
                  <a:gd name="T50" fmla="*/ 10812 w 20000"/>
                  <a:gd name="T51" fmla="*/ 2432 h 20000"/>
                  <a:gd name="T52" fmla="*/ 17587 w 20000"/>
                  <a:gd name="T5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17587" y="0"/>
                    </a:moveTo>
                    <a:lnTo>
                      <a:pt x="19954" y="7297"/>
                    </a:lnTo>
                    <a:lnTo>
                      <a:pt x="18237" y="8378"/>
                    </a:lnTo>
                    <a:lnTo>
                      <a:pt x="18051" y="10135"/>
                    </a:lnTo>
                    <a:lnTo>
                      <a:pt x="18051" y="10811"/>
                    </a:lnTo>
                    <a:lnTo>
                      <a:pt x="12993" y="13581"/>
                    </a:lnTo>
                    <a:lnTo>
                      <a:pt x="11787" y="14257"/>
                    </a:lnTo>
                    <a:lnTo>
                      <a:pt x="10812" y="15743"/>
                    </a:lnTo>
                    <a:lnTo>
                      <a:pt x="9884" y="15743"/>
                    </a:lnTo>
                    <a:lnTo>
                      <a:pt x="9420" y="15743"/>
                    </a:lnTo>
                    <a:lnTo>
                      <a:pt x="7425" y="17432"/>
                    </a:lnTo>
                    <a:lnTo>
                      <a:pt x="4826" y="18108"/>
                    </a:lnTo>
                    <a:lnTo>
                      <a:pt x="3619" y="18514"/>
                    </a:lnTo>
                    <a:lnTo>
                      <a:pt x="3619" y="19932"/>
                    </a:lnTo>
                    <a:lnTo>
                      <a:pt x="2413" y="19932"/>
                    </a:lnTo>
                    <a:lnTo>
                      <a:pt x="742" y="19932"/>
                    </a:lnTo>
                    <a:lnTo>
                      <a:pt x="0" y="19189"/>
                    </a:lnTo>
                    <a:lnTo>
                      <a:pt x="4362" y="16419"/>
                    </a:lnTo>
                    <a:lnTo>
                      <a:pt x="5800" y="15743"/>
                    </a:lnTo>
                    <a:lnTo>
                      <a:pt x="6961" y="14662"/>
                    </a:lnTo>
                    <a:lnTo>
                      <a:pt x="6961" y="14257"/>
                    </a:lnTo>
                    <a:lnTo>
                      <a:pt x="5522" y="15338"/>
                    </a:lnTo>
                    <a:lnTo>
                      <a:pt x="5522" y="13581"/>
                    </a:lnTo>
                    <a:lnTo>
                      <a:pt x="6729" y="11892"/>
                    </a:lnTo>
                    <a:lnTo>
                      <a:pt x="7425" y="9122"/>
                    </a:lnTo>
                    <a:lnTo>
                      <a:pt x="10812" y="2432"/>
                    </a:lnTo>
                    <a:lnTo>
                      <a:pt x="17587"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7" name="Freeform 149"/>
              <p:cNvSpPr>
                <a:spLocks/>
              </p:cNvSpPr>
              <p:nvPr/>
            </p:nvSpPr>
            <p:spPr bwMode="auto">
              <a:xfrm>
                <a:off x="8037513" y="3870325"/>
                <a:ext cx="66675" cy="60325"/>
              </a:xfrm>
              <a:custGeom>
                <a:avLst/>
                <a:gdLst>
                  <a:gd name="T0" fmla="*/ 7048 w 20000"/>
                  <a:gd name="T1" fmla="*/ 851 h 20000"/>
                  <a:gd name="T2" fmla="*/ 5143 w 20000"/>
                  <a:gd name="T3" fmla="*/ 851 h 20000"/>
                  <a:gd name="T4" fmla="*/ 5143 w 20000"/>
                  <a:gd name="T5" fmla="*/ 5532 h 20000"/>
                  <a:gd name="T6" fmla="*/ 0 w 20000"/>
                  <a:gd name="T7" fmla="*/ 8723 h 20000"/>
                  <a:gd name="T8" fmla="*/ 0 w 20000"/>
                  <a:gd name="T9" fmla="*/ 15532 h 20000"/>
                  <a:gd name="T10" fmla="*/ 8000 w 20000"/>
                  <a:gd name="T11" fmla="*/ 19787 h 20000"/>
                  <a:gd name="T12" fmla="*/ 11048 w 20000"/>
                  <a:gd name="T13" fmla="*/ 15532 h 20000"/>
                  <a:gd name="T14" fmla="*/ 16000 w 20000"/>
                  <a:gd name="T15" fmla="*/ 14255 h 20000"/>
                  <a:gd name="T16" fmla="*/ 16000 w 20000"/>
                  <a:gd name="T17" fmla="*/ 8723 h 20000"/>
                  <a:gd name="T18" fmla="*/ 19810 w 20000"/>
                  <a:gd name="T19" fmla="*/ 5532 h 20000"/>
                  <a:gd name="T20" fmla="*/ 19810 w 20000"/>
                  <a:gd name="T21" fmla="*/ 851 h 20000"/>
                  <a:gd name="T22" fmla="*/ 17905 w 20000"/>
                  <a:gd name="T23" fmla="*/ 0 h 20000"/>
                  <a:gd name="T24" fmla="*/ 16000 w 20000"/>
                  <a:gd name="T25" fmla="*/ 851 h 20000"/>
                  <a:gd name="T26" fmla="*/ 8000 w 20000"/>
                  <a:gd name="T27" fmla="*/ 851 h 20000"/>
                  <a:gd name="T28" fmla="*/ 7048 w 20000"/>
                  <a:gd name="T29" fmla="*/ 85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7048" y="851"/>
                    </a:moveTo>
                    <a:lnTo>
                      <a:pt x="5143" y="851"/>
                    </a:lnTo>
                    <a:lnTo>
                      <a:pt x="5143" y="5532"/>
                    </a:lnTo>
                    <a:lnTo>
                      <a:pt x="0" y="8723"/>
                    </a:lnTo>
                    <a:lnTo>
                      <a:pt x="0" y="15532"/>
                    </a:lnTo>
                    <a:lnTo>
                      <a:pt x="8000" y="19787"/>
                    </a:lnTo>
                    <a:lnTo>
                      <a:pt x="11048" y="15532"/>
                    </a:lnTo>
                    <a:lnTo>
                      <a:pt x="16000" y="14255"/>
                    </a:lnTo>
                    <a:lnTo>
                      <a:pt x="16000" y="8723"/>
                    </a:lnTo>
                    <a:lnTo>
                      <a:pt x="19810" y="5532"/>
                    </a:lnTo>
                    <a:lnTo>
                      <a:pt x="19810" y="851"/>
                    </a:lnTo>
                    <a:lnTo>
                      <a:pt x="17905" y="0"/>
                    </a:lnTo>
                    <a:lnTo>
                      <a:pt x="16000" y="851"/>
                    </a:lnTo>
                    <a:lnTo>
                      <a:pt x="8000" y="851"/>
                    </a:lnTo>
                    <a:lnTo>
                      <a:pt x="7048" y="85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8" name="Freeform 148"/>
              <p:cNvSpPr>
                <a:spLocks/>
              </p:cNvSpPr>
              <p:nvPr/>
            </p:nvSpPr>
            <p:spPr bwMode="auto">
              <a:xfrm>
                <a:off x="7097713" y="4325938"/>
                <a:ext cx="11112" cy="11112"/>
              </a:xfrm>
              <a:custGeom>
                <a:avLst/>
                <a:gdLst>
                  <a:gd name="T0" fmla="*/ 11765 w 20000"/>
                  <a:gd name="T1" fmla="*/ 7059 h 20000"/>
                  <a:gd name="T2" fmla="*/ 18824 w 20000"/>
                  <a:gd name="T3" fmla="*/ 18824 h 20000"/>
                  <a:gd name="T4" fmla="*/ 11765 w 20000"/>
                  <a:gd name="T5" fmla="*/ 18824 h 20000"/>
                  <a:gd name="T6" fmla="*/ 0 w 20000"/>
                  <a:gd name="T7" fmla="*/ 18824 h 20000"/>
                  <a:gd name="T8" fmla="*/ 0 w 20000"/>
                  <a:gd name="T9" fmla="*/ 0 h 20000"/>
                  <a:gd name="T10" fmla="*/ 11765 w 20000"/>
                  <a:gd name="T11" fmla="*/ 0 h 20000"/>
                  <a:gd name="T12" fmla="*/ 11765 w 20000"/>
                  <a:gd name="T13" fmla="*/ 7059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765" y="7059"/>
                    </a:moveTo>
                    <a:lnTo>
                      <a:pt x="18824" y="18824"/>
                    </a:lnTo>
                    <a:lnTo>
                      <a:pt x="11765" y="18824"/>
                    </a:lnTo>
                    <a:lnTo>
                      <a:pt x="0" y="18824"/>
                    </a:lnTo>
                    <a:lnTo>
                      <a:pt x="0" y="0"/>
                    </a:lnTo>
                    <a:lnTo>
                      <a:pt x="11765" y="0"/>
                    </a:lnTo>
                    <a:lnTo>
                      <a:pt x="11765" y="70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89" name="Freeform 147"/>
              <p:cNvSpPr>
                <a:spLocks/>
              </p:cNvSpPr>
              <p:nvPr/>
            </p:nvSpPr>
            <p:spPr bwMode="auto">
              <a:xfrm>
                <a:off x="6199188" y="2663825"/>
                <a:ext cx="1063625" cy="542925"/>
              </a:xfrm>
              <a:custGeom>
                <a:avLst/>
                <a:gdLst>
                  <a:gd name="T0" fmla="*/ 19916 w 20000"/>
                  <a:gd name="T1" fmla="*/ 8000 h 20000"/>
                  <a:gd name="T2" fmla="*/ 19379 w 20000"/>
                  <a:gd name="T3" fmla="*/ 8468 h 20000"/>
                  <a:gd name="T4" fmla="*/ 19379 w 20000"/>
                  <a:gd name="T5" fmla="*/ 10409 h 20000"/>
                  <a:gd name="T6" fmla="*/ 18184 w 20000"/>
                  <a:gd name="T7" fmla="*/ 12468 h 20000"/>
                  <a:gd name="T8" fmla="*/ 18184 w 20000"/>
                  <a:gd name="T9" fmla="*/ 13099 h 20000"/>
                  <a:gd name="T10" fmla="*/ 17085 w 20000"/>
                  <a:gd name="T11" fmla="*/ 13684 h 20000"/>
                  <a:gd name="T12" fmla="*/ 17814 w 20000"/>
                  <a:gd name="T13" fmla="*/ 15860 h 20000"/>
                  <a:gd name="T14" fmla="*/ 17324 w 20000"/>
                  <a:gd name="T15" fmla="*/ 17450 h 20000"/>
                  <a:gd name="T16" fmla="*/ 15102 w 20000"/>
                  <a:gd name="T17" fmla="*/ 16585 h 20000"/>
                  <a:gd name="T18" fmla="*/ 14421 w 20000"/>
                  <a:gd name="T19" fmla="*/ 16117 h 20000"/>
                  <a:gd name="T20" fmla="*/ 12318 w 20000"/>
                  <a:gd name="T21" fmla="*/ 18643 h 20000"/>
                  <a:gd name="T22" fmla="*/ 11828 w 20000"/>
                  <a:gd name="T23" fmla="*/ 19135 h 20000"/>
                  <a:gd name="T24" fmla="*/ 11195 w 20000"/>
                  <a:gd name="T25" fmla="*/ 19368 h 20000"/>
                  <a:gd name="T26" fmla="*/ 10394 w 20000"/>
                  <a:gd name="T27" fmla="*/ 18784 h 20000"/>
                  <a:gd name="T28" fmla="*/ 10096 w 20000"/>
                  <a:gd name="T29" fmla="*/ 17544 h 20000"/>
                  <a:gd name="T30" fmla="*/ 9606 w 20000"/>
                  <a:gd name="T31" fmla="*/ 16819 h 20000"/>
                  <a:gd name="T32" fmla="*/ 8172 w 20000"/>
                  <a:gd name="T33" fmla="*/ 16491 h 20000"/>
                  <a:gd name="T34" fmla="*/ 7121 w 20000"/>
                  <a:gd name="T35" fmla="*/ 15626 h 20000"/>
                  <a:gd name="T36" fmla="*/ 7312 w 20000"/>
                  <a:gd name="T37" fmla="*/ 14292 h 20000"/>
                  <a:gd name="T38" fmla="*/ 7431 w 20000"/>
                  <a:gd name="T39" fmla="*/ 12351 h 20000"/>
                  <a:gd name="T40" fmla="*/ 7180 w 20000"/>
                  <a:gd name="T41" fmla="*/ 12351 h 20000"/>
                  <a:gd name="T42" fmla="*/ 5508 w 20000"/>
                  <a:gd name="T43" fmla="*/ 13333 h 20000"/>
                  <a:gd name="T44" fmla="*/ 5209 w 20000"/>
                  <a:gd name="T45" fmla="*/ 16117 h 20000"/>
                  <a:gd name="T46" fmla="*/ 5209 w 20000"/>
                  <a:gd name="T47" fmla="*/ 19135 h 20000"/>
                  <a:gd name="T48" fmla="*/ 4277 w 20000"/>
                  <a:gd name="T49" fmla="*/ 18409 h 20000"/>
                  <a:gd name="T50" fmla="*/ 3524 w 20000"/>
                  <a:gd name="T51" fmla="*/ 19018 h 20000"/>
                  <a:gd name="T52" fmla="*/ 3524 w 20000"/>
                  <a:gd name="T53" fmla="*/ 19018 h 20000"/>
                  <a:gd name="T54" fmla="*/ 3524 w 20000"/>
                  <a:gd name="T55" fmla="*/ 17544 h 20000"/>
                  <a:gd name="T56" fmla="*/ 2915 w 20000"/>
                  <a:gd name="T57" fmla="*/ 17450 h 20000"/>
                  <a:gd name="T58" fmla="*/ 2234 w 20000"/>
                  <a:gd name="T59" fmla="*/ 15485 h 20000"/>
                  <a:gd name="T60" fmla="*/ 2796 w 20000"/>
                  <a:gd name="T61" fmla="*/ 15485 h 20000"/>
                  <a:gd name="T62" fmla="*/ 2724 w 20000"/>
                  <a:gd name="T63" fmla="*/ 14526 h 20000"/>
                  <a:gd name="T64" fmla="*/ 3405 w 20000"/>
                  <a:gd name="T65" fmla="*/ 13918 h 20000"/>
                  <a:gd name="T66" fmla="*/ 2915 w 20000"/>
                  <a:gd name="T67" fmla="*/ 12351 h 20000"/>
                  <a:gd name="T68" fmla="*/ 2234 w 20000"/>
                  <a:gd name="T69" fmla="*/ 12094 h 20000"/>
                  <a:gd name="T70" fmla="*/ 1613 w 20000"/>
                  <a:gd name="T71" fmla="*/ 12959 h 20000"/>
                  <a:gd name="T72" fmla="*/ 502 w 20000"/>
                  <a:gd name="T73" fmla="*/ 9567 h 20000"/>
                  <a:gd name="T74" fmla="*/ 621 w 20000"/>
                  <a:gd name="T75" fmla="*/ 6058 h 20000"/>
                  <a:gd name="T76" fmla="*/ 2915 w 20000"/>
                  <a:gd name="T77" fmla="*/ 6316 h 20000"/>
                  <a:gd name="T78" fmla="*/ 5818 w 20000"/>
                  <a:gd name="T79" fmla="*/ 5310 h 20000"/>
                  <a:gd name="T80" fmla="*/ 8411 w 20000"/>
                  <a:gd name="T81" fmla="*/ 608 h 20000"/>
                  <a:gd name="T82" fmla="*/ 11326 w 20000"/>
                  <a:gd name="T83" fmla="*/ 0 h 20000"/>
                  <a:gd name="T84" fmla="*/ 13978 w 20000"/>
                  <a:gd name="T85" fmla="*/ 1333 h 20000"/>
                  <a:gd name="T86" fmla="*/ 16762 w 20000"/>
                  <a:gd name="T87" fmla="*/ 5684 h 20000"/>
                  <a:gd name="T88" fmla="*/ 19116 w 20000"/>
                  <a:gd name="T89" fmla="*/ 6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9988" y="7275"/>
                    </a:moveTo>
                    <a:lnTo>
                      <a:pt x="19916" y="8000"/>
                    </a:lnTo>
                    <a:lnTo>
                      <a:pt x="19677" y="8234"/>
                    </a:lnTo>
                    <a:lnTo>
                      <a:pt x="19379" y="8468"/>
                    </a:lnTo>
                    <a:lnTo>
                      <a:pt x="19618" y="9942"/>
                    </a:lnTo>
                    <a:lnTo>
                      <a:pt x="19379" y="10409"/>
                    </a:lnTo>
                    <a:lnTo>
                      <a:pt x="18327" y="10409"/>
                    </a:lnTo>
                    <a:lnTo>
                      <a:pt x="18184" y="12468"/>
                    </a:lnTo>
                    <a:lnTo>
                      <a:pt x="18375" y="12725"/>
                    </a:lnTo>
                    <a:lnTo>
                      <a:pt x="18184" y="13099"/>
                    </a:lnTo>
                    <a:lnTo>
                      <a:pt x="17885" y="12959"/>
                    </a:lnTo>
                    <a:lnTo>
                      <a:pt x="17085" y="13684"/>
                    </a:lnTo>
                    <a:lnTo>
                      <a:pt x="17324" y="13684"/>
                    </a:lnTo>
                    <a:lnTo>
                      <a:pt x="17814" y="15860"/>
                    </a:lnTo>
                    <a:lnTo>
                      <a:pt x="17694" y="17544"/>
                    </a:lnTo>
                    <a:lnTo>
                      <a:pt x="17324" y="17450"/>
                    </a:lnTo>
                    <a:lnTo>
                      <a:pt x="17324" y="17076"/>
                    </a:lnTo>
                    <a:lnTo>
                      <a:pt x="15102" y="16585"/>
                    </a:lnTo>
                    <a:lnTo>
                      <a:pt x="15102" y="16211"/>
                    </a:lnTo>
                    <a:lnTo>
                      <a:pt x="14421" y="16117"/>
                    </a:lnTo>
                    <a:lnTo>
                      <a:pt x="12999" y="17544"/>
                    </a:lnTo>
                    <a:lnTo>
                      <a:pt x="12318" y="18643"/>
                    </a:lnTo>
                    <a:lnTo>
                      <a:pt x="11876" y="18643"/>
                    </a:lnTo>
                    <a:lnTo>
                      <a:pt x="11828" y="19135"/>
                    </a:lnTo>
                    <a:lnTo>
                      <a:pt x="11577" y="19977"/>
                    </a:lnTo>
                    <a:lnTo>
                      <a:pt x="11195" y="19368"/>
                    </a:lnTo>
                    <a:lnTo>
                      <a:pt x="11517" y="19135"/>
                    </a:lnTo>
                    <a:lnTo>
                      <a:pt x="10394" y="18784"/>
                    </a:lnTo>
                    <a:lnTo>
                      <a:pt x="9904" y="18409"/>
                    </a:lnTo>
                    <a:lnTo>
                      <a:pt x="10096" y="17544"/>
                    </a:lnTo>
                    <a:lnTo>
                      <a:pt x="9606" y="17544"/>
                    </a:lnTo>
                    <a:lnTo>
                      <a:pt x="9606" y="16819"/>
                    </a:lnTo>
                    <a:lnTo>
                      <a:pt x="9283" y="16585"/>
                    </a:lnTo>
                    <a:lnTo>
                      <a:pt x="8172" y="16491"/>
                    </a:lnTo>
                    <a:lnTo>
                      <a:pt x="7491" y="15860"/>
                    </a:lnTo>
                    <a:lnTo>
                      <a:pt x="7121" y="15626"/>
                    </a:lnTo>
                    <a:lnTo>
                      <a:pt x="7121" y="15018"/>
                    </a:lnTo>
                    <a:lnTo>
                      <a:pt x="7312" y="14292"/>
                    </a:lnTo>
                    <a:lnTo>
                      <a:pt x="7312" y="13567"/>
                    </a:lnTo>
                    <a:lnTo>
                      <a:pt x="7431" y="12351"/>
                    </a:lnTo>
                    <a:lnTo>
                      <a:pt x="7312" y="12094"/>
                    </a:lnTo>
                    <a:lnTo>
                      <a:pt x="7180" y="12351"/>
                    </a:lnTo>
                    <a:lnTo>
                      <a:pt x="6189" y="13099"/>
                    </a:lnTo>
                    <a:lnTo>
                      <a:pt x="5508" y="13333"/>
                    </a:lnTo>
                    <a:lnTo>
                      <a:pt x="5209" y="14292"/>
                    </a:lnTo>
                    <a:lnTo>
                      <a:pt x="5209" y="16117"/>
                    </a:lnTo>
                    <a:lnTo>
                      <a:pt x="5209" y="17544"/>
                    </a:lnTo>
                    <a:lnTo>
                      <a:pt x="5209" y="19135"/>
                    </a:lnTo>
                    <a:lnTo>
                      <a:pt x="4576" y="18784"/>
                    </a:lnTo>
                    <a:lnTo>
                      <a:pt x="4277" y="18409"/>
                    </a:lnTo>
                    <a:lnTo>
                      <a:pt x="3787" y="18175"/>
                    </a:lnTo>
                    <a:lnTo>
                      <a:pt x="3524" y="19018"/>
                    </a:lnTo>
                    <a:lnTo>
                      <a:pt x="3787" y="19743"/>
                    </a:lnTo>
                    <a:lnTo>
                      <a:pt x="3524" y="19018"/>
                    </a:lnTo>
                    <a:lnTo>
                      <a:pt x="3524" y="18035"/>
                    </a:lnTo>
                    <a:lnTo>
                      <a:pt x="3524" y="17544"/>
                    </a:lnTo>
                    <a:lnTo>
                      <a:pt x="3226" y="17450"/>
                    </a:lnTo>
                    <a:lnTo>
                      <a:pt x="2915" y="17450"/>
                    </a:lnTo>
                    <a:lnTo>
                      <a:pt x="2473" y="15860"/>
                    </a:lnTo>
                    <a:lnTo>
                      <a:pt x="2234" y="15485"/>
                    </a:lnTo>
                    <a:lnTo>
                      <a:pt x="2473" y="15485"/>
                    </a:lnTo>
                    <a:lnTo>
                      <a:pt x="2796" y="15485"/>
                    </a:lnTo>
                    <a:lnTo>
                      <a:pt x="2473" y="14901"/>
                    </a:lnTo>
                    <a:lnTo>
                      <a:pt x="2724" y="14526"/>
                    </a:lnTo>
                    <a:lnTo>
                      <a:pt x="3716" y="14292"/>
                    </a:lnTo>
                    <a:lnTo>
                      <a:pt x="3405" y="13918"/>
                    </a:lnTo>
                    <a:lnTo>
                      <a:pt x="3405" y="12094"/>
                    </a:lnTo>
                    <a:lnTo>
                      <a:pt x="2915" y="12351"/>
                    </a:lnTo>
                    <a:lnTo>
                      <a:pt x="2724" y="12000"/>
                    </a:lnTo>
                    <a:lnTo>
                      <a:pt x="2234" y="12094"/>
                    </a:lnTo>
                    <a:lnTo>
                      <a:pt x="1983" y="12468"/>
                    </a:lnTo>
                    <a:lnTo>
                      <a:pt x="1613" y="12959"/>
                    </a:lnTo>
                    <a:lnTo>
                      <a:pt x="1123" y="12959"/>
                    </a:lnTo>
                    <a:lnTo>
                      <a:pt x="502" y="9567"/>
                    </a:lnTo>
                    <a:lnTo>
                      <a:pt x="0" y="9567"/>
                    </a:lnTo>
                    <a:lnTo>
                      <a:pt x="621" y="6058"/>
                    </a:lnTo>
                    <a:lnTo>
                      <a:pt x="1673" y="5684"/>
                    </a:lnTo>
                    <a:lnTo>
                      <a:pt x="2915" y="6316"/>
                    </a:lnTo>
                    <a:lnTo>
                      <a:pt x="6189" y="7018"/>
                    </a:lnTo>
                    <a:lnTo>
                      <a:pt x="5818" y="5310"/>
                    </a:lnTo>
                    <a:lnTo>
                      <a:pt x="6189" y="1333"/>
                    </a:lnTo>
                    <a:lnTo>
                      <a:pt x="8411" y="608"/>
                    </a:lnTo>
                    <a:lnTo>
                      <a:pt x="9904" y="725"/>
                    </a:lnTo>
                    <a:lnTo>
                      <a:pt x="11326" y="0"/>
                    </a:lnTo>
                    <a:lnTo>
                      <a:pt x="12378" y="1825"/>
                    </a:lnTo>
                    <a:lnTo>
                      <a:pt x="13978" y="1333"/>
                    </a:lnTo>
                    <a:lnTo>
                      <a:pt x="15711" y="3509"/>
                    </a:lnTo>
                    <a:lnTo>
                      <a:pt x="16762" y="5684"/>
                    </a:lnTo>
                    <a:lnTo>
                      <a:pt x="18184" y="6058"/>
                    </a:lnTo>
                    <a:lnTo>
                      <a:pt x="19116" y="6901"/>
                    </a:lnTo>
                    <a:lnTo>
                      <a:pt x="19988" y="72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0" name="Freeform 146"/>
              <p:cNvSpPr>
                <a:spLocks/>
              </p:cNvSpPr>
              <p:nvPr/>
            </p:nvSpPr>
            <p:spPr bwMode="auto">
              <a:xfrm>
                <a:off x="6873875" y="3100388"/>
                <a:ext cx="266700" cy="141287"/>
              </a:xfrm>
              <a:custGeom>
                <a:avLst/>
                <a:gdLst>
                  <a:gd name="T0" fmla="*/ 19952 w 20000"/>
                  <a:gd name="T1" fmla="*/ 5471 h 20000"/>
                  <a:gd name="T2" fmla="*/ 16762 w 20000"/>
                  <a:gd name="T3" fmla="*/ 8789 h 20000"/>
                  <a:gd name="T4" fmla="*/ 16000 w 20000"/>
                  <a:gd name="T5" fmla="*/ 11121 h 20000"/>
                  <a:gd name="T6" fmla="*/ 13524 w 20000"/>
                  <a:gd name="T7" fmla="*/ 11570 h 20000"/>
                  <a:gd name="T8" fmla="*/ 13333 w 20000"/>
                  <a:gd name="T9" fmla="*/ 13901 h 20000"/>
                  <a:gd name="T10" fmla="*/ 11571 w 20000"/>
                  <a:gd name="T11" fmla="*/ 14798 h 20000"/>
                  <a:gd name="T12" fmla="*/ 11095 w 20000"/>
                  <a:gd name="T13" fmla="*/ 13901 h 20000"/>
                  <a:gd name="T14" fmla="*/ 10095 w 20000"/>
                  <a:gd name="T15" fmla="*/ 14798 h 20000"/>
                  <a:gd name="T16" fmla="*/ 8095 w 20000"/>
                  <a:gd name="T17" fmla="*/ 17130 h 20000"/>
                  <a:gd name="T18" fmla="*/ 8381 w 20000"/>
                  <a:gd name="T19" fmla="*/ 19910 h 20000"/>
                  <a:gd name="T20" fmla="*/ 7619 w 20000"/>
                  <a:gd name="T21" fmla="*/ 19910 h 20000"/>
                  <a:gd name="T22" fmla="*/ 1238 w 20000"/>
                  <a:gd name="T23" fmla="*/ 16233 h 20000"/>
                  <a:gd name="T24" fmla="*/ 2952 w 20000"/>
                  <a:gd name="T25" fmla="*/ 16233 h 20000"/>
                  <a:gd name="T26" fmla="*/ 3714 w 20000"/>
                  <a:gd name="T27" fmla="*/ 14798 h 20000"/>
                  <a:gd name="T28" fmla="*/ 5667 w 20000"/>
                  <a:gd name="T29" fmla="*/ 11570 h 20000"/>
                  <a:gd name="T30" fmla="*/ 4381 w 20000"/>
                  <a:gd name="T31" fmla="*/ 11570 h 20000"/>
                  <a:gd name="T32" fmla="*/ 1952 w 20000"/>
                  <a:gd name="T33" fmla="*/ 9686 h 20000"/>
                  <a:gd name="T34" fmla="*/ 0 w 20000"/>
                  <a:gd name="T35" fmla="*/ 9686 h 20000"/>
                  <a:gd name="T36" fmla="*/ 1238 w 20000"/>
                  <a:gd name="T37" fmla="*/ 5471 h 20000"/>
                  <a:gd name="T38" fmla="*/ 6905 w 20000"/>
                  <a:gd name="T39" fmla="*/ 0 h 20000"/>
                  <a:gd name="T40" fmla="*/ 9619 w 20000"/>
                  <a:gd name="T41" fmla="*/ 359 h 20000"/>
                  <a:gd name="T42" fmla="*/ 9619 w 20000"/>
                  <a:gd name="T43" fmla="*/ 1794 h 20000"/>
                  <a:gd name="T44" fmla="*/ 18476 w 20000"/>
                  <a:gd name="T45" fmla="*/ 3677 h 20000"/>
                  <a:gd name="T46" fmla="*/ 18476 w 20000"/>
                  <a:gd name="T47" fmla="*/ 5112 h 20000"/>
                  <a:gd name="T48" fmla="*/ 19952 w 20000"/>
                  <a:gd name="T49" fmla="*/ 547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19952" y="5471"/>
                    </a:moveTo>
                    <a:lnTo>
                      <a:pt x="16762" y="8789"/>
                    </a:lnTo>
                    <a:lnTo>
                      <a:pt x="16000" y="11121"/>
                    </a:lnTo>
                    <a:lnTo>
                      <a:pt x="13524" y="11570"/>
                    </a:lnTo>
                    <a:lnTo>
                      <a:pt x="13333" y="13901"/>
                    </a:lnTo>
                    <a:lnTo>
                      <a:pt x="11571" y="14798"/>
                    </a:lnTo>
                    <a:lnTo>
                      <a:pt x="11095" y="13901"/>
                    </a:lnTo>
                    <a:lnTo>
                      <a:pt x="10095" y="14798"/>
                    </a:lnTo>
                    <a:lnTo>
                      <a:pt x="8095" y="17130"/>
                    </a:lnTo>
                    <a:lnTo>
                      <a:pt x="8381" y="19910"/>
                    </a:lnTo>
                    <a:lnTo>
                      <a:pt x="7619" y="19910"/>
                    </a:lnTo>
                    <a:lnTo>
                      <a:pt x="1238" y="16233"/>
                    </a:lnTo>
                    <a:lnTo>
                      <a:pt x="2952" y="16233"/>
                    </a:lnTo>
                    <a:lnTo>
                      <a:pt x="3714" y="14798"/>
                    </a:lnTo>
                    <a:lnTo>
                      <a:pt x="5667" y="11570"/>
                    </a:lnTo>
                    <a:lnTo>
                      <a:pt x="4381" y="11570"/>
                    </a:lnTo>
                    <a:lnTo>
                      <a:pt x="1952" y="9686"/>
                    </a:lnTo>
                    <a:lnTo>
                      <a:pt x="0" y="9686"/>
                    </a:lnTo>
                    <a:lnTo>
                      <a:pt x="1238" y="5471"/>
                    </a:lnTo>
                    <a:lnTo>
                      <a:pt x="6905" y="0"/>
                    </a:lnTo>
                    <a:lnTo>
                      <a:pt x="9619" y="359"/>
                    </a:lnTo>
                    <a:lnTo>
                      <a:pt x="9619" y="1794"/>
                    </a:lnTo>
                    <a:lnTo>
                      <a:pt x="18476" y="3677"/>
                    </a:lnTo>
                    <a:lnTo>
                      <a:pt x="18476" y="5112"/>
                    </a:lnTo>
                    <a:lnTo>
                      <a:pt x="19952" y="547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1" name="Freeform 145"/>
              <p:cNvSpPr>
                <a:spLocks/>
              </p:cNvSpPr>
              <p:nvPr/>
            </p:nvSpPr>
            <p:spPr bwMode="auto">
              <a:xfrm>
                <a:off x="6477000" y="3019425"/>
                <a:ext cx="474663" cy="309563"/>
              </a:xfrm>
              <a:custGeom>
                <a:avLst/>
                <a:gdLst>
                  <a:gd name="T0" fmla="*/ 12477 w 20000"/>
                  <a:gd name="T1" fmla="*/ 19548 h 20000"/>
                  <a:gd name="T2" fmla="*/ 12477 w 20000"/>
                  <a:gd name="T3" fmla="*/ 17823 h 20000"/>
                  <a:gd name="T4" fmla="*/ 8461 w 20000"/>
                  <a:gd name="T5" fmla="*/ 14251 h 20000"/>
                  <a:gd name="T6" fmla="*/ 7604 w 20000"/>
                  <a:gd name="T7" fmla="*/ 13347 h 20000"/>
                  <a:gd name="T8" fmla="*/ 6078 w 20000"/>
                  <a:gd name="T9" fmla="*/ 11663 h 20000"/>
                  <a:gd name="T10" fmla="*/ 5408 w 20000"/>
                  <a:gd name="T11" fmla="*/ 9733 h 20000"/>
                  <a:gd name="T12" fmla="*/ 3722 w 20000"/>
                  <a:gd name="T13" fmla="*/ 8706 h 20000"/>
                  <a:gd name="T14" fmla="*/ 2624 w 20000"/>
                  <a:gd name="T15" fmla="*/ 7023 h 20000"/>
                  <a:gd name="T16" fmla="*/ 2490 w 20000"/>
                  <a:gd name="T17" fmla="*/ 4846 h 20000"/>
                  <a:gd name="T18" fmla="*/ 1526 w 20000"/>
                  <a:gd name="T19" fmla="*/ 7023 h 20000"/>
                  <a:gd name="T20" fmla="*/ 696 w 20000"/>
                  <a:gd name="T21" fmla="*/ 10390 h 20000"/>
                  <a:gd name="T22" fmla="*/ 0 w 20000"/>
                  <a:gd name="T23" fmla="*/ 7844 h 20000"/>
                  <a:gd name="T24" fmla="*/ 0 w 20000"/>
                  <a:gd name="T25" fmla="*/ 2094 h 20000"/>
                  <a:gd name="T26" fmla="*/ 2222 w 20000"/>
                  <a:gd name="T27" fmla="*/ 0 h 20000"/>
                  <a:gd name="T28" fmla="*/ 2490 w 20000"/>
                  <a:gd name="T29" fmla="*/ 4230 h 20000"/>
                  <a:gd name="T30" fmla="*/ 3588 w 20000"/>
                  <a:gd name="T31" fmla="*/ 4846 h 20000"/>
                  <a:gd name="T32" fmla="*/ 5141 w 20000"/>
                  <a:gd name="T33" fmla="*/ 4846 h 20000"/>
                  <a:gd name="T34" fmla="*/ 9130 w 20000"/>
                  <a:gd name="T35" fmla="*/ 6119 h 20000"/>
                  <a:gd name="T36" fmla="*/ 9853 w 20000"/>
                  <a:gd name="T37" fmla="*/ 7844 h 20000"/>
                  <a:gd name="T38" fmla="*/ 10549 w 20000"/>
                  <a:gd name="T39" fmla="*/ 9322 h 20000"/>
                  <a:gd name="T40" fmla="*/ 14137 w 20000"/>
                  <a:gd name="T41" fmla="*/ 10637 h 20000"/>
                  <a:gd name="T42" fmla="*/ 14270 w 20000"/>
                  <a:gd name="T43" fmla="*/ 12074 h 20000"/>
                  <a:gd name="T44" fmla="*/ 14967 w 20000"/>
                  <a:gd name="T45" fmla="*/ 9733 h 20000"/>
                  <a:gd name="T46" fmla="*/ 17456 w 20000"/>
                  <a:gd name="T47" fmla="*/ 7844 h 20000"/>
                  <a:gd name="T48" fmla="*/ 17885 w 20000"/>
                  <a:gd name="T49" fmla="*/ 9733 h 20000"/>
                  <a:gd name="T50" fmla="*/ 19973 w 20000"/>
                  <a:gd name="T51" fmla="*/ 10637 h 20000"/>
                  <a:gd name="T52" fmla="*/ 18447 w 20000"/>
                  <a:gd name="T53" fmla="*/ 12731 h 20000"/>
                  <a:gd name="T54" fmla="*/ 17456 w 20000"/>
                  <a:gd name="T55" fmla="*/ 11663 h 20000"/>
                  <a:gd name="T56" fmla="*/ 17189 w 20000"/>
                  <a:gd name="T57" fmla="*/ 10390 h 20000"/>
                  <a:gd name="T58" fmla="*/ 15930 w 20000"/>
                  <a:gd name="T59" fmla="*/ 13758 h 20000"/>
                  <a:gd name="T60" fmla="*/ 13842 w 20000"/>
                  <a:gd name="T61" fmla="*/ 14415 h 20000"/>
                  <a:gd name="T62" fmla="*/ 14270 w 20000"/>
                  <a:gd name="T63" fmla="*/ 15483 h 20000"/>
                  <a:gd name="T64" fmla="*/ 14137 w 20000"/>
                  <a:gd name="T65" fmla="*/ 1782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3440" y="19959"/>
                    </a:moveTo>
                    <a:lnTo>
                      <a:pt x="12477" y="19548"/>
                    </a:lnTo>
                    <a:lnTo>
                      <a:pt x="12744" y="18686"/>
                    </a:lnTo>
                    <a:lnTo>
                      <a:pt x="12477" y="17823"/>
                    </a:lnTo>
                    <a:lnTo>
                      <a:pt x="11647" y="17823"/>
                    </a:lnTo>
                    <a:lnTo>
                      <a:pt x="8461" y="14251"/>
                    </a:lnTo>
                    <a:lnTo>
                      <a:pt x="8032" y="14415"/>
                    </a:lnTo>
                    <a:lnTo>
                      <a:pt x="7604" y="13347"/>
                    </a:lnTo>
                    <a:lnTo>
                      <a:pt x="6667" y="11458"/>
                    </a:lnTo>
                    <a:lnTo>
                      <a:pt x="6078" y="11663"/>
                    </a:lnTo>
                    <a:lnTo>
                      <a:pt x="5542" y="11663"/>
                    </a:lnTo>
                    <a:lnTo>
                      <a:pt x="5408" y="9733"/>
                    </a:lnTo>
                    <a:lnTo>
                      <a:pt x="4980" y="9322"/>
                    </a:lnTo>
                    <a:lnTo>
                      <a:pt x="3722" y="8706"/>
                    </a:lnTo>
                    <a:lnTo>
                      <a:pt x="3588" y="7023"/>
                    </a:lnTo>
                    <a:lnTo>
                      <a:pt x="2624" y="7023"/>
                    </a:lnTo>
                    <a:lnTo>
                      <a:pt x="2490" y="5955"/>
                    </a:lnTo>
                    <a:lnTo>
                      <a:pt x="2490" y="4846"/>
                    </a:lnTo>
                    <a:lnTo>
                      <a:pt x="1794" y="5955"/>
                    </a:lnTo>
                    <a:lnTo>
                      <a:pt x="1526" y="7023"/>
                    </a:lnTo>
                    <a:lnTo>
                      <a:pt x="2062" y="9979"/>
                    </a:lnTo>
                    <a:lnTo>
                      <a:pt x="696" y="10390"/>
                    </a:lnTo>
                    <a:lnTo>
                      <a:pt x="0" y="10637"/>
                    </a:lnTo>
                    <a:lnTo>
                      <a:pt x="0" y="7844"/>
                    </a:lnTo>
                    <a:lnTo>
                      <a:pt x="0" y="5298"/>
                    </a:lnTo>
                    <a:lnTo>
                      <a:pt x="0" y="2094"/>
                    </a:lnTo>
                    <a:lnTo>
                      <a:pt x="696" y="411"/>
                    </a:lnTo>
                    <a:lnTo>
                      <a:pt x="2222" y="0"/>
                    </a:lnTo>
                    <a:lnTo>
                      <a:pt x="1794" y="4435"/>
                    </a:lnTo>
                    <a:lnTo>
                      <a:pt x="2490" y="4230"/>
                    </a:lnTo>
                    <a:lnTo>
                      <a:pt x="2892" y="4846"/>
                    </a:lnTo>
                    <a:lnTo>
                      <a:pt x="3588" y="4846"/>
                    </a:lnTo>
                    <a:lnTo>
                      <a:pt x="4311" y="4435"/>
                    </a:lnTo>
                    <a:lnTo>
                      <a:pt x="5141" y="4846"/>
                    </a:lnTo>
                    <a:lnTo>
                      <a:pt x="6667" y="5955"/>
                    </a:lnTo>
                    <a:lnTo>
                      <a:pt x="9130" y="6119"/>
                    </a:lnTo>
                    <a:lnTo>
                      <a:pt x="9853" y="6530"/>
                    </a:lnTo>
                    <a:lnTo>
                      <a:pt x="9853" y="7844"/>
                    </a:lnTo>
                    <a:lnTo>
                      <a:pt x="10950" y="7844"/>
                    </a:lnTo>
                    <a:lnTo>
                      <a:pt x="10549" y="9322"/>
                    </a:lnTo>
                    <a:lnTo>
                      <a:pt x="11647" y="9979"/>
                    </a:lnTo>
                    <a:lnTo>
                      <a:pt x="14137" y="10637"/>
                    </a:lnTo>
                    <a:lnTo>
                      <a:pt x="13440" y="11047"/>
                    </a:lnTo>
                    <a:lnTo>
                      <a:pt x="14270" y="12074"/>
                    </a:lnTo>
                    <a:lnTo>
                      <a:pt x="14833" y="10637"/>
                    </a:lnTo>
                    <a:lnTo>
                      <a:pt x="14967" y="9733"/>
                    </a:lnTo>
                    <a:lnTo>
                      <a:pt x="15930" y="9733"/>
                    </a:lnTo>
                    <a:lnTo>
                      <a:pt x="17456" y="7844"/>
                    </a:lnTo>
                    <a:lnTo>
                      <a:pt x="16787" y="9733"/>
                    </a:lnTo>
                    <a:lnTo>
                      <a:pt x="17885" y="9733"/>
                    </a:lnTo>
                    <a:lnTo>
                      <a:pt x="19250" y="10637"/>
                    </a:lnTo>
                    <a:lnTo>
                      <a:pt x="19973" y="10637"/>
                    </a:lnTo>
                    <a:lnTo>
                      <a:pt x="18876" y="12074"/>
                    </a:lnTo>
                    <a:lnTo>
                      <a:pt x="18447" y="12731"/>
                    </a:lnTo>
                    <a:lnTo>
                      <a:pt x="17456" y="12731"/>
                    </a:lnTo>
                    <a:lnTo>
                      <a:pt x="17456" y="11663"/>
                    </a:lnTo>
                    <a:lnTo>
                      <a:pt x="17885" y="11047"/>
                    </a:lnTo>
                    <a:lnTo>
                      <a:pt x="17189" y="10390"/>
                    </a:lnTo>
                    <a:lnTo>
                      <a:pt x="16359" y="10637"/>
                    </a:lnTo>
                    <a:lnTo>
                      <a:pt x="15930" y="13758"/>
                    </a:lnTo>
                    <a:lnTo>
                      <a:pt x="14967" y="13758"/>
                    </a:lnTo>
                    <a:lnTo>
                      <a:pt x="13842" y="14415"/>
                    </a:lnTo>
                    <a:lnTo>
                      <a:pt x="13842" y="15072"/>
                    </a:lnTo>
                    <a:lnTo>
                      <a:pt x="14270" y="15483"/>
                    </a:lnTo>
                    <a:lnTo>
                      <a:pt x="14967" y="15483"/>
                    </a:lnTo>
                    <a:lnTo>
                      <a:pt x="14137" y="17823"/>
                    </a:lnTo>
                    <a:lnTo>
                      <a:pt x="13440" y="199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2" name="Freeform 144"/>
              <p:cNvSpPr>
                <a:spLocks/>
              </p:cNvSpPr>
              <p:nvPr/>
            </p:nvSpPr>
            <p:spPr bwMode="auto">
              <a:xfrm>
                <a:off x="6794500" y="3179763"/>
                <a:ext cx="234950" cy="165100"/>
              </a:xfrm>
              <a:custGeom>
                <a:avLst/>
                <a:gdLst>
                  <a:gd name="T0" fmla="*/ 15447 w 20000"/>
                  <a:gd name="T1" fmla="*/ 7538 h 20000"/>
                  <a:gd name="T2" fmla="*/ 16314 w 20000"/>
                  <a:gd name="T3" fmla="*/ 10692 h 20000"/>
                  <a:gd name="T4" fmla="*/ 17182 w 20000"/>
                  <a:gd name="T5" fmla="*/ 10692 h 20000"/>
                  <a:gd name="T6" fmla="*/ 18537 w 20000"/>
                  <a:gd name="T7" fmla="*/ 11615 h 20000"/>
                  <a:gd name="T8" fmla="*/ 19946 w 20000"/>
                  <a:gd name="T9" fmla="*/ 16000 h 20000"/>
                  <a:gd name="T10" fmla="*/ 19079 w 20000"/>
                  <a:gd name="T11" fmla="*/ 17154 h 20000"/>
                  <a:gd name="T12" fmla="*/ 18266 w 20000"/>
                  <a:gd name="T13" fmla="*/ 16769 h 20000"/>
                  <a:gd name="T14" fmla="*/ 17724 w 20000"/>
                  <a:gd name="T15" fmla="*/ 16769 h 20000"/>
                  <a:gd name="T16" fmla="*/ 16314 w 20000"/>
                  <a:gd name="T17" fmla="*/ 16000 h 20000"/>
                  <a:gd name="T18" fmla="*/ 14634 w 20000"/>
                  <a:gd name="T19" fmla="*/ 17154 h 20000"/>
                  <a:gd name="T20" fmla="*/ 13225 w 20000"/>
                  <a:gd name="T21" fmla="*/ 18692 h 20000"/>
                  <a:gd name="T22" fmla="*/ 11762 w 20000"/>
                  <a:gd name="T23" fmla="*/ 19923 h 20000"/>
                  <a:gd name="T24" fmla="*/ 11003 w 20000"/>
                  <a:gd name="T25" fmla="*/ 13923 h 20000"/>
                  <a:gd name="T26" fmla="*/ 10407 w 20000"/>
                  <a:gd name="T27" fmla="*/ 13538 h 20000"/>
                  <a:gd name="T28" fmla="*/ 8997 w 20000"/>
                  <a:gd name="T29" fmla="*/ 11923 h 20000"/>
                  <a:gd name="T30" fmla="*/ 8130 w 20000"/>
                  <a:gd name="T31" fmla="*/ 14769 h 20000"/>
                  <a:gd name="T32" fmla="*/ 8726 w 20000"/>
                  <a:gd name="T33" fmla="*/ 15538 h 20000"/>
                  <a:gd name="T34" fmla="*/ 6450 w 20000"/>
                  <a:gd name="T35" fmla="*/ 16769 h 20000"/>
                  <a:gd name="T36" fmla="*/ 5908 w 20000"/>
                  <a:gd name="T37" fmla="*/ 17923 h 20000"/>
                  <a:gd name="T38" fmla="*/ 5366 w 20000"/>
                  <a:gd name="T39" fmla="*/ 17154 h 20000"/>
                  <a:gd name="T40" fmla="*/ 3089 w 20000"/>
                  <a:gd name="T41" fmla="*/ 19154 h 20000"/>
                  <a:gd name="T42" fmla="*/ 0 w 20000"/>
                  <a:gd name="T43" fmla="*/ 17923 h 20000"/>
                  <a:gd name="T44" fmla="*/ 1463 w 20000"/>
                  <a:gd name="T45" fmla="*/ 13923 h 20000"/>
                  <a:gd name="T46" fmla="*/ 3089 w 20000"/>
                  <a:gd name="T47" fmla="*/ 9538 h 20000"/>
                  <a:gd name="T48" fmla="*/ 1680 w 20000"/>
                  <a:gd name="T49" fmla="*/ 9538 h 20000"/>
                  <a:gd name="T50" fmla="*/ 867 w 20000"/>
                  <a:gd name="T51" fmla="*/ 8769 h 20000"/>
                  <a:gd name="T52" fmla="*/ 867 w 20000"/>
                  <a:gd name="T53" fmla="*/ 7538 h 20000"/>
                  <a:gd name="T54" fmla="*/ 3089 w 20000"/>
                  <a:gd name="T55" fmla="*/ 6385 h 20000"/>
                  <a:gd name="T56" fmla="*/ 5095 w 20000"/>
                  <a:gd name="T57" fmla="*/ 6385 h 20000"/>
                  <a:gd name="T58" fmla="*/ 5908 w 20000"/>
                  <a:gd name="T59" fmla="*/ 462 h 20000"/>
                  <a:gd name="T60" fmla="*/ 7588 w 20000"/>
                  <a:gd name="T61" fmla="*/ 0 h 20000"/>
                  <a:gd name="T62" fmla="*/ 8997 w 20000"/>
                  <a:gd name="T63" fmla="*/ 1231 h 20000"/>
                  <a:gd name="T64" fmla="*/ 8130 w 20000"/>
                  <a:gd name="T65" fmla="*/ 2385 h 20000"/>
                  <a:gd name="T66" fmla="*/ 8130 w 20000"/>
                  <a:gd name="T67" fmla="*/ 4385 h 20000"/>
                  <a:gd name="T68" fmla="*/ 15447 w 20000"/>
                  <a:gd name="T69" fmla="*/ 753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5447" y="7538"/>
                    </a:moveTo>
                    <a:lnTo>
                      <a:pt x="16314" y="10692"/>
                    </a:lnTo>
                    <a:lnTo>
                      <a:pt x="17182" y="10692"/>
                    </a:lnTo>
                    <a:lnTo>
                      <a:pt x="18537" y="11615"/>
                    </a:lnTo>
                    <a:lnTo>
                      <a:pt x="19946" y="16000"/>
                    </a:lnTo>
                    <a:lnTo>
                      <a:pt x="19079" y="17154"/>
                    </a:lnTo>
                    <a:lnTo>
                      <a:pt x="18266" y="16769"/>
                    </a:lnTo>
                    <a:lnTo>
                      <a:pt x="17724" y="16769"/>
                    </a:lnTo>
                    <a:lnTo>
                      <a:pt x="16314" y="16000"/>
                    </a:lnTo>
                    <a:lnTo>
                      <a:pt x="14634" y="17154"/>
                    </a:lnTo>
                    <a:lnTo>
                      <a:pt x="13225" y="18692"/>
                    </a:lnTo>
                    <a:lnTo>
                      <a:pt x="11762" y="19923"/>
                    </a:lnTo>
                    <a:lnTo>
                      <a:pt x="11003" y="13923"/>
                    </a:lnTo>
                    <a:lnTo>
                      <a:pt x="10407" y="13538"/>
                    </a:lnTo>
                    <a:lnTo>
                      <a:pt x="8997" y="11923"/>
                    </a:lnTo>
                    <a:lnTo>
                      <a:pt x="8130" y="14769"/>
                    </a:lnTo>
                    <a:lnTo>
                      <a:pt x="8726" y="15538"/>
                    </a:lnTo>
                    <a:lnTo>
                      <a:pt x="6450" y="16769"/>
                    </a:lnTo>
                    <a:lnTo>
                      <a:pt x="5908" y="17923"/>
                    </a:lnTo>
                    <a:lnTo>
                      <a:pt x="5366" y="17154"/>
                    </a:lnTo>
                    <a:lnTo>
                      <a:pt x="3089" y="19154"/>
                    </a:lnTo>
                    <a:lnTo>
                      <a:pt x="0" y="17923"/>
                    </a:lnTo>
                    <a:lnTo>
                      <a:pt x="1463" y="13923"/>
                    </a:lnTo>
                    <a:lnTo>
                      <a:pt x="3089" y="9538"/>
                    </a:lnTo>
                    <a:lnTo>
                      <a:pt x="1680" y="9538"/>
                    </a:lnTo>
                    <a:lnTo>
                      <a:pt x="867" y="8769"/>
                    </a:lnTo>
                    <a:lnTo>
                      <a:pt x="867" y="7538"/>
                    </a:lnTo>
                    <a:lnTo>
                      <a:pt x="3089" y="6385"/>
                    </a:lnTo>
                    <a:lnTo>
                      <a:pt x="5095" y="6385"/>
                    </a:lnTo>
                    <a:lnTo>
                      <a:pt x="5908" y="462"/>
                    </a:lnTo>
                    <a:lnTo>
                      <a:pt x="7588" y="0"/>
                    </a:lnTo>
                    <a:lnTo>
                      <a:pt x="8997" y="1231"/>
                    </a:lnTo>
                    <a:lnTo>
                      <a:pt x="8130" y="2385"/>
                    </a:lnTo>
                    <a:lnTo>
                      <a:pt x="8130" y="4385"/>
                    </a:lnTo>
                    <a:lnTo>
                      <a:pt x="15447" y="753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3" name="Freeform 143"/>
              <p:cNvSpPr>
                <a:spLocks/>
              </p:cNvSpPr>
              <p:nvPr/>
            </p:nvSpPr>
            <p:spPr bwMode="auto">
              <a:xfrm>
                <a:off x="6386513" y="3094038"/>
                <a:ext cx="392112" cy="309562"/>
              </a:xfrm>
              <a:custGeom>
                <a:avLst/>
                <a:gdLst>
                  <a:gd name="T0" fmla="*/ 6375 w 20000"/>
                  <a:gd name="T1" fmla="*/ 2131 h 20000"/>
                  <a:gd name="T2" fmla="*/ 6699 w 20000"/>
                  <a:gd name="T3" fmla="*/ 1107 h 20000"/>
                  <a:gd name="T4" fmla="*/ 7540 w 20000"/>
                  <a:gd name="T5" fmla="*/ 0 h 20000"/>
                  <a:gd name="T6" fmla="*/ 7540 w 20000"/>
                  <a:gd name="T7" fmla="*/ 1107 h 20000"/>
                  <a:gd name="T8" fmla="*/ 7735 w 20000"/>
                  <a:gd name="T9" fmla="*/ 2131 h 20000"/>
                  <a:gd name="T10" fmla="*/ 8867 w 20000"/>
                  <a:gd name="T11" fmla="*/ 2131 h 20000"/>
                  <a:gd name="T12" fmla="*/ 9061 w 20000"/>
                  <a:gd name="T13" fmla="*/ 3852 h 20000"/>
                  <a:gd name="T14" fmla="*/ 11068 w 20000"/>
                  <a:gd name="T15" fmla="*/ 4877 h 20000"/>
                  <a:gd name="T16" fmla="*/ 11262 w 20000"/>
                  <a:gd name="T17" fmla="*/ 6803 h 20000"/>
                  <a:gd name="T18" fmla="*/ 11909 w 20000"/>
                  <a:gd name="T19" fmla="*/ 6803 h 20000"/>
                  <a:gd name="T20" fmla="*/ 12589 w 20000"/>
                  <a:gd name="T21" fmla="*/ 6557 h 20000"/>
                  <a:gd name="T22" fmla="*/ 13754 w 20000"/>
                  <a:gd name="T23" fmla="*/ 8279 h 20000"/>
                  <a:gd name="T24" fmla="*/ 14272 w 20000"/>
                  <a:gd name="T25" fmla="*/ 9344 h 20000"/>
                  <a:gd name="T26" fmla="*/ 14757 w 20000"/>
                  <a:gd name="T27" fmla="*/ 9344 h 20000"/>
                  <a:gd name="T28" fmla="*/ 17799 w 20000"/>
                  <a:gd name="T29" fmla="*/ 11885 h 20000"/>
                  <a:gd name="T30" fmla="*/ 18641 w 20000"/>
                  <a:gd name="T31" fmla="*/ 12910 h 20000"/>
                  <a:gd name="T32" fmla="*/ 19644 w 20000"/>
                  <a:gd name="T33" fmla="*/ 12910 h 20000"/>
                  <a:gd name="T34" fmla="*/ 19968 w 20000"/>
                  <a:gd name="T35" fmla="*/ 13770 h 20000"/>
                  <a:gd name="T36" fmla="*/ 19644 w 20000"/>
                  <a:gd name="T37" fmla="*/ 14672 h 20000"/>
                  <a:gd name="T38" fmla="*/ 18641 w 20000"/>
                  <a:gd name="T39" fmla="*/ 15082 h 20000"/>
                  <a:gd name="T40" fmla="*/ 18641 w 20000"/>
                  <a:gd name="T41" fmla="*/ 16762 h 20000"/>
                  <a:gd name="T42" fmla="*/ 16472 w 20000"/>
                  <a:gd name="T43" fmla="*/ 18279 h 20000"/>
                  <a:gd name="T44" fmla="*/ 16796 w 20000"/>
                  <a:gd name="T45" fmla="*/ 18443 h 20000"/>
                  <a:gd name="T46" fmla="*/ 15437 w 20000"/>
                  <a:gd name="T47" fmla="*/ 19959 h 20000"/>
                  <a:gd name="T48" fmla="*/ 15437 w 20000"/>
                  <a:gd name="T49" fmla="*/ 19098 h 20000"/>
                  <a:gd name="T50" fmla="*/ 13754 w 20000"/>
                  <a:gd name="T51" fmla="*/ 18443 h 20000"/>
                  <a:gd name="T52" fmla="*/ 13430 w 20000"/>
                  <a:gd name="T53" fmla="*/ 16352 h 20000"/>
                  <a:gd name="T54" fmla="*/ 9903 w 20000"/>
                  <a:gd name="T55" fmla="*/ 14426 h 20000"/>
                  <a:gd name="T56" fmla="*/ 8058 w 20000"/>
                  <a:gd name="T57" fmla="*/ 13770 h 20000"/>
                  <a:gd name="T58" fmla="*/ 7735 w 20000"/>
                  <a:gd name="T59" fmla="*/ 12910 h 20000"/>
                  <a:gd name="T60" fmla="*/ 6375 w 20000"/>
                  <a:gd name="T61" fmla="*/ 13361 h 20000"/>
                  <a:gd name="T62" fmla="*/ 5372 w 20000"/>
                  <a:gd name="T63" fmla="*/ 13361 h 20000"/>
                  <a:gd name="T64" fmla="*/ 4563 w 20000"/>
                  <a:gd name="T65" fmla="*/ 15082 h 20000"/>
                  <a:gd name="T66" fmla="*/ 3204 w 20000"/>
                  <a:gd name="T67" fmla="*/ 15492 h 20000"/>
                  <a:gd name="T68" fmla="*/ 2848 w 20000"/>
                  <a:gd name="T69" fmla="*/ 11885 h 20000"/>
                  <a:gd name="T70" fmla="*/ 1521 w 20000"/>
                  <a:gd name="T71" fmla="*/ 11066 h 20000"/>
                  <a:gd name="T72" fmla="*/ 1521 w 20000"/>
                  <a:gd name="T73" fmla="*/ 10164 h 20000"/>
                  <a:gd name="T74" fmla="*/ 2362 w 20000"/>
                  <a:gd name="T75" fmla="*/ 10164 h 20000"/>
                  <a:gd name="T76" fmla="*/ 1845 w 20000"/>
                  <a:gd name="T77" fmla="*/ 9549 h 20000"/>
                  <a:gd name="T78" fmla="*/ 1003 w 20000"/>
                  <a:gd name="T79" fmla="*/ 9959 h 20000"/>
                  <a:gd name="T80" fmla="*/ 680 w 20000"/>
                  <a:gd name="T81" fmla="*/ 7459 h 20000"/>
                  <a:gd name="T82" fmla="*/ 1003 w 20000"/>
                  <a:gd name="T83" fmla="*/ 7459 h 20000"/>
                  <a:gd name="T84" fmla="*/ 1845 w 20000"/>
                  <a:gd name="T85" fmla="*/ 7459 h 20000"/>
                  <a:gd name="T86" fmla="*/ 2848 w 20000"/>
                  <a:gd name="T87" fmla="*/ 7869 h 20000"/>
                  <a:gd name="T88" fmla="*/ 3204 w 20000"/>
                  <a:gd name="T89" fmla="*/ 7459 h 20000"/>
                  <a:gd name="T90" fmla="*/ 3204 w 20000"/>
                  <a:gd name="T91" fmla="*/ 6803 h 20000"/>
                  <a:gd name="T92" fmla="*/ 2362 w 20000"/>
                  <a:gd name="T93" fmla="*/ 6148 h 20000"/>
                  <a:gd name="T94" fmla="*/ 1845 w 20000"/>
                  <a:gd name="T95" fmla="*/ 4877 h 20000"/>
                  <a:gd name="T96" fmla="*/ 1003 w 20000"/>
                  <a:gd name="T97" fmla="*/ 4467 h 20000"/>
                  <a:gd name="T98" fmla="*/ 518 w 20000"/>
                  <a:gd name="T99" fmla="*/ 5533 h 20000"/>
                  <a:gd name="T100" fmla="*/ 680 w 20000"/>
                  <a:gd name="T101" fmla="*/ 6803 h 20000"/>
                  <a:gd name="T102" fmla="*/ 0 w 20000"/>
                  <a:gd name="T103" fmla="*/ 5533 h 20000"/>
                  <a:gd name="T104" fmla="*/ 680 w 20000"/>
                  <a:gd name="T105" fmla="*/ 4057 h 20000"/>
                  <a:gd name="T106" fmla="*/ 2006 w 20000"/>
                  <a:gd name="T107" fmla="*/ 4467 h 20000"/>
                  <a:gd name="T108" fmla="*/ 2848 w 20000"/>
                  <a:gd name="T109" fmla="*/ 5123 h 20000"/>
                  <a:gd name="T110" fmla="*/ 4563 w 20000"/>
                  <a:gd name="T111" fmla="*/ 5738 h 20000"/>
                  <a:gd name="T112" fmla="*/ 5372 w 20000"/>
                  <a:gd name="T113" fmla="*/ 5533 h 20000"/>
                  <a:gd name="T114" fmla="*/ 7055 w 20000"/>
                  <a:gd name="T115" fmla="*/ 5123 h 20000"/>
                  <a:gd name="T116" fmla="*/ 6375 w 20000"/>
                  <a:gd name="T117" fmla="*/ 21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6375" y="2131"/>
                    </a:moveTo>
                    <a:lnTo>
                      <a:pt x="6699" y="1107"/>
                    </a:lnTo>
                    <a:lnTo>
                      <a:pt x="7540" y="0"/>
                    </a:lnTo>
                    <a:lnTo>
                      <a:pt x="7540" y="1107"/>
                    </a:lnTo>
                    <a:lnTo>
                      <a:pt x="7735" y="2131"/>
                    </a:lnTo>
                    <a:lnTo>
                      <a:pt x="8867" y="2131"/>
                    </a:lnTo>
                    <a:lnTo>
                      <a:pt x="9061" y="3852"/>
                    </a:lnTo>
                    <a:lnTo>
                      <a:pt x="11068" y="4877"/>
                    </a:lnTo>
                    <a:lnTo>
                      <a:pt x="11262" y="6803"/>
                    </a:lnTo>
                    <a:lnTo>
                      <a:pt x="11909" y="6803"/>
                    </a:lnTo>
                    <a:lnTo>
                      <a:pt x="12589" y="6557"/>
                    </a:lnTo>
                    <a:lnTo>
                      <a:pt x="13754" y="8279"/>
                    </a:lnTo>
                    <a:lnTo>
                      <a:pt x="14272" y="9344"/>
                    </a:lnTo>
                    <a:lnTo>
                      <a:pt x="14757" y="9344"/>
                    </a:lnTo>
                    <a:lnTo>
                      <a:pt x="17799" y="11885"/>
                    </a:lnTo>
                    <a:lnTo>
                      <a:pt x="18641" y="12910"/>
                    </a:lnTo>
                    <a:lnTo>
                      <a:pt x="19644" y="12910"/>
                    </a:lnTo>
                    <a:lnTo>
                      <a:pt x="19968" y="13770"/>
                    </a:lnTo>
                    <a:lnTo>
                      <a:pt x="19644" y="14672"/>
                    </a:lnTo>
                    <a:lnTo>
                      <a:pt x="18641" y="15082"/>
                    </a:lnTo>
                    <a:lnTo>
                      <a:pt x="18641" y="16762"/>
                    </a:lnTo>
                    <a:lnTo>
                      <a:pt x="16472" y="18279"/>
                    </a:lnTo>
                    <a:lnTo>
                      <a:pt x="16796" y="18443"/>
                    </a:lnTo>
                    <a:lnTo>
                      <a:pt x="15437" y="19959"/>
                    </a:lnTo>
                    <a:lnTo>
                      <a:pt x="15437" y="19098"/>
                    </a:lnTo>
                    <a:lnTo>
                      <a:pt x="13754" y="18443"/>
                    </a:lnTo>
                    <a:lnTo>
                      <a:pt x="13430" y="16352"/>
                    </a:lnTo>
                    <a:lnTo>
                      <a:pt x="9903" y="14426"/>
                    </a:lnTo>
                    <a:lnTo>
                      <a:pt x="8058" y="13770"/>
                    </a:lnTo>
                    <a:lnTo>
                      <a:pt x="7735" y="12910"/>
                    </a:lnTo>
                    <a:lnTo>
                      <a:pt x="6375" y="13361"/>
                    </a:lnTo>
                    <a:lnTo>
                      <a:pt x="5372" y="13361"/>
                    </a:lnTo>
                    <a:lnTo>
                      <a:pt x="4563" y="15082"/>
                    </a:lnTo>
                    <a:lnTo>
                      <a:pt x="3204" y="15492"/>
                    </a:lnTo>
                    <a:lnTo>
                      <a:pt x="2848" y="11885"/>
                    </a:lnTo>
                    <a:lnTo>
                      <a:pt x="1521" y="11066"/>
                    </a:lnTo>
                    <a:lnTo>
                      <a:pt x="1521" y="10164"/>
                    </a:lnTo>
                    <a:lnTo>
                      <a:pt x="2362" y="10164"/>
                    </a:lnTo>
                    <a:lnTo>
                      <a:pt x="1845" y="9549"/>
                    </a:lnTo>
                    <a:lnTo>
                      <a:pt x="1003" y="9959"/>
                    </a:lnTo>
                    <a:lnTo>
                      <a:pt x="680" y="7459"/>
                    </a:lnTo>
                    <a:lnTo>
                      <a:pt x="1003" y="7459"/>
                    </a:lnTo>
                    <a:lnTo>
                      <a:pt x="1845" y="7459"/>
                    </a:lnTo>
                    <a:lnTo>
                      <a:pt x="2848" y="7869"/>
                    </a:lnTo>
                    <a:lnTo>
                      <a:pt x="3204" y="7459"/>
                    </a:lnTo>
                    <a:lnTo>
                      <a:pt x="3204" y="6803"/>
                    </a:lnTo>
                    <a:lnTo>
                      <a:pt x="2362" y="6148"/>
                    </a:lnTo>
                    <a:lnTo>
                      <a:pt x="1845" y="4877"/>
                    </a:lnTo>
                    <a:lnTo>
                      <a:pt x="1003" y="4467"/>
                    </a:lnTo>
                    <a:lnTo>
                      <a:pt x="518" y="5533"/>
                    </a:lnTo>
                    <a:lnTo>
                      <a:pt x="680" y="6803"/>
                    </a:lnTo>
                    <a:lnTo>
                      <a:pt x="0" y="5533"/>
                    </a:lnTo>
                    <a:lnTo>
                      <a:pt x="680" y="4057"/>
                    </a:lnTo>
                    <a:lnTo>
                      <a:pt x="2006" y="4467"/>
                    </a:lnTo>
                    <a:lnTo>
                      <a:pt x="2848" y="5123"/>
                    </a:lnTo>
                    <a:lnTo>
                      <a:pt x="4563" y="5738"/>
                    </a:lnTo>
                    <a:lnTo>
                      <a:pt x="5372" y="5533"/>
                    </a:lnTo>
                    <a:lnTo>
                      <a:pt x="7055" y="5123"/>
                    </a:lnTo>
                    <a:lnTo>
                      <a:pt x="6375" y="213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4" name="Freeform 142"/>
              <p:cNvSpPr>
                <a:spLocks/>
              </p:cNvSpPr>
              <p:nvPr/>
            </p:nvSpPr>
            <p:spPr bwMode="auto">
              <a:xfrm>
                <a:off x="5673725" y="3517900"/>
                <a:ext cx="339725" cy="303213"/>
              </a:xfrm>
              <a:custGeom>
                <a:avLst/>
                <a:gdLst>
                  <a:gd name="T0" fmla="*/ 374 w 20000"/>
                  <a:gd name="T1" fmla="*/ 671 h 20000"/>
                  <a:gd name="T2" fmla="*/ 1159 w 20000"/>
                  <a:gd name="T3" fmla="*/ 671 h 20000"/>
                  <a:gd name="T4" fmla="*/ 2542 w 20000"/>
                  <a:gd name="T5" fmla="*/ 671 h 20000"/>
                  <a:gd name="T6" fmla="*/ 6579 w 20000"/>
                  <a:gd name="T7" fmla="*/ 1719 h 20000"/>
                  <a:gd name="T8" fmla="*/ 8710 w 20000"/>
                  <a:gd name="T9" fmla="*/ 1551 h 20000"/>
                  <a:gd name="T10" fmla="*/ 8710 w 20000"/>
                  <a:gd name="T11" fmla="*/ 671 h 20000"/>
                  <a:gd name="T12" fmla="*/ 9308 w 20000"/>
                  <a:gd name="T13" fmla="*/ 1090 h 20000"/>
                  <a:gd name="T14" fmla="*/ 9682 w 20000"/>
                  <a:gd name="T15" fmla="*/ 671 h 20000"/>
                  <a:gd name="T16" fmla="*/ 11028 w 20000"/>
                  <a:gd name="T17" fmla="*/ 1090 h 20000"/>
                  <a:gd name="T18" fmla="*/ 11626 w 20000"/>
                  <a:gd name="T19" fmla="*/ 1719 h 20000"/>
                  <a:gd name="T20" fmla="*/ 11626 w 20000"/>
                  <a:gd name="T21" fmla="*/ 1090 h 20000"/>
                  <a:gd name="T22" fmla="*/ 11850 w 20000"/>
                  <a:gd name="T23" fmla="*/ 1090 h 20000"/>
                  <a:gd name="T24" fmla="*/ 12224 w 20000"/>
                  <a:gd name="T25" fmla="*/ 1551 h 20000"/>
                  <a:gd name="T26" fmla="*/ 13383 w 20000"/>
                  <a:gd name="T27" fmla="*/ 1551 h 20000"/>
                  <a:gd name="T28" fmla="*/ 15140 w 20000"/>
                  <a:gd name="T29" fmla="*/ 1090 h 20000"/>
                  <a:gd name="T30" fmla="*/ 15290 w 20000"/>
                  <a:gd name="T31" fmla="*/ 0 h 20000"/>
                  <a:gd name="T32" fmla="*/ 15664 w 20000"/>
                  <a:gd name="T33" fmla="*/ 671 h 20000"/>
                  <a:gd name="T34" fmla="*/ 15290 w 20000"/>
                  <a:gd name="T35" fmla="*/ 1551 h 20000"/>
                  <a:gd name="T36" fmla="*/ 15888 w 20000"/>
                  <a:gd name="T37" fmla="*/ 2390 h 20000"/>
                  <a:gd name="T38" fmla="*/ 16262 w 20000"/>
                  <a:gd name="T39" fmla="*/ 3438 h 20000"/>
                  <a:gd name="T40" fmla="*/ 16262 w 20000"/>
                  <a:gd name="T41" fmla="*/ 4990 h 20000"/>
                  <a:gd name="T42" fmla="*/ 15888 w 20000"/>
                  <a:gd name="T43" fmla="*/ 4990 h 20000"/>
                  <a:gd name="T44" fmla="*/ 15888 w 20000"/>
                  <a:gd name="T45" fmla="*/ 5660 h 20000"/>
                  <a:gd name="T46" fmla="*/ 15664 w 20000"/>
                  <a:gd name="T47" fmla="*/ 7379 h 20000"/>
                  <a:gd name="T48" fmla="*/ 15290 w 20000"/>
                  <a:gd name="T49" fmla="*/ 8050 h 20000"/>
                  <a:gd name="T50" fmla="*/ 13757 w 20000"/>
                  <a:gd name="T51" fmla="*/ 6709 h 20000"/>
                  <a:gd name="T52" fmla="*/ 13383 w 20000"/>
                  <a:gd name="T53" fmla="*/ 5660 h 20000"/>
                  <a:gd name="T54" fmla="*/ 13159 w 20000"/>
                  <a:gd name="T55" fmla="*/ 5241 h 20000"/>
                  <a:gd name="T56" fmla="*/ 12598 w 20000"/>
                  <a:gd name="T57" fmla="*/ 4361 h 20000"/>
                  <a:gd name="T58" fmla="*/ 12224 w 20000"/>
                  <a:gd name="T59" fmla="*/ 4361 h 20000"/>
                  <a:gd name="T60" fmla="*/ 12224 w 20000"/>
                  <a:gd name="T61" fmla="*/ 4570 h 20000"/>
                  <a:gd name="T62" fmla="*/ 12598 w 20000"/>
                  <a:gd name="T63" fmla="*/ 5241 h 20000"/>
                  <a:gd name="T64" fmla="*/ 14131 w 20000"/>
                  <a:gd name="T65" fmla="*/ 7799 h 20000"/>
                  <a:gd name="T66" fmla="*/ 14131 w 20000"/>
                  <a:gd name="T67" fmla="*/ 8470 h 20000"/>
                  <a:gd name="T68" fmla="*/ 15140 w 20000"/>
                  <a:gd name="T69" fmla="*/ 10189 h 20000"/>
                  <a:gd name="T70" fmla="*/ 15888 w 20000"/>
                  <a:gd name="T71" fmla="*/ 11908 h 20000"/>
                  <a:gd name="T72" fmla="*/ 17832 w 20000"/>
                  <a:gd name="T73" fmla="*/ 15849 h 20000"/>
                  <a:gd name="T74" fmla="*/ 18206 w 20000"/>
                  <a:gd name="T75" fmla="*/ 16268 h 20000"/>
                  <a:gd name="T76" fmla="*/ 17832 w 20000"/>
                  <a:gd name="T77" fmla="*/ 16268 h 20000"/>
                  <a:gd name="T78" fmla="*/ 18393 w 20000"/>
                  <a:gd name="T79" fmla="*/ 18239 h 20000"/>
                  <a:gd name="T80" fmla="*/ 19178 w 20000"/>
                  <a:gd name="T81" fmla="*/ 18658 h 20000"/>
                  <a:gd name="T82" fmla="*/ 19364 w 20000"/>
                  <a:gd name="T83" fmla="*/ 19287 h 20000"/>
                  <a:gd name="T84" fmla="*/ 19963 w 20000"/>
                  <a:gd name="T85" fmla="*/ 19958 h 20000"/>
                  <a:gd name="T86" fmla="*/ 972 w 20000"/>
                  <a:gd name="T87" fmla="*/ 19748 h 20000"/>
                  <a:gd name="T88" fmla="*/ 374 w 20000"/>
                  <a:gd name="T89" fmla="*/ 5241 h 20000"/>
                  <a:gd name="T90" fmla="*/ 0 w 20000"/>
                  <a:gd name="T91" fmla="*/ 3438 h 20000"/>
                  <a:gd name="T92" fmla="*/ 374 w 20000"/>
                  <a:gd name="T93" fmla="*/ 2390 h 20000"/>
                  <a:gd name="T94" fmla="*/ 0 w 20000"/>
                  <a:gd name="T95" fmla="*/ 1090 h 20000"/>
                  <a:gd name="T96" fmla="*/ 374 w 20000"/>
                  <a:gd name="T97" fmla="*/ 67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374" y="671"/>
                    </a:moveTo>
                    <a:lnTo>
                      <a:pt x="1159" y="671"/>
                    </a:lnTo>
                    <a:lnTo>
                      <a:pt x="2542" y="671"/>
                    </a:lnTo>
                    <a:lnTo>
                      <a:pt x="6579" y="1719"/>
                    </a:lnTo>
                    <a:lnTo>
                      <a:pt x="8710" y="1551"/>
                    </a:lnTo>
                    <a:lnTo>
                      <a:pt x="8710" y="671"/>
                    </a:lnTo>
                    <a:lnTo>
                      <a:pt x="9308" y="1090"/>
                    </a:lnTo>
                    <a:lnTo>
                      <a:pt x="9682" y="671"/>
                    </a:lnTo>
                    <a:lnTo>
                      <a:pt x="11028" y="1090"/>
                    </a:lnTo>
                    <a:lnTo>
                      <a:pt x="11626" y="1719"/>
                    </a:lnTo>
                    <a:lnTo>
                      <a:pt x="11626" y="1090"/>
                    </a:lnTo>
                    <a:lnTo>
                      <a:pt x="11850" y="1090"/>
                    </a:lnTo>
                    <a:lnTo>
                      <a:pt x="12224" y="1551"/>
                    </a:lnTo>
                    <a:lnTo>
                      <a:pt x="13383" y="1551"/>
                    </a:lnTo>
                    <a:lnTo>
                      <a:pt x="15140" y="1090"/>
                    </a:lnTo>
                    <a:lnTo>
                      <a:pt x="15290" y="0"/>
                    </a:lnTo>
                    <a:lnTo>
                      <a:pt x="15664" y="671"/>
                    </a:lnTo>
                    <a:lnTo>
                      <a:pt x="15290" y="1551"/>
                    </a:lnTo>
                    <a:lnTo>
                      <a:pt x="15888" y="2390"/>
                    </a:lnTo>
                    <a:lnTo>
                      <a:pt x="16262" y="3438"/>
                    </a:lnTo>
                    <a:lnTo>
                      <a:pt x="16262" y="4990"/>
                    </a:lnTo>
                    <a:lnTo>
                      <a:pt x="15888" y="4990"/>
                    </a:lnTo>
                    <a:lnTo>
                      <a:pt x="15888" y="5660"/>
                    </a:lnTo>
                    <a:lnTo>
                      <a:pt x="15664" y="7379"/>
                    </a:lnTo>
                    <a:lnTo>
                      <a:pt x="15290" y="8050"/>
                    </a:lnTo>
                    <a:lnTo>
                      <a:pt x="13757" y="6709"/>
                    </a:lnTo>
                    <a:lnTo>
                      <a:pt x="13383" y="5660"/>
                    </a:lnTo>
                    <a:lnTo>
                      <a:pt x="13159" y="5241"/>
                    </a:lnTo>
                    <a:lnTo>
                      <a:pt x="12598" y="4361"/>
                    </a:lnTo>
                    <a:lnTo>
                      <a:pt x="12224" y="4361"/>
                    </a:lnTo>
                    <a:lnTo>
                      <a:pt x="12224" y="4570"/>
                    </a:lnTo>
                    <a:lnTo>
                      <a:pt x="12598" y="5241"/>
                    </a:lnTo>
                    <a:lnTo>
                      <a:pt x="14131" y="7799"/>
                    </a:lnTo>
                    <a:lnTo>
                      <a:pt x="14131" y="8470"/>
                    </a:lnTo>
                    <a:lnTo>
                      <a:pt x="15140" y="10189"/>
                    </a:lnTo>
                    <a:lnTo>
                      <a:pt x="15888" y="11908"/>
                    </a:lnTo>
                    <a:lnTo>
                      <a:pt x="17832" y="15849"/>
                    </a:lnTo>
                    <a:lnTo>
                      <a:pt x="18206" y="16268"/>
                    </a:lnTo>
                    <a:lnTo>
                      <a:pt x="17832" y="16268"/>
                    </a:lnTo>
                    <a:lnTo>
                      <a:pt x="18393" y="18239"/>
                    </a:lnTo>
                    <a:lnTo>
                      <a:pt x="19178" y="18658"/>
                    </a:lnTo>
                    <a:lnTo>
                      <a:pt x="19364" y="19287"/>
                    </a:lnTo>
                    <a:lnTo>
                      <a:pt x="19963" y="19958"/>
                    </a:lnTo>
                    <a:lnTo>
                      <a:pt x="972" y="19748"/>
                    </a:lnTo>
                    <a:lnTo>
                      <a:pt x="374" y="5241"/>
                    </a:lnTo>
                    <a:lnTo>
                      <a:pt x="0" y="3438"/>
                    </a:lnTo>
                    <a:lnTo>
                      <a:pt x="374" y="2390"/>
                    </a:lnTo>
                    <a:lnTo>
                      <a:pt x="0" y="1090"/>
                    </a:lnTo>
                    <a:lnTo>
                      <a:pt x="374" y="67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5" name="Freeform 141"/>
              <p:cNvSpPr>
                <a:spLocks/>
              </p:cNvSpPr>
              <p:nvPr/>
            </p:nvSpPr>
            <p:spPr bwMode="auto">
              <a:xfrm>
                <a:off x="4749799" y="3352801"/>
                <a:ext cx="579438" cy="552446"/>
              </a:xfrm>
              <a:custGeom>
                <a:avLst/>
                <a:gdLst>
                  <a:gd name="T0" fmla="*/ 6579 w 20000"/>
                  <a:gd name="T1" fmla="*/ 2250 h 20000"/>
                  <a:gd name="T2" fmla="*/ 7478 w 20000"/>
                  <a:gd name="T3" fmla="*/ 1791 h 20000"/>
                  <a:gd name="T4" fmla="*/ 8158 w 20000"/>
                  <a:gd name="T5" fmla="*/ 1309 h 20000"/>
                  <a:gd name="T6" fmla="*/ 9868 w 20000"/>
                  <a:gd name="T7" fmla="*/ 597 h 20000"/>
                  <a:gd name="T8" fmla="*/ 11338 w 20000"/>
                  <a:gd name="T9" fmla="*/ 367 h 20000"/>
                  <a:gd name="T10" fmla="*/ 12500 w 20000"/>
                  <a:gd name="T11" fmla="*/ 230 h 20000"/>
                  <a:gd name="T12" fmla="*/ 13399 w 20000"/>
                  <a:gd name="T13" fmla="*/ 597 h 20000"/>
                  <a:gd name="T14" fmla="*/ 14298 w 20000"/>
                  <a:gd name="T15" fmla="*/ 0 h 20000"/>
                  <a:gd name="T16" fmla="*/ 14868 w 20000"/>
                  <a:gd name="T17" fmla="*/ 230 h 20000"/>
                  <a:gd name="T18" fmla="*/ 15768 w 20000"/>
                  <a:gd name="T19" fmla="*/ 367 h 20000"/>
                  <a:gd name="T20" fmla="*/ 16447 w 20000"/>
                  <a:gd name="T21" fmla="*/ 367 h 20000"/>
                  <a:gd name="T22" fmla="*/ 16118 w 20000"/>
                  <a:gd name="T23" fmla="*/ 850 h 20000"/>
                  <a:gd name="T24" fmla="*/ 16118 w 20000"/>
                  <a:gd name="T25" fmla="*/ 2503 h 20000"/>
                  <a:gd name="T26" fmla="*/ 15768 w 20000"/>
                  <a:gd name="T27" fmla="*/ 4271 h 20000"/>
                  <a:gd name="T28" fmla="*/ 16360 w 20000"/>
                  <a:gd name="T29" fmla="*/ 5235 h 20000"/>
                  <a:gd name="T30" fmla="*/ 17368 w 20000"/>
                  <a:gd name="T31" fmla="*/ 7738 h 20000"/>
                  <a:gd name="T32" fmla="*/ 17829 w 20000"/>
                  <a:gd name="T33" fmla="*/ 10356 h 20000"/>
                  <a:gd name="T34" fmla="*/ 17829 w 20000"/>
                  <a:gd name="T35" fmla="*/ 11871 h 20000"/>
                  <a:gd name="T36" fmla="*/ 17939 w 20000"/>
                  <a:gd name="T37" fmla="*/ 13318 h 20000"/>
                  <a:gd name="T38" fmla="*/ 18289 w 20000"/>
                  <a:gd name="T39" fmla="*/ 14259 h 20000"/>
                  <a:gd name="T40" fmla="*/ 19408 w 20000"/>
                  <a:gd name="T41" fmla="*/ 14397 h 20000"/>
                  <a:gd name="T42" fmla="*/ 19079 w 20000"/>
                  <a:gd name="T43" fmla="*/ 15798 h 20000"/>
                  <a:gd name="T44" fmla="*/ 14079 w 20000"/>
                  <a:gd name="T45" fmla="*/ 19265 h 20000"/>
                  <a:gd name="T46" fmla="*/ 11579 w 20000"/>
                  <a:gd name="T47" fmla="*/ 19977 h 20000"/>
                  <a:gd name="T48" fmla="*/ 11579 w 20000"/>
                  <a:gd name="T49" fmla="*/ 19380 h 20000"/>
                  <a:gd name="T50" fmla="*/ 11009 w 20000"/>
                  <a:gd name="T51" fmla="*/ 18760 h 20000"/>
                  <a:gd name="T52" fmla="*/ 10088 w 20000"/>
                  <a:gd name="T53" fmla="*/ 18439 h 20000"/>
                  <a:gd name="T54" fmla="*/ 9539 w 20000"/>
                  <a:gd name="T55" fmla="*/ 17819 h 20000"/>
                  <a:gd name="T56" fmla="*/ 0 w 20000"/>
                  <a:gd name="T57" fmla="*/ 10815 h 20000"/>
                  <a:gd name="T58" fmla="*/ 351 w 20000"/>
                  <a:gd name="T59" fmla="*/ 9047 h 20000"/>
                  <a:gd name="T60" fmla="*/ 1820 w 20000"/>
                  <a:gd name="T61" fmla="*/ 8450 h 20000"/>
                  <a:gd name="T62" fmla="*/ 2500 w 20000"/>
                  <a:gd name="T63" fmla="*/ 8450 h 20000"/>
                  <a:gd name="T64" fmla="*/ 4430 w 20000"/>
                  <a:gd name="T65" fmla="*/ 7256 h 20000"/>
                  <a:gd name="T66" fmla="*/ 4759 w 20000"/>
                  <a:gd name="T67" fmla="*/ 6521 h 20000"/>
                  <a:gd name="T68" fmla="*/ 5461 w 20000"/>
                  <a:gd name="T69" fmla="*/ 6177 h 20000"/>
                  <a:gd name="T70" fmla="*/ 7149 w 20000"/>
                  <a:gd name="T71" fmla="*/ 5580 h 20000"/>
                  <a:gd name="T72" fmla="*/ 7149 w 20000"/>
                  <a:gd name="T73" fmla="*/ 4983 h 20000"/>
                  <a:gd name="T74" fmla="*/ 6798 w 20000"/>
                  <a:gd name="T75" fmla="*/ 3812 h 20000"/>
                  <a:gd name="T76" fmla="*/ 6579 w 20000"/>
                  <a:gd name="T77" fmla="*/ 27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6228" y="2250"/>
                    </a:moveTo>
                    <a:lnTo>
                      <a:pt x="6579" y="2250"/>
                    </a:lnTo>
                    <a:lnTo>
                      <a:pt x="6930" y="1906"/>
                    </a:lnTo>
                    <a:lnTo>
                      <a:pt x="7478" y="1791"/>
                    </a:lnTo>
                    <a:lnTo>
                      <a:pt x="7829" y="1538"/>
                    </a:lnTo>
                    <a:lnTo>
                      <a:pt x="8158" y="1309"/>
                    </a:lnTo>
                    <a:lnTo>
                      <a:pt x="8728" y="941"/>
                    </a:lnTo>
                    <a:lnTo>
                      <a:pt x="9868" y="597"/>
                    </a:lnTo>
                    <a:lnTo>
                      <a:pt x="10789" y="597"/>
                    </a:lnTo>
                    <a:lnTo>
                      <a:pt x="11338" y="367"/>
                    </a:lnTo>
                    <a:lnTo>
                      <a:pt x="11689" y="230"/>
                    </a:lnTo>
                    <a:lnTo>
                      <a:pt x="12500" y="230"/>
                    </a:lnTo>
                    <a:lnTo>
                      <a:pt x="13048" y="597"/>
                    </a:lnTo>
                    <a:lnTo>
                      <a:pt x="13399" y="597"/>
                    </a:lnTo>
                    <a:lnTo>
                      <a:pt x="13750" y="367"/>
                    </a:lnTo>
                    <a:lnTo>
                      <a:pt x="14298" y="0"/>
                    </a:lnTo>
                    <a:lnTo>
                      <a:pt x="14430" y="0"/>
                    </a:lnTo>
                    <a:lnTo>
                      <a:pt x="14868" y="230"/>
                    </a:lnTo>
                    <a:lnTo>
                      <a:pt x="14978" y="0"/>
                    </a:lnTo>
                    <a:lnTo>
                      <a:pt x="15768" y="367"/>
                    </a:lnTo>
                    <a:lnTo>
                      <a:pt x="16447" y="230"/>
                    </a:lnTo>
                    <a:lnTo>
                      <a:pt x="16447" y="367"/>
                    </a:lnTo>
                    <a:lnTo>
                      <a:pt x="16118" y="597"/>
                    </a:lnTo>
                    <a:lnTo>
                      <a:pt x="16118" y="850"/>
                    </a:lnTo>
                    <a:lnTo>
                      <a:pt x="16118" y="1538"/>
                    </a:lnTo>
                    <a:lnTo>
                      <a:pt x="16118" y="2503"/>
                    </a:lnTo>
                    <a:lnTo>
                      <a:pt x="15461" y="3467"/>
                    </a:lnTo>
                    <a:lnTo>
                      <a:pt x="15768" y="4271"/>
                    </a:lnTo>
                    <a:lnTo>
                      <a:pt x="16118" y="4409"/>
                    </a:lnTo>
                    <a:lnTo>
                      <a:pt x="16360" y="5235"/>
                    </a:lnTo>
                    <a:lnTo>
                      <a:pt x="17039" y="5580"/>
                    </a:lnTo>
                    <a:lnTo>
                      <a:pt x="17368" y="7738"/>
                    </a:lnTo>
                    <a:lnTo>
                      <a:pt x="17610" y="9047"/>
                    </a:lnTo>
                    <a:lnTo>
                      <a:pt x="17829" y="10356"/>
                    </a:lnTo>
                    <a:lnTo>
                      <a:pt x="17610" y="10930"/>
                    </a:lnTo>
                    <a:lnTo>
                      <a:pt x="17829" y="11871"/>
                    </a:lnTo>
                    <a:lnTo>
                      <a:pt x="17368" y="12377"/>
                    </a:lnTo>
                    <a:lnTo>
                      <a:pt x="17939" y="13318"/>
                    </a:lnTo>
                    <a:lnTo>
                      <a:pt x="17939" y="13685"/>
                    </a:lnTo>
                    <a:lnTo>
                      <a:pt x="18289" y="14259"/>
                    </a:lnTo>
                    <a:lnTo>
                      <a:pt x="18728" y="14030"/>
                    </a:lnTo>
                    <a:lnTo>
                      <a:pt x="19408" y="14397"/>
                    </a:lnTo>
                    <a:lnTo>
                      <a:pt x="19978" y="15201"/>
                    </a:lnTo>
                    <a:lnTo>
                      <a:pt x="19079" y="15798"/>
                    </a:lnTo>
                    <a:lnTo>
                      <a:pt x="15548" y="17819"/>
                    </a:lnTo>
                    <a:lnTo>
                      <a:pt x="14079" y="19265"/>
                    </a:lnTo>
                    <a:lnTo>
                      <a:pt x="12500" y="19839"/>
                    </a:lnTo>
                    <a:lnTo>
                      <a:pt x="11579" y="19977"/>
                    </a:lnTo>
                    <a:lnTo>
                      <a:pt x="11338" y="19839"/>
                    </a:lnTo>
                    <a:lnTo>
                      <a:pt x="11579" y="19380"/>
                    </a:lnTo>
                    <a:lnTo>
                      <a:pt x="11338" y="19036"/>
                    </a:lnTo>
                    <a:lnTo>
                      <a:pt x="11009" y="18760"/>
                    </a:lnTo>
                    <a:lnTo>
                      <a:pt x="10570" y="18668"/>
                    </a:lnTo>
                    <a:lnTo>
                      <a:pt x="10088" y="18439"/>
                    </a:lnTo>
                    <a:lnTo>
                      <a:pt x="9539" y="18071"/>
                    </a:lnTo>
                    <a:lnTo>
                      <a:pt x="9539" y="17819"/>
                    </a:lnTo>
                    <a:lnTo>
                      <a:pt x="3618" y="13433"/>
                    </a:lnTo>
                    <a:lnTo>
                      <a:pt x="0" y="10815"/>
                    </a:lnTo>
                    <a:lnTo>
                      <a:pt x="0" y="9277"/>
                    </a:lnTo>
                    <a:lnTo>
                      <a:pt x="351" y="9047"/>
                    </a:lnTo>
                    <a:lnTo>
                      <a:pt x="1250" y="8450"/>
                    </a:lnTo>
                    <a:lnTo>
                      <a:pt x="1820" y="8450"/>
                    </a:lnTo>
                    <a:lnTo>
                      <a:pt x="2149" y="8312"/>
                    </a:lnTo>
                    <a:lnTo>
                      <a:pt x="2500" y="8450"/>
                    </a:lnTo>
                    <a:lnTo>
                      <a:pt x="3268" y="8312"/>
                    </a:lnTo>
                    <a:lnTo>
                      <a:pt x="4430" y="7256"/>
                    </a:lnTo>
                    <a:lnTo>
                      <a:pt x="4759" y="6889"/>
                    </a:lnTo>
                    <a:lnTo>
                      <a:pt x="4759" y="6521"/>
                    </a:lnTo>
                    <a:lnTo>
                      <a:pt x="4759" y="6292"/>
                    </a:lnTo>
                    <a:lnTo>
                      <a:pt x="5461" y="6177"/>
                    </a:lnTo>
                    <a:lnTo>
                      <a:pt x="5461" y="5832"/>
                    </a:lnTo>
                    <a:lnTo>
                      <a:pt x="7149" y="5580"/>
                    </a:lnTo>
                    <a:lnTo>
                      <a:pt x="7149" y="5350"/>
                    </a:lnTo>
                    <a:lnTo>
                      <a:pt x="7149" y="4983"/>
                    </a:lnTo>
                    <a:lnTo>
                      <a:pt x="6930" y="4638"/>
                    </a:lnTo>
                    <a:lnTo>
                      <a:pt x="6798" y="3812"/>
                    </a:lnTo>
                    <a:lnTo>
                      <a:pt x="6798" y="3330"/>
                    </a:lnTo>
                    <a:lnTo>
                      <a:pt x="6579" y="2732"/>
                    </a:lnTo>
                    <a:lnTo>
                      <a:pt x="6228" y="225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6" name="Freeform 140"/>
              <p:cNvSpPr>
                <a:spLocks/>
              </p:cNvSpPr>
              <p:nvPr/>
            </p:nvSpPr>
            <p:spPr bwMode="auto">
              <a:xfrm>
                <a:off x="5311775" y="4618038"/>
                <a:ext cx="352425" cy="349250"/>
              </a:xfrm>
              <a:custGeom>
                <a:avLst/>
                <a:gdLst>
                  <a:gd name="T0" fmla="*/ 2955 w 20000"/>
                  <a:gd name="T1" fmla="*/ 0 h 20000"/>
                  <a:gd name="T2" fmla="*/ 4288 w 20000"/>
                  <a:gd name="T3" fmla="*/ 0 h 20000"/>
                  <a:gd name="T4" fmla="*/ 8216 w 20000"/>
                  <a:gd name="T5" fmla="*/ 0 h 20000"/>
                  <a:gd name="T6" fmla="*/ 8396 w 20000"/>
                  <a:gd name="T7" fmla="*/ 1127 h 20000"/>
                  <a:gd name="T8" fmla="*/ 8757 w 20000"/>
                  <a:gd name="T9" fmla="*/ 2073 h 20000"/>
                  <a:gd name="T10" fmla="*/ 11207 w 20000"/>
                  <a:gd name="T11" fmla="*/ 3564 h 20000"/>
                  <a:gd name="T12" fmla="*/ 12685 w 20000"/>
                  <a:gd name="T13" fmla="*/ 3200 h 20000"/>
                  <a:gd name="T14" fmla="*/ 13045 w 20000"/>
                  <a:gd name="T15" fmla="*/ 2655 h 20000"/>
                  <a:gd name="T16" fmla="*/ 13802 w 20000"/>
                  <a:gd name="T17" fmla="*/ 1709 h 20000"/>
                  <a:gd name="T18" fmla="*/ 14739 w 20000"/>
                  <a:gd name="T19" fmla="*/ 2473 h 20000"/>
                  <a:gd name="T20" fmla="*/ 16613 w 20000"/>
                  <a:gd name="T21" fmla="*/ 3564 h 20000"/>
                  <a:gd name="T22" fmla="*/ 16216 w 20000"/>
                  <a:gd name="T23" fmla="*/ 5673 h 20000"/>
                  <a:gd name="T24" fmla="*/ 17189 w 20000"/>
                  <a:gd name="T25" fmla="*/ 6618 h 20000"/>
                  <a:gd name="T26" fmla="*/ 17189 w 20000"/>
                  <a:gd name="T27" fmla="*/ 8473 h 20000"/>
                  <a:gd name="T28" fmla="*/ 17694 w 20000"/>
                  <a:gd name="T29" fmla="*/ 8473 h 20000"/>
                  <a:gd name="T30" fmla="*/ 19387 w 20000"/>
                  <a:gd name="T31" fmla="*/ 8109 h 20000"/>
                  <a:gd name="T32" fmla="*/ 19964 w 20000"/>
                  <a:gd name="T33" fmla="*/ 8109 h 20000"/>
                  <a:gd name="T34" fmla="*/ 19964 w 20000"/>
                  <a:gd name="T35" fmla="*/ 11127 h 20000"/>
                  <a:gd name="T36" fmla="*/ 19964 w 20000"/>
                  <a:gd name="T37" fmla="*/ 11891 h 20000"/>
                  <a:gd name="T38" fmla="*/ 16613 w 20000"/>
                  <a:gd name="T39" fmla="*/ 16945 h 20000"/>
                  <a:gd name="T40" fmla="*/ 18667 w 20000"/>
                  <a:gd name="T41" fmla="*/ 19382 h 20000"/>
                  <a:gd name="T42" fmla="*/ 15099 w 20000"/>
                  <a:gd name="T43" fmla="*/ 19964 h 20000"/>
                  <a:gd name="T44" fmla="*/ 13622 w 20000"/>
                  <a:gd name="T45" fmla="*/ 19964 h 20000"/>
                  <a:gd name="T46" fmla="*/ 10847 w 20000"/>
                  <a:gd name="T47" fmla="*/ 19382 h 20000"/>
                  <a:gd name="T48" fmla="*/ 4288 w 20000"/>
                  <a:gd name="T49" fmla="*/ 19018 h 20000"/>
                  <a:gd name="T50" fmla="*/ 2955 w 20000"/>
                  <a:gd name="T51" fmla="*/ 18473 h 20000"/>
                  <a:gd name="T52" fmla="*/ 1477 w 20000"/>
                  <a:gd name="T53" fmla="*/ 18836 h 20000"/>
                  <a:gd name="T54" fmla="*/ 577 w 20000"/>
                  <a:gd name="T55" fmla="*/ 18836 h 20000"/>
                  <a:gd name="T56" fmla="*/ 360 w 20000"/>
                  <a:gd name="T57" fmla="*/ 17527 h 20000"/>
                  <a:gd name="T58" fmla="*/ 577 w 20000"/>
                  <a:gd name="T59" fmla="*/ 16400 h 20000"/>
                  <a:gd name="T60" fmla="*/ 1333 w 20000"/>
                  <a:gd name="T61" fmla="*/ 13382 h 20000"/>
                  <a:gd name="T62" fmla="*/ 2054 w 20000"/>
                  <a:gd name="T63" fmla="*/ 11491 h 20000"/>
                  <a:gd name="T64" fmla="*/ 3387 w 20000"/>
                  <a:gd name="T65" fmla="*/ 10545 h 20000"/>
                  <a:gd name="T66" fmla="*/ 3387 w 20000"/>
                  <a:gd name="T67" fmla="*/ 7927 h 20000"/>
                  <a:gd name="T68" fmla="*/ 2450 w 20000"/>
                  <a:gd name="T69" fmla="*/ 5127 h 20000"/>
                  <a:gd name="T70" fmla="*/ 2054 w 20000"/>
                  <a:gd name="T71" fmla="*/ 1709 h 20000"/>
                  <a:gd name="T72" fmla="*/ 2054 w 20000"/>
                  <a:gd name="T73" fmla="*/ 2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2450" y="0"/>
                    </a:moveTo>
                    <a:lnTo>
                      <a:pt x="2955" y="0"/>
                    </a:lnTo>
                    <a:lnTo>
                      <a:pt x="3532" y="218"/>
                    </a:lnTo>
                    <a:lnTo>
                      <a:pt x="4288" y="0"/>
                    </a:lnTo>
                    <a:lnTo>
                      <a:pt x="7279" y="0"/>
                    </a:lnTo>
                    <a:lnTo>
                      <a:pt x="8216" y="0"/>
                    </a:lnTo>
                    <a:lnTo>
                      <a:pt x="8396" y="764"/>
                    </a:lnTo>
                    <a:lnTo>
                      <a:pt x="8396" y="1127"/>
                    </a:lnTo>
                    <a:lnTo>
                      <a:pt x="8757" y="1709"/>
                    </a:lnTo>
                    <a:lnTo>
                      <a:pt x="8757" y="2073"/>
                    </a:lnTo>
                    <a:lnTo>
                      <a:pt x="9730" y="3564"/>
                    </a:lnTo>
                    <a:lnTo>
                      <a:pt x="11207" y="3564"/>
                    </a:lnTo>
                    <a:lnTo>
                      <a:pt x="11351" y="3200"/>
                    </a:lnTo>
                    <a:lnTo>
                      <a:pt x="12685" y="3200"/>
                    </a:lnTo>
                    <a:lnTo>
                      <a:pt x="12685" y="2655"/>
                    </a:lnTo>
                    <a:lnTo>
                      <a:pt x="13045" y="2655"/>
                    </a:lnTo>
                    <a:lnTo>
                      <a:pt x="13045" y="2073"/>
                    </a:lnTo>
                    <a:lnTo>
                      <a:pt x="13802" y="1709"/>
                    </a:lnTo>
                    <a:lnTo>
                      <a:pt x="14739" y="1491"/>
                    </a:lnTo>
                    <a:lnTo>
                      <a:pt x="14739" y="2473"/>
                    </a:lnTo>
                    <a:lnTo>
                      <a:pt x="16216" y="2473"/>
                    </a:lnTo>
                    <a:lnTo>
                      <a:pt x="16613" y="3564"/>
                    </a:lnTo>
                    <a:lnTo>
                      <a:pt x="16973" y="4545"/>
                    </a:lnTo>
                    <a:lnTo>
                      <a:pt x="16216" y="5673"/>
                    </a:lnTo>
                    <a:lnTo>
                      <a:pt x="16973" y="6400"/>
                    </a:lnTo>
                    <a:lnTo>
                      <a:pt x="17189" y="6618"/>
                    </a:lnTo>
                    <a:lnTo>
                      <a:pt x="17189" y="7927"/>
                    </a:lnTo>
                    <a:lnTo>
                      <a:pt x="17189" y="8473"/>
                    </a:lnTo>
                    <a:lnTo>
                      <a:pt x="17550" y="8836"/>
                    </a:lnTo>
                    <a:lnTo>
                      <a:pt x="17694" y="8473"/>
                    </a:lnTo>
                    <a:lnTo>
                      <a:pt x="18486" y="8473"/>
                    </a:lnTo>
                    <a:lnTo>
                      <a:pt x="19387" y="8109"/>
                    </a:lnTo>
                    <a:lnTo>
                      <a:pt x="19964" y="8473"/>
                    </a:lnTo>
                    <a:lnTo>
                      <a:pt x="19964" y="8109"/>
                    </a:lnTo>
                    <a:lnTo>
                      <a:pt x="19964" y="9964"/>
                    </a:lnTo>
                    <a:lnTo>
                      <a:pt x="19964" y="11127"/>
                    </a:lnTo>
                    <a:lnTo>
                      <a:pt x="19964" y="11491"/>
                    </a:lnTo>
                    <a:lnTo>
                      <a:pt x="19964" y="11891"/>
                    </a:lnTo>
                    <a:lnTo>
                      <a:pt x="16973" y="11891"/>
                    </a:lnTo>
                    <a:lnTo>
                      <a:pt x="16613" y="16945"/>
                    </a:lnTo>
                    <a:lnTo>
                      <a:pt x="18126" y="18291"/>
                    </a:lnTo>
                    <a:lnTo>
                      <a:pt x="18667" y="19382"/>
                    </a:lnTo>
                    <a:lnTo>
                      <a:pt x="15676" y="19964"/>
                    </a:lnTo>
                    <a:lnTo>
                      <a:pt x="15099" y="19964"/>
                    </a:lnTo>
                    <a:lnTo>
                      <a:pt x="14523" y="19964"/>
                    </a:lnTo>
                    <a:lnTo>
                      <a:pt x="13622" y="19964"/>
                    </a:lnTo>
                    <a:lnTo>
                      <a:pt x="11351" y="19782"/>
                    </a:lnTo>
                    <a:lnTo>
                      <a:pt x="10847" y="19382"/>
                    </a:lnTo>
                    <a:lnTo>
                      <a:pt x="10631" y="18836"/>
                    </a:lnTo>
                    <a:lnTo>
                      <a:pt x="4288" y="19018"/>
                    </a:lnTo>
                    <a:lnTo>
                      <a:pt x="3928" y="19018"/>
                    </a:lnTo>
                    <a:lnTo>
                      <a:pt x="2955" y="18473"/>
                    </a:lnTo>
                    <a:lnTo>
                      <a:pt x="2450" y="18291"/>
                    </a:lnTo>
                    <a:lnTo>
                      <a:pt x="1477" y="18836"/>
                    </a:lnTo>
                    <a:lnTo>
                      <a:pt x="1333" y="18836"/>
                    </a:lnTo>
                    <a:lnTo>
                      <a:pt x="577" y="18836"/>
                    </a:lnTo>
                    <a:lnTo>
                      <a:pt x="360" y="18836"/>
                    </a:lnTo>
                    <a:lnTo>
                      <a:pt x="360" y="17527"/>
                    </a:lnTo>
                    <a:lnTo>
                      <a:pt x="0" y="16764"/>
                    </a:lnTo>
                    <a:lnTo>
                      <a:pt x="577" y="16400"/>
                    </a:lnTo>
                    <a:lnTo>
                      <a:pt x="1333" y="14873"/>
                    </a:lnTo>
                    <a:lnTo>
                      <a:pt x="1333" y="13382"/>
                    </a:lnTo>
                    <a:lnTo>
                      <a:pt x="1874" y="12036"/>
                    </a:lnTo>
                    <a:lnTo>
                      <a:pt x="2054" y="11491"/>
                    </a:lnTo>
                    <a:lnTo>
                      <a:pt x="2811" y="10945"/>
                    </a:lnTo>
                    <a:lnTo>
                      <a:pt x="3387" y="10545"/>
                    </a:lnTo>
                    <a:lnTo>
                      <a:pt x="3532" y="9055"/>
                    </a:lnTo>
                    <a:lnTo>
                      <a:pt x="3387" y="7927"/>
                    </a:lnTo>
                    <a:lnTo>
                      <a:pt x="2811" y="6618"/>
                    </a:lnTo>
                    <a:lnTo>
                      <a:pt x="2450" y="5127"/>
                    </a:lnTo>
                    <a:lnTo>
                      <a:pt x="2955" y="4545"/>
                    </a:lnTo>
                    <a:lnTo>
                      <a:pt x="2054" y="1709"/>
                    </a:lnTo>
                    <a:lnTo>
                      <a:pt x="1333" y="218"/>
                    </a:lnTo>
                    <a:lnTo>
                      <a:pt x="2054" y="218"/>
                    </a:lnTo>
                    <a:lnTo>
                      <a:pt x="245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7" name="Freeform 139"/>
              <p:cNvSpPr>
                <a:spLocks/>
              </p:cNvSpPr>
              <p:nvPr/>
            </p:nvSpPr>
            <p:spPr bwMode="auto">
              <a:xfrm>
                <a:off x="5327650" y="4575175"/>
                <a:ext cx="26988" cy="36513"/>
              </a:xfrm>
              <a:custGeom>
                <a:avLst/>
                <a:gdLst>
                  <a:gd name="T0" fmla="*/ 0 w 20000"/>
                  <a:gd name="T1" fmla="*/ 10690 h 20000"/>
                  <a:gd name="T2" fmla="*/ 6977 w 20000"/>
                  <a:gd name="T3" fmla="*/ 5517 h 20000"/>
                  <a:gd name="T4" fmla="*/ 6977 w 20000"/>
                  <a:gd name="T5" fmla="*/ 2069 h 20000"/>
                  <a:gd name="T6" fmla="*/ 14419 w 20000"/>
                  <a:gd name="T7" fmla="*/ 0 h 20000"/>
                  <a:gd name="T8" fmla="*/ 19535 w 20000"/>
                  <a:gd name="T9" fmla="*/ 2069 h 20000"/>
                  <a:gd name="T10" fmla="*/ 19535 w 20000"/>
                  <a:gd name="T11" fmla="*/ 5517 h 20000"/>
                  <a:gd name="T12" fmla="*/ 12093 w 20000"/>
                  <a:gd name="T13" fmla="*/ 10690 h 20000"/>
                  <a:gd name="T14" fmla="*/ 12093 w 20000"/>
                  <a:gd name="T15" fmla="*/ 19655 h 20000"/>
                  <a:gd name="T16" fmla="*/ 5116 w 20000"/>
                  <a:gd name="T17" fmla="*/ 19655 h 20000"/>
                  <a:gd name="T18" fmla="*/ 5116 w 20000"/>
                  <a:gd name="T19" fmla="*/ 16207 h 20000"/>
                  <a:gd name="T20" fmla="*/ 0 w 20000"/>
                  <a:gd name="T21" fmla="*/ 106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0" y="10690"/>
                    </a:moveTo>
                    <a:lnTo>
                      <a:pt x="6977" y="5517"/>
                    </a:lnTo>
                    <a:lnTo>
                      <a:pt x="6977" y="2069"/>
                    </a:lnTo>
                    <a:lnTo>
                      <a:pt x="14419" y="0"/>
                    </a:lnTo>
                    <a:lnTo>
                      <a:pt x="19535" y="2069"/>
                    </a:lnTo>
                    <a:lnTo>
                      <a:pt x="19535" y="5517"/>
                    </a:lnTo>
                    <a:lnTo>
                      <a:pt x="12093" y="10690"/>
                    </a:lnTo>
                    <a:lnTo>
                      <a:pt x="12093" y="19655"/>
                    </a:lnTo>
                    <a:lnTo>
                      <a:pt x="5116" y="19655"/>
                    </a:lnTo>
                    <a:lnTo>
                      <a:pt x="5116" y="16207"/>
                    </a:lnTo>
                    <a:lnTo>
                      <a:pt x="0" y="106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8" name="Freeform 138"/>
              <p:cNvSpPr>
                <a:spLocks/>
              </p:cNvSpPr>
              <p:nvPr/>
            </p:nvSpPr>
            <p:spPr bwMode="auto">
              <a:xfrm>
                <a:off x="5922963" y="3938588"/>
                <a:ext cx="422275" cy="419100"/>
              </a:xfrm>
              <a:custGeom>
                <a:avLst/>
                <a:gdLst>
                  <a:gd name="T0" fmla="*/ 7470 w 20000"/>
                  <a:gd name="T1" fmla="*/ 1578 h 20000"/>
                  <a:gd name="T2" fmla="*/ 8584 w 20000"/>
                  <a:gd name="T3" fmla="*/ 4097 h 20000"/>
                  <a:gd name="T4" fmla="*/ 8735 w 20000"/>
                  <a:gd name="T5" fmla="*/ 3460 h 20000"/>
                  <a:gd name="T6" fmla="*/ 9518 w 20000"/>
                  <a:gd name="T7" fmla="*/ 4249 h 20000"/>
                  <a:gd name="T8" fmla="*/ 11386 w 20000"/>
                  <a:gd name="T9" fmla="*/ 5524 h 20000"/>
                  <a:gd name="T10" fmla="*/ 12771 w 20000"/>
                  <a:gd name="T11" fmla="*/ 7071 h 20000"/>
                  <a:gd name="T12" fmla="*/ 13434 w 20000"/>
                  <a:gd name="T13" fmla="*/ 7405 h 20000"/>
                  <a:gd name="T14" fmla="*/ 12319 w 20000"/>
                  <a:gd name="T15" fmla="*/ 7860 h 20000"/>
                  <a:gd name="T16" fmla="*/ 11536 w 20000"/>
                  <a:gd name="T17" fmla="*/ 8801 h 20000"/>
                  <a:gd name="T18" fmla="*/ 12771 w 20000"/>
                  <a:gd name="T19" fmla="*/ 9621 h 20000"/>
                  <a:gd name="T20" fmla="*/ 12771 w 20000"/>
                  <a:gd name="T21" fmla="*/ 10379 h 20000"/>
                  <a:gd name="T22" fmla="*/ 14669 w 20000"/>
                  <a:gd name="T23" fmla="*/ 12109 h 20000"/>
                  <a:gd name="T24" fmla="*/ 19970 w 20000"/>
                  <a:gd name="T25" fmla="*/ 13657 h 20000"/>
                  <a:gd name="T26" fmla="*/ 15602 w 20000"/>
                  <a:gd name="T27" fmla="*/ 17754 h 20000"/>
                  <a:gd name="T28" fmla="*/ 13434 w 20000"/>
                  <a:gd name="T29" fmla="*/ 19029 h 20000"/>
                  <a:gd name="T30" fmla="*/ 12018 w 20000"/>
                  <a:gd name="T31" fmla="*/ 19332 h 20000"/>
                  <a:gd name="T32" fmla="*/ 10602 w 20000"/>
                  <a:gd name="T33" fmla="*/ 19029 h 20000"/>
                  <a:gd name="T34" fmla="*/ 9367 w 20000"/>
                  <a:gd name="T35" fmla="*/ 19029 h 20000"/>
                  <a:gd name="T36" fmla="*/ 7349 w 20000"/>
                  <a:gd name="T37" fmla="*/ 19788 h 20000"/>
                  <a:gd name="T38" fmla="*/ 4518 w 20000"/>
                  <a:gd name="T39" fmla="*/ 18543 h 20000"/>
                  <a:gd name="T40" fmla="*/ 3765 w 20000"/>
                  <a:gd name="T41" fmla="*/ 17299 h 20000"/>
                  <a:gd name="T42" fmla="*/ 2952 w 20000"/>
                  <a:gd name="T43" fmla="*/ 16662 h 20000"/>
                  <a:gd name="T44" fmla="*/ 1717 w 20000"/>
                  <a:gd name="T45" fmla="*/ 15266 h 20000"/>
                  <a:gd name="T46" fmla="*/ 0 w 20000"/>
                  <a:gd name="T47" fmla="*/ 13991 h 20000"/>
                  <a:gd name="T48" fmla="*/ 934 w 20000"/>
                  <a:gd name="T49" fmla="*/ 13202 h 20000"/>
                  <a:gd name="T50" fmla="*/ 1566 w 20000"/>
                  <a:gd name="T51" fmla="*/ 11472 h 20000"/>
                  <a:gd name="T52" fmla="*/ 1717 w 20000"/>
                  <a:gd name="T53" fmla="*/ 10379 h 20000"/>
                  <a:gd name="T54" fmla="*/ 2530 w 20000"/>
                  <a:gd name="T55" fmla="*/ 9924 h 20000"/>
                  <a:gd name="T56" fmla="*/ 2952 w 20000"/>
                  <a:gd name="T57" fmla="*/ 8316 h 20000"/>
                  <a:gd name="T58" fmla="*/ 4066 w 20000"/>
                  <a:gd name="T59" fmla="*/ 7071 h 20000"/>
                  <a:gd name="T60" fmla="*/ 4518 w 20000"/>
                  <a:gd name="T61" fmla="*/ 4583 h 20000"/>
                  <a:gd name="T62" fmla="*/ 5000 w 20000"/>
                  <a:gd name="T63" fmla="*/ 2064 h 20000"/>
                  <a:gd name="T64" fmla="*/ 5783 w 20000"/>
                  <a:gd name="T65" fmla="*/ 1244 h 20000"/>
                  <a:gd name="T66" fmla="*/ 6235 w 20000"/>
                  <a:gd name="T67" fmla="*/ 486 h 20000"/>
                  <a:gd name="T68" fmla="*/ 7018 w 20000"/>
                  <a:gd name="T6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7018" y="0"/>
                    </a:moveTo>
                    <a:lnTo>
                      <a:pt x="7470" y="1578"/>
                    </a:lnTo>
                    <a:lnTo>
                      <a:pt x="8133" y="3005"/>
                    </a:lnTo>
                    <a:lnTo>
                      <a:pt x="8584" y="4097"/>
                    </a:lnTo>
                    <a:lnTo>
                      <a:pt x="8735" y="4097"/>
                    </a:lnTo>
                    <a:lnTo>
                      <a:pt x="8735" y="3460"/>
                    </a:lnTo>
                    <a:lnTo>
                      <a:pt x="9367" y="4249"/>
                    </a:lnTo>
                    <a:lnTo>
                      <a:pt x="9518" y="4249"/>
                    </a:lnTo>
                    <a:lnTo>
                      <a:pt x="10301" y="4583"/>
                    </a:lnTo>
                    <a:lnTo>
                      <a:pt x="11386" y="5524"/>
                    </a:lnTo>
                    <a:lnTo>
                      <a:pt x="12018" y="6586"/>
                    </a:lnTo>
                    <a:lnTo>
                      <a:pt x="12771" y="7071"/>
                    </a:lnTo>
                    <a:lnTo>
                      <a:pt x="13072" y="7071"/>
                    </a:lnTo>
                    <a:lnTo>
                      <a:pt x="13434" y="7405"/>
                    </a:lnTo>
                    <a:lnTo>
                      <a:pt x="12771" y="7557"/>
                    </a:lnTo>
                    <a:lnTo>
                      <a:pt x="12319" y="7860"/>
                    </a:lnTo>
                    <a:lnTo>
                      <a:pt x="12018" y="8316"/>
                    </a:lnTo>
                    <a:lnTo>
                      <a:pt x="11536" y="8801"/>
                    </a:lnTo>
                    <a:lnTo>
                      <a:pt x="11837" y="9621"/>
                    </a:lnTo>
                    <a:lnTo>
                      <a:pt x="12771" y="9621"/>
                    </a:lnTo>
                    <a:lnTo>
                      <a:pt x="13072" y="9924"/>
                    </a:lnTo>
                    <a:lnTo>
                      <a:pt x="12771" y="10379"/>
                    </a:lnTo>
                    <a:lnTo>
                      <a:pt x="13886" y="11654"/>
                    </a:lnTo>
                    <a:lnTo>
                      <a:pt x="14669" y="12109"/>
                    </a:lnTo>
                    <a:lnTo>
                      <a:pt x="18735" y="13657"/>
                    </a:lnTo>
                    <a:lnTo>
                      <a:pt x="19970" y="13657"/>
                    </a:lnTo>
                    <a:lnTo>
                      <a:pt x="16084" y="17754"/>
                    </a:lnTo>
                    <a:lnTo>
                      <a:pt x="15602" y="17754"/>
                    </a:lnTo>
                    <a:lnTo>
                      <a:pt x="13886" y="18240"/>
                    </a:lnTo>
                    <a:lnTo>
                      <a:pt x="13434" y="19029"/>
                    </a:lnTo>
                    <a:lnTo>
                      <a:pt x="12651" y="19029"/>
                    </a:lnTo>
                    <a:lnTo>
                      <a:pt x="12018" y="19332"/>
                    </a:lnTo>
                    <a:lnTo>
                      <a:pt x="11084" y="19332"/>
                    </a:lnTo>
                    <a:lnTo>
                      <a:pt x="10602" y="19029"/>
                    </a:lnTo>
                    <a:lnTo>
                      <a:pt x="9819" y="19029"/>
                    </a:lnTo>
                    <a:lnTo>
                      <a:pt x="9367" y="19029"/>
                    </a:lnTo>
                    <a:lnTo>
                      <a:pt x="8735" y="19970"/>
                    </a:lnTo>
                    <a:lnTo>
                      <a:pt x="7349" y="19788"/>
                    </a:lnTo>
                    <a:lnTo>
                      <a:pt x="6084" y="19029"/>
                    </a:lnTo>
                    <a:lnTo>
                      <a:pt x="4518" y="18543"/>
                    </a:lnTo>
                    <a:lnTo>
                      <a:pt x="3765" y="18240"/>
                    </a:lnTo>
                    <a:lnTo>
                      <a:pt x="3765" y="17299"/>
                    </a:lnTo>
                    <a:lnTo>
                      <a:pt x="3283" y="17299"/>
                    </a:lnTo>
                    <a:lnTo>
                      <a:pt x="2952" y="16662"/>
                    </a:lnTo>
                    <a:lnTo>
                      <a:pt x="2831" y="16055"/>
                    </a:lnTo>
                    <a:lnTo>
                      <a:pt x="1717" y="15266"/>
                    </a:lnTo>
                    <a:lnTo>
                      <a:pt x="934" y="14446"/>
                    </a:lnTo>
                    <a:lnTo>
                      <a:pt x="0" y="13991"/>
                    </a:lnTo>
                    <a:lnTo>
                      <a:pt x="0" y="13202"/>
                    </a:lnTo>
                    <a:lnTo>
                      <a:pt x="934" y="13202"/>
                    </a:lnTo>
                    <a:lnTo>
                      <a:pt x="1566" y="12898"/>
                    </a:lnTo>
                    <a:lnTo>
                      <a:pt x="1566" y="11472"/>
                    </a:lnTo>
                    <a:lnTo>
                      <a:pt x="1717" y="10865"/>
                    </a:lnTo>
                    <a:lnTo>
                      <a:pt x="1717" y="10379"/>
                    </a:lnTo>
                    <a:lnTo>
                      <a:pt x="2048" y="9924"/>
                    </a:lnTo>
                    <a:lnTo>
                      <a:pt x="2530" y="9924"/>
                    </a:lnTo>
                    <a:lnTo>
                      <a:pt x="2831" y="9621"/>
                    </a:lnTo>
                    <a:lnTo>
                      <a:pt x="2952" y="8316"/>
                    </a:lnTo>
                    <a:lnTo>
                      <a:pt x="3584" y="7405"/>
                    </a:lnTo>
                    <a:lnTo>
                      <a:pt x="4066" y="7071"/>
                    </a:lnTo>
                    <a:lnTo>
                      <a:pt x="4217" y="6282"/>
                    </a:lnTo>
                    <a:lnTo>
                      <a:pt x="4518" y="4583"/>
                    </a:lnTo>
                    <a:lnTo>
                      <a:pt x="5000" y="2853"/>
                    </a:lnTo>
                    <a:lnTo>
                      <a:pt x="5000" y="2064"/>
                    </a:lnTo>
                    <a:lnTo>
                      <a:pt x="5301" y="1244"/>
                    </a:lnTo>
                    <a:lnTo>
                      <a:pt x="5783" y="1244"/>
                    </a:lnTo>
                    <a:lnTo>
                      <a:pt x="5783" y="941"/>
                    </a:lnTo>
                    <a:lnTo>
                      <a:pt x="6235" y="486"/>
                    </a:lnTo>
                    <a:lnTo>
                      <a:pt x="6867" y="819"/>
                    </a:lnTo>
                    <a:lnTo>
                      <a:pt x="701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99" name="Freeform 137"/>
              <p:cNvSpPr>
                <a:spLocks/>
              </p:cNvSpPr>
              <p:nvPr/>
            </p:nvSpPr>
            <p:spPr bwMode="auto">
              <a:xfrm>
                <a:off x="5010150" y="4095750"/>
                <a:ext cx="85725" cy="177800"/>
              </a:xfrm>
              <a:custGeom>
                <a:avLst/>
                <a:gdLst>
                  <a:gd name="T0" fmla="*/ 10815 w 20000"/>
                  <a:gd name="T1" fmla="*/ 1495 h 20000"/>
                  <a:gd name="T2" fmla="*/ 12296 w 20000"/>
                  <a:gd name="T3" fmla="*/ 0 h 20000"/>
                  <a:gd name="T4" fmla="*/ 13778 w 20000"/>
                  <a:gd name="T5" fmla="*/ 0 h 20000"/>
                  <a:gd name="T6" fmla="*/ 16000 w 20000"/>
                  <a:gd name="T7" fmla="*/ 1495 h 20000"/>
                  <a:gd name="T8" fmla="*/ 18370 w 20000"/>
                  <a:gd name="T9" fmla="*/ 2633 h 20000"/>
                  <a:gd name="T10" fmla="*/ 18370 w 20000"/>
                  <a:gd name="T11" fmla="*/ 2918 h 20000"/>
                  <a:gd name="T12" fmla="*/ 19852 w 20000"/>
                  <a:gd name="T13" fmla="*/ 5552 h 20000"/>
                  <a:gd name="T14" fmla="*/ 18370 w 20000"/>
                  <a:gd name="T15" fmla="*/ 6690 h 20000"/>
                  <a:gd name="T16" fmla="*/ 18370 w 20000"/>
                  <a:gd name="T17" fmla="*/ 7758 h 20000"/>
                  <a:gd name="T18" fmla="*/ 17630 w 20000"/>
                  <a:gd name="T19" fmla="*/ 8470 h 20000"/>
                  <a:gd name="T20" fmla="*/ 16000 w 20000"/>
                  <a:gd name="T21" fmla="*/ 10320 h 20000"/>
                  <a:gd name="T22" fmla="*/ 13778 w 20000"/>
                  <a:gd name="T23" fmla="*/ 10747 h 20000"/>
                  <a:gd name="T24" fmla="*/ 13778 w 20000"/>
                  <a:gd name="T25" fmla="*/ 12527 h 20000"/>
                  <a:gd name="T26" fmla="*/ 13778 w 20000"/>
                  <a:gd name="T27" fmla="*/ 16157 h 20000"/>
                  <a:gd name="T28" fmla="*/ 14519 w 20000"/>
                  <a:gd name="T29" fmla="*/ 19217 h 20000"/>
                  <a:gd name="T30" fmla="*/ 10815 w 20000"/>
                  <a:gd name="T31" fmla="*/ 19217 h 20000"/>
                  <a:gd name="T32" fmla="*/ 6074 w 20000"/>
                  <a:gd name="T33" fmla="*/ 19929 h 20000"/>
                  <a:gd name="T34" fmla="*/ 6074 w 20000"/>
                  <a:gd name="T35" fmla="*/ 18434 h 20000"/>
                  <a:gd name="T36" fmla="*/ 6074 w 20000"/>
                  <a:gd name="T37" fmla="*/ 18078 h 20000"/>
                  <a:gd name="T38" fmla="*/ 6074 w 20000"/>
                  <a:gd name="T39" fmla="*/ 10320 h 20000"/>
                  <a:gd name="T40" fmla="*/ 4593 w 20000"/>
                  <a:gd name="T41" fmla="*/ 9181 h 20000"/>
                  <a:gd name="T42" fmla="*/ 3852 w 20000"/>
                  <a:gd name="T43" fmla="*/ 7758 h 20000"/>
                  <a:gd name="T44" fmla="*/ 1481 w 20000"/>
                  <a:gd name="T45" fmla="*/ 6690 h 20000"/>
                  <a:gd name="T46" fmla="*/ 0 w 20000"/>
                  <a:gd name="T47" fmla="*/ 4840 h 20000"/>
                  <a:gd name="T48" fmla="*/ 2370 w 20000"/>
                  <a:gd name="T49" fmla="*/ 4413 h 20000"/>
                  <a:gd name="T50" fmla="*/ 4593 w 20000"/>
                  <a:gd name="T51" fmla="*/ 3701 h 20000"/>
                  <a:gd name="T52" fmla="*/ 8444 w 20000"/>
                  <a:gd name="T53" fmla="*/ 2918 h 20000"/>
                  <a:gd name="T54" fmla="*/ 10815 w 20000"/>
                  <a:gd name="T55" fmla="*/ 149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10815" y="1495"/>
                    </a:moveTo>
                    <a:lnTo>
                      <a:pt x="12296" y="0"/>
                    </a:lnTo>
                    <a:lnTo>
                      <a:pt x="13778" y="0"/>
                    </a:lnTo>
                    <a:lnTo>
                      <a:pt x="16000" y="1495"/>
                    </a:lnTo>
                    <a:lnTo>
                      <a:pt x="18370" y="2633"/>
                    </a:lnTo>
                    <a:lnTo>
                      <a:pt x="18370" y="2918"/>
                    </a:lnTo>
                    <a:lnTo>
                      <a:pt x="19852" y="5552"/>
                    </a:lnTo>
                    <a:lnTo>
                      <a:pt x="18370" y="6690"/>
                    </a:lnTo>
                    <a:lnTo>
                      <a:pt x="18370" y="7758"/>
                    </a:lnTo>
                    <a:lnTo>
                      <a:pt x="17630" y="8470"/>
                    </a:lnTo>
                    <a:lnTo>
                      <a:pt x="16000" y="10320"/>
                    </a:lnTo>
                    <a:lnTo>
                      <a:pt x="13778" y="10747"/>
                    </a:lnTo>
                    <a:lnTo>
                      <a:pt x="13778" y="12527"/>
                    </a:lnTo>
                    <a:lnTo>
                      <a:pt x="13778" y="16157"/>
                    </a:lnTo>
                    <a:lnTo>
                      <a:pt x="14519" y="19217"/>
                    </a:lnTo>
                    <a:lnTo>
                      <a:pt x="10815" y="19217"/>
                    </a:lnTo>
                    <a:lnTo>
                      <a:pt x="6074" y="19929"/>
                    </a:lnTo>
                    <a:lnTo>
                      <a:pt x="6074" y="18434"/>
                    </a:lnTo>
                    <a:lnTo>
                      <a:pt x="6074" y="18078"/>
                    </a:lnTo>
                    <a:lnTo>
                      <a:pt x="6074" y="10320"/>
                    </a:lnTo>
                    <a:lnTo>
                      <a:pt x="4593" y="9181"/>
                    </a:lnTo>
                    <a:lnTo>
                      <a:pt x="3852" y="7758"/>
                    </a:lnTo>
                    <a:lnTo>
                      <a:pt x="1481" y="6690"/>
                    </a:lnTo>
                    <a:lnTo>
                      <a:pt x="0" y="4840"/>
                    </a:lnTo>
                    <a:lnTo>
                      <a:pt x="2370" y="4413"/>
                    </a:lnTo>
                    <a:lnTo>
                      <a:pt x="4593" y="3701"/>
                    </a:lnTo>
                    <a:lnTo>
                      <a:pt x="8444" y="2918"/>
                    </a:lnTo>
                    <a:lnTo>
                      <a:pt x="10815" y="149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0" name="Freeform 136"/>
              <p:cNvSpPr>
                <a:spLocks/>
              </p:cNvSpPr>
              <p:nvPr/>
            </p:nvSpPr>
            <p:spPr bwMode="auto">
              <a:xfrm>
                <a:off x="5541963" y="4964113"/>
                <a:ext cx="254000" cy="269875"/>
              </a:xfrm>
              <a:custGeom>
                <a:avLst/>
                <a:gdLst>
                  <a:gd name="T0" fmla="*/ 11900 w 20000"/>
                  <a:gd name="T1" fmla="*/ 0 h 20000"/>
                  <a:gd name="T2" fmla="*/ 12400 w 20000"/>
                  <a:gd name="T3" fmla="*/ 1224 h 20000"/>
                  <a:gd name="T4" fmla="*/ 13750 w 20000"/>
                  <a:gd name="T5" fmla="*/ 2682 h 20000"/>
                  <a:gd name="T6" fmla="*/ 13750 w 20000"/>
                  <a:gd name="T7" fmla="*/ 3435 h 20000"/>
                  <a:gd name="T8" fmla="*/ 15050 w 20000"/>
                  <a:gd name="T9" fmla="*/ 4141 h 20000"/>
                  <a:gd name="T10" fmla="*/ 16300 w 20000"/>
                  <a:gd name="T11" fmla="*/ 4612 h 20000"/>
                  <a:gd name="T12" fmla="*/ 16600 w 20000"/>
                  <a:gd name="T13" fmla="*/ 5835 h 20000"/>
                  <a:gd name="T14" fmla="*/ 17100 w 20000"/>
                  <a:gd name="T15" fmla="*/ 5835 h 20000"/>
                  <a:gd name="T16" fmla="*/ 17400 w 20000"/>
                  <a:gd name="T17" fmla="*/ 7294 h 20000"/>
                  <a:gd name="T18" fmla="*/ 17900 w 20000"/>
                  <a:gd name="T19" fmla="*/ 8282 h 20000"/>
                  <a:gd name="T20" fmla="*/ 18650 w 20000"/>
                  <a:gd name="T21" fmla="*/ 8282 h 20000"/>
                  <a:gd name="T22" fmla="*/ 19950 w 20000"/>
                  <a:gd name="T23" fmla="*/ 8518 h 20000"/>
                  <a:gd name="T24" fmla="*/ 19950 w 20000"/>
                  <a:gd name="T25" fmla="*/ 9694 h 20000"/>
                  <a:gd name="T26" fmla="*/ 19150 w 20000"/>
                  <a:gd name="T27" fmla="*/ 10447 h 20000"/>
                  <a:gd name="T28" fmla="*/ 18400 w 20000"/>
                  <a:gd name="T29" fmla="*/ 10447 h 20000"/>
                  <a:gd name="T30" fmla="*/ 17100 w 20000"/>
                  <a:gd name="T31" fmla="*/ 11718 h 20000"/>
                  <a:gd name="T32" fmla="*/ 16600 w 20000"/>
                  <a:gd name="T33" fmla="*/ 11718 h 20000"/>
                  <a:gd name="T34" fmla="*/ 16300 w 20000"/>
                  <a:gd name="T35" fmla="*/ 12188 h 20000"/>
                  <a:gd name="T36" fmla="*/ 15800 w 20000"/>
                  <a:gd name="T37" fmla="*/ 12376 h 20000"/>
                  <a:gd name="T38" fmla="*/ 15050 w 20000"/>
                  <a:gd name="T39" fmla="*/ 13365 h 20000"/>
                  <a:gd name="T40" fmla="*/ 15050 w 20000"/>
                  <a:gd name="T41" fmla="*/ 14400 h 20000"/>
                  <a:gd name="T42" fmla="*/ 14250 w 20000"/>
                  <a:gd name="T43" fmla="*/ 14871 h 20000"/>
                  <a:gd name="T44" fmla="*/ 13000 w 20000"/>
                  <a:gd name="T45" fmla="*/ 15341 h 20000"/>
                  <a:gd name="T46" fmla="*/ 11900 w 20000"/>
                  <a:gd name="T47" fmla="*/ 17271 h 20000"/>
                  <a:gd name="T48" fmla="*/ 10850 w 20000"/>
                  <a:gd name="T49" fmla="*/ 17271 h 20000"/>
                  <a:gd name="T50" fmla="*/ 9600 w 20000"/>
                  <a:gd name="T51" fmla="*/ 17271 h 20000"/>
                  <a:gd name="T52" fmla="*/ 8300 w 20000"/>
                  <a:gd name="T53" fmla="*/ 17271 h 20000"/>
                  <a:gd name="T54" fmla="*/ 7000 w 20000"/>
                  <a:gd name="T55" fmla="*/ 16518 h 20000"/>
                  <a:gd name="T56" fmla="*/ 5750 w 20000"/>
                  <a:gd name="T57" fmla="*/ 16518 h 20000"/>
                  <a:gd name="T58" fmla="*/ 5750 w 20000"/>
                  <a:gd name="T59" fmla="*/ 18024 h 20000"/>
                  <a:gd name="T60" fmla="*/ 4400 w 20000"/>
                  <a:gd name="T61" fmla="*/ 19200 h 20000"/>
                  <a:gd name="T62" fmla="*/ 3600 w 20000"/>
                  <a:gd name="T63" fmla="*/ 19200 h 20000"/>
                  <a:gd name="T64" fmla="*/ 3600 w 20000"/>
                  <a:gd name="T65" fmla="*/ 19482 h 20000"/>
                  <a:gd name="T66" fmla="*/ 2350 w 20000"/>
                  <a:gd name="T67" fmla="*/ 19482 h 20000"/>
                  <a:gd name="T68" fmla="*/ 1050 w 20000"/>
                  <a:gd name="T69" fmla="*/ 19953 h 20000"/>
                  <a:gd name="T70" fmla="*/ 1050 w 20000"/>
                  <a:gd name="T71" fmla="*/ 18729 h 20000"/>
                  <a:gd name="T72" fmla="*/ 1550 w 20000"/>
                  <a:gd name="T73" fmla="*/ 18024 h 20000"/>
                  <a:gd name="T74" fmla="*/ 1050 w 20000"/>
                  <a:gd name="T75" fmla="*/ 17271 h 20000"/>
                  <a:gd name="T76" fmla="*/ 800 w 20000"/>
                  <a:gd name="T77" fmla="*/ 16047 h 20000"/>
                  <a:gd name="T78" fmla="*/ 0 w 20000"/>
                  <a:gd name="T79" fmla="*/ 15341 h 20000"/>
                  <a:gd name="T80" fmla="*/ 300 w 20000"/>
                  <a:gd name="T81" fmla="*/ 8988 h 20000"/>
                  <a:gd name="T82" fmla="*/ 2350 w 20000"/>
                  <a:gd name="T83" fmla="*/ 8988 h 20000"/>
                  <a:gd name="T84" fmla="*/ 2850 w 20000"/>
                  <a:gd name="T85" fmla="*/ 1224 h 20000"/>
                  <a:gd name="T86" fmla="*/ 5750 w 20000"/>
                  <a:gd name="T87" fmla="*/ 753 h 20000"/>
                  <a:gd name="T88" fmla="*/ 7500 w 20000"/>
                  <a:gd name="T89" fmla="*/ 188 h 20000"/>
                  <a:gd name="T90" fmla="*/ 8300 w 20000"/>
                  <a:gd name="T91" fmla="*/ 1224 h 20000"/>
                  <a:gd name="T92" fmla="*/ 9850 w 20000"/>
                  <a:gd name="T93" fmla="*/ 188 h 20000"/>
                  <a:gd name="T94" fmla="*/ 10350 w 20000"/>
                  <a:gd name="T95" fmla="*/ 188 h 20000"/>
                  <a:gd name="T96" fmla="*/ 11150 w 20000"/>
                  <a:gd name="T97" fmla="*/ 0 h 20000"/>
                  <a:gd name="T98" fmla="*/ 11900 w 20000"/>
                  <a:gd name="T9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11900" y="0"/>
                    </a:moveTo>
                    <a:lnTo>
                      <a:pt x="12400" y="1224"/>
                    </a:lnTo>
                    <a:lnTo>
                      <a:pt x="13750" y="2682"/>
                    </a:lnTo>
                    <a:lnTo>
                      <a:pt x="13750" y="3435"/>
                    </a:lnTo>
                    <a:lnTo>
                      <a:pt x="15050" y="4141"/>
                    </a:lnTo>
                    <a:lnTo>
                      <a:pt x="16300" y="4612"/>
                    </a:lnTo>
                    <a:lnTo>
                      <a:pt x="16600" y="5835"/>
                    </a:lnTo>
                    <a:lnTo>
                      <a:pt x="17100" y="5835"/>
                    </a:lnTo>
                    <a:lnTo>
                      <a:pt x="17400" y="7294"/>
                    </a:lnTo>
                    <a:lnTo>
                      <a:pt x="17900" y="8282"/>
                    </a:lnTo>
                    <a:lnTo>
                      <a:pt x="18650" y="8282"/>
                    </a:lnTo>
                    <a:lnTo>
                      <a:pt x="19950" y="8518"/>
                    </a:lnTo>
                    <a:lnTo>
                      <a:pt x="19950" y="9694"/>
                    </a:lnTo>
                    <a:lnTo>
                      <a:pt x="19150" y="10447"/>
                    </a:lnTo>
                    <a:lnTo>
                      <a:pt x="18400" y="10447"/>
                    </a:lnTo>
                    <a:lnTo>
                      <a:pt x="17100" y="11718"/>
                    </a:lnTo>
                    <a:lnTo>
                      <a:pt x="16600" y="11718"/>
                    </a:lnTo>
                    <a:lnTo>
                      <a:pt x="16300" y="12188"/>
                    </a:lnTo>
                    <a:lnTo>
                      <a:pt x="15800" y="12376"/>
                    </a:lnTo>
                    <a:lnTo>
                      <a:pt x="15050" y="13365"/>
                    </a:lnTo>
                    <a:lnTo>
                      <a:pt x="15050" y="14400"/>
                    </a:lnTo>
                    <a:lnTo>
                      <a:pt x="14250" y="14871"/>
                    </a:lnTo>
                    <a:lnTo>
                      <a:pt x="13000" y="15341"/>
                    </a:lnTo>
                    <a:lnTo>
                      <a:pt x="11900" y="17271"/>
                    </a:lnTo>
                    <a:lnTo>
                      <a:pt x="10850" y="17271"/>
                    </a:lnTo>
                    <a:lnTo>
                      <a:pt x="9600" y="17271"/>
                    </a:lnTo>
                    <a:lnTo>
                      <a:pt x="8300" y="17271"/>
                    </a:lnTo>
                    <a:lnTo>
                      <a:pt x="7000" y="16518"/>
                    </a:lnTo>
                    <a:lnTo>
                      <a:pt x="5750" y="16518"/>
                    </a:lnTo>
                    <a:lnTo>
                      <a:pt x="5750" y="18024"/>
                    </a:lnTo>
                    <a:lnTo>
                      <a:pt x="4400" y="19200"/>
                    </a:lnTo>
                    <a:lnTo>
                      <a:pt x="3600" y="19200"/>
                    </a:lnTo>
                    <a:lnTo>
                      <a:pt x="3600" y="19482"/>
                    </a:lnTo>
                    <a:lnTo>
                      <a:pt x="2350" y="19482"/>
                    </a:lnTo>
                    <a:lnTo>
                      <a:pt x="1050" y="19953"/>
                    </a:lnTo>
                    <a:lnTo>
                      <a:pt x="1050" y="18729"/>
                    </a:lnTo>
                    <a:lnTo>
                      <a:pt x="1550" y="18024"/>
                    </a:lnTo>
                    <a:lnTo>
                      <a:pt x="1050" y="17271"/>
                    </a:lnTo>
                    <a:lnTo>
                      <a:pt x="800" y="16047"/>
                    </a:lnTo>
                    <a:lnTo>
                      <a:pt x="0" y="15341"/>
                    </a:lnTo>
                    <a:lnTo>
                      <a:pt x="300" y="8988"/>
                    </a:lnTo>
                    <a:lnTo>
                      <a:pt x="2350" y="8988"/>
                    </a:lnTo>
                    <a:lnTo>
                      <a:pt x="2850" y="1224"/>
                    </a:lnTo>
                    <a:lnTo>
                      <a:pt x="5750" y="753"/>
                    </a:lnTo>
                    <a:lnTo>
                      <a:pt x="7500" y="188"/>
                    </a:lnTo>
                    <a:lnTo>
                      <a:pt x="8300" y="1224"/>
                    </a:lnTo>
                    <a:lnTo>
                      <a:pt x="9850" y="188"/>
                    </a:lnTo>
                    <a:lnTo>
                      <a:pt x="10350" y="188"/>
                    </a:lnTo>
                    <a:lnTo>
                      <a:pt x="11150" y="0"/>
                    </a:lnTo>
                    <a:lnTo>
                      <a:pt x="1190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1" name="Freeform 135"/>
              <p:cNvSpPr>
                <a:spLocks/>
              </p:cNvSpPr>
              <p:nvPr/>
            </p:nvSpPr>
            <p:spPr bwMode="auto">
              <a:xfrm>
                <a:off x="4835525" y="4017963"/>
                <a:ext cx="222250" cy="165100"/>
              </a:xfrm>
              <a:custGeom>
                <a:avLst/>
                <a:gdLst>
                  <a:gd name="T0" fmla="*/ 14269 w 20000"/>
                  <a:gd name="T1" fmla="*/ 769 h 20000"/>
                  <a:gd name="T2" fmla="*/ 14269 w 20000"/>
                  <a:gd name="T3" fmla="*/ 2000 h 20000"/>
                  <a:gd name="T4" fmla="*/ 14900 w 20000"/>
                  <a:gd name="T5" fmla="*/ 3154 h 20000"/>
                  <a:gd name="T6" fmla="*/ 15129 w 20000"/>
                  <a:gd name="T7" fmla="*/ 4385 h 20000"/>
                  <a:gd name="T8" fmla="*/ 16332 w 20000"/>
                  <a:gd name="T9" fmla="*/ 5923 h 20000"/>
                  <a:gd name="T10" fmla="*/ 17249 w 20000"/>
                  <a:gd name="T11" fmla="*/ 5923 h 20000"/>
                  <a:gd name="T12" fmla="*/ 17249 w 20000"/>
                  <a:gd name="T13" fmla="*/ 6385 h 20000"/>
                  <a:gd name="T14" fmla="*/ 16332 w 20000"/>
                  <a:gd name="T15" fmla="*/ 6385 h 20000"/>
                  <a:gd name="T16" fmla="*/ 16332 w 20000"/>
                  <a:gd name="T17" fmla="*/ 7154 h 20000"/>
                  <a:gd name="T18" fmla="*/ 18166 w 20000"/>
                  <a:gd name="T19" fmla="*/ 8308 h 20000"/>
                  <a:gd name="T20" fmla="*/ 19026 w 20000"/>
                  <a:gd name="T21" fmla="*/ 8308 h 20000"/>
                  <a:gd name="T22" fmla="*/ 19599 w 20000"/>
                  <a:gd name="T23" fmla="*/ 9154 h 20000"/>
                  <a:gd name="T24" fmla="*/ 19026 w 20000"/>
                  <a:gd name="T25" fmla="*/ 9538 h 20000"/>
                  <a:gd name="T26" fmla="*/ 19943 w 20000"/>
                  <a:gd name="T27" fmla="*/ 11154 h 20000"/>
                  <a:gd name="T28" fmla="*/ 19026 w 20000"/>
                  <a:gd name="T29" fmla="*/ 12692 h 20000"/>
                  <a:gd name="T30" fmla="*/ 17593 w 20000"/>
                  <a:gd name="T31" fmla="*/ 13538 h 20000"/>
                  <a:gd name="T32" fmla="*/ 16676 w 20000"/>
                  <a:gd name="T33" fmla="*/ 14308 h 20000"/>
                  <a:gd name="T34" fmla="*/ 15759 w 20000"/>
                  <a:gd name="T35" fmla="*/ 14769 h 20000"/>
                  <a:gd name="T36" fmla="*/ 14900 w 20000"/>
                  <a:gd name="T37" fmla="*/ 14769 h 20000"/>
                  <a:gd name="T38" fmla="*/ 14269 w 20000"/>
                  <a:gd name="T39" fmla="*/ 14769 h 20000"/>
                  <a:gd name="T40" fmla="*/ 13696 w 20000"/>
                  <a:gd name="T41" fmla="*/ 14308 h 20000"/>
                  <a:gd name="T42" fmla="*/ 12779 w 20000"/>
                  <a:gd name="T43" fmla="*/ 14308 h 20000"/>
                  <a:gd name="T44" fmla="*/ 12550 w 20000"/>
                  <a:gd name="T45" fmla="*/ 14769 h 20000"/>
                  <a:gd name="T46" fmla="*/ 6590 w 20000"/>
                  <a:gd name="T47" fmla="*/ 14308 h 20000"/>
                  <a:gd name="T48" fmla="*/ 6246 w 20000"/>
                  <a:gd name="T49" fmla="*/ 15538 h 20000"/>
                  <a:gd name="T50" fmla="*/ 6590 w 20000"/>
                  <a:gd name="T51" fmla="*/ 17923 h 20000"/>
                  <a:gd name="T52" fmla="*/ 6590 w 20000"/>
                  <a:gd name="T53" fmla="*/ 19923 h 20000"/>
                  <a:gd name="T54" fmla="*/ 4814 w 20000"/>
                  <a:gd name="T55" fmla="*/ 17923 h 20000"/>
                  <a:gd name="T56" fmla="*/ 3324 w 20000"/>
                  <a:gd name="T57" fmla="*/ 17923 h 20000"/>
                  <a:gd name="T58" fmla="*/ 2693 w 20000"/>
                  <a:gd name="T59" fmla="*/ 19462 h 20000"/>
                  <a:gd name="T60" fmla="*/ 1777 w 20000"/>
                  <a:gd name="T61" fmla="*/ 19462 h 20000"/>
                  <a:gd name="T62" fmla="*/ 917 w 20000"/>
                  <a:gd name="T63" fmla="*/ 17538 h 20000"/>
                  <a:gd name="T64" fmla="*/ 0 w 20000"/>
                  <a:gd name="T65" fmla="*/ 16769 h 20000"/>
                  <a:gd name="T66" fmla="*/ 0 w 20000"/>
                  <a:gd name="T67" fmla="*/ 15846 h 20000"/>
                  <a:gd name="T68" fmla="*/ 0 w 20000"/>
                  <a:gd name="T69" fmla="*/ 14769 h 20000"/>
                  <a:gd name="T70" fmla="*/ 344 w 20000"/>
                  <a:gd name="T71" fmla="*/ 13538 h 20000"/>
                  <a:gd name="T72" fmla="*/ 0 w 20000"/>
                  <a:gd name="T73" fmla="*/ 11538 h 20000"/>
                  <a:gd name="T74" fmla="*/ 1203 w 20000"/>
                  <a:gd name="T75" fmla="*/ 11154 h 20000"/>
                  <a:gd name="T76" fmla="*/ 1777 w 20000"/>
                  <a:gd name="T77" fmla="*/ 11154 h 20000"/>
                  <a:gd name="T78" fmla="*/ 2693 w 20000"/>
                  <a:gd name="T79" fmla="*/ 9538 h 20000"/>
                  <a:gd name="T80" fmla="*/ 2693 w 20000"/>
                  <a:gd name="T81" fmla="*/ 8308 h 20000"/>
                  <a:gd name="T82" fmla="*/ 3324 w 20000"/>
                  <a:gd name="T83" fmla="*/ 8308 h 20000"/>
                  <a:gd name="T84" fmla="*/ 2693 w 20000"/>
                  <a:gd name="T85" fmla="*/ 6385 h 20000"/>
                  <a:gd name="T86" fmla="*/ 3897 w 20000"/>
                  <a:gd name="T87" fmla="*/ 5923 h 20000"/>
                  <a:gd name="T88" fmla="*/ 4814 w 20000"/>
                  <a:gd name="T89" fmla="*/ 7154 h 20000"/>
                  <a:gd name="T90" fmla="*/ 5673 w 20000"/>
                  <a:gd name="T91" fmla="*/ 6385 h 20000"/>
                  <a:gd name="T92" fmla="*/ 5043 w 20000"/>
                  <a:gd name="T93" fmla="*/ 5154 h 20000"/>
                  <a:gd name="T94" fmla="*/ 6246 w 20000"/>
                  <a:gd name="T95" fmla="*/ 5154 h 20000"/>
                  <a:gd name="T96" fmla="*/ 6590 w 20000"/>
                  <a:gd name="T97" fmla="*/ 4385 h 20000"/>
                  <a:gd name="T98" fmla="*/ 8653 w 20000"/>
                  <a:gd name="T99" fmla="*/ 3154 h 20000"/>
                  <a:gd name="T100" fmla="*/ 8940 w 20000"/>
                  <a:gd name="T101" fmla="*/ 1231 h 20000"/>
                  <a:gd name="T102" fmla="*/ 11289 w 20000"/>
                  <a:gd name="T103" fmla="*/ 1231 h 20000"/>
                  <a:gd name="T104" fmla="*/ 11862 w 20000"/>
                  <a:gd name="T105" fmla="*/ 0 h 20000"/>
                  <a:gd name="T106" fmla="*/ 14269 w 20000"/>
                  <a:gd name="T107" fmla="*/ 7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14269" y="769"/>
                    </a:moveTo>
                    <a:lnTo>
                      <a:pt x="14269" y="2000"/>
                    </a:lnTo>
                    <a:lnTo>
                      <a:pt x="14900" y="3154"/>
                    </a:lnTo>
                    <a:lnTo>
                      <a:pt x="15129" y="4385"/>
                    </a:lnTo>
                    <a:lnTo>
                      <a:pt x="16332" y="5923"/>
                    </a:lnTo>
                    <a:lnTo>
                      <a:pt x="17249" y="5923"/>
                    </a:lnTo>
                    <a:lnTo>
                      <a:pt x="17249" y="6385"/>
                    </a:lnTo>
                    <a:lnTo>
                      <a:pt x="16332" y="6385"/>
                    </a:lnTo>
                    <a:lnTo>
                      <a:pt x="16332" y="7154"/>
                    </a:lnTo>
                    <a:lnTo>
                      <a:pt x="18166" y="8308"/>
                    </a:lnTo>
                    <a:lnTo>
                      <a:pt x="19026" y="8308"/>
                    </a:lnTo>
                    <a:lnTo>
                      <a:pt x="19599" y="9154"/>
                    </a:lnTo>
                    <a:lnTo>
                      <a:pt x="19026" y="9538"/>
                    </a:lnTo>
                    <a:lnTo>
                      <a:pt x="19943" y="11154"/>
                    </a:lnTo>
                    <a:lnTo>
                      <a:pt x="19026" y="12692"/>
                    </a:lnTo>
                    <a:lnTo>
                      <a:pt x="17593" y="13538"/>
                    </a:lnTo>
                    <a:lnTo>
                      <a:pt x="16676" y="14308"/>
                    </a:lnTo>
                    <a:lnTo>
                      <a:pt x="15759" y="14769"/>
                    </a:lnTo>
                    <a:lnTo>
                      <a:pt x="14900" y="14769"/>
                    </a:lnTo>
                    <a:lnTo>
                      <a:pt x="14269" y="14769"/>
                    </a:lnTo>
                    <a:lnTo>
                      <a:pt x="13696" y="14308"/>
                    </a:lnTo>
                    <a:lnTo>
                      <a:pt x="12779" y="14308"/>
                    </a:lnTo>
                    <a:lnTo>
                      <a:pt x="12550" y="14769"/>
                    </a:lnTo>
                    <a:lnTo>
                      <a:pt x="6590" y="14308"/>
                    </a:lnTo>
                    <a:lnTo>
                      <a:pt x="6246" y="15538"/>
                    </a:lnTo>
                    <a:lnTo>
                      <a:pt x="6590" y="17923"/>
                    </a:lnTo>
                    <a:lnTo>
                      <a:pt x="6590" y="19923"/>
                    </a:lnTo>
                    <a:lnTo>
                      <a:pt x="4814" y="17923"/>
                    </a:lnTo>
                    <a:lnTo>
                      <a:pt x="3324" y="17923"/>
                    </a:lnTo>
                    <a:lnTo>
                      <a:pt x="2693" y="19462"/>
                    </a:lnTo>
                    <a:lnTo>
                      <a:pt x="1777" y="19462"/>
                    </a:lnTo>
                    <a:lnTo>
                      <a:pt x="917" y="17538"/>
                    </a:lnTo>
                    <a:lnTo>
                      <a:pt x="0" y="16769"/>
                    </a:lnTo>
                    <a:lnTo>
                      <a:pt x="0" y="15846"/>
                    </a:lnTo>
                    <a:lnTo>
                      <a:pt x="0" y="14769"/>
                    </a:lnTo>
                    <a:lnTo>
                      <a:pt x="344" y="13538"/>
                    </a:lnTo>
                    <a:lnTo>
                      <a:pt x="0" y="11538"/>
                    </a:lnTo>
                    <a:lnTo>
                      <a:pt x="1203" y="11154"/>
                    </a:lnTo>
                    <a:lnTo>
                      <a:pt x="1777" y="11154"/>
                    </a:lnTo>
                    <a:lnTo>
                      <a:pt x="2693" y="9538"/>
                    </a:lnTo>
                    <a:lnTo>
                      <a:pt x="2693" y="8308"/>
                    </a:lnTo>
                    <a:lnTo>
                      <a:pt x="3324" y="8308"/>
                    </a:lnTo>
                    <a:lnTo>
                      <a:pt x="2693" y="6385"/>
                    </a:lnTo>
                    <a:lnTo>
                      <a:pt x="3897" y="5923"/>
                    </a:lnTo>
                    <a:lnTo>
                      <a:pt x="4814" y="7154"/>
                    </a:lnTo>
                    <a:lnTo>
                      <a:pt x="5673" y="6385"/>
                    </a:lnTo>
                    <a:lnTo>
                      <a:pt x="5043" y="5154"/>
                    </a:lnTo>
                    <a:lnTo>
                      <a:pt x="6246" y="5154"/>
                    </a:lnTo>
                    <a:lnTo>
                      <a:pt x="6590" y="4385"/>
                    </a:lnTo>
                    <a:lnTo>
                      <a:pt x="8653" y="3154"/>
                    </a:lnTo>
                    <a:lnTo>
                      <a:pt x="8940" y="1231"/>
                    </a:lnTo>
                    <a:lnTo>
                      <a:pt x="11289" y="1231"/>
                    </a:lnTo>
                    <a:lnTo>
                      <a:pt x="11862" y="0"/>
                    </a:lnTo>
                    <a:lnTo>
                      <a:pt x="14269" y="7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2" name="Freeform 134"/>
              <p:cNvSpPr>
                <a:spLocks/>
              </p:cNvSpPr>
              <p:nvPr/>
            </p:nvSpPr>
            <p:spPr bwMode="auto">
              <a:xfrm>
                <a:off x="5805488" y="4516438"/>
                <a:ext cx="60325" cy="63500"/>
              </a:xfrm>
              <a:custGeom>
                <a:avLst/>
                <a:gdLst>
                  <a:gd name="T0" fmla="*/ 0 w 20000"/>
                  <a:gd name="T1" fmla="*/ 3200 h 20000"/>
                  <a:gd name="T2" fmla="*/ 5474 w 20000"/>
                  <a:gd name="T3" fmla="*/ 2200 h 20000"/>
                  <a:gd name="T4" fmla="*/ 5474 w 20000"/>
                  <a:gd name="T5" fmla="*/ 5400 h 20000"/>
                  <a:gd name="T6" fmla="*/ 8632 w 20000"/>
                  <a:gd name="T7" fmla="*/ 3200 h 20000"/>
                  <a:gd name="T8" fmla="*/ 10737 w 20000"/>
                  <a:gd name="T9" fmla="*/ 2200 h 20000"/>
                  <a:gd name="T10" fmla="*/ 14105 w 20000"/>
                  <a:gd name="T11" fmla="*/ 0 h 20000"/>
                  <a:gd name="T12" fmla="*/ 16421 w 20000"/>
                  <a:gd name="T13" fmla="*/ 3200 h 20000"/>
                  <a:gd name="T14" fmla="*/ 16421 w 20000"/>
                  <a:gd name="T15" fmla="*/ 5400 h 20000"/>
                  <a:gd name="T16" fmla="*/ 19789 w 20000"/>
                  <a:gd name="T17" fmla="*/ 6200 h 20000"/>
                  <a:gd name="T18" fmla="*/ 19789 w 20000"/>
                  <a:gd name="T19" fmla="*/ 10400 h 20000"/>
                  <a:gd name="T20" fmla="*/ 16421 w 20000"/>
                  <a:gd name="T21" fmla="*/ 13600 h 20000"/>
                  <a:gd name="T22" fmla="*/ 10737 w 20000"/>
                  <a:gd name="T23" fmla="*/ 18600 h 20000"/>
                  <a:gd name="T24" fmla="*/ 5474 w 20000"/>
                  <a:gd name="T25" fmla="*/ 19800 h 20000"/>
                  <a:gd name="T26" fmla="*/ 5474 w 20000"/>
                  <a:gd name="T27" fmla="*/ 18600 h 20000"/>
                  <a:gd name="T28" fmla="*/ 4421 w 20000"/>
                  <a:gd name="T29" fmla="*/ 13600 h 20000"/>
                  <a:gd name="T30" fmla="*/ 4421 w 20000"/>
                  <a:gd name="T31" fmla="*/ 10400 h 20000"/>
                  <a:gd name="T32" fmla="*/ 4421 w 20000"/>
                  <a:gd name="T33" fmla="*/ 8200 h 20000"/>
                  <a:gd name="T34" fmla="*/ 2105 w 20000"/>
                  <a:gd name="T35" fmla="*/ 6200 h 20000"/>
                  <a:gd name="T36" fmla="*/ 0 w 20000"/>
                  <a:gd name="T37" fmla="*/ 320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0" y="3200"/>
                    </a:moveTo>
                    <a:lnTo>
                      <a:pt x="5474" y="2200"/>
                    </a:lnTo>
                    <a:lnTo>
                      <a:pt x="5474" y="5400"/>
                    </a:lnTo>
                    <a:lnTo>
                      <a:pt x="8632" y="3200"/>
                    </a:lnTo>
                    <a:lnTo>
                      <a:pt x="10737" y="2200"/>
                    </a:lnTo>
                    <a:lnTo>
                      <a:pt x="14105" y="0"/>
                    </a:lnTo>
                    <a:lnTo>
                      <a:pt x="16421" y="3200"/>
                    </a:lnTo>
                    <a:lnTo>
                      <a:pt x="16421" y="5400"/>
                    </a:lnTo>
                    <a:lnTo>
                      <a:pt x="19789" y="6200"/>
                    </a:lnTo>
                    <a:lnTo>
                      <a:pt x="19789" y="10400"/>
                    </a:lnTo>
                    <a:lnTo>
                      <a:pt x="16421" y="13600"/>
                    </a:lnTo>
                    <a:lnTo>
                      <a:pt x="10737" y="18600"/>
                    </a:lnTo>
                    <a:lnTo>
                      <a:pt x="5474" y="19800"/>
                    </a:lnTo>
                    <a:lnTo>
                      <a:pt x="5474" y="18600"/>
                    </a:lnTo>
                    <a:lnTo>
                      <a:pt x="4421" y="13600"/>
                    </a:lnTo>
                    <a:lnTo>
                      <a:pt x="4421" y="10400"/>
                    </a:lnTo>
                    <a:lnTo>
                      <a:pt x="4421" y="8200"/>
                    </a:lnTo>
                    <a:lnTo>
                      <a:pt x="2105" y="6200"/>
                    </a:lnTo>
                    <a:lnTo>
                      <a:pt x="0" y="320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3" name="Freeform 133"/>
              <p:cNvSpPr>
                <a:spLocks/>
              </p:cNvSpPr>
              <p:nvPr/>
            </p:nvSpPr>
            <p:spPr bwMode="auto">
              <a:xfrm>
                <a:off x="6167438" y="4092575"/>
                <a:ext cx="42862" cy="53975"/>
              </a:xfrm>
              <a:custGeom>
                <a:avLst/>
                <a:gdLst>
                  <a:gd name="T0" fmla="*/ 18235 w 20000"/>
                  <a:gd name="T1" fmla="*/ 0 h 20000"/>
                  <a:gd name="T2" fmla="*/ 19706 w 20000"/>
                  <a:gd name="T3" fmla="*/ 7143 h 20000"/>
                  <a:gd name="T4" fmla="*/ 10882 w 20000"/>
                  <a:gd name="T5" fmla="*/ 10952 h 20000"/>
                  <a:gd name="T6" fmla="*/ 10882 w 20000"/>
                  <a:gd name="T7" fmla="*/ 13571 h 20000"/>
                  <a:gd name="T8" fmla="*/ 18235 w 20000"/>
                  <a:gd name="T9" fmla="*/ 10952 h 20000"/>
                  <a:gd name="T10" fmla="*/ 19706 w 20000"/>
                  <a:gd name="T11" fmla="*/ 13571 h 20000"/>
                  <a:gd name="T12" fmla="*/ 18235 w 20000"/>
                  <a:gd name="T13" fmla="*/ 15952 h 20000"/>
                  <a:gd name="T14" fmla="*/ 15000 w 20000"/>
                  <a:gd name="T15" fmla="*/ 19762 h 20000"/>
                  <a:gd name="T16" fmla="*/ 12059 w 20000"/>
                  <a:gd name="T17" fmla="*/ 17381 h 20000"/>
                  <a:gd name="T18" fmla="*/ 2941 w 20000"/>
                  <a:gd name="T19" fmla="*/ 17381 h 20000"/>
                  <a:gd name="T20" fmla="*/ 0 w 20000"/>
                  <a:gd name="T21" fmla="*/ 10952 h 20000"/>
                  <a:gd name="T22" fmla="*/ 4706 w 20000"/>
                  <a:gd name="T23" fmla="*/ 7143 h 20000"/>
                  <a:gd name="T24" fmla="*/ 7647 w 20000"/>
                  <a:gd name="T25" fmla="*/ 3571 h 20000"/>
                  <a:gd name="T26" fmla="*/ 12059 w 20000"/>
                  <a:gd name="T27" fmla="*/ 952 h 20000"/>
                  <a:gd name="T28" fmla="*/ 18235 w 20000"/>
                  <a:gd name="T2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8235" y="0"/>
                    </a:moveTo>
                    <a:lnTo>
                      <a:pt x="19706" y="7143"/>
                    </a:lnTo>
                    <a:lnTo>
                      <a:pt x="10882" y="10952"/>
                    </a:lnTo>
                    <a:lnTo>
                      <a:pt x="10882" y="13571"/>
                    </a:lnTo>
                    <a:lnTo>
                      <a:pt x="18235" y="10952"/>
                    </a:lnTo>
                    <a:lnTo>
                      <a:pt x="19706" y="13571"/>
                    </a:lnTo>
                    <a:lnTo>
                      <a:pt x="18235" y="15952"/>
                    </a:lnTo>
                    <a:lnTo>
                      <a:pt x="15000" y="19762"/>
                    </a:lnTo>
                    <a:lnTo>
                      <a:pt x="12059" y="17381"/>
                    </a:lnTo>
                    <a:lnTo>
                      <a:pt x="2941" y="17381"/>
                    </a:lnTo>
                    <a:lnTo>
                      <a:pt x="0" y="10952"/>
                    </a:lnTo>
                    <a:lnTo>
                      <a:pt x="4706" y="7143"/>
                    </a:lnTo>
                    <a:lnTo>
                      <a:pt x="7647" y="3571"/>
                    </a:lnTo>
                    <a:lnTo>
                      <a:pt x="12059" y="952"/>
                    </a:lnTo>
                    <a:lnTo>
                      <a:pt x="1823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4" name="Freeform 132"/>
              <p:cNvSpPr>
                <a:spLocks/>
              </p:cNvSpPr>
              <p:nvPr/>
            </p:nvSpPr>
            <p:spPr bwMode="auto">
              <a:xfrm>
                <a:off x="4749800" y="4144963"/>
                <a:ext cx="165100" cy="180975"/>
              </a:xfrm>
              <a:custGeom>
                <a:avLst/>
                <a:gdLst>
                  <a:gd name="T0" fmla="*/ 2000 w 20000"/>
                  <a:gd name="T1" fmla="*/ 1825 h 20000"/>
                  <a:gd name="T2" fmla="*/ 3154 w 20000"/>
                  <a:gd name="T3" fmla="*/ 281 h 20000"/>
                  <a:gd name="T4" fmla="*/ 3538 w 20000"/>
                  <a:gd name="T5" fmla="*/ 1123 h 20000"/>
                  <a:gd name="T6" fmla="*/ 5154 w 20000"/>
                  <a:gd name="T7" fmla="*/ 1825 h 20000"/>
                  <a:gd name="T8" fmla="*/ 5154 w 20000"/>
                  <a:gd name="T9" fmla="*/ 1123 h 20000"/>
                  <a:gd name="T10" fmla="*/ 5615 w 20000"/>
                  <a:gd name="T11" fmla="*/ 281 h 20000"/>
                  <a:gd name="T12" fmla="*/ 6385 w 20000"/>
                  <a:gd name="T13" fmla="*/ 0 h 20000"/>
                  <a:gd name="T14" fmla="*/ 7154 w 20000"/>
                  <a:gd name="T15" fmla="*/ 0 h 20000"/>
                  <a:gd name="T16" fmla="*/ 7538 w 20000"/>
                  <a:gd name="T17" fmla="*/ 1123 h 20000"/>
                  <a:gd name="T18" fmla="*/ 8769 w 20000"/>
                  <a:gd name="T19" fmla="*/ 1123 h 20000"/>
                  <a:gd name="T20" fmla="*/ 10308 w 20000"/>
                  <a:gd name="T21" fmla="*/ 281 h 20000"/>
                  <a:gd name="T22" fmla="*/ 10308 w 20000"/>
                  <a:gd name="T23" fmla="*/ 1123 h 20000"/>
                  <a:gd name="T24" fmla="*/ 11538 w 20000"/>
                  <a:gd name="T25" fmla="*/ 1825 h 20000"/>
                  <a:gd name="T26" fmla="*/ 12692 w 20000"/>
                  <a:gd name="T27" fmla="*/ 3579 h 20000"/>
                  <a:gd name="T28" fmla="*/ 13923 w 20000"/>
                  <a:gd name="T29" fmla="*/ 3579 h 20000"/>
                  <a:gd name="T30" fmla="*/ 14769 w 20000"/>
                  <a:gd name="T31" fmla="*/ 2175 h 20000"/>
                  <a:gd name="T32" fmla="*/ 16769 w 20000"/>
                  <a:gd name="T33" fmla="*/ 2175 h 20000"/>
                  <a:gd name="T34" fmla="*/ 19154 w 20000"/>
                  <a:gd name="T35" fmla="*/ 4000 h 20000"/>
                  <a:gd name="T36" fmla="*/ 19154 w 20000"/>
                  <a:gd name="T37" fmla="*/ 4702 h 20000"/>
                  <a:gd name="T38" fmla="*/ 19923 w 20000"/>
                  <a:gd name="T39" fmla="*/ 6877 h 20000"/>
                  <a:gd name="T40" fmla="*/ 19923 w 20000"/>
                  <a:gd name="T41" fmla="*/ 8000 h 20000"/>
                  <a:gd name="T42" fmla="*/ 18692 w 20000"/>
                  <a:gd name="T43" fmla="*/ 8702 h 20000"/>
                  <a:gd name="T44" fmla="*/ 18692 w 20000"/>
                  <a:gd name="T45" fmla="*/ 10456 h 20000"/>
                  <a:gd name="T46" fmla="*/ 17077 w 20000"/>
                  <a:gd name="T47" fmla="*/ 12351 h 20000"/>
                  <a:gd name="T48" fmla="*/ 18692 w 20000"/>
                  <a:gd name="T49" fmla="*/ 15228 h 20000"/>
                  <a:gd name="T50" fmla="*/ 19154 w 20000"/>
                  <a:gd name="T51" fmla="*/ 17053 h 20000"/>
                  <a:gd name="T52" fmla="*/ 19154 w 20000"/>
                  <a:gd name="T53" fmla="*/ 18105 h 20000"/>
                  <a:gd name="T54" fmla="*/ 17923 w 20000"/>
                  <a:gd name="T55" fmla="*/ 17404 h 20000"/>
                  <a:gd name="T56" fmla="*/ 17923 w 20000"/>
                  <a:gd name="T57" fmla="*/ 16351 h 20000"/>
                  <a:gd name="T58" fmla="*/ 17077 w 20000"/>
                  <a:gd name="T59" fmla="*/ 17404 h 20000"/>
                  <a:gd name="T60" fmla="*/ 15538 w 20000"/>
                  <a:gd name="T61" fmla="*/ 17053 h 20000"/>
                  <a:gd name="T62" fmla="*/ 13923 w 20000"/>
                  <a:gd name="T63" fmla="*/ 17404 h 20000"/>
                  <a:gd name="T64" fmla="*/ 10308 w 20000"/>
                  <a:gd name="T65" fmla="*/ 17404 h 20000"/>
                  <a:gd name="T66" fmla="*/ 7154 w 20000"/>
                  <a:gd name="T67" fmla="*/ 18105 h 20000"/>
                  <a:gd name="T68" fmla="*/ 3154 w 20000"/>
                  <a:gd name="T69" fmla="*/ 19930 h 20000"/>
                  <a:gd name="T70" fmla="*/ 2385 w 20000"/>
                  <a:gd name="T71" fmla="*/ 17404 h 20000"/>
                  <a:gd name="T72" fmla="*/ 3154 w 20000"/>
                  <a:gd name="T73" fmla="*/ 15228 h 20000"/>
                  <a:gd name="T74" fmla="*/ 2385 w 20000"/>
                  <a:gd name="T75" fmla="*/ 14456 h 20000"/>
                  <a:gd name="T76" fmla="*/ 2000 w 20000"/>
                  <a:gd name="T77" fmla="*/ 14175 h 20000"/>
                  <a:gd name="T78" fmla="*/ 308 w 20000"/>
                  <a:gd name="T79" fmla="*/ 14175 h 20000"/>
                  <a:gd name="T80" fmla="*/ 0 w 20000"/>
                  <a:gd name="T81" fmla="*/ 12632 h 20000"/>
                  <a:gd name="T82" fmla="*/ 0 w 20000"/>
                  <a:gd name="T83" fmla="*/ 12351 h 20000"/>
                  <a:gd name="T84" fmla="*/ 0 w 20000"/>
                  <a:gd name="T85" fmla="*/ 11228 h 20000"/>
                  <a:gd name="T86" fmla="*/ 0 w 20000"/>
                  <a:gd name="T87" fmla="*/ 9754 h 20000"/>
                  <a:gd name="T88" fmla="*/ 308 w 20000"/>
                  <a:gd name="T89" fmla="*/ 9754 h 20000"/>
                  <a:gd name="T90" fmla="*/ 1231 w 20000"/>
                  <a:gd name="T91" fmla="*/ 8000 h 20000"/>
                  <a:gd name="T92" fmla="*/ 308 w 20000"/>
                  <a:gd name="T93" fmla="*/ 7579 h 20000"/>
                  <a:gd name="T94" fmla="*/ 1231 w 20000"/>
                  <a:gd name="T95" fmla="*/ 6877 h 20000"/>
                  <a:gd name="T96" fmla="*/ 2385 w 20000"/>
                  <a:gd name="T97" fmla="*/ 6877 h 20000"/>
                  <a:gd name="T98" fmla="*/ 2000 w 20000"/>
                  <a:gd name="T99" fmla="*/ 5754 h 20000"/>
                  <a:gd name="T100" fmla="*/ 2000 w 20000"/>
                  <a:gd name="T101" fmla="*/ 5053 h 20000"/>
                  <a:gd name="T102" fmla="*/ 2000 w 20000"/>
                  <a:gd name="T103" fmla="*/ 4000 h 20000"/>
                  <a:gd name="T104" fmla="*/ 1231 w 20000"/>
                  <a:gd name="T105" fmla="*/ 3579 h 20000"/>
                  <a:gd name="T106" fmla="*/ 1231 w 20000"/>
                  <a:gd name="T107" fmla="*/ 2175 h 20000"/>
                  <a:gd name="T108" fmla="*/ 2000 w 20000"/>
                  <a:gd name="T109" fmla="*/ 182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2000" y="1825"/>
                    </a:moveTo>
                    <a:lnTo>
                      <a:pt x="3154" y="281"/>
                    </a:lnTo>
                    <a:lnTo>
                      <a:pt x="3538" y="1123"/>
                    </a:lnTo>
                    <a:lnTo>
                      <a:pt x="5154" y="1825"/>
                    </a:lnTo>
                    <a:lnTo>
                      <a:pt x="5154" y="1123"/>
                    </a:lnTo>
                    <a:lnTo>
                      <a:pt x="5615" y="281"/>
                    </a:lnTo>
                    <a:lnTo>
                      <a:pt x="6385" y="0"/>
                    </a:lnTo>
                    <a:lnTo>
                      <a:pt x="7154" y="0"/>
                    </a:lnTo>
                    <a:lnTo>
                      <a:pt x="7538" y="1123"/>
                    </a:lnTo>
                    <a:lnTo>
                      <a:pt x="8769" y="1123"/>
                    </a:lnTo>
                    <a:lnTo>
                      <a:pt x="10308" y="281"/>
                    </a:lnTo>
                    <a:lnTo>
                      <a:pt x="10308" y="1123"/>
                    </a:lnTo>
                    <a:lnTo>
                      <a:pt x="11538" y="1825"/>
                    </a:lnTo>
                    <a:lnTo>
                      <a:pt x="12692" y="3579"/>
                    </a:lnTo>
                    <a:lnTo>
                      <a:pt x="13923" y="3579"/>
                    </a:lnTo>
                    <a:lnTo>
                      <a:pt x="14769" y="2175"/>
                    </a:lnTo>
                    <a:lnTo>
                      <a:pt x="16769" y="2175"/>
                    </a:lnTo>
                    <a:lnTo>
                      <a:pt x="19154" y="4000"/>
                    </a:lnTo>
                    <a:lnTo>
                      <a:pt x="19154" y="4702"/>
                    </a:lnTo>
                    <a:lnTo>
                      <a:pt x="19923" y="6877"/>
                    </a:lnTo>
                    <a:lnTo>
                      <a:pt x="19923" y="8000"/>
                    </a:lnTo>
                    <a:lnTo>
                      <a:pt x="18692" y="8702"/>
                    </a:lnTo>
                    <a:lnTo>
                      <a:pt x="18692" y="10456"/>
                    </a:lnTo>
                    <a:lnTo>
                      <a:pt x="17077" y="12351"/>
                    </a:lnTo>
                    <a:lnTo>
                      <a:pt x="18692" y="15228"/>
                    </a:lnTo>
                    <a:lnTo>
                      <a:pt x="19154" y="17053"/>
                    </a:lnTo>
                    <a:lnTo>
                      <a:pt x="19154" y="18105"/>
                    </a:lnTo>
                    <a:lnTo>
                      <a:pt x="17923" y="17404"/>
                    </a:lnTo>
                    <a:lnTo>
                      <a:pt x="17923" y="16351"/>
                    </a:lnTo>
                    <a:lnTo>
                      <a:pt x="17077" y="17404"/>
                    </a:lnTo>
                    <a:lnTo>
                      <a:pt x="15538" y="17053"/>
                    </a:lnTo>
                    <a:lnTo>
                      <a:pt x="13923" y="17404"/>
                    </a:lnTo>
                    <a:lnTo>
                      <a:pt x="10308" y="17404"/>
                    </a:lnTo>
                    <a:lnTo>
                      <a:pt x="7154" y="18105"/>
                    </a:lnTo>
                    <a:lnTo>
                      <a:pt x="3154" y="19930"/>
                    </a:lnTo>
                    <a:lnTo>
                      <a:pt x="2385" y="17404"/>
                    </a:lnTo>
                    <a:lnTo>
                      <a:pt x="3154" y="15228"/>
                    </a:lnTo>
                    <a:lnTo>
                      <a:pt x="2385" y="14456"/>
                    </a:lnTo>
                    <a:lnTo>
                      <a:pt x="2000" y="14175"/>
                    </a:lnTo>
                    <a:lnTo>
                      <a:pt x="308" y="14175"/>
                    </a:lnTo>
                    <a:lnTo>
                      <a:pt x="0" y="12632"/>
                    </a:lnTo>
                    <a:lnTo>
                      <a:pt x="0" y="12351"/>
                    </a:lnTo>
                    <a:lnTo>
                      <a:pt x="0" y="11228"/>
                    </a:lnTo>
                    <a:lnTo>
                      <a:pt x="0" y="9754"/>
                    </a:lnTo>
                    <a:lnTo>
                      <a:pt x="308" y="9754"/>
                    </a:lnTo>
                    <a:lnTo>
                      <a:pt x="1231" y="8000"/>
                    </a:lnTo>
                    <a:lnTo>
                      <a:pt x="308" y="7579"/>
                    </a:lnTo>
                    <a:lnTo>
                      <a:pt x="1231" y="6877"/>
                    </a:lnTo>
                    <a:lnTo>
                      <a:pt x="2385" y="6877"/>
                    </a:lnTo>
                    <a:lnTo>
                      <a:pt x="2000" y="5754"/>
                    </a:lnTo>
                    <a:lnTo>
                      <a:pt x="2000" y="5053"/>
                    </a:lnTo>
                    <a:lnTo>
                      <a:pt x="2000" y="4000"/>
                    </a:lnTo>
                    <a:lnTo>
                      <a:pt x="1231" y="3579"/>
                    </a:lnTo>
                    <a:lnTo>
                      <a:pt x="1231" y="2175"/>
                    </a:lnTo>
                    <a:lnTo>
                      <a:pt x="2000" y="182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5" name="Freeform 131"/>
              <p:cNvSpPr>
                <a:spLocks/>
              </p:cNvSpPr>
              <p:nvPr/>
            </p:nvSpPr>
            <p:spPr bwMode="auto">
              <a:xfrm>
                <a:off x="5235575" y="4384675"/>
                <a:ext cx="168275" cy="174625"/>
              </a:xfrm>
              <a:custGeom>
                <a:avLst/>
                <a:gdLst>
                  <a:gd name="T0" fmla="*/ 8981 w 20000"/>
                  <a:gd name="T1" fmla="*/ 291 h 20000"/>
                  <a:gd name="T2" fmla="*/ 8981 w 20000"/>
                  <a:gd name="T3" fmla="*/ 0 h 20000"/>
                  <a:gd name="T4" fmla="*/ 11774 w 20000"/>
                  <a:gd name="T5" fmla="*/ 0 h 20000"/>
                  <a:gd name="T6" fmla="*/ 14113 w 20000"/>
                  <a:gd name="T7" fmla="*/ 0 h 20000"/>
                  <a:gd name="T8" fmla="*/ 15245 w 20000"/>
                  <a:gd name="T9" fmla="*/ 0 h 20000"/>
                  <a:gd name="T10" fmla="*/ 16075 w 20000"/>
                  <a:gd name="T11" fmla="*/ 0 h 20000"/>
                  <a:gd name="T12" fmla="*/ 15245 w 20000"/>
                  <a:gd name="T13" fmla="*/ 1164 h 20000"/>
                  <a:gd name="T14" fmla="*/ 15245 w 20000"/>
                  <a:gd name="T15" fmla="*/ 3345 h 20000"/>
                  <a:gd name="T16" fmla="*/ 16377 w 20000"/>
                  <a:gd name="T17" fmla="*/ 2982 h 20000"/>
                  <a:gd name="T18" fmla="*/ 17962 w 20000"/>
                  <a:gd name="T19" fmla="*/ 2982 h 20000"/>
                  <a:gd name="T20" fmla="*/ 18415 w 20000"/>
                  <a:gd name="T21" fmla="*/ 3345 h 20000"/>
                  <a:gd name="T22" fmla="*/ 19170 w 20000"/>
                  <a:gd name="T23" fmla="*/ 4436 h 20000"/>
                  <a:gd name="T24" fmla="*/ 18415 w 20000"/>
                  <a:gd name="T25" fmla="*/ 5236 h 20000"/>
                  <a:gd name="T26" fmla="*/ 17962 w 20000"/>
                  <a:gd name="T27" fmla="*/ 5964 h 20000"/>
                  <a:gd name="T28" fmla="*/ 17962 w 20000"/>
                  <a:gd name="T29" fmla="*/ 7855 h 20000"/>
                  <a:gd name="T30" fmla="*/ 19925 w 20000"/>
                  <a:gd name="T31" fmla="*/ 9018 h 20000"/>
                  <a:gd name="T32" fmla="*/ 19925 w 20000"/>
                  <a:gd name="T33" fmla="*/ 12000 h 20000"/>
                  <a:gd name="T34" fmla="*/ 19170 w 20000"/>
                  <a:gd name="T35" fmla="*/ 13091 h 20000"/>
                  <a:gd name="T36" fmla="*/ 18415 w 20000"/>
                  <a:gd name="T37" fmla="*/ 14255 h 20000"/>
                  <a:gd name="T38" fmla="*/ 18415 w 20000"/>
                  <a:gd name="T39" fmla="*/ 15782 h 20000"/>
                  <a:gd name="T40" fmla="*/ 17962 w 20000"/>
                  <a:gd name="T41" fmla="*/ 15782 h 20000"/>
                  <a:gd name="T42" fmla="*/ 17208 w 20000"/>
                  <a:gd name="T43" fmla="*/ 14255 h 20000"/>
                  <a:gd name="T44" fmla="*/ 15245 w 20000"/>
                  <a:gd name="T45" fmla="*/ 14982 h 20000"/>
                  <a:gd name="T46" fmla="*/ 12906 w 20000"/>
                  <a:gd name="T47" fmla="*/ 13091 h 20000"/>
                  <a:gd name="T48" fmla="*/ 12075 w 20000"/>
                  <a:gd name="T49" fmla="*/ 14982 h 20000"/>
                  <a:gd name="T50" fmla="*/ 10943 w 20000"/>
                  <a:gd name="T51" fmla="*/ 14982 h 20000"/>
                  <a:gd name="T52" fmla="*/ 10189 w 20000"/>
                  <a:gd name="T53" fmla="*/ 14255 h 20000"/>
                  <a:gd name="T54" fmla="*/ 9736 w 20000"/>
                  <a:gd name="T55" fmla="*/ 16145 h 20000"/>
                  <a:gd name="T56" fmla="*/ 10943 w 20000"/>
                  <a:gd name="T57" fmla="*/ 16945 h 20000"/>
                  <a:gd name="T58" fmla="*/ 10943 w 20000"/>
                  <a:gd name="T59" fmla="*/ 19127 h 20000"/>
                  <a:gd name="T60" fmla="*/ 10189 w 20000"/>
                  <a:gd name="T61" fmla="*/ 19127 h 20000"/>
                  <a:gd name="T62" fmla="*/ 9736 w 20000"/>
                  <a:gd name="T63" fmla="*/ 18764 h 20000"/>
                  <a:gd name="T64" fmla="*/ 8981 w 20000"/>
                  <a:gd name="T65" fmla="*/ 19127 h 20000"/>
                  <a:gd name="T66" fmla="*/ 7849 w 20000"/>
                  <a:gd name="T67" fmla="*/ 19927 h 20000"/>
                  <a:gd name="T68" fmla="*/ 4679 w 20000"/>
                  <a:gd name="T69" fmla="*/ 16945 h 20000"/>
                  <a:gd name="T70" fmla="*/ 3547 w 20000"/>
                  <a:gd name="T71" fmla="*/ 15782 h 20000"/>
                  <a:gd name="T72" fmla="*/ 4679 w 20000"/>
                  <a:gd name="T73" fmla="*/ 16145 h 20000"/>
                  <a:gd name="T74" fmla="*/ 4679 w 20000"/>
                  <a:gd name="T75" fmla="*/ 15782 h 20000"/>
                  <a:gd name="T76" fmla="*/ 2792 w 20000"/>
                  <a:gd name="T77" fmla="*/ 14982 h 20000"/>
                  <a:gd name="T78" fmla="*/ 1962 w 20000"/>
                  <a:gd name="T79" fmla="*/ 13818 h 20000"/>
                  <a:gd name="T80" fmla="*/ 2792 w 20000"/>
                  <a:gd name="T81" fmla="*/ 13818 h 20000"/>
                  <a:gd name="T82" fmla="*/ 1962 w 20000"/>
                  <a:gd name="T83" fmla="*/ 13091 h 20000"/>
                  <a:gd name="T84" fmla="*/ 2792 w 20000"/>
                  <a:gd name="T85" fmla="*/ 12364 h 20000"/>
                  <a:gd name="T86" fmla="*/ 1962 w 20000"/>
                  <a:gd name="T87" fmla="*/ 12000 h 20000"/>
                  <a:gd name="T88" fmla="*/ 1585 w 20000"/>
                  <a:gd name="T89" fmla="*/ 12364 h 20000"/>
                  <a:gd name="T90" fmla="*/ 830 w 20000"/>
                  <a:gd name="T91" fmla="*/ 10836 h 20000"/>
                  <a:gd name="T92" fmla="*/ 0 w 20000"/>
                  <a:gd name="T93" fmla="*/ 9382 h 20000"/>
                  <a:gd name="T94" fmla="*/ 1585 w 20000"/>
                  <a:gd name="T95" fmla="*/ 9382 h 20000"/>
                  <a:gd name="T96" fmla="*/ 1962 w 20000"/>
                  <a:gd name="T97" fmla="*/ 7127 h 20000"/>
                  <a:gd name="T98" fmla="*/ 2792 w 20000"/>
                  <a:gd name="T99" fmla="*/ 7855 h 20000"/>
                  <a:gd name="T100" fmla="*/ 3925 w 20000"/>
                  <a:gd name="T101" fmla="*/ 7127 h 20000"/>
                  <a:gd name="T102" fmla="*/ 1962 w 20000"/>
                  <a:gd name="T103" fmla="*/ 6400 h 20000"/>
                  <a:gd name="T104" fmla="*/ 1962 w 20000"/>
                  <a:gd name="T105" fmla="*/ 5236 h 20000"/>
                  <a:gd name="T106" fmla="*/ 2792 w 20000"/>
                  <a:gd name="T107" fmla="*/ 5236 h 20000"/>
                  <a:gd name="T108" fmla="*/ 2792 w 20000"/>
                  <a:gd name="T109" fmla="*/ 4145 h 20000"/>
                  <a:gd name="T110" fmla="*/ 5132 w 20000"/>
                  <a:gd name="T111" fmla="*/ 4145 h 20000"/>
                  <a:gd name="T112" fmla="*/ 7094 w 20000"/>
                  <a:gd name="T113" fmla="*/ 4145 h 20000"/>
                  <a:gd name="T114" fmla="*/ 8981 w 20000"/>
                  <a:gd name="T115" fmla="*/ 4145 h 20000"/>
                  <a:gd name="T116" fmla="*/ 8981 w 20000"/>
                  <a:gd name="T117" fmla="*/ 29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8981" y="291"/>
                    </a:moveTo>
                    <a:lnTo>
                      <a:pt x="8981" y="0"/>
                    </a:lnTo>
                    <a:lnTo>
                      <a:pt x="11774" y="0"/>
                    </a:lnTo>
                    <a:lnTo>
                      <a:pt x="14113" y="0"/>
                    </a:lnTo>
                    <a:lnTo>
                      <a:pt x="15245" y="0"/>
                    </a:lnTo>
                    <a:lnTo>
                      <a:pt x="16075" y="0"/>
                    </a:lnTo>
                    <a:lnTo>
                      <a:pt x="15245" y="1164"/>
                    </a:lnTo>
                    <a:lnTo>
                      <a:pt x="15245" y="3345"/>
                    </a:lnTo>
                    <a:lnTo>
                      <a:pt x="16377" y="2982"/>
                    </a:lnTo>
                    <a:lnTo>
                      <a:pt x="17962" y="2982"/>
                    </a:lnTo>
                    <a:lnTo>
                      <a:pt x="18415" y="3345"/>
                    </a:lnTo>
                    <a:lnTo>
                      <a:pt x="19170" y="4436"/>
                    </a:lnTo>
                    <a:lnTo>
                      <a:pt x="18415" y="5236"/>
                    </a:lnTo>
                    <a:lnTo>
                      <a:pt x="17962" y="5964"/>
                    </a:lnTo>
                    <a:lnTo>
                      <a:pt x="17962" y="7855"/>
                    </a:lnTo>
                    <a:lnTo>
                      <a:pt x="19925" y="9018"/>
                    </a:lnTo>
                    <a:lnTo>
                      <a:pt x="19925" y="12000"/>
                    </a:lnTo>
                    <a:lnTo>
                      <a:pt x="19170" y="13091"/>
                    </a:lnTo>
                    <a:lnTo>
                      <a:pt x="18415" y="14255"/>
                    </a:lnTo>
                    <a:lnTo>
                      <a:pt x="18415" y="15782"/>
                    </a:lnTo>
                    <a:lnTo>
                      <a:pt x="17962" y="15782"/>
                    </a:lnTo>
                    <a:lnTo>
                      <a:pt x="17208" y="14255"/>
                    </a:lnTo>
                    <a:lnTo>
                      <a:pt x="15245" y="14982"/>
                    </a:lnTo>
                    <a:lnTo>
                      <a:pt x="12906" y="13091"/>
                    </a:lnTo>
                    <a:lnTo>
                      <a:pt x="12075" y="14982"/>
                    </a:lnTo>
                    <a:lnTo>
                      <a:pt x="10943" y="14982"/>
                    </a:lnTo>
                    <a:lnTo>
                      <a:pt x="10189" y="14255"/>
                    </a:lnTo>
                    <a:lnTo>
                      <a:pt x="9736" y="16145"/>
                    </a:lnTo>
                    <a:lnTo>
                      <a:pt x="10943" y="16945"/>
                    </a:lnTo>
                    <a:lnTo>
                      <a:pt x="10943" y="19127"/>
                    </a:lnTo>
                    <a:lnTo>
                      <a:pt x="10189" y="19127"/>
                    </a:lnTo>
                    <a:lnTo>
                      <a:pt x="9736" y="18764"/>
                    </a:lnTo>
                    <a:lnTo>
                      <a:pt x="8981" y="19127"/>
                    </a:lnTo>
                    <a:lnTo>
                      <a:pt x="7849" y="19927"/>
                    </a:lnTo>
                    <a:lnTo>
                      <a:pt x="4679" y="16945"/>
                    </a:lnTo>
                    <a:lnTo>
                      <a:pt x="3547" y="15782"/>
                    </a:lnTo>
                    <a:lnTo>
                      <a:pt x="4679" y="16145"/>
                    </a:lnTo>
                    <a:lnTo>
                      <a:pt x="4679" y="15782"/>
                    </a:lnTo>
                    <a:lnTo>
                      <a:pt x="2792" y="14982"/>
                    </a:lnTo>
                    <a:lnTo>
                      <a:pt x="1962" y="13818"/>
                    </a:lnTo>
                    <a:lnTo>
                      <a:pt x="2792" y="13818"/>
                    </a:lnTo>
                    <a:lnTo>
                      <a:pt x="1962" y="13091"/>
                    </a:lnTo>
                    <a:lnTo>
                      <a:pt x="2792" y="12364"/>
                    </a:lnTo>
                    <a:lnTo>
                      <a:pt x="1962" y="12000"/>
                    </a:lnTo>
                    <a:lnTo>
                      <a:pt x="1585" y="12364"/>
                    </a:lnTo>
                    <a:lnTo>
                      <a:pt x="830" y="10836"/>
                    </a:lnTo>
                    <a:lnTo>
                      <a:pt x="0" y="9382"/>
                    </a:lnTo>
                    <a:lnTo>
                      <a:pt x="1585" y="9382"/>
                    </a:lnTo>
                    <a:lnTo>
                      <a:pt x="1962" y="7127"/>
                    </a:lnTo>
                    <a:lnTo>
                      <a:pt x="2792" y="7855"/>
                    </a:lnTo>
                    <a:lnTo>
                      <a:pt x="3925" y="7127"/>
                    </a:lnTo>
                    <a:lnTo>
                      <a:pt x="1962" y="6400"/>
                    </a:lnTo>
                    <a:lnTo>
                      <a:pt x="1962" y="5236"/>
                    </a:lnTo>
                    <a:lnTo>
                      <a:pt x="2792" y="5236"/>
                    </a:lnTo>
                    <a:lnTo>
                      <a:pt x="2792" y="4145"/>
                    </a:lnTo>
                    <a:lnTo>
                      <a:pt x="5132" y="4145"/>
                    </a:lnTo>
                    <a:lnTo>
                      <a:pt x="7094" y="4145"/>
                    </a:lnTo>
                    <a:lnTo>
                      <a:pt x="8981" y="4145"/>
                    </a:lnTo>
                    <a:lnTo>
                      <a:pt x="8981" y="29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6" name="Freeform 130"/>
              <p:cNvSpPr>
                <a:spLocks/>
              </p:cNvSpPr>
              <p:nvPr/>
            </p:nvSpPr>
            <p:spPr bwMode="auto">
              <a:xfrm>
                <a:off x="4510088" y="4052888"/>
                <a:ext cx="92075" cy="23812"/>
              </a:xfrm>
              <a:custGeom>
                <a:avLst/>
                <a:gdLst>
                  <a:gd name="T0" fmla="*/ 1370 w 20000"/>
                  <a:gd name="T1" fmla="*/ 5405 h 20000"/>
                  <a:gd name="T2" fmla="*/ 7808 w 20000"/>
                  <a:gd name="T3" fmla="*/ 0 h 20000"/>
                  <a:gd name="T4" fmla="*/ 12740 w 20000"/>
                  <a:gd name="T5" fmla="*/ 0 h 20000"/>
                  <a:gd name="T6" fmla="*/ 16164 w 20000"/>
                  <a:gd name="T7" fmla="*/ 5405 h 20000"/>
                  <a:gd name="T8" fmla="*/ 19863 w 20000"/>
                  <a:gd name="T9" fmla="*/ 5405 h 20000"/>
                  <a:gd name="T10" fmla="*/ 16986 w 20000"/>
                  <a:gd name="T11" fmla="*/ 14054 h 20000"/>
                  <a:gd name="T12" fmla="*/ 11233 w 20000"/>
                  <a:gd name="T13" fmla="*/ 5405 h 20000"/>
                  <a:gd name="T14" fmla="*/ 9178 w 20000"/>
                  <a:gd name="T15" fmla="*/ 10811 h 20000"/>
                  <a:gd name="T16" fmla="*/ 6986 w 20000"/>
                  <a:gd name="T17" fmla="*/ 10811 h 20000"/>
                  <a:gd name="T18" fmla="*/ 6986 w 20000"/>
                  <a:gd name="T19" fmla="*/ 14054 h 20000"/>
                  <a:gd name="T20" fmla="*/ 0 w 20000"/>
                  <a:gd name="T21" fmla="*/ 19459 h 20000"/>
                  <a:gd name="T22" fmla="*/ 0 w 20000"/>
                  <a:gd name="T23" fmla="*/ 14054 h 20000"/>
                  <a:gd name="T24" fmla="*/ 1370 w 20000"/>
                  <a:gd name="T25" fmla="*/ 10811 h 20000"/>
                  <a:gd name="T26" fmla="*/ 1370 w 20000"/>
                  <a:gd name="T27" fmla="*/ 540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1370" y="5405"/>
                    </a:moveTo>
                    <a:lnTo>
                      <a:pt x="7808" y="0"/>
                    </a:lnTo>
                    <a:lnTo>
                      <a:pt x="12740" y="0"/>
                    </a:lnTo>
                    <a:lnTo>
                      <a:pt x="16164" y="5405"/>
                    </a:lnTo>
                    <a:lnTo>
                      <a:pt x="19863" y="5405"/>
                    </a:lnTo>
                    <a:lnTo>
                      <a:pt x="16986" y="14054"/>
                    </a:lnTo>
                    <a:lnTo>
                      <a:pt x="11233" y="5405"/>
                    </a:lnTo>
                    <a:lnTo>
                      <a:pt x="9178" y="10811"/>
                    </a:lnTo>
                    <a:lnTo>
                      <a:pt x="6986" y="10811"/>
                    </a:lnTo>
                    <a:lnTo>
                      <a:pt x="6986" y="14054"/>
                    </a:lnTo>
                    <a:lnTo>
                      <a:pt x="0" y="19459"/>
                    </a:lnTo>
                    <a:lnTo>
                      <a:pt x="0" y="14054"/>
                    </a:lnTo>
                    <a:lnTo>
                      <a:pt x="1370" y="10811"/>
                    </a:lnTo>
                    <a:lnTo>
                      <a:pt x="1370" y="540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7" name="Freeform 129"/>
              <p:cNvSpPr>
                <a:spLocks/>
              </p:cNvSpPr>
              <p:nvPr/>
            </p:nvSpPr>
            <p:spPr bwMode="auto">
              <a:xfrm>
                <a:off x="4891088" y="4135438"/>
                <a:ext cx="130175" cy="174625"/>
              </a:xfrm>
              <a:custGeom>
                <a:avLst/>
                <a:gdLst>
                  <a:gd name="T0" fmla="*/ 2647 w 20000"/>
                  <a:gd name="T1" fmla="*/ 5236 h 20000"/>
                  <a:gd name="T2" fmla="*/ 2647 w 20000"/>
                  <a:gd name="T3" fmla="*/ 3418 h 20000"/>
                  <a:gd name="T4" fmla="*/ 2059 w 20000"/>
                  <a:gd name="T5" fmla="*/ 1164 h 20000"/>
                  <a:gd name="T6" fmla="*/ 2647 w 20000"/>
                  <a:gd name="T7" fmla="*/ 0 h 20000"/>
                  <a:gd name="T8" fmla="*/ 12745 w 20000"/>
                  <a:gd name="T9" fmla="*/ 436 h 20000"/>
                  <a:gd name="T10" fmla="*/ 13235 w 20000"/>
                  <a:gd name="T11" fmla="*/ 0 h 20000"/>
                  <a:gd name="T12" fmla="*/ 14706 w 20000"/>
                  <a:gd name="T13" fmla="*/ 0 h 20000"/>
                  <a:gd name="T14" fmla="*/ 15784 w 20000"/>
                  <a:gd name="T15" fmla="*/ 436 h 20000"/>
                  <a:gd name="T16" fmla="*/ 14706 w 20000"/>
                  <a:gd name="T17" fmla="*/ 1164 h 20000"/>
                  <a:gd name="T18" fmla="*/ 16863 w 20000"/>
                  <a:gd name="T19" fmla="*/ 2255 h 20000"/>
                  <a:gd name="T20" fmla="*/ 16863 w 20000"/>
                  <a:gd name="T21" fmla="*/ 3418 h 20000"/>
                  <a:gd name="T22" fmla="*/ 15784 w 20000"/>
                  <a:gd name="T23" fmla="*/ 4873 h 20000"/>
                  <a:gd name="T24" fmla="*/ 17255 w 20000"/>
                  <a:gd name="T25" fmla="*/ 5236 h 20000"/>
                  <a:gd name="T26" fmla="*/ 17255 w 20000"/>
                  <a:gd name="T27" fmla="*/ 6400 h 20000"/>
                  <a:gd name="T28" fmla="*/ 17255 w 20000"/>
                  <a:gd name="T29" fmla="*/ 7127 h 20000"/>
                  <a:gd name="T30" fmla="*/ 18333 w 20000"/>
                  <a:gd name="T31" fmla="*/ 8291 h 20000"/>
                  <a:gd name="T32" fmla="*/ 17255 w 20000"/>
                  <a:gd name="T33" fmla="*/ 9382 h 20000"/>
                  <a:gd name="T34" fmla="*/ 17255 w 20000"/>
                  <a:gd name="T35" fmla="*/ 10836 h 20000"/>
                  <a:gd name="T36" fmla="*/ 17255 w 20000"/>
                  <a:gd name="T37" fmla="*/ 12800 h 20000"/>
                  <a:gd name="T38" fmla="*/ 18333 w 20000"/>
                  <a:gd name="T39" fmla="*/ 15055 h 20000"/>
                  <a:gd name="T40" fmla="*/ 19902 w 20000"/>
                  <a:gd name="T41" fmla="*/ 16145 h 20000"/>
                  <a:gd name="T42" fmla="*/ 19314 w 20000"/>
                  <a:gd name="T43" fmla="*/ 16945 h 20000"/>
                  <a:gd name="T44" fmla="*/ 15784 w 20000"/>
                  <a:gd name="T45" fmla="*/ 17236 h 20000"/>
                  <a:gd name="T46" fmla="*/ 13235 w 20000"/>
                  <a:gd name="T47" fmla="*/ 18036 h 20000"/>
                  <a:gd name="T48" fmla="*/ 8627 w 20000"/>
                  <a:gd name="T49" fmla="*/ 19200 h 20000"/>
                  <a:gd name="T50" fmla="*/ 6078 w 20000"/>
                  <a:gd name="T51" fmla="*/ 19927 h 20000"/>
                  <a:gd name="T52" fmla="*/ 2647 w 20000"/>
                  <a:gd name="T53" fmla="*/ 19927 h 20000"/>
                  <a:gd name="T54" fmla="*/ 2647 w 20000"/>
                  <a:gd name="T55" fmla="*/ 18764 h 20000"/>
                  <a:gd name="T56" fmla="*/ 2059 w 20000"/>
                  <a:gd name="T57" fmla="*/ 16945 h 20000"/>
                  <a:gd name="T58" fmla="*/ 0 w 20000"/>
                  <a:gd name="T59" fmla="*/ 13891 h 20000"/>
                  <a:gd name="T60" fmla="*/ 2059 w 20000"/>
                  <a:gd name="T61" fmla="*/ 12000 h 20000"/>
                  <a:gd name="T62" fmla="*/ 2059 w 20000"/>
                  <a:gd name="T63" fmla="*/ 10109 h 20000"/>
                  <a:gd name="T64" fmla="*/ 3627 w 20000"/>
                  <a:gd name="T65" fmla="*/ 9382 h 20000"/>
                  <a:gd name="T66" fmla="*/ 3627 w 20000"/>
                  <a:gd name="T67" fmla="*/ 8291 h 20000"/>
                  <a:gd name="T68" fmla="*/ 2647 w 20000"/>
                  <a:gd name="T69" fmla="*/ 5964 h 20000"/>
                  <a:gd name="T70" fmla="*/ 2647 w 20000"/>
                  <a:gd name="T71" fmla="*/ 52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2647" y="5236"/>
                    </a:moveTo>
                    <a:lnTo>
                      <a:pt x="2647" y="3418"/>
                    </a:lnTo>
                    <a:lnTo>
                      <a:pt x="2059" y="1164"/>
                    </a:lnTo>
                    <a:lnTo>
                      <a:pt x="2647" y="0"/>
                    </a:lnTo>
                    <a:lnTo>
                      <a:pt x="12745" y="436"/>
                    </a:lnTo>
                    <a:lnTo>
                      <a:pt x="13235" y="0"/>
                    </a:lnTo>
                    <a:lnTo>
                      <a:pt x="14706" y="0"/>
                    </a:lnTo>
                    <a:lnTo>
                      <a:pt x="15784" y="436"/>
                    </a:lnTo>
                    <a:lnTo>
                      <a:pt x="14706" y="1164"/>
                    </a:lnTo>
                    <a:lnTo>
                      <a:pt x="16863" y="2255"/>
                    </a:lnTo>
                    <a:lnTo>
                      <a:pt x="16863" y="3418"/>
                    </a:lnTo>
                    <a:lnTo>
                      <a:pt x="15784" y="4873"/>
                    </a:lnTo>
                    <a:lnTo>
                      <a:pt x="17255" y="5236"/>
                    </a:lnTo>
                    <a:lnTo>
                      <a:pt x="17255" y="6400"/>
                    </a:lnTo>
                    <a:lnTo>
                      <a:pt x="17255" y="7127"/>
                    </a:lnTo>
                    <a:lnTo>
                      <a:pt x="18333" y="8291"/>
                    </a:lnTo>
                    <a:lnTo>
                      <a:pt x="17255" y="9382"/>
                    </a:lnTo>
                    <a:lnTo>
                      <a:pt x="17255" y="10836"/>
                    </a:lnTo>
                    <a:lnTo>
                      <a:pt x="17255" y="12800"/>
                    </a:lnTo>
                    <a:lnTo>
                      <a:pt x="18333" y="15055"/>
                    </a:lnTo>
                    <a:lnTo>
                      <a:pt x="19902" y="16145"/>
                    </a:lnTo>
                    <a:lnTo>
                      <a:pt x="19314" y="16945"/>
                    </a:lnTo>
                    <a:lnTo>
                      <a:pt x="15784" y="17236"/>
                    </a:lnTo>
                    <a:lnTo>
                      <a:pt x="13235" y="18036"/>
                    </a:lnTo>
                    <a:lnTo>
                      <a:pt x="8627" y="19200"/>
                    </a:lnTo>
                    <a:lnTo>
                      <a:pt x="6078" y="19927"/>
                    </a:lnTo>
                    <a:lnTo>
                      <a:pt x="2647" y="19927"/>
                    </a:lnTo>
                    <a:lnTo>
                      <a:pt x="2647" y="18764"/>
                    </a:lnTo>
                    <a:lnTo>
                      <a:pt x="2059" y="16945"/>
                    </a:lnTo>
                    <a:lnTo>
                      <a:pt x="0" y="13891"/>
                    </a:lnTo>
                    <a:lnTo>
                      <a:pt x="2059" y="12000"/>
                    </a:lnTo>
                    <a:lnTo>
                      <a:pt x="2059" y="10109"/>
                    </a:lnTo>
                    <a:lnTo>
                      <a:pt x="3627" y="9382"/>
                    </a:lnTo>
                    <a:lnTo>
                      <a:pt x="3627" y="8291"/>
                    </a:lnTo>
                    <a:lnTo>
                      <a:pt x="2647" y="5964"/>
                    </a:lnTo>
                    <a:lnTo>
                      <a:pt x="2647" y="52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8" name="Freeform 128"/>
              <p:cNvSpPr>
                <a:spLocks/>
              </p:cNvSpPr>
              <p:nvPr/>
            </p:nvSpPr>
            <p:spPr bwMode="auto">
              <a:xfrm>
                <a:off x="4562475" y="4086225"/>
                <a:ext cx="207963" cy="155575"/>
              </a:xfrm>
              <a:custGeom>
                <a:avLst/>
                <a:gdLst>
                  <a:gd name="T0" fmla="*/ 3780 w 20000"/>
                  <a:gd name="T1" fmla="*/ 0 h 20000"/>
                  <a:gd name="T2" fmla="*/ 5671 w 20000"/>
                  <a:gd name="T3" fmla="*/ 0 h 20000"/>
                  <a:gd name="T4" fmla="*/ 5671 w 20000"/>
                  <a:gd name="T5" fmla="*/ 902 h 20000"/>
                  <a:gd name="T6" fmla="*/ 7256 w 20000"/>
                  <a:gd name="T7" fmla="*/ 1311 h 20000"/>
                  <a:gd name="T8" fmla="*/ 8232 w 20000"/>
                  <a:gd name="T9" fmla="*/ 902 h 20000"/>
                  <a:gd name="T10" fmla="*/ 8841 w 20000"/>
                  <a:gd name="T11" fmla="*/ 902 h 20000"/>
                  <a:gd name="T12" fmla="*/ 10427 w 20000"/>
                  <a:gd name="T13" fmla="*/ 902 h 20000"/>
                  <a:gd name="T14" fmla="*/ 10427 w 20000"/>
                  <a:gd name="T15" fmla="*/ 1311 h 20000"/>
                  <a:gd name="T16" fmla="*/ 10732 w 20000"/>
                  <a:gd name="T17" fmla="*/ 2131 h 20000"/>
                  <a:gd name="T18" fmla="*/ 11341 w 20000"/>
                  <a:gd name="T19" fmla="*/ 2131 h 20000"/>
                  <a:gd name="T20" fmla="*/ 12317 w 20000"/>
                  <a:gd name="T21" fmla="*/ 3361 h 20000"/>
                  <a:gd name="T22" fmla="*/ 13902 w 20000"/>
                  <a:gd name="T23" fmla="*/ 2131 h 20000"/>
                  <a:gd name="T24" fmla="*/ 14817 w 20000"/>
                  <a:gd name="T25" fmla="*/ 2131 h 20000"/>
                  <a:gd name="T26" fmla="*/ 15488 w 20000"/>
                  <a:gd name="T27" fmla="*/ 1311 h 20000"/>
                  <a:gd name="T28" fmla="*/ 15793 w 20000"/>
                  <a:gd name="T29" fmla="*/ 902 h 20000"/>
                  <a:gd name="T30" fmla="*/ 17073 w 20000"/>
                  <a:gd name="T31" fmla="*/ 3361 h 20000"/>
                  <a:gd name="T32" fmla="*/ 17317 w 20000"/>
                  <a:gd name="T33" fmla="*/ 4262 h 20000"/>
                  <a:gd name="T34" fmla="*/ 18049 w 20000"/>
                  <a:gd name="T35" fmla="*/ 4672 h 20000"/>
                  <a:gd name="T36" fmla="*/ 18049 w 20000"/>
                  <a:gd name="T37" fmla="*/ 6393 h 20000"/>
                  <a:gd name="T38" fmla="*/ 18293 w 20000"/>
                  <a:gd name="T39" fmla="*/ 6885 h 20000"/>
                  <a:gd name="T40" fmla="*/ 18293 w 20000"/>
                  <a:gd name="T41" fmla="*/ 8033 h 20000"/>
                  <a:gd name="T42" fmla="*/ 19573 w 20000"/>
                  <a:gd name="T43" fmla="*/ 9754 h 20000"/>
                  <a:gd name="T44" fmla="*/ 18963 w 20000"/>
                  <a:gd name="T45" fmla="*/ 10246 h 20000"/>
                  <a:gd name="T46" fmla="*/ 18963 w 20000"/>
                  <a:gd name="T47" fmla="*/ 11885 h 20000"/>
                  <a:gd name="T48" fmla="*/ 19573 w 20000"/>
                  <a:gd name="T49" fmla="*/ 12295 h 20000"/>
                  <a:gd name="T50" fmla="*/ 19573 w 20000"/>
                  <a:gd name="T51" fmla="*/ 13607 h 20000"/>
                  <a:gd name="T52" fmla="*/ 19573 w 20000"/>
                  <a:gd name="T53" fmla="*/ 14426 h 20000"/>
                  <a:gd name="T54" fmla="*/ 19939 w 20000"/>
                  <a:gd name="T55" fmla="*/ 15738 h 20000"/>
                  <a:gd name="T56" fmla="*/ 18963 w 20000"/>
                  <a:gd name="T57" fmla="*/ 15738 h 20000"/>
                  <a:gd name="T58" fmla="*/ 18293 w 20000"/>
                  <a:gd name="T59" fmla="*/ 16557 h 20000"/>
                  <a:gd name="T60" fmla="*/ 18963 w 20000"/>
                  <a:gd name="T61" fmla="*/ 16967 h 20000"/>
                  <a:gd name="T62" fmla="*/ 18293 w 20000"/>
                  <a:gd name="T63" fmla="*/ 19098 h 20000"/>
                  <a:gd name="T64" fmla="*/ 18049 w 20000"/>
                  <a:gd name="T65" fmla="*/ 19098 h 20000"/>
                  <a:gd name="T66" fmla="*/ 17073 w 20000"/>
                  <a:gd name="T67" fmla="*/ 18607 h 20000"/>
                  <a:gd name="T68" fmla="*/ 17073 w 20000"/>
                  <a:gd name="T69" fmla="*/ 19918 h 20000"/>
                  <a:gd name="T70" fmla="*/ 15793 w 20000"/>
                  <a:gd name="T71" fmla="*/ 19918 h 20000"/>
                  <a:gd name="T72" fmla="*/ 14817 w 20000"/>
                  <a:gd name="T73" fmla="*/ 19918 h 20000"/>
                  <a:gd name="T74" fmla="*/ 14817 w 20000"/>
                  <a:gd name="T75" fmla="*/ 17787 h 20000"/>
                  <a:gd name="T76" fmla="*/ 14207 w 20000"/>
                  <a:gd name="T77" fmla="*/ 15738 h 20000"/>
                  <a:gd name="T78" fmla="*/ 12927 w 20000"/>
                  <a:gd name="T79" fmla="*/ 15738 h 20000"/>
                  <a:gd name="T80" fmla="*/ 11707 w 20000"/>
                  <a:gd name="T81" fmla="*/ 15738 h 20000"/>
                  <a:gd name="T82" fmla="*/ 11707 w 20000"/>
                  <a:gd name="T83" fmla="*/ 13607 h 20000"/>
                  <a:gd name="T84" fmla="*/ 11341 w 20000"/>
                  <a:gd name="T85" fmla="*/ 13115 h 20000"/>
                  <a:gd name="T86" fmla="*/ 11341 w 20000"/>
                  <a:gd name="T87" fmla="*/ 11885 h 20000"/>
                  <a:gd name="T88" fmla="*/ 10427 w 20000"/>
                  <a:gd name="T89" fmla="*/ 9754 h 20000"/>
                  <a:gd name="T90" fmla="*/ 7561 w 20000"/>
                  <a:gd name="T91" fmla="*/ 10246 h 20000"/>
                  <a:gd name="T92" fmla="*/ 7256 w 20000"/>
                  <a:gd name="T93" fmla="*/ 10246 h 20000"/>
                  <a:gd name="T94" fmla="*/ 6341 w 20000"/>
                  <a:gd name="T95" fmla="*/ 12295 h 20000"/>
                  <a:gd name="T96" fmla="*/ 5671 w 20000"/>
                  <a:gd name="T97" fmla="*/ 12295 h 20000"/>
                  <a:gd name="T98" fmla="*/ 4756 w 20000"/>
                  <a:gd name="T99" fmla="*/ 13607 h 20000"/>
                  <a:gd name="T100" fmla="*/ 4085 w 20000"/>
                  <a:gd name="T101" fmla="*/ 12295 h 20000"/>
                  <a:gd name="T102" fmla="*/ 3780 w 20000"/>
                  <a:gd name="T103" fmla="*/ 11066 h 20000"/>
                  <a:gd name="T104" fmla="*/ 1585 w 20000"/>
                  <a:gd name="T105" fmla="*/ 8934 h 20000"/>
                  <a:gd name="T106" fmla="*/ 976 w 20000"/>
                  <a:gd name="T107" fmla="*/ 7705 h 20000"/>
                  <a:gd name="T108" fmla="*/ 0 w 20000"/>
                  <a:gd name="T109" fmla="*/ 6885 h 20000"/>
                  <a:gd name="T110" fmla="*/ 976 w 20000"/>
                  <a:gd name="T111" fmla="*/ 4672 h 20000"/>
                  <a:gd name="T112" fmla="*/ 3110 w 20000"/>
                  <a:gd name="T113" fmla="*/ 3361 h 20000"/>
                  <a:gd name="T114" fmla="*/ 3780 w 20000"/>
                  <a:gd name="T115" fmla="*/ 2131 h 20000"/>
                  <a:gd name="T116" fmla="*/ 3110 w 20000"/>
                  <a:gd name="T117" fmla="*/ 1311 h 20000"/>
                  <a:gd name="T118" fmla="*/ 3780 w 20000"/>
                  <a:gd name="T119" fmla="*/ 902 h 20000"/>
                  <a:gd name="T120" fmla="*/ 3780 w 20000"/>
                  <a:gd name="T12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3780" y="0"/>
                    </a:moveTo>
                    <a:lnTo>
                      <a:pt x="5671" y="0"/>
                    </a:lnTo>
                    <a:lnTo>
                      <a:pt x="5671" y="902"/>
                    </a:lnTo>
                    <a:lnTo>
                      <a:pt x="7256" y="1311"/>
                    </a:lnTo>
                    <a:lnTo>
                      <a:pt x="8232" y="902"/>
                    </a:lnTo>
                    <a:lnTo>
                      <a:pt x="8841" y="902"/>
                    </a:lnTo>
                    <a:lnTo>
                      <a:pt x="10427" y="902"/>
                    </a:lnTo>
                    <a:lnTo>
                      <a:pt x="10427" y="1311"/>
                    </a:lnTo>
                    <a:lnTo>
                      <a:pt x="10732" y="2131"/>
                    </a:lnTo>
                    <a:lnTo>
                      <a:pt x="11341" y="2131"/>
                    </a:lnTo>
                    <a:lnTo>
                      <a:pt x="12317" y="3361"/>
                    </a:lnTo>
                    <a:lnTo>
                      <a:pt x="13902" y="2131"/>
                    </a:lnTo>
                    <a:lnTo>
                      <a:pt x="14817" y="2131"/>
                    </a:lnTo>
                    <a:lnTo>
                      <a:pt x="15488" y="1311"/>
                    </a:lnTo>
                    <a:lnTo>
                      <a:pt x="15793" y="902"/>
                    </a:lnTo>
                    <a:lnTo>
                      <a:pt x="17073" y="3361"/>
                    </a:lnTo>
                    <a:lnTo>
                      <a:pt x="17317" y="4262"/>
                    </a:lnTo>
                    <a:lnTo>
                      <a:pt x="18049" y="4672"/>
                    </a:lnTo>
                    <a:lnTo>
                      <a:pt x="18049" y="6393"/>
                    </a:lnTo>
                    <a:lnTo>
                      <a:pt x="18293" y="6885"/>
                    </a:lnTo>
                    <a:lnTo>
                      <a:pt x="18293" y="8033"/>
                    </a:lnTo>
                    <a:lnTo>
                      <a:pt x="19573" y="9754"/>
                    </a:lnTo>
                    <a:lnTo>
                      <a:pt x="18963" y="10246"/>
                    </a:lnTo>
                    <a:lnTo>
                      <a:pt x="18963" y="11885"/>
                    </a:lnTo>
                    <a:lnTo>
                      <a:pt x="19573" y="12295"/>
                    </a:lnTo>
                    <a:lnTo>
                      <a:pt x="19573" y="13607"/>
                    </a:lnTo>
                    <a:lnTo>
                      <a:pt x="19573" y="14426"/>
                    </a:lnTo>
                    <a:lnTo>
                      <a:pt x="19939" y="15738"/>
                    </a:lnTo>
                    <a:lnTo>
                      <a:pt x="18963" y="15738"/>
                    </a:lnTo>
                    <a:lnTo>
                      <a:pt x="18293" y="16557"/>
                    </a:lnTo>
                    <a:lnTo>
                      <a:pt x="18963" y="16967"/>
                    </a:lnTo>
                    <a:lnTo>
                      <a:pt x="18293" y="19098"/>
                    </a:lnTo>
                    <a:lnTo>
                      <a:pt x="18049" y="19098"/>
                    </a:lnTo>
                    <a:lnTo>
                      <a:pt x="17073" y="18607"/>
                    </a:lnTo>
                    <a:lnTo>
                      <a:pt x="17073" y="19918"/>
                    </a:lnTo>
                    <a:lnTo>
                      <a:pt x="15793" y="19918"/>
                    </a:lnTo>
                    <a:lnTo>
                      <a:pt x="14817" y="19918"/>
                    </a:lnTo>
                    <a:lnTo>
                      <a:pt x="14817" y="17787"/>
                    </a:lnTo>
                    <a:lnTo>
                      <a:pt x="14207" y="15738"/>
                    </a:lnTo>
                    <a:lnTo>
                      <a:pt x="12927" y="15738"/>
                    </a:lnTo>
                    <a:lnTo>
                      <a:pt x="11707" y="15738"/>
                    </a:lnTo>
                    <a:lnTo>
                      <a:pt x="11707" y="13607"/>
                    </a:lnTo>
                    <a:lnTo>
                      <a:pt x="11341" y="13115"/>
                    </a:lnTo>
                    <a:lnTo>
                      <a:pt x="11341" y="11885"/>
                    </a:lnTo>
                    <a:lnTo>
                      <a:pt x="10427" y="9754"/>
                    </a:lnTo>
                    <a:lnTo>
                      <a:pt x="7561" y="10246"/>
                    </a:lnTo>
                    <a:lnTo>
                      <a:pt x="7256" y="10246"/>
                    </a:lnTo>
                    <a:lnTo>
                      <a:pt x="6341" y="12295"/>
                    </a:lnTo>
                    <a:lnTo>
                      <a:pt x="5671" y="12295"/>
                    </a:lnTo>
                    <a:lnTo>
                      <a:pt x="4756" y="13607"/>
                    </a:lnTo>
                    <a:lnTo>
                      <a:pt x="4085" y="12295"/>
                    </a:lnTo>
                    <a:lnTo>
                      <a:pt x="3780" y="11066"/>
                    </a:lnTo>
                    <a:lnTo>
                      <a:pt x="1585" y="8934"/>
                    </a:lnTo>
                    <a:lnTo>
                      <a:pt x="976" y="7705"/>
                    </a:lnTo>
                    <a:lnTo>
                      <a:pt x="0" y="6885"/>
                    </a:lnTo>
                    <a:lnTo>
                      <a:pt x="976" y="4672"/>
                    </a:lnTo>
                    <a:lnTo>
                      <a:pt x="3110" y="3361"/>
                    </a:lnTo>
                    <a:lnTo>
                      <a:pt x="3780" y="2131"/>
                    </a:lnTo>
                    <a:lnTo>
                      <a:pt x="3110" y="1311"/>
                    </a:lnTo>
                    <a:lnTo>
                      <a:pt x="3780" y="902"/>
                    </a:lnTo>
                    <a:lnTo>
                      <a:pt x="378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09" name="Freeform 127"/>
              <p:cNvSpPr>
                <a:spLocks/>
              </p:cNvSpPr>
              <p:nvPr/>
            </p:nvSpPr>
            <p:spPr bwMode="auto">
              <a:xfrm>
                <a:off x="4516438" y="4086225"/>
                <a:ext cx="85725" cy="53975"/>
              </a:xfrm>
              <a:custGeom>
                <a:avLst/>
                <a:gdLst>
                  <a:gd name="T0" fmla="*/ 0 w 20000"/>
                  <a:gd name="T1" fmla="*/ 3765 h 20000"/>
                  <a:gd name="T2" fmla="*/ 4559 w 20000"/>
                  <a:gd name="T3" fmla="*/ 2588 h 20000"/>
                  <a:gd name="T4" fmla="*/ 6912 w 20000"/>
                  <a:gd name="T5" fmla="*/ 2588 h 20000"/>
                  <a:gd name="T6" fmla="*/ 9853 w 20000"/>
                  <a:gd name="T7" fmla="*/ 0 h 20000"/>
                  <a:gd name="T8" fmla="*/ 19853 w 20000"/>
                  <a:gd name="T9" fmla="*/ 0 h 20000"/>
                  <a:gd name="T10" fmla="*/ 19853 w 20000"/>
                  <a:gd name="T11" fmla="*/ 2588 h 20000"/>
                  <a:gd name="T12" fmla="*/ 18235 w 20000"/>
                  <a:gd name="T13" fmla="*/ 3765 h 20000"/>
                  <a:gd name="T14" fmla="*/ 19853 w 20000"/>
                  <a:gd name="T15" fmla="*/ 6118 h 20000"/>
                  <a:gd name="T16" fmla="*/ 18235 w 20000"/>
                  <a:gd name="T17" fmla="*/ 9647 h 20000"/>
                  <a:gd name="T18" fmla="*/ 12941 w 20000"/>
                  <a:gd name="T19" fmla="*/ 13412 h 20000"/>
                  <a:gd name="T20" fmla="*/ 10588 w 20000"/>
                  <a:gd name="T21" fmla="*/ 19765 h 20000"/>
                  <a:gd name="T22" fmla="*/ 9853 w 20000"/>
                  <a:gd name="T23" fmla="*/ 16000 h 20000"/>
                  <a:gd name="T24" fmla="*/ 8382 w 20000"/>
                  <a:gd name="T25" fmla="*/ 18353 h 20000"/>
                  <a:gd name="T26" fmla="*/ 8382 w 20000"/>
                  <a:gd name="T27" fmla="*/ 9647 h 20000"/>
                  <a:gd name="T28" fmla="*/ 4559 w 20000"/>
                  <a:gd name="T29" fmla="*/ 9647 h 20000"/>
                  <a:gd name="T30" fmla="*/ 4559 w 20000"/>
                  <a:gd name="T31" fmla="*/ 8706 h 20000"/>
                  <a:gd name="T32" fmla="*/ 2353 w 20000"/>
                  <a:gd name="T33" fmla="*/ 6118 h 20000"/>
                  <a:gd name="T34" fmla="*/ 0 w 20000"/>
                  <a:gd name="T35" fmla="*/ 3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0" y="3765"/>
                    </a:moveTo>
                    <a:lnTo>
                      <a:pt x="4559" y="2588"/>
                    </a:lnTo>
                    <a:lnTo>
                      <a:pt x="6912" y="2588"/>
                    </a:lnTo>
                    <a:lnTo>
                      <a:pt x="9853" y="0"/>
                    </a:lnTo>
                    <a:lnTo>
                      <a:pt x="19853" y="0"/>
                    </a:lnTo>
                    <a:lnTo>
                      <a:pt x="19853" y="2588"/>
                    </a:lnTo>
                    <a:lnTo>
                      <a:pt x="18235" y="3765"/>
                    </a:lnTo>
                    <a:lnTo>
                      <a:pt x="19853" y="6118"/>
                    </a:lnTo>
                    <a:lnTo>
                      <a:pt x="18235" y="9647"/>
                    </a:lnTo>
                    <a:lnTo>
                      <a:pt x="12941" y="13412"/>
                    </a:lnTo>
                    <a:lnTo>
                      <a:pt x="10588" y="19765"/>
                    </a:lnTo>
                    <a:lnTo>
                      <a:pt x="9853" y="16000"/>
                    </a:lnTo>
                    <a:lnTo>
                      <a:pt x="8382" y="18353"/>
                    </a:lnTo>
                    <a:lnTo>
                      <a:pt x="8382" y="9647"/>
                    </a:lnTo>
                    <a:lnTo>
                      <a:pt x="4559" y="9647"/>
                    </a:lnTo>
                    <a:lnTo>
                      <a:pt x="4559" y="8706"/>
                    </a:lnTo>
                    <a:lnTo>
                      <a:pt x="2353" y="6118"/>
                    </a:lnTo>
                    <a:lnTo>
                      <a:pt x="0" y="3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0" name="Freeform 126"/>
              <p:cNvSpPr>
                <a:spLocks/>
              </p:cNvSpPr>
              <p:nvPr/>
            </p:nvSpPr>
            <p:spPr bwMode="auto">
              <a:xfrm>
                <a:off x="5226050" y="4076700"/>
                <a:ext cx="217488" cy="312738"/>
              </a:xfrm>
              <a:custGeom>
                <a:avLst/>
                <a:gdLst>
                  <a:gd name="T0" fmla="*/ 15743 w 20000"/>
                  <a:gd name="T1" fmla="*/ 0 h 20000"/>
                  <a:gd name="T2" fmla="*/ 16618 w 20000"/>
                  <a:gd name="T3" fmla="*/ 1095 h 20000"/>
                  <a:gd name="T4" fmla="*/ 17201 w 20000"/>
                  <a:gd name="T5" fmla="*/ 2961 h 20000"/>
                  <a:gd name="T6" fmla="*/ 17551 w 20000"/>
                  <a:gd name="T7" fmla="*/ 5071 h 20000"/>
                  <a:gd name="T8" fmla="*/ 16327 w 20000"/>
                  <a:gd name="T9" fmla="*/ 5720 h 20000"/>
                  <a:gd name="T10" fmla="*/ 14810 w 20000"/>
                  <a:gd name="T11" fmla="*/ 6531 h 20000"/>
                  <a:gd name="T12" fmla="*/ 17551 w 20000"/>
                  <a:gd name="T13" fmla="*/ 8195 h 20000"/>
                  <a:gd name="T14" fmla="*/ 18717 w 20000"/>
                  <a:gd name="T15" fmla="*/ 9858 h 20000"/>
                  <a:gd name="T16" fmla="*/ 17551 w 20000"/>
                  <a:gd name="T17" fmla="*/ 10953 h 20000"/>
                  <a:gd name="T18" fmla="*/ 16327 w 20000"/>
                  <a:gd name="T19" fmla="*/ 12819 h 20000"/>
                  <a:gd name="T20" fmla="*/ 16618 w 20000"/>
                  <a:gd name="T21" fmla="*/ 14523 h 20000"/>
                  <a:gd name="T22" fmla="*/ 17551 w 20000"/>
                  <a:gd name="T23" fmla="*/ 15984 h 20000"/>
                  <a:gd name="T24" fmla="*/ 19592 w 20000"/>
                  <a:gd name="T25" fmla="*/ 18296 h 20000"/>
                  <a:gd name="T26" fmla="*/ 19592 w 20000"/>
                  <a:gd name="T27" fmla="*/ 19310 h 20000"/>
                  <a:gd name="T28" fmla="*/ 16618 w 20000"/>
                  <a:gd name="T29" fmla="*/ 19310 h 20000"/>
                  <a:gd name="T30" fmla="*/ 11837 w 20000"/>
                  <a:gd name="T31" fmla="*/ 19757 h 20000"/>
                  <a:gd name="T32" fmla="*/ 7872 w 20000"/>
                  <a:gd name="T33" fmla="*/ 19757 h 20000"/>
                  <a:gd name="T34" fmla="*/ 4548 w 20000"/>
                  <a:gd name="T35" fmla="*/ 19757 h 20000"/>
                  <a:gd name="T36" fmla="*/ 3615 w 20000"/>
                  <a:gd name="T37" fmla="*/ 17890 h 20000"/>
                  <a:gd name="T38" fmla="*/ 2391 w 20000"/>
                  <a:gd name="T39" fmla="*/ 16592 h 20000"/>
                  <a:gd name="T40" fmla="*/ 1574 w 20000"/>
                  <a:gd name="T41" fmla="*/ 15984 h 20000"/>
                  <a:gd name="T42" fmla="*/ 0 w 20000"/>
                  <a:gd name="T43" fmla="*/ 15578 h 20000"/>
                  <a:gd name="T44" fmla="*/ 1574 w 20000"/>
                  <a:gd name="T45" fmla="*/ 12819 h 20000"/>
                  <a:gd name="T46" fmla="*/ 4548 w 20000"/>
                  <a:gd name="T47" fmla="*/ 11116 h 20000"/>
                  <a:gd name="T48" fmla="*/ 6064 w 20000"/>
                  <a:gd name="T49" fmla="*/ 10953 h 20000"/>
                  <a:gd name="T50" fmla="*/ 6939 w 20000"/>
                  <a:gd name="T51" fmla="*/ 11765 h 20000"/>
                  <a:gd name="T52" fmla="*/ 8746 w 20000"/>
                  <a:gd name="T53" fmla="*/ 11116 h 20000"/>
                  <a:gd name="T54" fmla="*/ 8746 w 20000"/>
                  <a:gd name="T55" fmla="*/ 10507 h 20000"/>
                  <a:gd name="T56" fmla="*/ 11195 w 20000"/>
                  <a:gd name="T57" fmla="*/ 7789 h 20000"/>
                  <a:gd name="T58" fmla="*/ 12653 w 20000"/>
                  <a:gd name="T59" fmla="*/ 6531 h 20000"/>
                  <a:gd name="T60" fmla="*/ 13294 w 20000"/>
                  <a:gd name="T61" fmla="*/ 5071 h 20000"/>
                  <a:gd name="T62" fmla="*/ 14227 w 20000"/>
                  <a:gd name="T63" fmla="*/ 3408 h 20000"/>
                  <a:gd name="T64" fmla="*/ 16327 w 20000"/>
                  <a:gd name="T65" fmla="*/ 2759 h 20000"/>
                  <a:gd name="T66" fmla="*/ 14810 w 20000"/>
                  <a:gd name="T67" fmla="*/ 125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4810" y="0"/>
                    </a:moveTo>
                    <a:lnTo>
                      <a:pt x="15743" y="0"/>
                    </a:lnTo>
                    <a:lnTo>
                      <a:pt x="15743" y="649"/>
                    </a:lnTo>
                    <a:lnTo>
                      <a:pt x="16618" y="1095"/>
                    </a:lnTo>
                    <a:lnTo>
                      <a:pt x="17201" y="2110"/>
                    </a:lnTo>
                    <a:lnTo>
                      <a:pt x="17201" y="2961"/>
                    </a:lnTo>
                    <a:lnTo>
                      <a:pt x="17201" y="4016"/>
                    </a:lnTo>
                    <a:lnTo>
                      <a:pt x="17551" y="5071"/>
                    </a:lnTo>
                    <a:lnTo>
                      <a:pt x="18717" y="5720"/>
                    </a:lnTo>
                    <a:lnTo>
                      <a:pt x="16327" y="5720"/>
                    </a:lnTo>
                    <a:lnTo>
                      <a:pt x="15102" y="5720"/>
                    </a:lnTo>
                    <a:lnTo>
                      <a:pt x="14810" y="6531"/>
                    </a:lnTo>
                    <a:lnTo>
                      <a:pt x="16618" y="7789"/>
                    </a:lnTo>
                    <a:lnTo>
                      <a:pt x="17551" y="8195"/>
                    </a:lnTo>
                    <a:lnTo>
                      <a:pt x="18134" y="9452"/>
                    </a:lnTo>
                    <a:lnTo>
                      <a:pt x="18717" y="9858"/>
                    </a:lnTo>
                    <a:lnTo>
                      <a:pt x="18717" y="10507"/>
                    </a:lnTo>
                    <a:lnTo>
                      <a:pt x="17551" y="10953"/>
                    </a:lnTo>
                    <a:lnTo>
                      <a:pt x="16618" y="12617"/>
                    </a:lnTo>
                    <a:lnTo>
                      <a:pt x="16327" y="12819"/>
                    </a:lnTo>
                    <a:lnTo>
                      <a:pt x="16327" y="14280"/>
                    </a:lnTo>
                    <a:lnTo>
                      <a:pt x="16618" y="14523"/>
                    </a:lnTo>
                    <a:lnTo>
                      <a:pt x="16618" y="15578"/>
                    </a:lnTo>
                    <a:lnTo>
                      <a:pt x="17551" y="15984"/>
                    </a:lnTo>
                    <a:lnTo>
                      <a:pt x="17551" y="16998"/>
                    </a:lnTo>
                    <a:lnTo>
                      <a:pt x="19592" y="18296"/>
                    </a:lnTo>
                    <a:lnTo>
                      <a:pt x="19942" y="18296"/>
                    </a:lnTo>
                    <a:lnTo>
                      <a:pt x="19592" y="19310"/>
                    </a:lnTo>
                    <a:lnTo>
                      <a:pt x="19942" y="19757"/>
                    </a:lnTo>
                    <a:lnTo>
                      <a:pt x="16618" y="19310"/>
                    </a:lnTo>
                    <a:lnTo>
                      <a:pt x="12653" y="19757"/>
                    </a:lnTo>
                    <a:lnTo>
                      <a:pt x="11837" y="19757"/>
                    </a:lnTo>
                    <a:lnTo>
                      <a:pt x="10029" y="19757"/>
                    </a:lnTo>
                    <a:lnTo>
                      <a:pt x="7872" y="19757"/>
                    </a:lnTo>
                    <a:lnTo>
                      <a:pt x="7872" y="19959"/>
                    </a:lnTo>
                    <a:lnTo>
                      <a:pt x="4548" y="19757"/>
                    </a:lnTo>
                    <a:lnTo>
                      <a:pt x="3615" y="19310"/>
                    </a:lnTo>
                    <a:lnTo>
                      <a:pt x="3615" y="17890"/>
                    </a:lnTo>
                    <a:lnTo>
                      <a:pt x="3615" y="16998"/>
                    </a:lnTo>
                    <a:lnTo>
                      <a:pt x="2391" y="16592"/>
                    </a:lnTo>
                    <a:lnTo>
                      <a:pt x="2157" y="16592"/>
                    </a:lnTo>
                    <a:lnTo>
                      <a:pt x="1574" y="15984"/>
                    </a:lnTo>
                    <a:lnTo>
                      <a:pt x="641" y="15578"/>
                    </a:lnTo>
                    <a:lnTo>
                      <a:pt x="0" y="15578"/>
                    </a:lnTo>
                    <a:lnTo>
                      <a:pt x="933" y="14280"/>
                    </a:lnTo>
                    <a:lnTo>
                      <a:pt x="1574" y="12819"/>
                    </a:lnTo>
                    <a:lnTo>
                      <a:pt x="3032" y="11765"/>
                    </a:lnTo>
                    <a:lnTo>
                      <a:pt x="4548" y="11116"/>
                    </a:lnTo>
                    <a:lnTo>
                      <a:pt x="5481" y="11116"/>
                    </a:lnTo>
                    <a:lnTo>
                      <a:pt x="6064" y="10953"/>
                    </a:lnTo>
                    <a:lnTo>
                      <a:pt x="6939" y="11602"/>
                    </a:lnTo>
                    <a:lnTo>
                      <a:pt x="6939" y="11765"/>
                    </a:lnTo>
                    <a:lnTo>
                      <a:pt x="7872" y="11765"/>
                    </a:lnTo>
                    <a:lnTo>
                      <a:pt x="8746" y="11116"/>
                    </a:lnTo>
                    <a:lnTo>
                      <a:pt x="9329" y="11116"/>
                    </a:lnTo>
                    <a:lnTo>
                      <a:pt x="8746" y="10507"/>
                    </a:lnTo>
                    <a:lnTo>
                      <a:pt x="10262" y="8398"/>
                    </a:lnTo>
                    <a:lnTo>
                      <a:pt x="11195" y="7789"/>
                    </a:lnTo>
                    <a:lnTo>
                      <a:pt x="11195" y="6734"/>
                    </a:lnTo>
                    <a:lnTo>
                      <a:pt x="12653" y="6531"/>
                    </a:lnTo>
                    <a:lnTo>
                      <a:pt x="12420" y="5720"/>
                    </a:lnTo>
                    <a:lnTo>
                      <a:pt x="13294" y="5071"/>
                    </a:lnTo>
                    <a:lnTo>
                      <a:pt x="13294" y="4422"/>
                    </a:lnTo>
                    <a:lnTo>
                      <a:pt x="14227" y="3408"/>
                    </a:lnTo>
                    <a:lnTo>
                      <a:pt x="15102" y="3813"/>
                    </a:lnTo>
                    <a:lnTo>
                      <a:pt x="16327" y="2759"/>
                    </a:lnTo>
                    <a:lnTo>
                      <a:pt x="15743" y="1663"/>
                    </a:lnTo>
                    <a:lnTo>
                      <a:pt x="14810" y="1258"/>
                    </a:lnTo>
                    <a:lnTo>
                      <a:pt x="1481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1" name="Freeform 125"/>
              <p:cNvSpPr>
                <a:spLocks/>
              </p:cNvSpPr>
              <p:nvPr/>
            </p:nvSpPr>
            <p:spPr bwMode="auto">
              <a:xfrm>
                <a:off x="5949950" y="4310063"/>
                <a:ext cx="228600" cy="282575"/>
              </a:xfrm>
              <a:custGeom>
                <a:avLst/>
                <a:gdLst>
                  <a:gd name="T0" fmla="*/ 613 w 20000"/>
                  <a:gd name="T1" fmla="*/ 1839 h 20000"/>
                  <a:gd name="T2" fmla="*/ 891 w 20000"/>
                  <a:gd name="T3" fmla="*/ 1166 h 20000"/>
                  <a:gd name="T4" fmla="*/ 2340 w 20000"/>
                  <a:gd name="T5" fmla="*/ 717 h 20000"/>
                  <a:gd name="T6" fmla="*/ 3788 w 20000"/>
                  <a:gd name="T7" fmla="*/ 0 h 20000"/>
                  <a:gd name="T8" fmla="*/ 4345 w 20000"/>
                  <a:gd name="T9" fmla="*/ 717 h 20000"/>
                  <a:gd name="T10" fmla="*/ 4680 w 20000"/>
                  <a:gd name="T11" fmla="*/ 717 h 20000"/>
                  <a:gd name="T12" fmla="*/ 6072 w 20000"/>
                  <a:gd name="T13" fmla="*/ 1166 h 20000"/>
                  <a:gd name="T14" fmla="*/ 8969 w 20000"/>
                  <a:gd name="T15" fmla="*/ 1839 h 20000"/>
                  <a:gd name="T16" fmla="*/ 11309 w 20000"/>
                  <a:gd name="T17" fmla="*/ 3004 h 20000"/>
                  <a:gd name="T18" fmla="*/ 13872 w 20000"/>
                  <a:gd name="T19" fmla="*/ 3229 h 20000"/>
                  <a:gd name="T20" fmla="*/ 15042 w 20000"/>
                  <a:gd name="T21" fmla="*/ 1839 h 20000"/>
                  <a:gd name="T22" fmla="*/ 15877 w 20000"/>
                  <a:gd name="T23" fmla="*/ 1839 h 20000"/>
                  <a:gd name="T24" fmla="*/ 17326 w 20000"/>
                  <a:gd name="T25" fmla="*/ 1839 h 20000"/>
                  <a:gd name="T26" fmla="*/ 18217 w 20000"/>
                  <a:gd name="T27" fmla="*/ 2287 h 20000"/>
                  <a:gd name="T28" fmla="*/ 19944 w 20000"/>
                  <a:gd name="T29" fmla="*/ 2287 h 20000"/>
                  <a:gd name="T30" fmla="*/ 17660 w 20000"/>
                  <a:gd name="T31" fmla="*/ 4395 h 20000"/>
                  <a:gd name="T32" fmla="*/ 17660 w 20000"/>
                  <a:gd name="T33" fmla="*/ 11614 h 20000"/>
                  <a:gd name="T34" fmla="*/ 19053 w 20000"/>
                  <a:gd name="T35" fmla="*/ 13004 h 20000"/>
                  <a:gd name="T36" fmla="*/ 18774 w 20000"/>
                  <a:gd name="T37" fmla="*/ 13901 h 20000"/>
                  <a:gd name="T38" fmla="*/ 17326 w 20000"/>
                  <a:gd name="T39" fmla="*/ 14619 h 20000"/>
                  <a:gd name="T40" fmla="*/ 17326 w 20000"/>
                  <a:gd name="T41" fmla="*/ 15112 h 20000"/>
                  <a:gd name="T42" fmla="*/ 16435 w 20000"/>
                  <a:gd name="T43" fmla="*/ 15291 h 20000"/>
                  <a:gd name="T44" fmla="*/ 15320 w 20000"/>
                  <a:gd name="T45" fmla="*/ 15785 h 20000"/>
                  <a:gd name="T46" fmla="*/ 15042 w 20000"/>
                  <a:gd name="T47" fmla="*/ 16951 h 20000"/>
                  <a:gd name="T48" fmla="*/ 13872 w 20000"/>
                  <a:gd name="T49" fmla="*/ 18789 h 20000"/>
                  <a:gd name="T50" fmla="*/ 12981 w 20000"/>
                  <a:gd name="T51" fmla="*/ 19955 h 20000"/>
                  <a:gd name="T52" fmla="*/ 9805 w 20000"/>
                  <a:gd name="T53" fmla="*/ 17668 h 20000"/>
                  <a:gd name="T54" fmla="*/ 9805 w 20000"/>
                  <a:gd name="T55" fmla="*/ 16457 h 20000"/>
                  <a:gd name="T56" fmla="*/ 891 w 20000"/>
                  <a:gd name="T57" fmla="*/ 12063 h 20000"/>
                  <a:gd name="T58" fmla="*/ 0 w 20000"/>
                  <a:gd name="T59" fmla="*/ 12063 h 20000"/>
                  <a:gd name="T60" fmla="*/ 0 w 20000"/>
                  <a:gd name="T61" fmla="*/ 9731 h 20000"/>
                  <a:gd name="T62" fmla="*/ 1727 w 20000"/>
                  <a:gd name="T63" fmla="*/ 7399 h 20000"/>
                  <a:gd name="T64" fmla="*/ 2897 w 20000"/>
                  <a:gd name="T65" fmla="*/ 6233 h 20000"/>
                  <a:gd name="T66" fmla="*/ 1727 w 20000"/>
                  <a:gd name="T67" fmla="*/ 4395 h 20000"/>
                  <a:gd name="T68" fmla="*/ 1504 w 20000"/>
                  <a:gd name="T69" fmla="*/ 3229 h 20000"/>
                  <a:gd name="T70" fmla="*/ 1504 w 20000"/>
                  <a:gd name="T71" fmla="*/ 2556 h 20000"/>
                  <a:gd name="T72" fmla="*/ 613 w 20000"/>
                  <a:gd name="T73" fmla="*/ 2287 h 20000"/>
                  <a:gd name="T74" fmla="*/ 613 w 20000"/>
                  <a:gd name="T75" fmla="*/ 18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613" y="1839"/>
                    </a:moveTo>
                    <a:lnTo>
                      <a:pt x="891" y="1166"/>
                    </a:lnTo>
                    <a:lnTo>
                      <a:pt x="2340" y="717"/>
                    </a:lnTo>
                    <a:lnTo>
                      <a:pt x="3788" y="0"/>
                    </a:lnTo>
                    <a:lnTo>
                      <a:pt x="4345" y="717"/>
                    </a:lnTo>
                    <a:lnTo>
                      <a:pt x="4680" y="717"/>
                    </a:lnTo>
                    <a:lnTo>
                      <a:pt x="6072" y="1166"/>
                    </a:lnTo>
                    <a:lnTo>
                      <a:pt x="8969" y="1839"/>
                    </a:lnTo>
                    <a:lnTo>
                      <a:pt x="11309" y="3004"/>
                    </a:lnTo>
                    <a:lnTo>
                      <a:pt x="13872" y="3229"/>
                    </a:lnTo>
                    <a:lnTo>
                      <a:pt x="15042" y="1839"/>
                    </a:lnTo>
                    <a:lnTo>
                      <a:pt x="15877" y="1839"/>
                    </a:lnTo>
                    <a:lnTo>
                      <a:pt x="17326" y="1839"/>
                    </a:lnTo>
                    <a:lnTo>
                      <a:pt x="18217" y="2287"/>
                    </a:lnTo>
                    <a:lnTo>
                      <a:pt x="19944" y="2287"/>
                    </a:lnTo>
                    <a:lnTo>
                      <a:pt x="17660" y="4395"/>
                    </a:lnTo>
                    <a:lnTo>
                      <a:pt x="17660" y="11614"/>
                    </a:lnTo>
                    <a:lnTo>
                      <a:pt x="19053" y="13004"/>
                    </a:lnTo>
                    <a:lnTo>
                      <a:pt x="18774" y="13901"/>
                    </a:lnTo>
                    <a:lnTo>
                      <a:pt x="17326" y="14619"/>
                    </a:lnTo>
                    <a:lnTo>
                      <a:pt x="17326" y="15112"/>
                    </a:lnTo>
                    <a:lnTo>
                      <a:pt x="16435" y="15291"/>
                    </a:lnTo>
                    <a:lnTo>
                      <a:pt x="15320" y="15785"/>
                    </a:lnTo>
                    <a:lnTo>
                      <a:pt x="15042" y="16951"/>
                    </a:lnTo>
                    <a:lnTo>
                      <a:pt x="13872" y="18789"/>
                    </a:lnTo>
                    <a:lnTo>
                      <a:pt x="12981" y="19955"/>
                    </a:lnTo>
                    <a:lnTo>
                      <a:pt x="9805" y="17668"/>
                    </a:lnTo>
                    <a:lnTo>
                      <a:pt x="9805" y="16457"/>
                    </a:lnTo>
                    <a:lnTo>
                      <a:pt x="891" y="12063"/>
                    </a:lnTo>
                    <a:lnTo>
                      <a:pt x="0" y="12063"/>
                    </a:lnTo>
                    <a:lnTo>
                      <a:pt x="0" y="9731"/>
                    </a:lnTo>
                    <a:lnTo>
                      <a:pt x="1727" y="7399"/>
                    </a:lnTo>
                    <a:lnTo>
                      <a:pt x="2897" y="6233"/>
                    </a:lnTo>
                    <a:lnTo>
                      <a:pt x="1727" y="4395"/>
                    </a:lnTo>
                    <a:lnTo>
                      <a:pt x="1504" y="3229"/>
                    </a:lnTo>
                    <a:lnTo>
                      <a:pt x="1504" y="2556"/>
                    </a:lnTo>
                    <a:lnTo>
                      <a:pt x="613" y="2287"/>
                    </a:lnTo>
                    <a:lnTo>
                      <a:pt x="613" y="183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2" name="Freeform 124"/>
              <p:cNvSpPr>
                <a:spLocks/>
              </p:cNvSpPr>
              <p:nvPr/>
            </p:nvSpPr>
            <p:spPr bwMode="auto">
              <a:xfrm>
                <a:off x="6207125" y="4781550"/>
                <a:ext cx="3175" cy="17463"/>
              </a:xfrm>
              <a:custGeom>
                <a:avLst/>
                <a:gdLst>
                  <a:gd name="T0" fmla="*/ 16667 w 20000"/>
                  <a:gd name="T1" fmla="*/ 19286 h 20000"/>
                  <a:gd name="T2" fmla="*/ 0 w 20000"/>
                  <a:gd name="T3" fmla="*/ 11429 h 20000"/>
                  <a:gd name="T4" fmla="*/ 0 w 20000"/>
                  <a:gd name="T5" fmla="*/ 4286 h 20000"/>
                  <a:gd name="T6" fmla="*/ 0 w 20000"/>
                  <a:gd name="T7" fmla="*/ 0 h 20000"/>
                  <a:gd name="T8" fmla="*/ 16667 w 20000"/>
                  <a:gd name="T9" fmla="*/ 0 h 20000"/>
                  <a:gd name="T10" fmla="*/ 16667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16667" y="19286"/>
                    </a:moveTo>
                    <a:lnTo>
                      <a:pt x="0" y="11429"/>
                    </a:lnTo>
                    <a:lnTo>
                      <a:pt x="0" y="4286"/>
                    </a:lnTo>
                    <a:lnTo>
                      <a:pt x="0" y="0"/>
                    </a:lnTo>
                    <a:lnTo>
                      <a:pt x="16667" y="0"/>
                    </a:lnTo>
                    <a:lnTo>
                      <a:pt x="16667"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3" name="Freeform 123"/>
              <p:cNvSpPr>
                <a:spLocks/>
              </p:cNvSpPr>
              <p:nvPr/>
            </p:nvSpPr>
            <p:spPr bwMode="auto">
              <a:xfrm>
                <a:off x="5302250" y="4346575"/>
                <a:ext cx="211138" cy="250825"/>
              </a:xfrm>
              <a:custGeom>
                <a:avLst/>
                <a:gdLst>
                  <a:gd name="T0" fmla="*/ 14699 w 20000"/>
                  <a:gd name="T1" fmla="*/ 1823 h 20000"/>
                  <a:gd name="T2" fmla="*/ 17169 w 20000"/>
                  <a:gd name="T3" fmla="*/ 0 h 20000"/>
                  <a:gd name="T4" fmla="*/ 19940 w 20000"/>
                  <a:gd name="T5" fmla="*/ 0 h 20000"/>
                  <a:gd name="T6" fmla="*/ 19639 w 20000"/>
                  <a:gd name="T7" fmla="*/ 2076 h 20000"/>
                  <a:gd name="T8" fmla="*/ 18735 w 20000"/>
                  <a:gd name="T9" fmla="*/ 5266 h 20000"/>
                  <a:gd name="T10" fmla="*/ 18133 w 20000"/>
                  <a:gd name="T11" fmla="*/ 7646 h 20000"/>
                  <a:gd name="T12" fmla="*/ 18133 w 20000"/>
                  <a:gd name="T13" fmla="*/ 9418 h 20000"/>
                  <a:gd name="T14" fmla="*/ 15542 w 20000"/>
                  <a:gd name="T15" fmla="*/ 10734 h 20000"/>
                  <a:gd name="T16" fmla="*/ 14699 w 20000"/>
                  <a:gd name="T17" fmla="*/ 12304 h 20000"/>
                  <a:gd name="T18" fmla="*/ 13434 w 20000"/>
                  <a:gd name="T19" fmla="*/ 14430 h 20000"/>
                  <a:gd name="T20" fmla="*/ 13072 w 20000"/>
                  <a:gd name="T21" fmla="*/ 17063 h 20000"/>
                  <a:gd name="T22" fmla="*/ 10964 w 20000"/>
                  <a:gd name="T23" fmla="*/ 18380 h 20000"/>
                  <a:gd name="T24" fmla="*/ 9639 w 20000"/>
                  <a:gd name="T25" fmla="*/ 19646 h 20000"/>
                  <a:gd name="T26" fmla="*/ 8434 w 20000"/>
                  <a:gd name="T27" fmla="*/ 18380 h 20000"/>
                  <a:gd name="T28" fmla="*/ 6867 w 20000"/>
                  <a:gd name="T29" fmla="*/ 19139 h 20000"/>
                  <a:gd name="T30" fmla="*/ 5663 w 20000"/>
                  <a:gd name="T31" fmla="*/ 18633 h 20000"/>
                  <a:gd name="T32" fmla="*/ 4337 w 20000"/>
                  <a:gd name="T33" fmla="*/ 18380 h 20000"/>
                  <a:gd name="T34" fmla="*/ 3434 w 20000"/>
                  <a:gd name="T35" fmla="*/ 19139 h 20000"/>
                  <a:gd name="T36" fmla="*/ 1867 w 20000"/>
                  <a:gd name="T37" fmla="*/ 19139 h 20000"/>
                  <a:gd name="T38" fmla="*/ 964 w 20000"/>
                  <a:gd name="T39" fmla="*/ 16506 h 20000"/>
                  <a:gd name="T40" fmla="*/ 1867 w 20000"/>
                  <a:gd name="T41" fmla="*/ 16506 h 20000"/>
                  <a:gd name="T42" fmla="*/ 2470 w 20000"/>
                  <a:gd name="T43" fmla="*/ 14987 h 20000"/>
                  <a:gd name="T44" fmla="*/ 1867 w 20000"/>
                  <a:gd name="T45" fmla="*/ 13114 h 20000"/>
                  <a:gd name="T46" fmla="*/ 3434 w 20000"/>
                  <a:gd name="T47" fmla="*/ 13620 h 20000"/>
                  <a:gd name="T48" fmla="*/ 5904 w 20000"/>
                  <a:gd name="T49" fmla="*/ 13620 h 20000"/>
                  <a:gd name="T50" fmla="*/ 8133 w 20000"/>
                  <a:gd name="T51" fmla="*/ 14177 h 20000"/>
                  <a:gd name="T52" fmla="*/ 8434 w 20000"/>
                  <a:gd name="T53" fmla="*/ 13114 h 20000"/>
                  <a:gd name="T54" fmla="*/ 9639 w 20000"/>
                  <a:gd name="T55" fmla="*/ 11544 h 20000"/>
                  <a:gd name="T56" fmla="*/ 8133 w 20000"/>
                  <a:gd name="T57" fmla="*/ 8658 h 20000"/>
                  <a:gd name="T58" fmla="*/ 8434 w 20000"/>
                  <a:gd name="T59" fmla="*/ 6835 h 20000"/>
                  <a:gd name="T60" fmla="*/ 8434 w 20000"/>
                  <a:gd name="T61" fmla="*/ 5468 h 20000"/>
                  <a:gd name="T62" fmla="*/ 6867 w 20000"/>
                  <a:gd name="T63" fmla="*/ 5266 h 20000"/>
                  <a:gd name="T64" fmla="*/ 5904 w 20000"/>
                  <a:gd name="T65" fmla="*/ 3949 h 20000"/>
                  <a:gd name="T66" fmla="*/ 5904 w 20000"/>
                  <a:gd name="T67" fmla="*/ 3139 h 20000"/>
                  <a:gd name="T68" fmla="*/ 13434 w 20000"/>
                  <a:gd name="T69" fmla="*/ 31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3434" y="3139"/>
                    </a:moveTo>
                    <a:lnTo>
                      <a:pt x="14699" y="1823"/>
                    </a:lnTo>
                    <a:lnTo>
                      <a:pt x="14940" y="0"/>
                    </a:lnTo>
                    <a:lnTo>
                      <a:pt x="17169" y="0"/>
                    </a:lnTo>
                    <a:lnTo>
                      <a:pt x="18735" y="0"/>
                    </a:lnTo>
                    <a:lnTo>
                      <a:pt x="19940" y="0"/>
                    </a:lnTo>
                    <a:lnTo>
                      <a:pt x="19940" y="1316"/>
                    </a:lnTo>
                    <a:lnTo>
                      <a:pt x="19639" y="2076"/>
                    </a:lnTo>
                    <a:lnTo>
                      <a:pt x="18735" y="3949"/>
                    </a:lnTo>
                    <a:lnTo>
                      <a:pt x="18735" y="5266"/>
                    </a:lnTo>
                    <a:lnTo>
                      <a:pt x="18133" y="6278"/>
                    </a:lnTo>
                    <a:lnTo>
                      <a:pt x="18133" y="7646"/>
                    </a:lnTo>
                    <a:lnTo>
                      <a:pt x="18133" y="8658"/>
                    </a:lnTo>
                    <a:lnTo>
                      <a:pt x="18133" y="9418"/>
                    </a:lnTo>
                    <a:lnTo>
                      <a:pt x="16506" y="10734"/>
                    </a:lnTo>
                    <a:lnTo>
                      <a:pt x="15542" y="10734"/>
                    </a:lnTo>
                    <a:lnTo>
                      <a:pt x="14940" y="11797"/>
                    </a:lnTo>
                    <a:lnTo>
                      <a:pt x="14699" y="12304"/>
                    </a:lnTo>
                    <a:lnTo>
                      <a:pt x="13434" y="13114"/>
                    </a:lnTo>
                    <a:lnTo>
                      <a:pt x="13434" y="14430"/>
                    </a:lnTo>
                    <a:lnTo>
                      <a:pt x="13434" y="15696"/>
                    </a:lnTo>
                    <a:lnTo>
                      <a:pt x="13072" y="17063"/>
                    </a:lnTo>
                    <a:lnTo>
                      <a:pt x="12169" y="17873"/>
                    </a:lnTo>
                    <a:lnTo>
                      <a:pt x="10964" y="18380"/>
                    </a:lnTo>
                    <a:lnTo>
                      <a:pt x="10602" y="18633"/>
                    </a:lnTo>
                    <a:lnTo>
                      <a:pt x="9639" y="19646"/>
                    </a:lnTo>
                    <a:lnTo>
                      <a:pt x="9036" y="18633"/>
                    </a:lnTo>
                    <a:lnTo>
                      <a:pt x="8434" y="18380"/>
                    </a:lnTo>
                    <a:lnTo>
                      <a:pt x="7530" y="18380"/>
                    </a:lnTo>
                    <a:lnTo>
                      <a:pt x="6867" y="19139"/>
                    </a:lnTo>
                    <a:lnTo>
                      <a:pt x="5904" y="19139"/>
                    </a:lnTo>
                    <a:lnTo>
                      <a:pt x="5663" y="18633"/>
                    </a:lnTo>
                    <a:lnTo>
                      <a:pt x="5060" y="18633"/>
                    </a:lnTo>
                    <a:lnTo>
                      <a:pt x="4337" y="18380"/>
                    </a:lnTo>
                    <a:lnTo>
                      <a:pt x="3434" y="18633"/>
                    </a:lnTo>
                    <a:lnTo>
                      <a:pt x="3434" y="19139"/>
                    </a:lnTo>
                    <a:lnTo>
                      <a:pt x="2470" y="19949"/>
                    </a:lnTo>
                    <a:lnTo>
                      <a:pt x="1867" y="19139"/>
                    </a:lnTo>
                    <a:lnTo>
                      <a:pt x="0" y="17063"/>
                    </a:lnTo>
                    <a:lnTo>
                      <a:pt x="964" y="16506"/>
                    </a:lnTo>
                    <a:lnTo>
                      <a:pt x="1566" y="16253"/>
                    </a:lnTo>
                    <a:lnTo>
                      <a:pt x="1867" y="16506"/>
                    </a:lnTo>
                    <a:lnTo>
                      <a:pt x="2470" y="16506"/>
                    </a:lnTo>
                    <a:lnTo>
                      <a:pt x="2470" y="14987"/>
                    </a:lnTo>
                    <a:lnTo>
                      <a:pt x="1566" y="14430"/>
                    </a:lnTo>
                    <a:lnTo>
                      <a:pt x="1867" y="13114"/>
                    </a:lnTo>
                    <a:lnTo>
                      <a:pt x="2470" y="13620"/>
                    </a:lnTo>
                    <a:lnTo>
                      <a:pt x="3434" y="13620"/>
                    </a:lnTo>
                    <a:lnTo>
                      <a:pt x="4096" y="12304"/>
                    </a:lnTo>
                    <a:lnTo>
                      <a:pt x="5904" y="13620"/>
                    </a:lnTo>
                    <a:lnTo>
                      <a:pt x="7530" y="13114"/>
                    </a:lnTo>
                    <a:lnTo>
                      <a:pt x="8133" y="14177"/>
                    </a:lnTo>
                    <a:lnTo>
                      <a:pt x="8434" y="14177"/>
                    </a:lnTo>
                    <a:lnTo>
                      <a:pt x="8434" y="13114"/>
                    </a:lnTo>
                    <a:lnTo>
                      <a:pt x="9036" y="12304"/>
                    </a:lnTo>
                    <a:lnTo>
                      <a:pt x="9639" y="11544"/>
                    </a:lnTo>
                    <a:lnTo>
                      <a:pt x="9639" y="9418"/>
                    </a:lnTo>
                    <a:lnTo>
                      <a:pt x="8133" y="8658"/>
                    </a:lnTo>
                    <a:lnTo>
                      <a:pt x="8133" y="7342"/>
                    </a:lnTo>
                    <a:lnTo>
                      <a:pt x="8434" y="6835"/>
                    </a:lnTo>
                    <a:lnTo>
                      <a:pt x="9036" y="6278"/>
                    </a:lnTo>
                    <a:lnTo>
                      <a:pt x="8434" y="5468"/>
                    </a:lnTo>
                    <a:lnTo>
                      <a:pt x="8133" y="5266"/>
                    </a:lnTo>
                    <a:lnTo>
                      <a:pt x="6867" y="5266"/>
                    </a:lnTo>
                    <a:lnTo>
                      <a:pt x="5904" y="5468"/>
                    </a:lnTo>
                    <a:lnTo>
                      <a:pt x="5904" y="3949"/>
                    </a:lnTo>
                    <a:lnTo>
                      <a:pt x="6566" y="3139"/>
                    </a:lnTo>
                    <a:lnTo>
                      <a:pt x="5904" y="3139"/>
                    </a:lnTo>
                    <a:lnTo>
                      <a:pt x="10000" y="2582"/>
                    </a:lnTo>
                    <a:lnTo>
                      <a:pt x="13434" y="313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4" name="Freeform 122"/>
              <p:cNvSpPr>
                <a:spLocks/>
              </p:cNvSpPr>
              <p:nvPr/>
            </p:nvSpPr>
            <p:spPr bwMode="auto">
              <a:xfrm>
                <a:off x="4670425" y="4206875"/>
                <a:ext cx="106363" cy="119063"/>
              </a:xfrm>
              <a:custGeom>
                <a:avLst/>
                <a:gdLst>
                  <a:gd name="T0" fmla="*/ 4910 w 20000"/>
                  <a:gd name="T1" fmla="*/ 0 h 20000"/>
                  <a:gd name="T2" fmla="*/ 7425 w 20000"/>
                  <a:gd name="T3" fmla="*/ 0 h 20000"/>
                  <a:gd name="T4" fmla="*/ 8623 w 20000"/>
                  <a:gd name="T5" fmla="*/ 2781 h 20000"/>
                  <a:gd name="T6" fmla="*/ 8623 w 20000"/>
                  <a:gd name="T7" fmla="*/ 5455 h 20000"/>
                  <a:gd name="T8" fmla="*/ 10539 w 20000"/>
                  <a:gd name="T9" fmla="*/ 5455 h 20000"/>
                  <a:gd name="T10" fmla="*/ 13054 w 20000"/>
                  <a:gd name="T11" fmla="*/ 5455 h 20000"/>
                  <a:gd name="T12" fmla="*/ 13054 w 20000"/>
                  <a:gd name="T13" fmla="*/ 3850 h 20000"/>
                  <a:gd name="T14" fmla="*/ 14970 w 20000"/>
                  <a:gd name="T15" fmla="*/ 4385 h 20000"/>
                  <a:gd name="T16" fmla="*/ 14970 w 20000"/>
                  <a:gd name="T17" fmla="*/ 6631 h 20000"/>
                  <a:gd name="T18" fmla="*/ 14970 w 20000"/>
                  <a:gd name="T19" fmla="*/ 8342 h 20000"/>
                  <a:gd name="T20" fmla="*/ 14970 w 20000"/>
                  <a:gd name="T21" fmla="*/ 8770 h 20000"/>
                  <a:gd name="T22" fmla="*/ 15449 w 20000"/>
                  <a:gd name="T23" fmla="*/ 11123 h 20000"/>
                  <a:gd name="T24" fmla="*/ 17964 w 20000"/>
                  <a:gd name="T25" fmla="*/ 11123 h 20000"/>
                  <a:gd name="T26" fmla="*/ 18683 w 20000"/>
                  <a:gd name="T27" fmla="*/ 11551 h 20000"/>
                  <a:gd name="T28" fmla="*/ 19880 w 20000"/>
                  <a:gd name="T29" fmla="*/ 12727 h 20000"/>
                  <a:gd name="T30" fmla="*/ 18683 w 20000"/>
                  <a:gd name="T31" fmla="*/ 16043 h 20000"/>
                  <a:gd name="T32" fmla="*/ 19880 w 20000"/>
                  <a:gd name="T33" fmla="*/ 19893 h 20000"/>
                  <a:gd name="T34" fmla="*/ 14970 w 20000"/>
                  <a:gd name="T35" fmla="*/ 18824 h 20000"/>
                  <a:gd name="T36" fmla="*/ 5629 w 20000"/>
                  <a:gd name="T37" fmla="*/ 12727 h 20000"/>
                  <a:gd name="T38" fmla="*/ 0 w 20000"/>
                  <a:gd name="T39" fmla="*/ 8342 h 20000"/>
                  <a:gd name="T40" fmla="*/ 1916 w 20000"/>
                  <a:gd name="T41" fmla="*/ 5455 h 20000"/>
                  <a:gd name="T42" fmla="*/ 3713 w 20000"/>
                  <a:gd name="T43" fmla="*/ 3850 h 20000"/>
                  <a:gd name="T44" fmla="*/ 3713 w 20000"/>
                  <a:gd name="T45" fmla="*/ 1711 h 20000"/>
                  <a:gd name="T46" fmla="*/ 4910 w 20000"/>
                  <a:gd name="T47" fmla="*/ 1711 h 20000"/>
                  <a:gd name="T48" fmla="*/ 4910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4910" y="0"/>
                    </a:moveTo>
                    <a:lnTo>
                      <a:pt x="7425" y="0"/>
                    </a:lnTo>
                    <a:lnTo>
                      <a:pt x="8623" y="2781"/>
                    </a:lnTo>
                    <a:lnTo>
                      <a:pt x="8623" y="5455"/>
                    </a:lnTo>
                    <a:lnTo>
                      <a:pt x="10539" y="5455"/>
                    </a:lnTo>
                    <a:lnTo>
                      <a:pt x="13054" y="5455"/>
                    </a:lnTo>
                    <a:lnTo>
                      <a:pt x="13054" y="3850"/>
                    </a:lnTo>
                    <a:lnTo>
                      <a:pt x="14970" y="4385"/>
                    </a:lnTo>
                    <a:lnTo>
                      <a:pt x="14970" y="6631"/>
                    </a:lnTo>
                    <a:lnTo>
                      <a:pt x="14970" y="8342"/>
                    </a:lnTo>
                    <a:lnTo>
                      <a:pt x="14970" y="8770"/>
                    </a:lnTo>
                    <a:lnTo>
                      <a:pt x="15449" y="11123"/>
                    </a:lnTo>
                    <a:lnTo>
                      <a:pt x="17964" y="11123"/>
                    </a:lnTo>
                    <a:lnTo>
                      <a:pt x="18683" y="11551"/>
                    </a:lnTo>
                    <a:lnTo>
                      <a:pt x="19880" y="12727"/>
                    </a:lnTo>
                    <a:lnTo>
                      <a:pt x="18683" y="16043"/>
                    </a:lnTo>
                    <a:lnTo>
                      <a:pt x="19880" y="19893"/>
                    </a:lnTo>
                    <a:lnTo>
                      <a:pt x="14970" y="18824"/>
                    </a:lnTo>
                    <a:lnTo>
                      <a:pt x="5629" y="12727"/>
                    </a:lnTo>
                    <a:lnTo>
                      <a:pt x="0" y="8342"/>
                    </a:lnTo>
                    <a:lnTo>
                      <a:pt x="1916" y="5455"/>
                    </a:lnTo>
                    <a:lnTo>
                      <a:pt x="3713" y="3850"/>
                    </a:lnTo>
                    <a:lnTo>
                      <a:pt x="3713" y="1711"/>
                    </a:lnTo>
                    <a:lnTo>
                      <a:pt x="4910" y="1711"/>
                    </a:lnTo>
                    <a:lnTo>
                      <a:pt x="491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5" name="Freeform 121"/>
              <p:cNvSpPr>
                <a:spLocks/>
              </p:cNvSpPr>
              <p:nvPr/>
            </p:nvSpPr>
            <p:spPr bwMode="auto">
              <a:xfrm>
                <a:off x="5251450" y="3481388"/>
                <a:ext cx="438150" cy="407987"/>
              </a:xfrm>
              <a:custGeom>
                <a:avLst/>
                <a:gdLst>
                  <a:gd name="T0" fmla="*/ 0 w 20000"/>
                  <a:gd name="T1" fmla="*/ 4199 h 20000"/>
                  <a:gd name="T2" fmla="*/ 319 w 20000"/>
                  <a:gd name="T3" fmla="*/ 4199 h 20000"/>
                  <a:gd name="T4" fmla="*/ 1072 w 20000"/>
                  <a:gd name="T5" fmla="*/ 3390 h 20000"/>
                  <a:gd name="T6" fmla="*/ 783 w 20000"/>
                  <a:gd name="T7" fmla="*/ 2240 h 20000"/>
                  <a:gd name="T8" fmla="*/ 1797 w 20000"/>
                  <a:gd name="T9" fmla="*/ 1275 h 20000"/>
                  <a:gd name="T10" fmla="*/ 2725 w 20000"/>
                  <a:gd name="T11" fmla="*/ 964 h 20000"/>
                  <a:gd name="T12" fmla="*/ 2435 w 20000"/>
                  <a:gd name="T13" fmla="*/ 498 h 20000"/>
                  <a:gd name="T14" fmla="*/ 2435 w 20000"/>
                  <a:gd name="T15" fmla="*/ 0 h 20000"/>
                  <a:gd name="T16" fmla="*/ 3768 w 20000"/>
                  <a:gd name="T17" fmla="*/ 187 h 20000"/>
                  <a:gd name="T18" fmla="*/ 5101 w 20000"/>
                  <a:gd name="T19" fmla="*/ 498 h 20000"/>
                  <a:gd name="T20" fmla="*/ 5884 w 20000"/>
                  <a:gd name="T21" fmla="*/ 809 h 20000"/>
                  <a:gd name="T22" fmla="*/ 7072 w 20000"/>
                  <a:gd name="T23" fmla="*/ 964 h 20000"/>
                  <a:gd name="T24" fmla="*/ 7536 w 20000"/>
                  <a:gd name="T25" fmla="*/ 2240 h 20000"/>
                  <a:gd name="T26" fmla="*/ 9478 w 20000"/>
                  <a:gd name="T27" fmla="*/ 2924 h 20000"/>
                  <a:gd name="T28" fmla="*/ 12174 w 20000"/>
                  <a:gd name="T29" fmla="*/ 4323 h 20000"/>
                  <a:gd name="T30" fmla="*/ 12928 w 20000"/>
                  <a:gd name="T31" fmla="*/ 3546 h 20000"/>
                  <a:gd name="T32" fmla="*/ 13217 w 20000"/>
                  <a:gd name="T33" fmla="*/ 2924 h 20000"/>
                  <a:gd name="T34" fmla="*/ 12928 w 20000"/>
                  <a:gd name="T35" fmla="*/ 1617 h 20000"/>
                  <a:gd name="T36" fmla="*/ 13362 w 20000"/>
                  <a:gd name="T37" fmla="*/ 809 h 20000"/>
                  <a:gd name="T38" fmla="*/ 14406 w 20000"/>
                  <a:gd name="T39" fmla="*/ 498 h 20000"/>
                  <a:gd name="T40" fmla="*/ 14580 w 20000"/>
                  <a:gd name="T41" fmla="*/ 498 h 20000"/>
                  <a:gd name="T42" fmla="*/ 14870 w 20000"/>
                  <a:gd name="T43" fmla="*/ 187 h 20000"/>
                  <a:gd name="T44" fmla="*/ 15768 w 20000"/>
                  <a:gd name="T45" fmla="*/ 187 h 20000"/>
                  <a:gd name="T46" fmla="*/ 16551 w 20000"/>
                  <a:gd name="T47" fmla="*/ 498 h 20000"/>
                  <a:gd name="T48" fmla="*/ 16841 w 20000"/>
                  <a:gd name="T49" fmla="*/ 964 h 20000"/>
                  <a:gd name="T50" fmla="*/ 18029 w 20000"/>
                  <a:gd name="T51" fmla="*/ 1617 h 20000"/>
                  <a:gd name="T52" fmla="*/ 19507 w 20000"/>
                  <a:gd name="T53" fmla="*/ 2240 h 20000"/>
                  <a:gd name="T54" fmla="*/ 19217 w 20000"/>
                  <a:gd name="T55" fmla="*/ 2551 h 20000"/>
                  <a:gd name="T56" fmla="*/ 19507 w 20000"/>
                  <a:gd name="T57" fmla="*/ 3546 h 20000"/>
                  <a:gd name="T58" fmla="*/ 19217 w 20000"/>
                  <a:gd name="T59" fmla="*/ 4323 h 20000"/>
                  <a:gd name="T60" fmla="*/ 19507 w 20000"/>
                  <a:gd name="T61" fmla="*/ 5661 h 20000"/>
                  <a:gd name="T62" fmla="*/ 19971 w 20000"/>
                  <a:gd name="T63" fmla="*/ 16423 h 20000"/>
                  <a:gd name="T64" fmla="*/ 19971 w 20000"/>
                  <a:gd name="T65" fmla="*/ 19471 h 20000"/>
                  <a:gd name="T66" fmla="*/ 18783 w 20000"/>
                  <a:gd name="T67" fmla="*/ 19471 h 20000"/>
                  <a:gd name="T68" fmla="*/ 18783 w 20000"/>
                  <a:gd name="T69" fmla="*/ 19969 h 20000"/>
                  <a:gd name="T70" fmla="*/ 8551 w 20000"/>
                  <a:gd name="T71" fmla="*/ 14495 h 20000"/>
                  <a:gd name="T72" fmla="*/ 7072 w 20000"/>
                  <a:gd name="T73" fmla="*/ 15117 h 20000"/>
                  <a:gd name="T74" fmla="*/ 6174 w 20000"/>
                  <a:gd name="T75" fmla="*/ 15583 h 20000"/>
                  <a:gd name="T76" fmla="*/ 5101 w 20000"/>
                  <a:gd name="T77" fmla="*/ 14806 h 20000"/>
                  <a:gd name="T78" fmla="*/ 3449 w 20000"/>
                  <a:gd name="T79" fmla="*/ 14308 h 20000"/>
                  <a:gd name="T80" fmla="*/ 2725 w 20000"/>
                  <a:gd name="T81" fmla="*/ 13219 h 20000"/>
                  <a:gd name="T82" fmla="*/ 1797 w 20000"/>
                  <a:gd name="T83" fmla="*/ 12722 h 20000"/>
                  <a:gd name="T84" fmla="*/ 1217 w 20000"/>
                  <a:gd name="T85" fmla="*/ 13033 h 20000"/>
                  <a:gd name="T86" fmla="*/ 783 w 20000"/>
                  <a:gd name="T87" fmla="*/ 12224 h 20000"/>
                  <a:gd name="T88" fmla="*/ 783 w 20000"/>
                  <a:gd name="T89" fmla="*/ 11757 h 20000"/>
                  <a:gd name="T90" fmla="*/ 0 w 20000"/>
                  <a:gd name="T91" fmla="*/ 10482 h 20000"/>
                  <a:gd name="T92" fmla="*/ 609 w 20000"/>
                  <a:gd name="T93" fmla="*/ 9798 h 20000"/>
                  <a:gd name="T94" fmla="*/ 319 w 20000"/>
                  <a:gd name="T95" fmla="*/ 8523 h 20000"/>
                  <a:gd name="T96" fmla="*/ 609 w 20000"/>
                  <a:gd name="T97" fmla="*/ 7745 h 20000"/>
                  <a:gd name="T98" fmla="*/ 319 w 20000"/>
                  <a:gd name="T99" fmla="*/ 5972 h 20000"/>
                  <a:gd name="T100" fmla="*/ 0 w 20000"/>
                  <a:gd name="T101" fmla="*/ 419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0" y="4199"/>
                    </a:moveTo>
                    <a:lnTo>
                      <a:pt x="319" y="4199"/>
                    </a:lnTo>
                    <a:lnTo>
                      <a:pt x="1072" y="3390"/>
                    </a:lnTo>
                    <a:lnTo>
                      <a:pt x="783" y="2240"/>
                    </a:lnTo>
                    <a:lnTo>
                      <a:pt x="1797" y="1275"/>
                    </a:lnTo>
                    <a:lnTo>
                      <a:pt x="2725" y="964"/>
                    </a:lnTo>
                    <a:lnTo>
                      <a:pt x="2435" y="498"/>
                    </a:lnTo>
                    <a:lnTo>
                      <a:pt x="2435" y="0"/>
                    </a:lnTo>
                    <a:lnTo>
                      <a:pt x="3768" y="187"/>
                    </a:lnTo>
                    <a:lnTo>
                      <a:pt x="5101" y="498"/>
                    </a:lnTo>
                    <a:lnTo>
                      <a:pt x="5884" y="809"/>
                    </a:lnTo>
                    <a:lnTo>
                      <a:pt x="7072" y="964"/>
                    </a:lnTo>
                    <a:lnTo>
                      <a:pt x="7536" y="2240"/>
                    </a:lnTo>
                    <a:lnTo>
                      <a:pt x="9478" y="2924"/>
                    </a:lnTo>
                    <a:lnTo>
                      <a:pt x="12174" y="4323"/>
                    </a:lnTo>
                    <a:lnTo>
                      <a:pt x="12928" y="3546"/>
                    </a:lnTo>
                    <a:lnTo>
                      <a:pt x="13217" y="2924"/>
                    </a:lnTo>
                    <a:lnTo>
                      <a:pt x="12928" y="1617"/>
                    </a:lnTo>
                    <a:lnTo>
                      <a:pt x="13362" y="809"/>
                    </a:lnTo>
                    <a:lnTo>
                      <a:pt x="14406" y="498"/>
                    </a:lnTo>
                    <a:lnTo>
                      <a:pt x="14580" y="498"/>
                    </a:lnTo>
                    <a:lnTo>
                      <a:pt x="14870" y="187"/>
                    </a:lnTo>
                    <a:lnTo>
                      <a:pt x="15768" y="187"/>
                    </a:lnTo>
                    <a:lnTo>
                      <a:pt x="16551" y="498"/>
                    </a:lnTo>
                    <a:lnTo>
                      <a:pt x="16841" y="964"/>
                    </a:lnTo>
                    <a:lnTo>
                      <a:pt x="18029" y="1617"/>
                    </a:lnTo>
                    <a:lnTo>
                      <a:pt x="19507" y="2240"/>
                    </a:lnTo>
                    <a:lnTo>
                      <a:pt x="19217" y="2551"/>
                    </a:lnTo>
                    <a:lnTo>
                      <a:pt x="19507" y="3546"/>
                    </a:lnTo>
                    <a:lnTo>
                      <a:pt x="19217" y="4323"/>
                    </a:lnTo>
                    <a:lnTo>
                      <a:pt x="19507" y="5661"/>
                    </a:lnTo>
                    <a:lnTo>
                      <a:pt x="19971" y="16423"/>
                    </a:lnTo>
                    <a:lnTo>
                      <a:pt x="19971" y="19471"/>
                    </a:lnTo>
                    <a:lnTo>
                      <a:pt x="18783" y="19471"/>
                    </a:lnTo>
                    <a:lnTo>
                      <a:pt x="18783" y="19969"/>
                    </a:lnTo>
                    <a:lnTo>
                      <a:pt x="8551" y="14495"/>
                    </a:lnTo>
                    <a:lnTo>
                      <a:pt x="7072" y="15117"/>
                    </a:lnTo>
                    <a:lnTo>
                      <a:pt x="6174" y="15583"/>
                    </a:lnTo>
                    <a:lnTo>
                      <a:pt x="5101" y="14806"/>
                    </a:lnTo>
                    <a:lnTo>
                      <a:pt x="3449" y="14308"/>
                    </a:lnTo>
                    <a:lnTo>
                      <a:pt x="2725" y="13219"/>
                    </a:lnTo>
                    <a:lnTo>
                      <a:pt x="1797" y="12722"/>
                    </a:lnTo>
                    <a:lnTo>
                      <a:pt x="1217" y="13033"/>
                    </a:lnTo>
                    <a:lnTo>
                      <a:pt x="783" y="12224"/>
                    </a:lnTo>
                    <a:lnTo>
                      <a:pt x="783" y="11757"/>
                    </a:lnTo>
                    <a:lnTo>
                      <a:pt x="0" y="10482"/>
                    </a:lnTo>
                    <a:lnTo>
                      <a:pt x="609" y="9798"/>
                    </a:lnTo>
                    <a:lnTo>
                      <a:pt x="319" y="8523"/>
                    </a:lnTo>
                    <a:lnTo>
                      <a:pt x="609" y="7745"/>
                    </a:lnTo>
                    <a:lnTo>
                      <a:pt x="319" y="5972"/>
                    </a:lnTo>
                    <a:lnTo>
                      <a:pt x="0" y="419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6" name="Freeform 120"/>
              <p:cNvSpPr>
                <a:spLocks/>
              </p:cNvSpPr>
              <p:nvPr/>
            </p:nvSpPr>
            <p:spPr bwMode="auto">
              <a:xfrm>
                <a:off x="6189663" y="4799013"/>
                <a:ext cx="217487" cy="407987"/>
              </a:xfrm>
              <a:custGeom>
                <a:avLst/>
                <a:gdLst>
                  <a:gd name="T0" fmla="*/ 3918 w 20000"/>
                  <a:gd name="T1" fmla="*/ 19470 h 20000"/>
                  <a:gd name="T2" fmla="*/ 819 w 20000"/>
                  <a:gd name="T3" fmla="*/ 18193 h 20000"/>
                  <a:gd name="T4" fmla="*/ 234 w 20000"/>
                  <a:gd name="T5" fmla="*/ 16106 h 20000"/>
                  <a:gd name="T6" fmla="*/ 819 w 20000"/>
                  <a:gd name="T7" fmla="*/ 13676 h 20000"/>
                  <a:gd name="T8" fmla="*/ 3918 w 20000"/>
                  <a:gd name="T9" fmla="*/ 11589 h 20000"/>
                  <a:gd name="T10" fmla="*/ 3918 w 20000"/>
                  <a:gd name="T11" fmla="*/ 10810 h 20000"/>
                  <a:gd name="T12" fmla="*/ 2690 w 20000"/>
                  <a:gd name="T13" fmla="*/ 9813 h 20000"/>
                  <a:gd name="T14" fmla="*/ 3918 w 20000"/>
                  <a:gd name="T15" fmla="*/ 6760 h 20000"/>
                  <a:gd name="T16" fmla="*/ 5380 w 20000"/>
                  <a:gd name="T17" fmla="*/ 5950 h 20000"/>
                  <a:gd name="T18" fmla="*/ 7251 w 20000"/>
                  <a:gd name="T19" fmla="*/ 5950 h 20000"/>
                  <a:gd name="T20" fmla="*/ 8129 w 20000"/>
                  <a:gd name="T21" fmla="*/ 5452 h 20000"/>
                  <a:gd name="T22" fmla="*/ 8713 w 20000"/>
                  <a:gd name="T23" fmla="*/ 5140 h 20000"/>
                  <a:gd name="T24" fmla="*/ 10526 w 20000"/>
                  <a:gd name="T25" fmla="*/ 5140 h 20000"/>
                  <a:gd name="T26" fmla="*/ 11111 w 20000"/>
                  <a:gd name="T27" fmla="*/ 4642 h 20000"/>
                  <a:gd name="T28" fmla="*/ 12047 w 20000"/>
                  <a:gd name="T29" fmla="*/ 4330 h 20000"/>
                  <a:gd name="T30" fmla="*/ 13626 w 20000"/>
                  <a:gd name="T31" fmla="*/ 3863 h 20000"/>
                  <a:gd name="T32" fmla="*/ 12982 w 20000"/>
                  <a:gd name="T33" fmla="*/ 3053 h 20000"/>
                  <a:gd name="T34" fmla="*/ 13626 w 20000"/>
                  <a:gd name="T35" fmla="*/ 3053 h 20000"/>
                  <a:gd name="T36" fmla="*/ 14211 w 20000"/>
                  <a:gd name="T37" fmla="*/ 2243 h 20000"/>
                  <a:gd name="T38" fmla="*/ 15088 w 20000"/>
                  <a:gd name="T39" fmla="*/ 2087 h 20000"/>
                  <a:gd name="T40" fmla="*/ 16023 w 20000"/>
                  <a:gd name="T41" fmla="*/ 1433 h 20000"/>
                  <a:gd name="T42" fmla="*/ 16608 w 20000"/>
                  <a:gd name="T43" fmla="*/ 498 h 20000"/>
                  <a:gd name="T44" fmla="*/ 16959 w 20000"/>
                  <a:gd name="T45" fmla="*/ 498 h 20000"/>
                  <a:gd name="T46" fmla="*/ 17544 w 20000"/>
                  <a:gd name="T47" fmla="*/ 935 h 20000"/>
                  <a:gd name="T48" fmla="*/ 19357 w 20000"/>
                  <a:gd name="T49" fmla="*/ 3364 h 20000"/>
                  <a:gd name="T50" fmla="*/ 19006 w 20000"/>
                  <a:gd name="T51" fmla="*/ 5639 h 20000"/>
                  <a:gd name="T52" fmla="*/ 17544 w 20000"/>
                  <a:gd name="T53" fmla="*/ 5140 h 20000"/>
                  <a:gd name="T54" fmla="*/ 18129 w 20000"/>
                  <a:gd name="T55" fmla="*/ 6417 h 20000"/>
                  <a:gd name="T56" fmla="*/ 16959 w 20000"/>
                  <a:gd name="T57" fmla="*/ 8069 h 20000"/>
                  <a:gd name="T58" fmla="*/ 12047 w 20000"/>
                  <a:gd name="T59" fmla="*/ 14829 h 20000"/>
                  <a:gd name="T60" fmla="*/ 7836 w 20000"/>
                  <a:gd name="T61" fmla="*/ 19470 h 20000"/>
                  <a:gd name="T62" fmla="*/ 4795 w 20000"/>
                  <a:gd name="T63" fmla="*/ 199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4795" y="19969"/>
                    </a:moveTo>
                    <a:lnTo>
                      <a:pt x="3918" y="19470"/>
                    </a:lnTo>
                    <a:lnTo>
                      <a:pt x="1754" y="19159"/>
                    </a:lnTo>
                    <a:lnTo>
                      <a:pt x="819" y="18193"/>
                    </a:lnTo>
                    <a:lnTo>
                      <a:pt x="819" y="16604"/>
                    </a:lnTo>
                    <a:lnTo>
                      <a:pt x="234" y="16106"/>
                    </a:lnTo>
                    <a:lnTo>
                      <a:pt x="0" y="14486"/>
                    </a:lnTo>
                    <a:lnTo>
                      <a:pt x="819" y="13676"/>
                    </a:lnTo>
                    <a:lnTo>
                      <a:pt x="1520" y="13551"/>
                    </a:lnTo>
                    <a:lnTo>
                      <a:pt x="3918" y="11589"/>
                    </a:lnTo>
                    <a:lnTo>
                      <a:pt x="3918" y="11433"/>
                    </a:lnTo>
                    <a:lnTo>
                      <a:pt x="3918" y="10810"/>
                    </a:lnTo>
                    <a:lnTo>
                      <a:pt x="3333" y="10312"/>
                    </a:lnTo>
                    <a:lnTo>
                      <a:pt x="2690" y="9813"/>
                    </a:lnTo>
                    <a:lnTo>
                      <a:pt x="2690" y="8536"/>
                    </a:lnTo>
                    <a:lnTo>
                      <a:pt x="3918" y="6760"/>
                    </a:lnTo>
                    <a:lnTo>
                      <a:pt x="4211" y="6106"/>
                    </a:lnTo>
                    <a:lnTo>
                      <a:pt x="5380" y="5950"/>
                    </a:lnTo>
                    <a:lnTo>
                      <a:pt x="6316" y="5639"/>
                    </a:lnTo>
                    <a:lnTo>
                      <a:pt x="7251" y="5950"/>
                    </a:lnTo>
                    <a:lnTo>
                      <a:pt x="7251" y="5639"/>
                    </a:lnTo>
                    <a:lnTo>
                      <a:pt x="8129" y="5452"/>
                    </a:lnTo>
                    <a:lnTo>
                      <a:pt x="9064" y="5639"/>
                    </a:lnTo>
                    <a:lnTo>
                      <a:pt x="8713" y="5140"/>
                    </a:lnTo>
                    <a:lnTo>
                      <a:pt x="10526" y="4642"/>
                    </a:lnTo>
                    <a:lnTo>
                      <a:pt x="10526" y="5140"/>
                    </a:lnTo>
                    <a:lnTo>
                      <a:pt x="11813" y="4829"/>
                    </a:lnTo>
                    <a:lnTo>
                      <a:pt x="11111" y="4642"/>
                    </a:lnTo>
                    <a:lnTo>
                      <a:pt x="12047" y="3863"/>
                    </a:lnTo>
                    <a:lnTo>
                      <a:pt x="12047" y="4330"/>
                    </a:lnTo>
                    <a:lnTo>
                      <a:pt x="12982" y="3863"/>
                    </a:lnTo>
                    <a:lnTo>
                      <a:pt x="13626" y="3863"/>
                    </a:lnTo>
                    <a:lnTo>
                      <a:pt x="12690" y="3551"/>
                    </a:lnTo>
                    <a:lnTo>
                      <a:pt x="12982" y="3053"/>
                    </a:lnTo>
                    <a:lnTo>
                      <a:pt x="13626" y="3364"/>
                    </a:lnTo>
                    <a:lnTo>
                      <a:pt x="13626" y="3053"/>
                    </a:lnTo>
                    <a:lnTo>
                      <a:pt x="12982" y="2243"/>
                    </a:lnTo>
                    <a:lnTo>
                      <a:pt x="14211" y="2243"/>
                    </a:lnTo>
                    <a:lnTo>
                      <a:pt x="14211" y="2555"/>
                    </a:lnTo>
                    <a:lnTo>
                      <a:pt x="15088" y="2087"/>
                    </a:lnTo>
                    <a:lnTo>
                      <a:pt x="15380" y="2243"/>
                    </a:lnTo>
                    <a:lnTo>
                      <a:pt x="16023" y="1433"/>
                    </a:lnTo>
                    <a:lnTo>
                      <a:pt x="15380" y="623"/>
                    </a:lnTo>
                    <a:lnTo>
                      <a:pt x="16608" y="498"/>
                    </a:lnTo>
                    <a:lnTo>
                      <a:pt x="16959" y="0"/>
                    </a:lnTo>
                    <a:lnTo>
                      <a:pt x="16959" y="498"/>
                    </a:lnTo>
                    <a:lnTo>
                      <a:pt x="17544" y="498"/>
                    </a:lnTo>
                    <a:lnTo>
                      <a:pt x="17544" y="935"/>
                    </a:lnTo>
                    <a:lnTo>
                      <a:pt x="18129" y="1277"/>
                    </a:lnTo>
                    <a:lnTo>
                      <a:pt x="19357" y="3364"/>
                    </a:lnTo>
                    <a:lnTo>
                      <a:pt x="19942" y="4642"/>
                    </a:lnTo>
                    <a:lnTo>
                      <a:pt x="19006" y="5639"/>
                    </a:lnTo>
                    <a:lnTo>
                      <a:pt x="18129" y="5140"/>
                    </a:lnTo>
                    <a:lnTo>
                      <a:pt x="17544" y="5140"/>
                    </a:lnTo>
                    <a:lnTo>
                      <a:pt x="17544" y="5639"/>
                    </a:lnTo>
                    <a:lnTo>
                      <a:pt x="18129" y="6417"/>
                    </a:lnTo>
                    <a:lnTo>
                      <a:pt x="16959" y="7383"/>
                    </a:lnTo>
                    <a:lnTo>
                      <a:pt x="16959" y="8069"/>
                    </a:lnTo>
                    <a:lnTo>
                      <a:pt x="15088" y="11121"/>
                    </a:lnTo>
                    <a:lnTo>
                      <a:pt x="12047" y="14829"/>
                    </a:lnTo>
                    <a:lnTo>
                      <a:pt x="9064" y="19003"/>
                    </a:lnTo>
                    <a:lnTo>
                      <a:pt x="7836" y="19470"/>
                    </a:lnTo>
                    <a:lnTo>
                      <a:pt x="6316" y="19657"/>
                    </a:lnTo>
                    <a:lnTo>
                      <a:pt x="4795" y="199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7" name="Freeform 119"/>
              <p:cNvSpPr>
                <a:spLocks/>
              </p:cNvSpPr>
              <p:nvPr/>
            </p:nvSpPr>
            <p:spPr bwMode="auto">
              <a:xfrm>
                <a:off x="5913438" y="4718050"/>
                <a:ext cx="90487" cy="230188"/>
              </a:xfrm>
              <a:custGeom>
                <a:avLst/>
                <a:gdLst>
                  <a:gd name="T0" fmla="*/ 845 w 20000"/>
                  <a:gd name="T1" fmla="*/ 0 h 20000"/>
                  <a:gd name="T2" fmla="*/ 4366 w 20000"/>
                  <a:gd name="T3" fmla="*/ 552 h 20000"/>
                  <a:gd name="T4" fmla="*/ 6620 w 20000"/>
                  <a:gd name="T5" fmla="*/ 1105 h 20000"/>
                  <a:gd name="T6" fmla="*/ 10282 w 20000"/>
                  <a:gd name="T7" fmla="*/ 4254 h 20000"/>
                  <a:gd name="T8" fmla="*/ 10282 w 20000"/>
                  <a:gd name="T9" fmla="*/ 5635 h 20000"/>
                  <a:gd name="T10" fmla="*/ 11831 w 20000"/>
                  <a:gd name="T11" fmla="*/ 5967 h 20000"/>
                  <a:gd name="T12" fmla="*/ 10282 w 20000"/>
                  <a:gd name="T13" fmla="*/ 7403 h 20000"/>
                  <a:gd name="T14" fmla="*/ 10282 w 20000"/>
                  <a:gd name="T15" fmla="*/ 10829 h 20000"/>
                  <a:gd name="T16" fmla="*/ 12394 w 20000"/>
                  <a:gd name="T17" fmla="*/ 10829 h 20000"/>
                  <a:gd name="T18" fmla="*/ 15493 w 20000"/>
                  <a:gd name="T19" fmla="*/ 11713 h 20000"/>
                  <a:gd name="T20" fmla="*/ 17606 w 20000"/>
                  <a:gd name="T21" fmla="*/ 13425 h 20000"/>
                  <a:gd name="T22" fmla="*/ 19859 w 20000"/>
                  <a:gd name="T23" fmla="*/ 13978 h 20000"/>
                  <a:gd name="T24" fmla="*/ 19014 w 20000"/>
                  <a:gd name="T25" fmla="*/ 15359 h 20000"/>
                  <a:gd name="T26" fmla="*/ 17606 w 20000"/>
                  <a:gd name="T27" fmla="*/ 17127 h 20000"/>
                  <a:gd name="T28" fmla="*/ 16056 w 20000"/>
                  <a:gd name="T29" fmla="*/ 17680 h 20000"/>
                  <a:gd name="T30" fmla="*/ 15493 w 20000"/>
                  <a:gd name="T31" fmla="*/ 17680 h 20000"/>
                  <a:gd name="T32" fmla="*/ 15493 w 20000"/>
                  <a:gd name="T33" fmla="*/ 19116 h 20000"/>
                  <a:gd name="T34" fmla="*/ 14085 w 20000"/>
                  <a:gd name="T35" fmla="*/ 19945 h 20000"/>
                  <a:gd name="T36" fmla="*/ 12394 w 20000"/>
                  <a:gd name="T37" fmla="*/ 19116 h 20000"/>
                  <a:gd name="T38" fmla="*/ 10282 w 20000"/>
                  <a:gd name="T39" fmla="*/ 17680 h 20000"/>
                  <a:gd name="T40" fmla="*/ 9577 w 20000"/>
                  <a:gd name="T41" fmla="*/ 16796 h 20000"/>
                  <a:gd name="T42" fmla="*/ 10282 w 20000"/>
                  <a:gd name="T43" fmla="*/ 15359 h 20000"/>
                  <a:gd name="T44" fmla="*/ 10282 w 20000"/>
                  <a:gd name="T45" fmla="*/ 13425 h 20000"/>
                  <a:gd name="T46" fmla="*/ 8028 w 20000"/>
                  <a:gd name="T47" fmla="*/ 13094 h 20000"/>
                  <a:gd name="T48" fmla="*/ 4366 w 20000"/>
                  <a:gd name="T49" fmla="*/ 13425 h 20000"/>
                  <a:gd name="T50" fmla="*/ 2254 w 20000"/>
                  <a:gd name="T51" fmla="*/ 11713 h 20000"/>
                  <a:gd name="T52" fmla="*/ 845 w 20000"/>
                  <a:gd name="T53" fmla="*/ 11934 h 20000"/>
                  <a:gd name="T54" fmla="*/ 0 w 20000"/>
                  <a:gd name="T55" fmla="*/ 10829 h 20000"/>
                  <a:gd name="T56" fmla="*/ 845 w 20000"/>
                  <a:gd name="T57" fmla="*/ 9669 h 20000"/>
                  <a:gd name="T58" fmla="*/ 845 w 20000"/>
                  <a:gd name="T59" fmla="*/ 8232 h 20000"/>
                  <a:gd name="T60" fmla="*/ 3803 w 20000"/>
                  <a:gd name="T61" fmla="*/ 8232 h 20000"/>
                  <a:gd name="T62" fmla="*/ 4366 w 20000"/>
                  <a:gd name="T63" fmla="*/ 8011 h 20000"/>
                  <a:gd name="T64" fmla="*/ 2254 w 20000"/>
                  <a:gd name="T65" fmla="*/ 7127 h 20000"/>
                  <a:gd name="T66" fmla="*/ 3803 w 20000"/>
                  <a:gd name="T67" fmla="*/ 6519 h 20000"/>
                  <a:gd name="T68" fmla="*/ 3803 w 20000"/>
                  <a:gd name="T69" fmla="*/ 4807 h 20000"/>
                  <a:gd name="T70" fmla="*/ 3803 w 20000"/>
                  <a:gd name="T71" fmla="*/ 3702 h 20000"/>
                  <a:gd name="T72" fmla="*/ 5775 w 20000"/>
                  <a:gd name="T73" fmla="*/ 3370 h 20000"/>
                  <a:gd name="T74" fmla="*/ 5775 w 20000"/>
                  <a:gd name="T75" fmla="*/ 2818 h 20000"/>
                  <a:gd name="T76" fmla="*/ 4366 w 20000"/>
                  <a:gd name="T77" fmla="*/ 1989 h 20000"/>
                  <a:gd name="T78" fmla="*/ 2254 w 20000"/>
                  <a:gd name="T79" fmla="*/ 1105 h 20000"/>
                  <a:gd name="T80" fmla="*/ 845 w 20000"/>
                  <a:gd name="T8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845" y="0"/>
                    </a:moveTo>
                    <a:lnTo>
                      <a:pt x="4366" y="552"/>
                    </a:lnTo>
                    <a:lnTo>
                      <a:pt x="6620" y="1105"/>
                    </a:lnTo>
                    <a:lnTo>
                      <a:pt x="10282" y="4254"/>
                    </a:lnTo>
                    <a:lnTo>
                      <a:pt x="10282" y="5635"/>
                    </a:lnTo>
                    <a:lnTo>
                      <a:pt x="11831" y="5967"/>
                    </a:lnTo>
                    <a:lnTo>
                      <a:pt x="10282" y="7403"/>
                    </a:lnTo>
                    <a:lnTo>
                      <a:pt x="10282" y="10829"/>
                    </a:lnTo>
                    <a:lnTo>
                      <a:pt x="12394" y="10829"/>
                    </a:lnTo>
                    <a:lnTo>
                      <a:pt x="15493" y="11713"/>
                    </a:lnTo>
                    <a:lnTo>
                      <a:pt x="17606" y="13425"/>
                    </a:lnTo>
                    <a:lnTo>
                      <a:pt x="19859" y="13978"/>
                    </a:lnTo>
                    <a:lnTo>
                      <a:pt x="19014" y="15359"/>
                    </a:lnTo>
                    <a:lnTo>
                      <a:pt x="17606" y="17127"/>
                    </a:lnTo>
                    <a:lnTo>
                      <a:pt x="16056" y="17680"/>
                    </a:lnTo>
                    <a:lnTo>
                      <a:pt x="15493" y="17680"/>
                    </a:lnTo>
                    <a:lnTo>
                      <a:pt x="15493" y="19116"/>
                    </a:lnTo>
                    <a:lnTo>
                      <a:pt x="14085" y="19945"/>
                    </a:lnTo>
                    <a:lnTo>
                      <a:pt x="12394" y="19116"/>
                    </a:lnTo>
                    <a:lnTo>
                      <a:pt x="10282" y="17680"/>
                    </a:lnTo>
                    <a:lnTo>
                      <a:pt x="9577" y="16796"/>
                    </a:lnTo>
                    <a:lnTo>
                      <a:pt x="10282" y="15359"/>
                    </a:lnTo>
                    <a:lnTo>
                      <a:pt x="10282" y="13425"/>
                    </a:lnTo>
                    <a:lnTo>
                      <a:pt x="8028" y="13094"/>
                    </a:lnTo>
                    <a:lnTo>
                      <a:pt x="4366" y="13425"/>
                    </a:lnTo>
                    <a:lnTo>
                      <a:pt x="2254" y="11713"/>
                    </a:lnTo>
                    <a:lnTo>
                      <a:pt x="845" y="11934"/>
                    </a:lnTo>
                    <a:lnTo>
                      <a:pt x="0" y="10829"/>
                    </a:lnTo>
                    <a:lnTo>
                      <a:pt x="845" y="9669"/>
                    </a:lnTo>
                    <a:lnTo>
                      <a:pt x="845" y="8232"/>
                    </a:lnTo>
                    <a:lnTo>
                      <a:pt x="3803" y="8232"/>
                    </a:lnTo>
                    <a:lnTo>
                      <a:pt x="4366" y="8011"/>
                    </a:lnTo>
                    <a:lnTo>
                      <a:pt x="2254" y="7127"/>
                    </a:lnTo>
                    <a:lnTo>
                      <a:pt x="3803" y="6519"/>
                    </a:lnTo>
                    <a:lnTo>
                      <a:pt x="3803" y="4807"/>
                    </a:lnTo>
                    <a:lnTo>
                      <a:pt x="3803" y="3702"/>
                    </a:lnTo>
                    <a:lnTo>
                      <a:pt x="5775" y="3370"/>
                    </a:lnTo>
                    <a:lnTo>
                      <a:pt x="5775" y="2818"/>
                    </a:lnTo>
                    <a:lnTo>
                      <a:pt x="4366" y="1989"/>
                    </a:lnTo>
                    <a:lnTo>
                      <a:pt x="2254" y="1105"/>
                    </a:lnTo>
                    <a:lnTo>
                      <a:pt x="84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8" name="Freeform 118"/>
              <p:cNvSpPr>
                <a:spLocks/>
              </p:cNvSpPr>
              <p:nvPr/>
            </p:nvSpPr>
            <p:spPr bwMode="auto">
              <a:xfrm>
                <a:off x="4648200" y="3724275"/>
                <a:ext cx="463550" cy="438150"/>
              </a:xfrm>
              <a:custGeom>
                <a:avLst/>
                <a:gdLst>
                  <a:gd name="T0" fmla="*/ 16279 w 20000"/>
                  <a:gd name="T1" fmla="*/ 5544 h 20000"/>
                  <a:gd name="T2" fmla="*/ 16990 w 20000"/>
                  <a:gd name="T3" fmla="*/ 6299 h 20000"/>
                  <a:gd name="T4" fmla="*/ 18112 w 20000"/>
                  <a:gd name="T5" fmla="*/ 6734 h 20000"/>
                  <a:gd name="T6" fmla="*/ 18851 w 20000"/>
                  <a:gd name="T7" fmla="*/ 7518 h 20000"/>
                  <a:gd name="T8" fmla="*/ 18851 w 20000"/>
                  <a:gd name="T9" fmla="*/ 8244 h 20000"/>
                  <a:gd name="T10" fmla="*/ 19973 w 20000"/>
                  <a:gd name="T11" fmla="*/ 10653 h 20000"/>
                  <a:gd name="T12" fmla="*/ 19398 w 20000"/>
                  <a:gd name="T13" fmla="*/ 12163 h 20000"/>
                  <a:gd name="T14" fmla="*/ 18550 w 20000"/>
                  <a:gd name="T15" fmla="*/ 12917 h 20000"/>
                  <a:gd name="T16" fmla="*/ 16005 w 20000"/>
                  <a:gd name="T17" fmla="*/ 13353 h 20000"/>
                  <a:gd name="T18" fmla="*/ 13707 w 20000"/>
                  <a:gd name="T19" fmla="*/ 13353 h 20000"/>
                  <a:gd name="T20" fmla="*/ 12312 w 20000"/>
                  <a:gd name="T21" fmla="*/ 13817 h 20000"/>
                  <a:gd name="T22" fmla="*/ 11190 w 20000"/>
                  <a:gd name="T23" fmla="*/ 15007 h 20000"/>
                  <a:gd name="T24" fmla="*/ 10451 w 20000"/>
                  <a:gd name="T25" fmla="*/ 15298 h 20000"/>
                  <a:gd name="T26" fmla="*/ 10342 w 20000"/>
                  <a:gd name="T27" fmla="*/ 16052 h 20000"/>
                  <a:gd name="T28" fmla="*/ 9330 w 20000"/>
                  <a:gd name="T29" fmla="*/ 15762 h 20000"/>
                  <a:gd name="T30" fmla="*/ 9330 w 20000"/>
                  <a:gd name="T31" fmla="*/ 16517 h 20000"/>
                  <a:gd name="T32" fmla="*/ 8892 w 20000"/>
                  <a:gd name="T33" fmla="*/ 17562 h 20000"/>
                  <a:gd name="T34" fmla="*/ 8044 w 20000"/>
                  <a:gd name="T35" fmla="*/ 17707 h 20000"/>
                  <a:gd name="T36" fmla="*/ 8044 w 20000"/>
                  <a:gd name="T37" fmla="*/ 18926 h 20000"/>
                  <a:gd name="T38" fmla="*/ 7497 w 20000"/>
                  <a:gd name="T39" fmla="*/ 19681 h 20000"/>
                  <a:gd name="T40" fmla="*/ 6922 w 20000"/>
                  <a:gd name="T41" fmla="*/ 19216 h 20000"/>
                  <a:gd name="T42" fmla="*/ 6375 w 20000"/>
                  <a:gd name="T43" fmla="*/ 19361 h 20000"/>
                  <a:gd name="T44" fmla="*/ 6211 w 20000"/>
                  <a:gd name="T45" fmla="*/ 19971 h 20000"/>
                  <a:gd name="T46" fmla="*/ 5527 w 20000"/>
                  <a:gd name="T47" fmla="*/ 19361 h 20000"/>
                  <a:gd name="T48" fmla="*/ 4514 w 20000"/>
                  <a:gd name="T49" fmla="*/ 19361 h 20000"/>
                  <a:gd name="T50" fmla="*/ 4378 w 20000"/>
                  <a:gd name="T51" fmla="*/ 18781 h 20000"/>
                  <a:gd name="T52" fmla="*/ 4077 w 20000"/>
                  <a:gd name="T53" fmla="*/ 18026 h 20000"/>
                  <a:gd name="T54" fmla="*/ 3393 w 20000"/>
                  <a:gd name="T55" fmla="*/ 16836 h 20000"/>
                  <a:gd name="T56" fmla="*/ 2955 w 20000"/>
                  <a:gd name="T57" fmla="*/ 17242 h 20000"/>
                  <a:gd name="T58" fmla="*/ 1833 w 20000"/>
                  <a:gd name="T59" fmla="*/ 17707 h 20000"/>
                  <a:gd name="T60" fmla="*/ 1122 w 20000"/>
                  <a:gd name="T61" fmla="*/ 17242 h 20000"/>
                  <a:gd name="T62" fmla="*/ 985 w 20000"/>
                  <a:gd name="T63" fmla="*/ 16836 h 20000"/>
                  <a:gd name="T64" fmla="*/ 438 w 20000"/>
                  <a:gd name="T65" fmla="*/ 15762 h 20000"/>
                  <a:gd name="T66" fmla="*/ 0 w 20000"/>
                  <a:gd name="T67" fmla="*/ 15298 h 20000"/>
                  <a:gd name="T68" fmla="*/ 0 w 20000"/>
                  <a:gd name="T69" fmla="*/ 14398 h 20000"/>
                  <a:gd name="T70" fmla="*/ 274 w 20000"/>
                  <a:gd name="T71" fmla="*/ 13643 h 20000"/>
                  <a:gd name="T72" fmla="*/ 711 w 20000"/>
                  <a:gd name="T73" fmla="*/ 12453 h 20000"/>
                  <a:gd name="T74" fmla="*/ 1560 w 20000"/>
                  <a:gd name="T75" fmla="*/ 12627 h 20000"/>
                  <a:gd name="T76" fmla="*/ 3256 w 20000"/>
                  <a:gd name="T77" fmla="*/ 12627 h 20000"/>
                  <a:gd name="T78" fmla="*/ 7770 w 20000"/>
                  <a:gd name="T79" fmla="*/ 12917 h 20000"/>
                  <a:gd name="T80" fmla="*/ 7770 w 20000"/>
                  <a:gd name="T81" fmla="*/ 11379 h 20000"/>
                  <a:gd name="T82" fmla="*/ 8892 w 20000"/>
                  <a:gd name="T8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8892" y="0"/>
                    </a:moveTo>
                    <a:lnTo>
                      <a:pt x="16279" y="5544"/>
                    </a:lnTo>
                    <a:lnTo>
                      <a:pt x="16279" y="5864"/>
                    </a:lnTo>
                    <a:lnTo>
                      <a:pt x="16990" y="6299"/>
                    </a:lnTo>
                    <a:lnTo>
                      <a:pt x="17565" y="6589"/>
                    </a:lnTo>
                    <a:lnTo>
                      <a:pt x="18112" y="6734"/>
                    </a:lnTo>
                    <a:lnTo>
                      <a:pt x="18550" y="7054"/>
                    </a:lnTo>
                    <a:lnTo>
                      <a:pt x="18851" y="7518"/>
                    </a:lnTo>
                    <a:lnTo>
                      <a:pt x="18550" y="8099"/>
                    </a:lnTo>
                    <a:lnTo>
                      <a:pt x="18851" y="8244"/>
                    </a:lnTo>
                    <a:lnTo>
                      <a:pt x="19973" y="8099"/>
                    </a:lnTo>
                    <a:lnTo>
                      <a:pt x="19973" y="10653"/>
                    </a:lnTo>
                    <a:lnTo>
                      <a:pt x="19672" y="10943"/>
                    </a:lnTo>
                    <a:lnTo>
                      <a:pt x="19398" y="12163"/>
                    </a:lnTo>
                    <a:lnTo>
                      <a:pt x="18960" y="13033"/>
                    </a:lnTo>
                    <a:lnTo>
                      <a:pt x="18550" y="12917"/>
                    </a:lnTo>
                    <a:lnTo>
                      <a:pt x="16279" y="13033"/>
                    </a:lnTo>
                    <a:lnTo>
                      <a:pt x="16005" y="13353"/>
                    </a:lnTo>
                    <a:lnTo>
                      <a:pt x="14856" y="13643"/>
                    </a:lnTo>
                    <a:lnTo>
                      <a:pt x="13707" y="13353"/>
                    </a:lnTo>
                    <a:lnTo>
                      <a:pt x="13434" y="13817"/>
                    </a:lnTo>
                    <a:lnTo>
                      <a:pt x="12312" y="13817"/>
                    </a:lnTo>
                    <a:lnTo>
                      <a:pt x="12175" y="14572"/>
                    </a:lnTo>
                    <a:lnTo>
                      <a:pt x="11190" y="15007"/>
                    </a:lnTo>
                    <a:lnTo>
                      <a:pt x="11026" y="15298"/>
                    </a:lnTo>
                    <a:lnTo>
                      <a:pt x="10451" y="15298"/>
                    </a:lnTo>
                    <a:lnTo>
                      <a:pt x="10752" y="15762"/>
                    </a:lnTo>
                    <a:lnTo>
                      <a:pt x="10342" y="16052"/>
                    </a:lnTo>
                    <a:lnTo>
                      <a:pt x="9904" y="15588"/>
                    </a:lnTo>
                    <a:lnTo>
                      <a:pt x="9330" y="15762"/>
                    </a:lnTo>
                    <a:lnTo>
                      <a:pt x="9631" y="16517"/>
                    </a:lnTo>
                    <a:lnTo>
                      <a:pt x="9330" y="16517"/>
                    </a:lnTo>
                    <a:lnTo>
                      <a:pt x="9330" y="16952"/>
                    </a:lnTo>
                    <a:lnTo>
                      <a:pt x="8892" y="17562"/>
                    </a:lnTo>
                    <a:lnTo>
                      <a:pt x="8618" y="17562"/>
                    </a:lnTo>
                    <a:lnTo>
                      <a:pt x="8044" y="17707"/>
                    </a:lnTo>
                    <a:lnTo>
                      <a:pt x="8208" y="18491"/>
                    </a:lnTo>
                    <a:lnTo>
                      <a:pt x="8044" y="18926"/>
                    </a:lnTo>
                    <a:lnTo>
                      <a:pt x="8044" y="19361"/>
                    </a:lnTo>
                    <a:lnTo>
                      <a:pt x="7497" y="19681"/>
                    </a:lnTo>
                    <a:lnTo>
                      <a:pt x="7086" y="19681"/>
                    </a:lnTo>
                    <a:lnTo>
                      <a:pt x="6922" y="19216"/>
                    </a:lnTo>
                    <a:lnTo>
                      <a:pt x="6648" y="19216"/>
                    </a:lnTo>
                    <a:lnTo>
                      <a:pt x="6375" y="19361"/>
                    </a:lnTo>
                    <a:lnTo>
                      <a:pt x="6211" y="19681"/>
                    </a:lnTo>
                    <a:lnTo>
                      <a:pt x="6211" y="19971"/>
                    </a:lnTo>
                    <a:lnTo>
                      <a:pt x="5636" y="19681"/>
                    </a:lnTo>
                    <a:lnTo>
                      <a:pt x="5527" y="19361"/>
                    </a:lnTo>
                    <a:lnTo>
                      <a:pt x="5089" y="19971"/>
                    </a:lnTo>
                    <a:lnTo>
                      <a:pt x="4514" y="19361"/>
                    </a:lnTo>
                    <a:lnTo>
                      <a:pt x="4514" y="18926"/>
                    </a:lnTo>
                    <a:lnTo>
                      <a:pt x="4378" y="18781"/>
                    </a:lnTo>
                    <a:lnTo>
                      <a:pt x="4378" y="18142"/>
                    </a:lnTo>
                    <a:lnTo>
                      <a:pt x="4077" y="18026"/>
                    </a:lnTo>
                    <a:lnTo>
                      <a:pt x="3967" y="17707"/>
                    </a:lnTo>
                    <a:lnTo>
                      <a:pt x="3393" y="16836"/>
                    </a:lnTo>
                    <a:lnTo>
                      <a:pt x="3256" y="16952"/>
                    </a:lnTo>
                    <a:lnTo>
                      <a:pt x="2955" y="17242"/>
                    </a:lnTo>
                    <a:lnTo>
                      <a:pt x="2517" y="17242"/>
                    </a:lnTo>
                    <a:lnTo>
                      <a:pt x="1833" y="17707"/>
                    </a:lnTo>
                    <a:lnTo>
                      <a:pt x="1395" y="17242"/>
                    </a:lnTo>
                    <a:lnTo>
                      <a:pt x="1122" y="17242"/>
                    </a:lnTo>
                    <a:lnTo>
                      <a:pt x="985" y="16952"/>
                    </a:lnTo>
                    <a:lnTo>
                      <a:pt x="985" y="16836"/>
                    </a:lnTo>
                    <a:lnTo>
                      <a:pt x="985" y="16226"/>
                    </a:lnTo>
                    <a:lnTo>
                      <a:pt x="438" y="15762"/>
                    </a:lnTo>
                    <a:lnTo>
                      <a:pt x="274" y="15762"/>
                    </a:lnTo>
                    <a:lnTo>
                      <a:pt x="0" y="15298"/>
                    </a:lnTo>
                    <a:lnTo>
                      <a:pt x="274" y="14572"/>
                    </a:lnTo>
                    <a:lnTo>
                      <a:pt x="0" y="14398"/>
                    </a:lnTo>
                    <a:lnTo>
                      <a:pt x="0" y="13817"/>
                    </a:lnTo>
                    <a:lnTo>
                      <a:pt x="274" y="13643"/>
                    </a:lnTo>
                    <a:lnTo>
                      <a:pt x="274" y="13033"/>
                    </a:lnTo>
                    <a:lnTo>
                      <a:pt x="711" y="12453"/>
                    </a:lnTo>
                    <a:lnTo>
                      <a:pt x="1395" y="13033"/>
                    </a:lnTo>
                    <a:lnTo>
                      <a:pt x="1560" y="12627"/>
                    </a:lnTo>
                    <a:lnTo>
                      <a:pt x="2955" y="12917"/>
                    </a:lnTo>
                    <a:lnTo>
                      <a:pt x="3256" y="12627"/>
                    </a:lnTo>
                    <a:lnTo>
                      <a:pt x="3393" y="12917"/>
                    </a:lnTo>
                    <a:lnTo>
                      <a:pt x="7770" y="12917"/>
                    </a:lnTo>
                    <a:lnTo>
                      <a:pt x="8208" y="11843"/>
                    </a:lnTo>
                    <a:lnTo>
                      <a:pt x="7770" y="11379"/>
                    </a:lnTo>
                    <a:lnTo>
                      <a:pt x="6922" y="0"/>
                    </a:lnTo>
                    <a:lnTo>
                      <a:pt x="889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19" name="Freeform 117"/>
              <p:cNvSpPr>
                <a:spLocks/>
              </p:cNvSpPr>
              <p:nvPr/>
            </p:nvSpPr>
            <p:spPr bwMode="auto">
              <a:xfrm>
                <a:off x="4510088" y="3395663"/>
                <a:ext cx="447675" cy="447675"/>
              </a:xfrm>
              <a:custGeom>
                <a:avLst/>
                <a:gdLst>
                  <a:gd name="T0" fmla="*/ 18807 w 20000"/>
                  <a:gd name="T1" fmla="*/ 878 h 20000"/>
                  <a:gd name="T2" fmla="*/ 19233 w 20000"/>
                  <a:gd name="T3" fmla="*/ 1473 h 20000"/>
                  <a:gd name="T4" fmla="*/ 19517 w 20000"/>
                  <a:gd name="T5" fmla="*/ 2210 h 20000"/>
                  <a:gd name="T6" fmla="*/ 19517 w 20000"/>
                  <a:gd name="T7" fmla="*/ 2805 h 20000"/>
                  <a:gd name="T8" fmla="*/ 19688 w 20000"/>
                  <a:gd name="T9" fmla="*/ 3824 h 20000"/>
                  <a:gd name="T10" fmla="*/ 19972 w 20000"/>
                  <a:gd name="T11" fmla="*/ 4278 h 20000"/>
                  <a:gd name="T12" fmla="*/ 19972 w 20000"/>
                  <a:gd name="T13" fmla="*/ 4703 h 20000"/>
                  <a:gd name="T14" fmla="*/ 19972 w 20000"/>
                  <a:gd name="T15" fmla="*/ 4986 h 20000"/>
                  <a:gd name="T16" fmla="*/ 17784 w 20000"/>
                  <a:gd name="T17" fmla="*/ 5297 h 20000"/>
                  <a:gd name="T18" fmla="*/ 17784 w 20000"/>
                  <a:gd name="T19" fmla="*/ 5722 h 20000"/>
                  <a:gd name="T20" fmla="*/ 16903 w 20000"/>
                  <a:gd name="T21" fmla="*/ 5864 h 20000"/>
                  <a:gd name="T22" fmla="*/ 16903 w 20000"/>
                  <a:gd name="T23" fmla="*/ 6147 h 20000"/>
                  <a:gd name="T24" fmla="*/ 16903 w 20000"/>
                  <a:gd name="T25" fmla="*/ 6601 h 20000"/>
                  <a:gd name="T26" fmla="*/ 16449 w 20000"/>
                  <a:gd name="T27" fmla="*/ 7054 h 20000"/>
                  <a:gd name="T28" fmla="*/ 14972 w 20000"/>
                  <a:gd name="T29" fmla="*/ 8385 h 20000"/>
                  <a:gd name="T30" fmla="*/ 13949 w 20000"/>
                  <a:gd name="T31" fmla="*/ 8527 h 20000"/>
                  <a:gd name="T32" fmla="*/ 13523 w 20000"/>
                  <a:gd name="T33" fmla="*/ 8385 h 20000"/>
                  <a:gd name="T34" fmla="*/ 13068 w 20000"/>
                  <a:gd name="T35" fmla="*/ 8527 h 20000"/>
                  <a:gd name="T36" fmla="*/ 12330 w 20000"/>
                  <a:gd name="T37" fmla="*/ 8527 h 20000"/>
                  <a:gd name="T38" fmla="*/ 11165 w 20000"/>
                  <a:gd name="T39" fmla="*/ 9263 h 20000"/>
                  <a:gd name="T40" fmla="*/ 10739 w 20000"/>
                  <a:gd name="T41" fmla="*/ 9547 h 20000"/>
                  <a:gd name="T42" fmla="*/ 10739 w 20000"/>
                  <a:gd name="T43" fmla="*/ 11445 h 20000"/>
                  <a:gd name="T44" fmla="*/ 10739 w 20000"/>
                  <a:gd name="T45" fmla="*/ 13371 h 20000"/>
                  <a:gd name="T46" fmla="*/ 6449 w 20000"/>
                  <a:gd name="T47" fmla="*/ 13484 h 20000"/>
                  <a:gd name="T48" fmla="*/ 6449 w 20000"/>
                  <a:gd name="T49" fmla="*/ 16601 h 20000"/>
                  <a:gd name="T50" fmla="*/ 5284 w 20000"/>
                  <a:gd name="T51" fmla="*/ 17025 h 20000"/>
                  <a:gd name="T52" fmla="*/ 4972 w 20000"/>
                  <a:gd name="T53" fmla="*/ 17309 h 20000"/>
                  <a:gd name="T54" fmla="*/ 4972 w 20000"/>
                  <a:gd name="T55" fmla="*/ 17762 h 20000"/>
                  <a:gd name="T56" fmla="*/ 4972 w 20000"/>
                  <a:gd name="T57" fmla="*/ 19518 h 20000"/>
                  <a:gd name="T58" fmla="*/ 284 w 20000"/>
                  <a:gd name="T59" fmla="*/ 19518 h 20000"/>
                  <a:gd name="T60" fmla="*/ 0 w 20000"/>
                  <a:gd name="T61" fmla="*/ 19972 h 20000"/>
                  <a:gd name="T62" fmla="*/ 284 w 20000"/>
                  <a:gd name="T63" fmla="*/ 18810 h 20000"/>
                  <a:gd name="T64" fmla="*/ 739 w 20000"/>
                  <a:gd name="T65" fmla="*/ 18187 h 20000"/>
                  <a:gd name="T66" fmla="*/ 1023 w 20000"/>
                  <a:gd name="T67" fmla="*/ 17762 h 20000"/>
                  <a:gd name="T68" fmla="*/ 1165 w 20000"/>
                  <a:gd name="T69" fmla="*/ 17309 h 20000"/>
                  <a:gd name="T70" fmla="*/ 1449 w 20000"/>
                  <a:gd name="T71" fmla="*/ 16884 h 20000"/>
                  <a:gd name="T72" fmla="*/ 1903 w 20000"/>
                  <a:gd name="T73" fmla="*/ 16147 h 20000"/>
                  <a:gd name="T74" fmla="*/ 2784 w 20000"/>
                  <a:gd name="T75" fmla="*/ 15127 h 20000"/>
                  <a:gd name="T76" fmla="*/ 2784 w 20000"/>
                  <a:gd name="T77" fmla="*/ 14249 h 20000"/>
                  <a:gd name="T78" fmla="*/ 3352 w 20000"/>
                  <a:gd name="T79" fmla="*/ 13371 h 20000"/>
                  <a:gd name="T80" fmla="*/ 4545 w 20000"/>
                  <a:gd name="T81" fmla="*/ 12040 h 20000"/>
                  <a:gd name="T82" fmla="*/ 5284 w 20000"/>
                  <a:gd name="T83" fmla="*/ 10878 h 20000"/>
                  <a:gd name="T84" fmla="*/ 6619 w 20000"/>
                  <a:gd name="T85" fmla="*/ 10425 h 20000"/>
                  <a:gd name="T86" fmla="*/ 7614 w 20000"/>
                  <a:gd name="T87" fmla="*/ 9972 h 20000"/>
                  <a:gd name="T88" fmla="*/ 8807 w 20000"/>
                  <a:gd name="T89" fmla="*/ 8810 h 20000"/>
                  <a:gd name="T90" fmla="*/ 9545 w 20000"/>
                  <a:gd name="T91" fmla="*/ 7649 h 20000"/>
                  <a:gd name="T92" fmla="*/ 9233 w 20000"/>
                  <a:gd name="T93" fmla="*/ 7054 h 20000"/>
                  <a:gd name="T94" fmla="*/ 9233 w 20000"/>
                  <a:gd name="T95" fmla="*/ 5864 h 20000"/>
                  <a:gd name="T96" fmla="*/ 9688 w 20000"/>
                  <a:gd name="T97" fmla="*/ 5297 h 20000"/>
                  <a:gd name="T98" fmla="*/ 9972 w 20000"/>
                  <a:gd name="T99" fmla="*/ 4561 h 20000"/>
                  <a:gd name="T100" fmla="*/ 10739 w 20000"/>
                  <a:gd name="T101" fmla="*/ 3541 h 20000"/>
                  <a:gd name="T102" fmla="*/ 11619 w 20000"/>
                  <a:gd name="T103" fmla="*/ 3088 h 20000"/>
                  <a:gd name="T104" fmla="*/ 13068 w 20000"/>
                  <a:gd name="T105" fmla="*/ 2380 h 20000"/>
                  <a:gd name="T106" fmla="*/ 13523 w 20000"/>
                  <a:gd name="T107" fmla="*/ 1190 h 20000"/>
                  <a:gd name="T108" fmla="*/ 13949 w 20000"/>
                  <a:gd name="T109" fmla="*/ 0 h 20000"/>
                  <a:gd name="T110" fmla="*/ 14688 w 20000"/>
                  <a:gd name="T111" fmla="*/ 0 h 20000"/>
                  <a:gd name="T112" fmla="*/ 15398 w 20000"/>
                  <a:gd name="T113" fmla="*/ 765 h 20000"/>
                  <a:gd name="T114" fmla="*/ 16619 w 20000"/>
                  <a:gd name="T115" fmla="*/ 765 h 20000"/>
                  <a:gd name="T116" fmla="*/ 17330 w 20000"/>
                  <a:gd name="T117" fmla="*/ 765 h 20000"/>
                  <a:gd name="T118" fmla="*/ 17784 w 20000"/>
                  <a:gd name="T119" fmla="*/ 453 h 20000"/>
                  <a:gd name="T120" fmla="*/ 18068 w 20000"/>
                  <a:gd name="T121" fmla="*/ 878 h 20000"/>
                  <a:gd name="T122" fmla="*/ 18807 w 20000"/>
                  <a:gd name="T123" fmla="*/ 8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00" h="20000">
                    <a:moveTo>
                      <a:pt x="18807" y="878"/>
                    </a:moveTo>
                    <a:lnTo>
                      <a:pt x="19233" y="1473"/>
                    </a:lnTo>
                    <a:lnTo>
                      <a:pt x="19517" y="2210"/>
                    </a:lnTo>
                    <a:lnTo>
                      <a:pt x="19517" y="2805"/>
                    </a:lnTo>
                    <a:lnTo>
                      <a:pt x="19688" y="3824"/>
                    </a:lnTo>
                    <a:lnTo>
                      <a:pt x="19972" y="4278"/>
                    </a:lnTo>
                    <a:lnTo>
                      <a:pt x="19972" y="4703"/>
                    </a:lnTo>
                    <a:lnTo>
                      <a:pt x="19972" y="4986"/>
                    </a:lnTo>
                    <a:lnTo>
                      <a:pt x="17784" y="5297"/>
                    </a:lnTo>
                    <a:lnTo>
                      <a:pt x="17784" y="5722"/>
                    </a:lnTo>
                    <a:lnTo>
                      <a:pt x="16903" y="5864"/>
                    </a:lnTo>
                    <a:lnTo>
                      <a:pt x="16903" y="6147"/>
                    </a:lnTo>
                    <a:lnTo>
                      <a:pt x="16903" y="6601"/>
                    </a:lnTo>
                    <a:lnTo>
                      <a:pt x="16449" y="7054"/>
                    </a:lnTo>
                    <a:lnTo>
                      <a:pt x="14972" y="8385"/>
                    </a:lnTo>
                    <a:lnTo>
                      <a:pt x="13949" y="8527"/>
                    </a:lnTo>
                    <a:lnTo>
                      <a:pt x="13523" y="8385"/>
                    </a:lnTo>
                    <a:lnTo>
                      <a:pt x="13068" y="8527"/>
                    </a:lnTo>
                    <a:lnTo>
                      <a:pt x="12330" y="8527"/>
                    </a:lnTo>
                    <a:lnTo>
                      <a:pt x="11165" y="9263"/>
                    </a:lnTo>
                    <a:lnTo>
                      <a:pt x="10739" y="9547"/>
                    </a:lnTo>
                    <a:lnTo>
                      <a:pt x="10739" y="11445"/>
                    </a:lnTo>
                    <a:lnTo>
                      <a:pt x="10739" y="13371"/>
                    </a:lnTo>
                    <a:lnTo>
                      <a:pt x="6449" y="13484"/>
                    </a:lnTo>
                    <a:lnTo>
                      <a:pt x="6449" y="16601"/>
                    </a:lnTo>
                    <a:lnTo>
                      <a:pt x="5284" y="17025"/>
                    </a:lnTo>
                    <a:lnTo>
                      <a:pt x="4972" y="17309"/>
                    </a:lnTo>
                    <a:lnTo>
                      <a:pt x="4972" y="17762"/>
                    </a:lnTo>
                    <a:lnTo>
                      <a:pt x="4972" y="19518"/>
                    </a:lnTo>
                    <a:lnTo>
                      <a:pt x="284" y="19518"/>
                    </a:lnTo>
                    <a:lnTo>
                      <a:pt x="0" y="19972"/>
                    </a:lnTo>
                    <a:lnTo>
                      <a:pt x="284" y="18810"/>
                    </a:lnTo>
                    <a:lnTo>
                      <a:pt x="739" y="18187"/>
                    </a:lnTo>
                    <a:lnTo>
                      <a:pt x="1023" y="17762"/>
                    </a:lnTo>
                    <a:lnTo>
                      <a:pt x="1165" y="17309"/>
                    </a:lnTo>
                    <a:lnTo>
                      <a:pt x="1449" y="16884"/>
                    </a:lnTo>
                    <a:lnTo>
                      <a:pt x="1903" y="16147"/>
                    </a:lnTo>
                    <a:lnTo>
                      <a:pt x="2784" y="15127"/>
                    </a:lnTo>
                    <a:lnTo>
                      <a:pt x="2784" y="14249"/>
                    </a:lnTo>
                    <a:lnTo>
                      <a:pt x="3352" y="13371"/>
                    </a:lnTo>
                    <a:lnTo>
                      <a:pt x="4545" y="12040"/>
                    </a:lnTo>
                    <a:lnTo>
                      <a:pt x="5284" y="10878"/>
                    </a:lnTo>
                    <a:lnTo>
                      <a:pt x="6619" y="10425"/>
                    </a:lnTo>
                    <a:lnTo>
                      <a:pt x="7614" y="9972"/>
                    </a:lnTo>
                    <a:lnTo>
                      <a:pt x="8807" y="8810"/>
                    </a:lnTo>
                    <a:lnTo>
                      <a:pt x="9545" y="7649"/>
                    </a:lnTo>
                    <a:lnTo>
                      <a:pt x="9233" y="7054"/>
                    </a:lnTo>
                    <a:lnTo>
                      <a:pt x="9233" y="5864"/>
                    </a:lnTo>
                    <a:lnTo>
                      <a:pt x="9688" y="5297"/>
                    </a:lnTo>
                    <a:lnTo>
                      <a:pt x="9972" y="4561"/>
                    </a:lnTo>
                    <a:lnTo>
                      <a:pt x="10739" y="3541"/>
                    </a:lnTo>
                    <a:lnTo>
                      <a:pt x="11619" y="3088"/>
                    </a:lnTo>
                    <a:lnTo>
                      <a:pt x="13068" y="2380"/>
                    </a:lnTo>
                    <a:lnTo>
                      <a:pt x="13523" y="1190"/>
                    </a:lnTo>
                    <a:lnTo>
                      <a:pt x="13949" y="0"/>
                    </a:lnTo>
                    <a:lnTo>
                      <a:pt x="14688" y="0"/>
                    </a:lnTo>
                    <a:lnTo>
                      <a:pt x="15398" y="765"/>
                    </a:lnTo>
                    <a:lnTo>
                      <a:pt x="16619" y="765"/>
                    </a:lnTo>
                    <a:lnTo>
                      <a:pt x="17330" y="765"/>
                    </a:lnTo>
                    <a:lnTo>
                      <a:pt x="17784" y="453"/>
                    </a:lnTo>
                    <a:lnTo>
                      <a:pt x="18068" y="878"/>
                    </a:lnTo>
                    <a:lnTo>
                      <a:pt x="18807" y="87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0" name="Freeform 116"/>
              <p:cNvSpPr>
                <a:spLocks/>
              </p:cNvSpPr>
              <p:nvPr/>
            </p:nvSpPr>
            <p:spPr bwMode="auto">
              <a:xfrm>
                <a:off x="4510088" y="3651250"/>
                <a:ext cx="346075" cy="376238"/>
              </a:xfrm>
              <a:custGeom>
                <a:avLst/>
                <a:gdLst>
                  <a:gd name="T0" fmla="*/ 13897 w 20000"/>
                  <a:gd name="T1" fmla="*/ 0 h 20000"/>
                  <a:gd name="T2" fmla="*/ 19963 w 20000"/>
                  <a:gd name="T3" fmla="*/ 3885 h 20000"/>
                  <a:gd name="T4" fmla="*/ 17279 w 20000"/>
                  <a:gd name="T5" fmla="*/ 3885 h 20000"/>
                  <a:gd name="T6" fmla="*/ 18456 w 20000"/>
                  <a:gd name="T7" fmla="*/ 17128 h 20000"/>
                  <a:gd name="T8" fmla="*/ 19007 w 20000"/>
                  <a:gd name="T9" fmla="*/ 17669 h 20000"/>
                  <a:gd name="T10" fmla="*/ 18456 w 20000"/>
                  <a:gd name="T11" fmla="*/ 18919 h 20000"/>
                  <a:gd name="T12" fmla="*/ 12537 w 20000"/>
                  <a:gd name="T13" fmla="*/ 18919 h 20000"/>
                  <a:gd name="T14" fmla="*/ 12390 w 20000"/>
                  <a:gd name="T15" fmla="*/ 18581 h 20000"/>
                  <a:gd name="T16" fmla="*/ 11985 w 20000"/>
                  <a:gd name="T17" fmla="*/ 18919 h 20000"/>
                  <a:gd name="T18" fmla="*/ 10074 w 20000"/>
                  <a:gd name="T19" fmla="*/ 18581 h 20000"/>
                  <a:gd name="T20" fmla="*/ 9890 w 20000"/>
                  <a:gd name="T21" fmla="*/ 19054 h 20000"/>
                  <a:gd name="T22" fmla="*/ 8934 w 20000"/>
                  <a:gd name="T23" fmla="*/ 18378 h 20000"/>
                  <a:gd name="T24" fmla="*/ 8346 w 20000"/>
                  <a:gd name="T25" fmla="*/ 19054 h 20000"/>
                  <a:gd name="T26" fmla="*/ 8346 w 20000"/>
                  <a:gd name="T27" fmla="*/ 19764 h 20000"/>
                  <a:gd name="T28" fmla="*/ 7978 w 20000"/>
                  <a:gd name="T29" fmla="*/ 19966 h 20000"/>
                  <a:gd name="T30" fmla="*/ 7022 w 20000"/>
                  <a:gd name="T31" fmla="*/ 19764 h 20000"/>
                  <a:gd name="T32" fmla="*/ 6838 w 20000"/>
                  <a:gd name="T33" fmla="*/ 19426 h 20000"/>
                  <a:gd name="T34" fmla="*/ 6434 w 20000"/>
                  <a:gd name="T35" fmla="*/ 18919 h 20000"/>
                  <a:gd name="T36" fmla="*/ 6066 w 20000"/>
                  <a:gd name="T37" fmla="*/ 18919 h 20000"/>
                  <a:gd name="T38" fmla="*/ 5919 w 20000"/>
                  <a:gd name="T39" fmla="*/ 18041 h 20000"/>
                  <a:gd name="T40" fmla="*/ 5331 w 20000"/>
                  <a:gd name="T41" fmla="*/ 18041 h 20000"/>
                  <a:gd name="T42" fmla="*/ 4559 w 20000"/>
                  <a:gd name="T43" fmla="*/ 17128 h 20000"/>
                  <a:gd name="T44" fmla="*/ 3971 w 20000"/>
                  <a:gd name="T45" fmla="*/ 16993 h 20000"/>
                  <a:gd name="T46" fmla="*/ 2463 w 20000"/>
                  <a:gd name="T47" fmla="*/ 17128 h 20000"/>
                  <a:gd name="T48" fmla="*/ 1324 w 20000"/>
                  <a:gd name="T49" fmla="*/ 17128 h 20000"/>
                  <a:gd name="T50" fmla="*/ 515 w 20000"/>
                  <a:gd name="T51" fmla="*/ 17669 h 20000"/>
                  <a:gd name="T52" fmla="*/ 956 w 20000"/>
                  <a:gd name="T53" fmla="*/ 16622 h 20000"/>
                  <a:gd name="T54" fmla="*/ 1507 w 20000"/>
                  <a:gd name="T55" fmla="*/ 15203 h 20000"/>
                  <a:gd name="T56" fmla="*/ 1324 w 20000"/>
                  <a:gd name="T57" fmla="*/ 13480 h 20000"/>
                  <a:gd name="T58" fmla="*/ 515 w 20000"/>
                  <a:gd name="T59" fmla="*/ 12601 h 20000"/>
                  <a:gd name="T60" fmla="*/ 1324 w 20000"/>
                  <a:gd name="T61" fmla="*/ 12601 h 20000"/>
                  <a:gd name="T62" fmla="*/ 1324 w 20000"/>
                  <a:gd name="T63" fmla="*/ 11723 h 20000"/>
                  <a:gd name="T64" fmla="*/ 956 w 20000"/>
                  <a:gd name="T65" fmla="*/ 10709 h 20000"/>
                  <a:gd name="T66" fmla="*/ 515 w 20000"/>
                  <a:gd name="T67" fmla="*/ 11047 h 20000"/>
                  <a:gd name="T68" fmla="*/ 368 w 20000"/>
                  <a:gd name="T69" fmla="*/ 10169 h 20000"/>
                  <a:gd name="T70" fmla="*/ 0 w 20000"/>
                  <a:gd name="T71" fmla="*/ 10169 h 20000"/>
                  <a:gd name="T72" fmla="*/ 368 w 20000"/>
                  <a:gd name="T73" fmla="*/ 9628 h 20000"/>
                  <a:gd name="T74" fmla="*/ 6434 w 20000"/>
                  <a:gd name="T75" fmla="*/ 9628 h 20000"/>
                  <a:gd name="T76" fmla="*/ 6434 w 20000"/>
                  <a:gd name="T77" fmla="*/ 7534 h 20000"/>
                  <a:gd name="T78" fmla="*/ 6434 w 20000"/>
                  <a:gd name="T79" fmla="*/ 6993 h 20000"/>
                  <a:gd name="T80" fmla="*/ 6838 w 20000"/>
                  <a:gd name="T81" fmla="*/ 6655 h 20000"/>
                  <a:gd name="T82" fmla="*/ 8346 w 20000"/>
                  <a:gd name="T83" fmla="*/ 6149 h 20000"/>
                  <a:gd name="T84" fmla="*/ 8346 w 20000"/>
                  <a:gd name="T85" fmla="*/ 2432 h 20000"/>
                  <a:gd name="T86" fmla="*/ 13897 w 20000"/>
                  <a:gd name="T87" fmla="*/ 2297 h 20000"/>
                  <a:gd name="T88" fmla="*/ 13897 w 20000"/>
                  <a:gd name="T8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3897" y="0"/>
                    </a:moveTo>
                    <a:lnTo>
                      <a:pt x="19963" y="3885"/>
                    </a:lnTo>
                    <a:lnTo>
                      <a:pt x="17279" y="3885"/>
                    </a:lnTo>
                    <a:lnTo>
                      <a:pt x="18456" y="17128"/>
                    </a:lnTo>
                    <a:lnTo>
                      <a:pt x="19007" y="17669"/>
                    </a:lnTo>
                    <a:lnTo>
                      <a:pt x="18456" y="18919"/>
                    </a:lnTo>
                    <a:lnTo>
                      <a:pt x="12537" y="18919"/>
                    </a:lnTo>
                    <a:lnTo>
                      <a:pt x="12390" y="18581"/>
                    </a:lnTo>
                    <a:lnTo>
                      <a:pt x="11985" y="18919"/>
                    </a:lnTo>
                    <a:lnTo>
                      <a:pt x="10074" y="18581"/>
                    </a:lnTo>
                    <a:lnTo>
                      <a:pt x="9890" y="19054"/>
                    </a:lnTo>
                    <a:lnTo>
                      <a:pt x="8934" y="18378"/>
                    </a:lnTo>
                    <a:lnTo>
                      <a:pt x="8346" y="19054"/>
                    </a:lnTo>
                    <a:lnTo>
                      <a:pt x="8346" y="19764"/>
                    </a:lnTo>
                    <a:lnTo>
                      <a:pt x="7978" y="19966"/>
                    </a:lnTo>
                    <a:lnTo>
                      <a:pt x="7022" y="19764"/>
                    </a:lnTo>
                    <a:lnTo>
                      <a:pt x="6838" y="19426"/>
                    </a:lnTo>
                    <a:lnTo>
                      <a:pt x="6434" y="18919"/>
                    </a:lnTo>
                    <a:lnTo>
                      <a:pt x="6066" y="18919"/>
                    </a:lnTo>
                    <a:lnTo>
                      <a:pt x="5919" y="18041"/>
                    </a:lnTo>
                    <a:lnTo>
                      <a:pt x="5331" y="18041"/>
                    </a:lnTo>
                    <a:lnTo>
                      <a:pt x="4559" y="17128"/>
                    </a:lnTo>
                    <a:lnTo>
                      <a:pt x="3971" y="16993"/>
                    </a:lnTo>
                    <a:lnTo>
                      <a:pt x="2463" y="17128"/>
                    </a:lnTo>
                    <a:lnTo>
                      <a:pt x="1324" y="17128"/>
                    </a:lnTo>
                    <a:lnTo>
                      <a:pt x="515" y="17669"/>
                    </a:lnTo>
                    <a:lnTo>
                      <a:pt x="956" y="16622"/>
                    </a:lnTo>
                    <a:lnTo>
                      <a:pt x="1507" y="15203"/>
                    </a:lnTo>
                    <a:lnTo>
                      <a:pt x="1324" y="13480"/>
                    </a:lnTo>
                    <a:lnTo>
                      <a:pt x="515" y="12601"/>
                    </a:lnTo>
                    <a:lnTo>
                      <a:pt x="1324" y="12601"/>
                    </a:lnTo>
                    <a:lnTo>
                      <a:pt x="1324" y="11723"/>
                    </a:lnTo>
                    <a:lnTo>
                      <a:pt x="956" y="10709"/>
                    </a:lnTo>
                    <a:lnTo>
                      <a:pt x="515" y="11047"/>
                    </a:lnTo>
                    <a:lnTo>
                      <a:pt x="368" y="10169"/>
                    </a:lnTo>
                    <a:lnTo>
                      <a:pt x="0" y="10169"/>
                    </a:lnTo>
                    <a:lnTo>
                      <a:pt x="368" y="9628"/>
                    </a:lnTo>
                    <a:lnTo>
                      <a:pt x="6434" y="9628"/>
                    </a:lnTo>
                    <a:lnTo>
                      <a:pt x="6434" y="7534"/>
                    </a:lnTo>
                    <a:lnTo>
                      <a:pt x="6434" y="6993"/>
                    </a:lnTo>
                    <a:lnTo>
                      <a:pt x="6838" y="6655"/>
                    </a:lnTo>
                    <a:lnTo>
                      <a:pt x="8346" y="6149"/>
                    </a:lnTo>
                    <a:lnTo>
                      <a:pt x="8346" y="2432"/>
                    </a:lnTo>
                    <a:lnTo>
                      <a:pt x="13897" y="2297"/>
                    </a:lnTo>
                    <a:lnTo>
                      <a:pt x="13897"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1" name="Freeform 115"/>
              <p:cNvSpPr>
                <a:spLocks/>
              </p:cNvSpPr>
              <p:nvPr/>
            </p:nvSpPr>
            <p:spPr bwMode="auto">
              <a:xfrm>
                <a:off x="6594475" y="5035550"/>
                <a:ext cx="11113" cy="23813"/>
              </a:xfrm>
              <a:custGeom>
                <a:avLst/>
                <a:gdLst>
                  <a:gd name="T0" fmla="*/ 7059 w 20000"/>
                  <a:gd name="T1" fmla="*/ 19459 h 20000"/>
                  <a:gd name="T2" fmla="*/ 0 w 20000"/>
                  <a:gd name="T3" fmla="*/ 14054 h 20000"/>
                  <a:gd name="T4" fmla="*/ 0 w 20000"/>
                  <a:gd name="T5" fmla="*/ 10811 h 20000"/>
                  <a:gd name="T6" fmla="*/ 7059 w 20000"/>
                  <a:gd name="T7" fmla="*/ 0 h 20000"/>
                  <a:gd name="T8" fmla="*/ 18824 w 20000"/>
                  <a:gd name="T9" fmla="*/ 10811 h 20000"/>
                  <a:gd name="T10" fmla="*/ 7059 w 20000"/>
                  <a:gd name="T11" fmla="*/ 19459 h 20000"/>
                </a:gdLst>
                <a:ahLst/>
                <a:cxnLst>
                  <a:cxn ang="0">
                    <a:pos x="T0" y="T1"/>
                  </a:cxn>
                  <a:cxn ang="0">
                    <a:pos x="T2" y="T3"/>
                  </a:cxn>
                  <a:cxn ang="0">
                    <a:pos x="T4" y="T5"/>
                  </a:cxn>
                  <a:cxn ang="0">
                    <a:pos x="T6" y="T7"/>
                  </a:cxn>
                  <a:cxn ang="0">
                    <a:pos x="T8" y="T9"/>
                  </a:cxn>
                  <a:cxn ang="0">
                    <a:pos x="T10" y="T11"/>
                  </a:cxn>
                </a:cxnLst>
                <a:rect l="0" t="0" r="r" b="b"/>
                <a:pathLst>
                  <a:path w="20000" h="20000">
                    <a:moveTo>
                      <a:pt x="7059" y="19459"/>
                    </a:moveTo>
                    <a:lnTo>
                      <a:pt x="0" y="14054"/>
                    </a:lnTo>
                    <a:lnTo>
                      <a:pt x="0" y="10811"/>
                    </a:lnTo>
                    <a:lnTo>
                      <a:pt x="7059" y="0"/>
                    </a:lnTo>
                    <a:lnTo>
                      <a:pt x="18824" y="10811"/>
                    </a:lnTo>
                    <a:lnTo>
                      <a:pt x="7059" y="194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2" name="Freeform 114"/>
              <p:cNvSpPr>
                <a:spLocks/>
              </p:cNvSpPr>
              <p:nvPr/>
            </p:nvSpPr>
            <p:spPr bwMode="auto">
              <a:xfrm>
                <a:off x="5830888" y="4756150"/>
                <a:ext cx="306387" cy="484188"/>
              </a:xfrm>
              <a:custGeom>
                <a:avLst/>
                <a:gdLst>
                  <a:gd name="T0" fmla="*/ 10062 w 20000"/>
                  <a:gd name="T1" fmla="*/ 1076 h 20000"/>
                  <a:gd name="T2" fmla="*/ 11180 w 20000"/>
                  <a:gd name="T3" fmla="*/ 1076 h 20000"/>
                  <a:gd name="T4" fmla="*/ 12671 w 20000"/>
                  <a:gd name="T5" fmla="*/ 1234 h 20000"/>
                  <a:gd name="T6" fmla="*/ 13954 w 20000"/>
                  <a:gd name="T7" fmla="*/ 1234 h 20000"/>
                  <a:gd name="T8" fmla="*/ 15031 w 20000"/>
                  <a:gd name="T9" fmla="*/ 814 h 20000"/>
                  <a:gd name="T10" fmla="*/ 15652 w 20000"/>
                  <a:gd name="T11" fmla="*/ 1076 h 20000"/>
                  <a:gd name="T12" fmla="*/ 17184 w 20000"/>
                  <a:gd name="T13" fmla="*/ 682 h 20000"/>
                  <a:gd name="T14" fmla="*/ 19130 w 20000"/>
                  <a:gd name="T15" fmla="*/ 0 h 20000"/>
                  <a:gd name="T16" fmla="*/ 19130 w 20000"/>
                  <a:gd name="T17" fmla="*/ 1076 h 20000"/>
                  <a:gd name="T18" fmla="*/ 19130 w 20000"/>
                  <a:gd name="T19" fmla="*/ 2310 h 20000"/>
                  <a:gd name="T20" fmla="*/ 19130 w 20000"/>
                  <a:gd name="T21" fmla="*/ 2992 h 20000"/>
                  <a:gd name="T22" fmla="*/ 19545 w 20000"/>
                  <a:gd name="T23" fmla="*/ 4619 h 20000"/>
                  <a:gd name="T24" fmla="*/ 19545 w 20000"/>
                  <a:gd name="T25" fmla="*/ 5171 h 20000"/>
                  <a:gd name="T26" fmla="*/ 19545 w 20000"/>
                  <a:gd name="T27" fmla="*/ 5696 h 20000"/>
                  <a:gd name="T28" fmla="*/ 18012 w 20000"/>
                  <a:gd name="T29" fmla="*/ 6772 h 20000"/>
                  <a:gd name="T30" fmla="*/ 17350 w 20000"/>
                  <a:gd name="T31" fmla="*/ 7192 h 20000"/>
                  <a:gd name="T32" fmla="*/ 16108 w 20000"/>
                  <a:gd name="T33" fmla="*/ 7874 h 20000"/>
                  <a:gd name="T34" fmla="*/ 12671 w 20000"/>
                  <a:gd name="T35" fmla="*/ 8688 h 20000"/>
                  <a:gd name="T36" fmla="*/ 12257 w 20000"/>
                  <a:gd name="T37" fmla="*/ 9239 h 20000"/>
                  <a:gd name="T38" fmla="*/ 10062 w 20000"/>
                  <a:gd name="T39" fmla="*/ 10315 h 20000"/>
                  <a:gd name="T40" fmla="*/ 8157 w 20000"/>
                  <a:gd name="T41" fmla="*/ 11811 h 20000"/>
                  <a:gd name="T42" fmla="*/ 8820 w 20000"/>
                  <a:gd name="T43" fmla="*/ 13307 h 20000"/>
                  <a:gd name="T44" fmla="*/ 9027 w 20000"/>
                  <a:gd name="T45" fmla="*/ 13990 h 20000"/>
                  <a:gd name="T46" fmla="*/ 9482 w 20000"/>
                  <a:gd name="T47" fmla="*/ 15092 h 20000"/>
                  <a:gd name="T48" fmla="*/ 8820 w 20000"/>
                  <a:gd name="T49" fmla="*/ 16430 h 20000"/>
                  <a:gd name="T50" fmla="*/ 9482 w 20000"/>
                  <a:gd name="T51" fmla="*/ 16588 h 20000"/>
                  <a:gd name="T52" fmla="*/ 5590 w 20000"/>
                  <a:gd name="T53" fmla="*/ 17769 h 20000"/>
                  <a:gd name="T54" fmla="*/ 4306 w 20000"/>
                  <a:gd name="T55" fmla="*/ 18346 h 20000"/>
                  <a:gd name="T56" fmla="*/ 3892 w 20000"/>
                  <a:gd name="T57" fmla="*/ 19003 h 20000"/>
                  <a:gd name="T58" fmla="*/ 4306 w 20000"/>
                  <a:gd name="T59" fmla="*/ 19003 h 20000"/>
                  <a:gd name="T60" fmla="*/ 3644 w 20000"/>
                  <a:gd name="T61" fmla="*/ 19974 h 20000"/>
                  <a:gd name="T62" fmla="*/ 3230 w 20000"/>
                  <a:gd name="T63" fmla="*/ 19003 h 20000"/>
                  <a:gd name="T64" fmla="*/ 2816 w 20000"/>
                  <a:gd name="T65" fmla="*/ 18346 h 20000"/>
                  <a:gd name="T66" fmla="*/ 2816 w 20000"/>
                  <a:gd name="T67" fmla="*/ 16588 h 20000"/>
                  <a:gd name="T68" fmla="*/ 2567 w 20000"/>
                  <a:gd name="T69" fmla="*/ 15092 h 20000"/>
                  <a:gd name="T70" fmla="*/ 1946 w 20000"/>
                  <a:gd name="T71" fmla="*/ 14278 h 20000"/>
                  <a:gd name="T72" fmla="*/ 4306 w 20000"/>
                  <a:gd name="T73" fmla="*/ 12625 h 20000"/>
                  <a:gd name="T74" fmla="*/ 4513 w 20000"/>
                  <a:gd name="T75" fmla="*/ 11811 h 20000"/>
                  <a:gd name="T76" fmla="*/ 4928 w 20000"/>
                  <a:gd name="T77" fmla="*/ 10735 h 20000"/>
                  <a:gd name="T78" fmla="*/ 4928 w 20000"/>
                  <a:gd name="T79" fmla="*/ 9764 h 20000"/>
                  <a:gd name="T80" fmla="*/ 4928 w 20000"/>
                  <a:gd name="T81" fmla="*/ 9659 h 20000"/>
                  <a:gd name="T82" fmla="*/ 5342 w 20000"/>
                  <a:gd name="T83" fmla="*/ 9239 h 20000"/>
                  <a:gd name="T84" fmla="*/ 5342 w 20000"/>
                  <a:gd name="T85" fmla="*/ 7874 h 20000"/>
                  <a:gd name="T86" fmla="*/ 4928 w 20000"/>
                  <a:gd name="T87" fmla="*/ 6929 h 20000"/>
                  <a:gd name="T88" fmla="*/ 3230 w 20000"/>
                  <a:gd name="T89" fmla="*/ 6772 h 20000"/>
                  <a:gd name="T90" fmla="*/ 2153 w 20000"/>
                  <a:gd name="T91" fmla="*/ 6378 h 20000"/>
                  <a:gd name="T92" fmla="*/ 414 w 20000"/>
                  <a:gd name="T93" fmla="*/ 6115 h 20000"/>
                  <a:gd name="T94" fmla="*/ 0 w 20000"/>
                  <a:gd name="T95" fmla="*/ 5171 h 20000"/>
                  <a:gd name="T96" fmla="*/ 6004 w 20000"/>
                  <a:gd name="T97" fmla="*/ 3937 h 20000"/>
                  <a:gd name="T98" fmla="*/ 7702 w 20000"/>
                  <a:gd name="T99" fmla="*/ 4619 h 20000"/>
                  <a:gd name="T100" fmla="*/ 8364 w 20000"/>
                  <a:gd name="T101" fmla="*/ 5696 h 20000"/>
                  <a:gd name="T102" fmla="*/ 8364 w 20000"/>
                  <a:gd name="T103" fmla="*/ 6772 h 20000"/>
                  <a:gd name="T104" fmla="*/ 9482 w 20000"/>
                  <a:gd name="T105" fmla="*/ 7874 h 20000"/>
                  <a:gd name="T106" fmla="*/ 9896 w 20000"/>
                  <a:gd name="T107" fmla="*/ 6772 h 20000"/>
                  <a:gd name="T108" fmla="*/ 10518 w 20000"/>
                  <a:gd name="T109" fmla="*/ 6509 h 20000"/>
                  <a:gd name="T110" fmla="*/ 11180 w 20000"/>
                  <a:gd name="T111" fmla="*/ 5039 h 20000"/>
                  <a:gd name="T112" fmla="*/ 9896 w 20000"/>
                  <a:gd name="T113" fmla="*/ 3937 h 20000"/>
                  <a:gd name="T114" fmla="*/ 8364 w 20000"/>
                  <a:gd name="T115" fmla="*/ 3543 h 20000"/>
                  <a:gd name="T116" fmla="*/ 8820 w 20000"/>
                  <a:gd name="T117" fmla="*/ 123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8820" y="1234"/>
                    </a:moveTo>
                    <a:lnTo>
                      <a:pt x="10062" y="1076"/>
                    </a:lnTo>
                    <a:lnTo>
                      <a:pt x="10518" y="1234"/>
                    </a:lnTo>
                    <a:lnTo>
                      <a:pt x="11180" y="1076"/>
                    </a:lnTo>
                    <a:lnTo>
                      <a:pt x="11843" y="1234"/>
                    </a:lnTo>
                    <a:lnTo>
                      <a:pt x="12671" y="1234"/>
                    </a:lnTo>
                    <a:lnTo>
                      <a:pt x="12878" y="1234"/>
                    </a:lnTo>
                    <a:lnTo>
                      <a:pt x="13954" y="1234"/>
                    </a:lnTo>
                    <a:lnTo>
                      <a:pt x="14576" y="1076"/>
                    </a:lnTo>
                    <a:lnTo>
                      <a:pt x="15031" y="814"/>
                    </a:lnTo>
                    <a:lnTo>
                      <a:pt x="15652" y="814"/>
                    </a:lnTo>
                    <a:lnTo>
                      <a:pt x="15652" y="1076"/>
                    </a:lnTo>
                    <a:lnTo>
                      <a:pt x="16315" y="814"/>
                    </a:lnTo>
                    <a:lnTo>
                      <a:pt x="17184" y="682"/>
                    </a:lnTo>
                    <a:lnTo>
                      <a:pt x="18468" y="420"/>
                    </a:lnTo>
                    <a:lnTo>
                      <a:pt x="19130" y="0"/>
                    </a:lnTo>
                    <a:lnTo>
                      <a:pt x="19545" y="420"/>
                    </a:lnTo>
                    <a:lnTo>
                      <a:pt x="19130" y="1076"/>
                    </a:lnTo>
                    <a:lnTo>
                      <a:pt x="19130" y="1785"/>
                    </a:lnTo>
                    <a:lnTo>
                      <a:pt x="19130" y="2310"/>
                    </a:lnTo>
                    <a:lnTo>
                      <a:pt x="19545" y="2861"/>
                    </a:lnTo>
                    <a:lnTo>
                      <a:pt x="19130" y="2992"/>
                    </a:lnTo>
                    <a:lnTo>
                      <a:pt x="19545" y="3543"/>
                    </a:lnTo>
                    <a:lnTo>
                      <a:pt x="19545" y="4619"/>
                    </a:lnTo>
                    <a:lnTo>
                      <a:pt x="19959" y="4777"/>
                    </a:lnTo>
                    <a:lnTo>
                      <a:pt x="19545" y="5171"/>
                    </a:lnTo>
                    <a:lnTo>
                      <a:pt x="19130" y="5433"/>
                    </a:lnTo>
                    <a:lnTo>
                      <a:pt x="19545" y="5696"/>
                    </a:lnTo>
                    <a:lnTo>
                      <a:pt x="18882" y="6115"/>
                    </a:lnTo>
                    <a:lnTo>
                      <a:pt x="18012" y="6772"/>
                    </a:lnTo>
                    <a:lnTo>
                      <a:pt x="17847" y="6929"/>
                    </a:lnTo>
                    <a:lnTo>
                      <a:pt x="17350" y="7192"/>
                    </a:lnTo>
                    <a:lnTo>
                      <a:pt x="16315" y="7480"/>
                    </a:lnTo>
                    <a:lnTo>
                      <a:pt x="16108" y="7874"/>
                    </a:lnTo>
                    <a:lnTo>
                      <a:pt x="13954" y="8268"/>
                    </a:lnTo>
                    <a:lnTo>
                      <a:pt x="12671" y="8688"/>
                    </a:lnTo>
                    <a:lnTo>
                      <a:pt x="12257" y="8976"/>
                    </a:lnTo>
                    <a:lnTo>
                      <a:pt x="12257" y="9239"/>
                    </a:lnTo>
                    <a:lnTo>
                      <a:pt x="11180" y="9764"/>
                    </a:lnTo>
                    <a:lnTo>
                      <a:pt x="10062" y="10315"/>
                    </a:lnTo>
                    <a:lnTo>
                      <a:pt x="8364" y="11391"/>
                    </a:lnTo>
                    <a:lnTo>
                      <a:pt x="8157" y="11811"/>
                    </a:lnTo>
                    <a:lnTo>
                      <a:pt x="8364" y="12493"/>
                    </a:lnTo>
                    <a:lnTo>
                      <a:pt x="8820" y="13307"/>
                    </a:lnTo>
                    <a:lnTo>
                      <a:pt x="9027" y="14278"/>
                    </a:lnTo>
                    <a:lnTo>
                      <a:pt x="9027" y="13990"/>
                    </a:lnTo>
                    <a:lnTo>
                      <a:pt x="9482" y="14278"/>
                    </a:lnTo>
                    <a:lnTo>
                      <a:pt x="9482" y="15092"/>
                    </a:lnTo>
                    <a:lnTo>
                      <a:pt x="9027" y="15459"/>
                    </a:lnTo>
                    <a:lnTo>
                      <a:pt x="8820" y="16430"/>
                    </a:lnTo>
                    <a:lnTo>
                      <a:pt x="9027" y="16168"/>
                    </a:lnTo>
                    <a:lnTo>
                      <a:pt x="9482" y="16588"/>
                    </a:lnTo>
                    <a:lnTo>
                      <a:pt x="8364" y="17113"/>
                    </a:lnTo>
                    <a:lnTo>
                      <a:pt x="5590" y="17769"/>
                    </a:lnTo>
                    <a:lnTo>
                      <a:pt x="4928" y="17927"/>
                    </a:lnTo>
                    <a:lnTo>
                      <a:pt x="4306" y="18346"/>
                    </a:lnTo>
                    <a:lnTo>
                      <a:pt x="3644" y="18609"/>
                    </a:lnTo>
                    <a:lnTo>
                      <a:pt x="3892" y="19003"/>
                    </a:lnTo>
                    <a:lnTo>
                      <a:pt x="4306" y="18871"/>
                    </a:lnTo>
                    <a:lnTo>
                      <a:pt x="4306" y="19003"/>
                    </a:lnTo>
                    <a:lnTo>
                      <a:pt x="4306" y="19974"/>
                    </a:lnTo>
                    <a:lnTo>
                      <a:pt x="3644" y="19974"/>
                    </a:lnTo>
                    <a:lnTo>
                      <a:pt x="2816" y="19685"/>
                    </a:lnTo>
                    <a:lnTo>
                      <a:pt x="3230" y="19003"/>
                    </a:lnTo>
                    <a:lnTo>
                      <a:pt x="2816" y="18609"/>
                    </a:lnTo>
                    <a:lnTo>
                      <a:pt x="2816" y="18346"/>
                    </a:lnTo>
                    <a:lnTo>
                      <a:pt x="2816" y="17507"/>
                    </a:lnTo>
                    <a:lnTo>
                      <a:pt x="2816" y="16588"/>
                    </a:lnTo>
                    <a:lnTo>
                      <a:pt x="2153" y="15459"/>
                    </a:lnTo>
                    <a:lnTo>
                      <a:pt x="2567" y="15092"/>
                    </a:lnTo>
                    <a:lnTo>
                      <a:pt x="2153" y="14934"/>
                    </a:lnTo>
                    <a:lnTo>
                      <a:pt x="1946" y="14278"/>
                    </a:lnTo>
                    <a:lnTo>
                      <a:pt x="3892" y="13176"/>
                    </a:lnTo>
                    <a:lnTo>
                      <a:pt x="4306" y="12625"/>
                    </a:lnTo>
                    <a:lnTo>
                      <a:pt x="4306" y="12231"/>
                    </a:lnTo>
                    <a:lnTo>
                      <a:pt x="4513" y="11811"/>
                    </a:lnTo>
                    <a:lnTo>
                      <a:pt x="5342" y="11129"/>
                    </a:lnTo>
                    <a:lnTo>
                      <a:pt x="4928" y="10735"/>
                    </a:lnTo>
                    <a:lnTo>
                      <a:pt x="4928" y="10315"/>
                    </a:lnTo>
                    <a:lnTo>
                      <a:pt x="4928" y="9764"/>
                    </a:lnTo>
                    <a:lnTo>
                      <a:pt x="5342" y="9764"/>
                    </a:lnTo>
                    <a:lnTo>
                      <a:pt x="4928" y="9659"/>
                    </a:lnTo>
                    <a:lnTo>
                      <a:pt x="5342" y="9396"/>
                    </a:lnTo>
                    <a:lnTo>
                      <a:pt x="5342" y="9239"/>
                    </a:lnTo>
                    <a:lnTo>
                      <a:pt x="5342" y="8556"/>
                    </a:lnTo>
                    <a:lnTo>
                      <a:pt x="5342" y="7874"/>
                    </a:lnTo>
                    <a:lnTo>
                      <a:pt x="4928" y="7192"/>
                    </a:lnTo>
                    <a:lnTo>
                      <a:pt x="4928" y="6929"/>
                    </a:lnTo>
                    <a:lnTo>
                      <a:pt x="3644" y="6929"/>
                    </a:lnTo>
                    <a:lnTo>
                      <a:pt x="3230" y="6772"/>
                    </a:lnTo>
                    <a:lnTo>
                      <a:pt x="2567" y="6509"/>
                    </a:lnTo>
                    <a:lnTo>
                      <a:pt x="2153" y="6378"/>
                    </a:lnTo>
                    <a:lnTo>
                      <a:pt x="870" y="6509"/>
                    </a:lnTo>
                    <a:lnTo>
                      <a:pt x="414" y="6115"/>
                    </a:lnTo>
                    <a:lnTo>
                      <a:pt x="414" y="5696"/>
                    </a:lnTo>
                    <a:lnTo>
                      <a:pt x="0" y="5171"/>
                    </a:lnTo>
                    <a:lnTo>
                      <a:pt x="5590" y="4068"/>
                    </a:lnTo>
                    <a:lnTo>
                      <a:pt x="6004" y="3937"/>
                    </a:lnTo>
                    <a:lnTo>
                      <a:pt x="6667" y="4777"/>
                    </a:lnTo>
                    <a:lnTo>
                      <a:pt x="7702" y="4619"/>
                    </a:lnTo>
                    <a:lnTo>
                      <a:pt x="8364" y="4777"/>
                    </a:lnTo>
                    <a:lnTo>
                      <a:pt x="8364" y="5696"/>
                    </a:lnTo>
                    <a:lnTo>
                      <a:pt x="8157" y="6378"/>
                    </a:lnTo>
                    <a:lnTo>
                      <a:pt x="8364" y="6772"/>
                    </a:lnTo>
                    <a:lnTo>
                      <a:pt x="9027" y="7480"/>
                    </a:lnTo>
                    <a:lnTo>
                      <a:pt x="9482" y="7874"/>
                    </a:lnTo>
                    <a:lnTo>
                      <a:pt x="9896" y="7480"/>
                    </a:lnTo>
                    <a:lnTo>
                      <a:pt x="9896" y="6772"/>
                    </a:lnTo>
                    <a:lnTo>
                      <a:pt x="10062" y="6772"/>
                    </a:lnTo>
                    <a:lnTo>
                      <a:pt x="10518" y="6509"/>
                    </a:lnTo>
                    <a:lnTo>
                      <a:pt x="10932" y="5696"/>
                    </a:lnTo>
                    <a:lnTo>
                      <a:pt x="11180" y="5039"/>
                    </a:lnTo>
                    <a:lnTo>
                      <a:pt x="10518" y="4777"/>
                    </a:lnTo>
                    <a:lnTo>
                      <a:pt x="9896" y="3937"/>
                    </a:lnTo>
                    <a:lnTo>
                      <a:pt x="9027" y="3543"/>
                    </a:lnTo>
                    <a:lnTo>
                      <a:pt x="8364" y="3543"/>
                    </a:lnTo>
                    <a:lnTo>
                      <a:pt x="8364" y="1890"/>
                    </a:lnTo>
                    <a:lnTo>
                      <a:pt x="8820" y="123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3" name="Freeform 113"/>
              <p:cNvSpPr>
                <a:spLocks/>
              </p:cNvSpPr>
              <p:nvPr/>
            </p:nvSpPr>
            <p:spPr bwMode="auto">
              <a:xfrm>
                <a:off x="5318125" y="4937125"/>
                <a:ext cx="376238" cy="358775"/>
              </a:xfrm>
              <a:custGeom>
                <a:avLst/>
                <a:gdLst>
                  <a:gd name="T0" fmla="*/ 17162 w 20000"/>
                  <a:gd name="T1" fmla="*/ 1062 h 20000"/>
                  <a:gd name="T2" fmla="*/ 18378 w 20000"/>
                  <a:gd name="T3" fmla="*/ 708 h 20000"/>
                  <a:gd name="T4" fmla="*/ 18581 w 20000"/>
                  <a:gd name="T5" fmla="*/ 708 h 20000"/>
                  <a:gd name="T6" fmla="*/ 19426 w 20000"/>
                  <a:gd name="T7" fmla="*/ 1062 h 20000"/>
                  <a:gd name="T8" fmla="*/ 19966 w 20000"/>
                  <a:gd name="T9" fmla="*/ 1451 h 20000"/>
                  <a:gd name="T10" fmla="*/ 19426 w 20000"/>
                  <a:gd name="T11" fmla="*/ 1451 h 20000"/>
                  <a:gd name="T12" fmla="*/ 18919 w 20000"/>
                  <a:gd name="T13" fmla="*/ 1628 h 20000"/>
                  <a:gd name="T14" fmla="*/ 18581 w 20000"/>
                  <a:gd name="T15" fmla="*/ 1628 h 20000"/>
                  <a:gd name="T16" fmla="*/ 17500 w 20000"/>
                  <a:gd name="T17" fmla="*/ 2372 h 20000"/>
                  <a:gd name="T18" fmla="*/ 16993 w 20000"/>
                  <a:gd name="T19" fmla="*/ 1628 h 20000"/>
                  <a:gd name="T20" fmla="*/ 15777 w 20000"/>
                  <a:gd name="T21" fmla="*/ 2018 h 20000"/>
                  <a:gd name="T22" fmla="*/ 13818 w 20000"/>
                  <a:gd name="T23" fmla="*/ 2372 h 20000"/>
                  <a:gd name="T24" fmla="*/ 13480 w 20000"/>
                  <a:gd name="T25" fmla="*/ 8212 h 20000"/>
                  <a:gd name="T26" fmla="*/ 12095 w 20000"/>
                  <a:gd name="T27" fmla="*/ 8212 h 20000"/>
                  <a:gd name="T28" fmla="*/ 11892 w 20000"/>
                  <a:gd name="T29" fmla="*/ 12991 h 20000"/>
                  <a:gd name="T30" fmla="*/ 11554 w 20000"/>
                  <a:gd name="T31" fmla="*/ 19221 h 20000"/>
                  <a:gd name="T32" fmla="*/ 11047 w 20000"/>
                  <a:gd name="T33" fmla="*/ 19221 h 20000"/>
                  <a:gd name="T34" fmla="*/ 10304 w 20000"/>
                  <a:gd name="T35" fmla="*/ 19752 h 20000"/>
                  <a:gd name="T36" fmla="*/ 10169 w 20000"/>
                  <a:gd name="T37" fmla="*/ 19965 h 20000"/>
                  <a:gd name="T38" fmla="*/ 9628 w 20000"/>
                  <a:gd name="T39" fmla="*/ 19752 h 20000"/>
                  <a:gd name="T40" fmla="*/ 8919 w 20000"/>
                  <a:gd name="T41" fmla="*/ 19752 h 20000"/>
                  <a:gd name="T42" fmla="*/ 8412 w 20000"/>
                  <a:gd name="T43" fmla="*/ 19752 h 20000"/>
                  <a:gd name="T44" fmla="*/ 7534 w 20000"/>
                  <a:gd name="T45" fmla="*/ 19398 h 20000"/>
                  <a:gd name="T46" fmla="*/ 7534 w 20000"/>
                  <a:gd name="T47" fmla="*/ 18478 h 20000"/>
                  <a:gd name="T48" fmla="*/ 7399 w 20000"/>
                  <a:gd name="T49" fmla="*/ 18478 h 20000"/>
                  <a:gd name="T50" fmla="*/ 6993 w 20000"/>
                  <a:gd name="T51" fmla="*/ 18478 h 20000"/>
                  <a:gd name="T52" fmla="*/ 6655 w 20000"/>
                  <a:gd name="T53" fmla="*/ 19221 h 20000"/>
                  <a:gd name="T54" fmla="*/ 6486 w 20000"/>
                  <a:gd name="T55" fmla="*/ 19398 h 20000"/>
                  <a:gd name="T56" fmla="*/ 5270 w 20000"/>
                  <a:gd name="T57" fmla="*/ 18301 h 20000"/>
                  <a:gd name="T58" fmla="*/ 4730 w 20000"/>
                  <a:gd name="T59" fmla="*/ 16850 h 20000"/>
                  <a:gd name="T60" fmla="*/ 4730 w 20000"/>
                  <a:gd name="T61" fmla="*/ 16106 h 20000"/>
                  <a:gd name="T62" fmla="*/ 4561 w 20000"/>
                  <a:gd name="T63" fmla="*/ 15540 h 20000"/>
                  <a:gd name="T64" fmla="*/ 4223 w 20000"/>
                  <a:gd name="T65" fmla="*/ 13522 h 20000"/>
                  <a:gd name="T66" fmla="*/ 3885 w 20000"/>
                  <a:gd name="T67" fmla="*/ 12637 h 20000"/>
                  <a:gd name="T68" fmla="*/ 3682 w 20000"/>
                  <a:gd name="T69" fmla="*/ 11150 h 20000"/>
                  <a:gd name="T70" fmla="*/ 3682 w 20000"/>
                  <a:gd name="T71" fmla="*/ 10053 h 20000"/>
                  <a:gd name="T72" fmla="*/ 3682 w 20000"/>
                  <a:gd name="T73" fmla="*/ 9168 h 20000"/>
                  <a:gd name="T74" fmla="*/ 2973 w 20000"/>
                  <a:gd name="T75" fmla="*/ 8212 h 20000"/>
                  <a:gd name="T76" fmla="*/ 1959 w 20000"/>
                  <a:gd name="T77" fmla="*/ 5487 h 20000"/>
                  <a:gd name="T78" fmla="*/ 912 w 20000"/>
                  <a:gd name="T79" fmla="*/ 3469 h 20000"/>
                  <a:gd name="T80" fmla="*/ 541 w 20000"/>
                  <a:gd name="T81" fmla="*/ 2549 h 20000"/>
                  <a:gd name="T82" fmla="*/ 0 w 20000"/>
                  <a:gd name="T83" fmla="*/ 1451 h 20000"/>
                  <a:gd name="T84" fmla="*/ 0 w 20000"/>
                  <a:gd name="T85" fmla="*/ 496 h 20000"/>
                  <a:gd name="T86" fmla="*/ 203 w 20000"/>
                  <a:gd name="T87" fmla="*/ 496 h 20000"/>
                  <a:gd name="T88" fmla="*/ 912 w 20000"/>
                  <a:gd name="T89" fmla="*/ 496 h 20000"/>
                  <a:gd name="T90" fmla="*/ 1047 w 20000"/>
                  <a:gd name="T91" fmla="*/ 496 h 20000"/>
                  <a:gd name="T92" fmla="*/ 1959 w 20000"/>
                  <a:gd name="T93" fmla="*/ 0 h 20000"/>
                  <a:gd name="T94" fmla="*/ 2432 w 20000"/>
                  <a:gd name="T95" fmla="*/ 142 h 20000"/>
                  <a:gd name="T96" fmla="*/ 3345 w 20000"/>
                  <a:gd name="T97" fmla="*/ 708 h 20000"/>
                  <a:gd name="T98" fmla="*/ 3682 w 20000"/>
                  <a:gd name="T99" fmla="*/ 708 h 20000"/>
                  <a:gd name="T100" fmla="*/ 9628 w 20000"/>
                  <a:gd name="T101" fmla="*/ 496 h 20000"/>
                  <a:gd name="T102" fmla="*/ 9831 w 20000"/>
                  <a:gd name="T103" fmla="*/ 1062 h 20000"/>
                  <a:gd name="T104" fmla="*/ 10304 w 20000"/>
                  <a:gd name="T105" fmla="*/ 1451 h 20000"/>
                  <a:gd name="T106" fmla="*/ 12432 w 20000"/>
                  <a:gd name="T107" fmla="*/ 1628 h 20000"/>
                  <a:gd name="T108" fmla="*/ 13311 w 20000"/>
                  <a:gd name="T109" fmla="*/ 1628 h 20000"/>
                  <a:gd name="T110" fmla="*/ 13818 w 20000"/>
                  <a:gd name="T111" fmla="*/ 1628 h 20000"/>
                  <a:gd name="T112" fmla="*/ 14358 w 20000"/>
                  <a:gd name="T113" fmla="*/ 1628 h 20000"/>
                  <a:gd name="T114" fmla="*/ 17162 w 20000"/>
                  <a:gd name="T115" fmla="*/ 106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00" h="20000">
                    <a:moveTo>
                      <a:pt x="17162" y="1062"/>
                    </a:moveTo>
                    <a:lnTo>
                      <a:pt x="18378" y="708"/>
                    </a:lnTo>
                    <a:lnTo>
                      <a:pt x="18581" y="708"/>
                    </a:lnTo>
                    <a:lnTo>
                      <a:pt x="19426" y="1062"/>
                    </a:lnTo>
                    <a:lnTo>
                      <a:pt x="19966" y="1451"/>
                    </a:lnTo>
                    <a:lnTo>
                      <a:pt x="19426" y="1451"/>
                    </a:lnTo>
                    <a:lnTo>
                      <a:pt x="18919" y="1628"/>
                    </a:lnTo>
                    <a:lnTo>
                      <a:pt x="18581" y="1628"/>
                    </a:lnTo>
                    <a:lnTo>
                      <a:pt x="17500" y="2372"/>
                    </a:lnTo>
                    <a:lnTo>
                      <a:pt x="16993" y="1628"/>
                    </a:lnTo>
                    <a:lnTo>
                      <a:pt x="15777" y="2018"/>
                    </a:lnTo>
                    <a:lnTo>
                      <a:pt x="13818" y="2372"/>
                    </a:lnTo>
                    <a:lnTo>
                      <a:pt x="13480" y="8212"/>
                    </a:lnTo>
                    <a:lnTo>
                      <a:pt x="12095" y="8212"/>
                    </a:lnTo>
                    <a:lnTo>
                      <a:pt x="11892" y="12991"/>
                    </a:lnTo>
                    <a:lnTo>
                      <a:pt x="11554" y="19221"/>
                    </a:lnTo>
                    <a:lnTo>
                      <a:pt x="11047" y="19221"/>
                    </a:lnTo>
                    <a:lnTo>
                      <a:pt x="10304" y="19752"/>
                    </a:lnTo>
                    <a:lnTo>
                      <a:pt x="10169" y="19965"/>
                    </a:lnTo>
                    <a:lnTo>
                      <a:pt x="9628" y="19752"/>
                    </a:lnTo>
                    <a:lnTo>
                      <a:pt x="8919" y="19752"/>
                    </a:lnTo>
                    <a:lnTo>
                      <a:pt x="8412" y="19752"/>
                    </a:lnTo>
                    <a:lnTo>
                      <a:pt x="7534" y="19398"/>
                    </a:lnTo>
                    <a:lnTo>
                      <a:pt x="7534" y="18478"/>
                    </a:lnTo>
                    <a:lnTo>
                      <a:pt x="7399" y="18478"/>
                    </a:lnTo>
                    <a:lnTo>
                      <a:pt x="6993" y="18478"/>
                    </a:lnTo>
                    <a:lnTo>
                      <a:pt x="6655" y="19221"/>
                    </a:lnTo>
                    <a:lnTo>
                      <a:pt x="6486" y="19398"/>
                    </a:lnTo>
                    <a:lnTo>
                      <a:pt x="5270" y="18301"/>
                    </a:lnTo>
                    <a:lnTo>
                      <a:pt x="4730" y="16850"/>
                    </a:lnTo>
                    <a:lnTo>
                      <a:pt x="4730" y="16106"/>
                    </a:lnTo>
                    <a:lnTo>
                      <a:pt x="4561" y="15540"/>
                    </a:lnTo>
                    <a:lnTo>
                      <a:pt x="4223" y="13522"/>
                    </a:lnTo>
                    <a:lnTo>
                      <a:pt x="3885" y="12637"/>
                    </a:lnTo>
                    <a:lnTo>
                      <a:pt x="3682" y="11150"/>
                    </a:lnTo>
                    <a:lnTo>
                      <a:pt x="3682" y="10053"/>
                    </a:lnTo>
                    <a:lnTo>
                      <a:pt x="3682" y="9168"/>
                    </a:lnTo>
                    <a:lnTo>
                      <a:pt x="2973" y="8212"/>
                    </a:lnTo>
                    <a:lnTo>
                      <a:pt x="1959" y="5487"/>
                    </a:lnTo>
                    <a:lnTo>
                      <a:pt x="912" y="3469"/>
                    </a:lnTo>
                    <a:lnTo>
                      <a:pt x="541" y="2549"/>
                    </a:lnTo>
                    <a:lnTo>
                      <a:pt x="0" y="1451"/>
                    </a:lnTo>
                    <a:lnTo>
                      <a:pt x="0" y="496"/>
                    </a:lnTo>
                    <a:lnTo>
                      <a:pt x="203" y="496"/>
                    </a:lnTo>
                    <a:lnTo>
                      <a:pt x="912" y="496"/>
                    </a:lnTo>
                    <a:lnTo>
                      <a:pt x="1047" y="496"/>
                    </a:lnTo>
                    <a:lnTo>
                      <a:pt x="1959" y="0"/>
                    </a:lnTo>
                    <a:lnTo>
                      <a:pt x="2432" y="142"/>
                    </a:lnTo>
                    <a:lnTo>
                      <a:pt x="3345" y="708"/>
                    </a:lnTo>
                    <a:lnTo>
                      <a:pt x="3682" y="708"/>
                    </a:lnTo>
                    <a:lnTo>
                      <a:pt x="9628" y="496"/>
                    </a:lnTo>
                    <a:lnTo>
                      <a:pt x="9831" y="1062"/>
                    </a:lnTo>
                    <a:lnTo>
                      <a:pt x="10304" y="1451"/>
                    </a:lnTo>
                    <a:lnTo>
                      <a:pt x="12432" y="1628"/>
                    </a:lnTo>
                    <a:lnTo>
                      <a:pt x="13311" y="1628"/>
                    </a:lnTo>
                    <a:lnTo>
                      <a:pt x="13818" y="1628"/>
                    </a:lnTo>
                    <a:lnTo>
                      <a:pt x="14358" y="1628"/>
                    </a:lnTo>
                    <a:lnTo>
                      <a:pt x="17162" y="10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4" name="Freeform 112"/>
              <p:cNvSpPr>
                <a:spLocks/>
              </p:cNvSpPr>
              <p:nvPr/>
            </p:nvSpPr>
            <p:spPr bwMode="auto">
              <a:xfrm>
                <a:off x="4992688" y="3773488"/>
                <a:ext cx="441325" cy="346075"/>
              </a:xfrm>
              <a:custGeom>
                <a:avLst/>
                <a:gdLst>
                  <a:gd name="T0" fmla="*/ 15201 w 20000"/>
                  <a:gd name="T1" fmla="*/ 0 h 20000"/>
                  <a:gd name="T2" fmla="*/ 16839 w 20000"/>
                  <a:gd name="T3" fmla="*/ 587 h 20000"/>
                  <a:gd name="T4" fmla="*/ 17874 w 20000"/>
                  <a:gd name="T5" fmla="*/ 1505 h 20000"/>
                  <a:gd name="T6" fmla="*/ 18793 w 20000"/>
                  <a:gd name="T7" fmla="*/ 954 h 20000"/>
                  <a:gd name="T8" fmla="*/ 19080 w 20000"/>
                  <a:gd name="T9" fmla="*/ 2092 h 20000"/>
                  <a:gd name="T10" fmla="*/ 19080 w 20000"/>
                  <a:gd name="T11" fmla="*/ 3450 h 20000"/>
                  <a:gd name="T12" fmla="*/ 19511 w 20000"/>
                  <a:gd name="T13" fmla="*/ 4000 h 20000"/>
                  <a:gd name="T14" fmla="*/ 19511 w 20000"/>
                  <a:gd name="T15" fmla="*/ 4587 h 20000"/>
                  <a:gd name="T16" fmla="*/ 19971 w 20000"/>
                  <a:gd name="T17" fmla="*/ 5505 h 20000"/>
                  <a:gd name="T18" fmla="*/ 19799 w 20000"/>
                  <a:gd name="T19" fmla="*/ 5688 h 20000"/>
                  <a:gd name="T20" fmla="*/ 19511 w 20000"/>
                  <a:gd name="T21" fmla="*/ 11009 h 20000"/>
                  <a:gd name="T22" fmla="*/ 17586 w 20000"/>
                  <a:gd name="T23" fmla="*/ 14055 h 20000"/>
                  <a:gd name="T24" fmla="*/ 17270 w 20000"/>
                  <a:gd name="T25" fmla="*/ 14642 h 20000"/>
                  <a:gd name="T26" fmla="*/ 17155 w 20000"/>
                  <a:gd name="T27" fmla="*/ 15376 h 20000"/>
                  <a:gd name="T28" fmla="*/ 17155 w 20000"/>
                  <a:gd name="T29" fmla="*/ 16147 h 20000"/>
                  <a:gd name="T30" fmla="*/ 16839 w 20000"/>
                  <a:gd name="T31" fmla="*/ 16881 h 20000"/>
                  <a:gd name="T32" fmla="*/ 16408 w 20000"/>
                  <a:gd name="T33" fmla="*/ 17101 h 20000"/>
                  <a:gd name="T34" fmla="*/ 15948 w 20000"/>
                  <a:gd name="T35" fmla="*/ 17468 h 20000"/>
                  <a:gd name="T36" fmla="*/ 13707 w 20000"/>
                  <a:gd name="T37" fmla="*/ 16881 h 20000"/>
                  <a:gd name="T38" fmla="*/ 13276 w 20000"/>
                  <a:gd name="T39" fmla="*/ 17101 h 20000"/>
                  <a:gd name="T40" fmla="*/ 12816 w 20000"/>
                  <a:gd name="T41" fmla="*/ 17468 h 20000"/>
                  <a:gd name="T42" fmla="*/ 12385 w 20000"/>
                  <a:gd name="T43" fmla="*/ 17651 h 20000"/>
                  <a:gd name="T44" fmla="*/ 11638 w 20000"/>
                  <a:gd name="T45" fmla="*/ 18055 h 20000"/>
                  <a:gd name="T46" fmla="*/ 10115 w 20000"/>
                  <a:gd name="T47" fmla="*/ 17101 h 20000"/>
                  <a:gd name="T48" fmla="*/ 8649 w 20000"/>
                  <a:gd name="T49" fmla="*/ 17468 h 20000"/>
                  <a:gd name="T50" fmla="*/ 8218 w 20000"/>
                  <a:gd name="T51" fmla="*/ 16881 h 20000"/>
                  <a:gd name="T52" fmla="*/ 7471 w 20000"/>
                  <a:gd name="T53" fmla="*/ 16514 h 20000"/>
                  <a:gd name="T54" fmla="*/ 6724 w 20000"/>
                  <a:gd name="T55" fmla="*/ 16147 h 20000"/>
                  <a:gd name="T56" fmla="*/ 6724 w 20000"/>
                  <a:gd name="T57" fmla="*/ 16514 h 20000"/>
                  <a:gd name="T58" fmla="*/ 5833 w 20000"/>
                  <a:gd name="T59" fmla="*/ 16514 h 20000"/>
                  <a:gd name="T60" fmla="*/ 5374 w 20000"/>
                  <a:gd name="T61" fmla="*/ 16881 h 20000"/>
                  <a:gd name="T62" fmla="*/ 5057 w 20000"/>
                  <a:gd name="T63" fmla="*/ 17651 h 20000"/>
                  <a:gd name="T64" fmla="*/ 4339 w 20000"/>
                  <a:gd name="T65" fmla="*/ 18459 h 20000"/>
                  <a:gd name="T66" fmla="*/ 4339 w 20000"/>
                  <a:gd name="T67" fmla="*/ 19963 h 20000"/>
                  <a:gd name="T68" fmla="*/ 3879 w 20000"/>
                  <a:gd name="T69" fmla="*/ 19376 h 20000"/>
                  <a:gd name="T70" fmla="*/ 3420 w 20000"/>
                  <a:gd name="T71" fmla="*/ 18606 h 20000"/>
                  <a:gd name="T72" fmla="*/ 3132 w 20000"/>
                  <a:gd name="T73" fmla="*/ 18606 h 20000"/>
                  <a:gd name="T74" fmla="*/ 2845 w 20000"/>
                  <a:gd name="T75" fmla="*/ 19376 h 20000"/>
                  <a:gd name="T76" fmla="*/ 2414 w 20000"/>
                  <a:gd name="T77" fmla="*/ 18606 h 20000"/>
                  <a:gd name="T78" fmla="*/ 2701 w 20000"/>
                  <a:gd name="T79" fmla="*/ 18459 h 20000"/>
                  <a:gd name="T80" fmla="*/ 2414 w 20000"/>
                  <a:gd name="T81" fmla="*/ 18055 h 20000"/>
                  <a:gd name="T82" fmla="*/ 1954 w 20000"/>
                  <a:gd name="T83" fmla="*/ 18055 h 20000"/>
                  <a:gd name="T84" fmla="*/ 1063 w 20000"/>
                  <a:gd name="T85" fmla="*/ 17468 h 20000"/>
                  <a:gd name="T86" fmla="*/ 1063 w 20000"/>
                  <a:gd name="T87" fmla="*/ 17101 h 20000"/>
                  <a:gd name="T88" fmla="*/ 1494 w 20000"/>
                  <a:gd name="T89" fmla="*/ 17101 h 20000"/>
                  <a:gd name="T90" fmla="*/ 1494 w 20000"/>
                  <a:gd name="T91" fmla="*/ 16881 h 20000"/>
                  <a:gd name="T92" fmla="*/ 1063 w 20000"/>
                  <a:gd name="T93" fmla="*/ 16881 h 20000"/>
                  <a:gd name="T94" fmla="*/ 460 w 20000"/>
                  <a:gd name="T95" fmla="*/ 16147 h 20000"/>
                  <a:gd name="T96" fmla="*/ 316 w 20000"/>
                  <a:gd name="T97" fmla="*/ 15596 h 20000"/>
                  <a:gd name="T98" fmla="*/ 0 w 20000"/>
                  <a:gd name="T99" fmla="*/ 15009 h 20000"/>
                  <a:gd name="T100" fmla="*/ 0 w 20000"/>
                  <a:gd name="T101" fmla="*/ 14422 h 20000"/>
                  <a:gd name="T102" fmla="*/ 1207 w 20000"/>
                  <a:gd name="T103" fmla="*/ 14055 h 20000"/>
                  <a:gd name="T104" fmla="*/ 1494 w 20000"/>
                  <a:gd name="T105" fmla="*/ 13651 h 20000"/>
                  <a:gd name="T106" fmla="*/ 3879 w 20000"/>
                  <a:gd name="T107" fmla="*/ 13505 h 20000"/>
                  <a:gd name="T108" fmla="*/ 4339 w 20000"/>
                  <a:gd name="T109" fmla="*/ 13651 h 20000"/>
                  <a:gd name="T110" fmla="*/ 4770 w 20000"/>
                  <a:gd name="T111" fmla="*/ 12550 h 20000"/>
                  <a:gd name="T112" fmla="*/ 5057 w 20000"/>
                  <a:gd name="T113" fmla="*/ 11009 h 20000"/>
                  <a:gd name="T114" fmla="*/ 5374 w 20000"/>
                  <a:gd name="T115" fmla="*/ 10642 h 20000"/>
                  <a:gd name="T116" fmla="*/ 5374 w 20000"/>
                  <a:gd name="T117" fmla="*/ 7413 h 20000"/>
                  <a:gd name="T118" fmla="*/ 7471 w 20000"/>
                  <a:gd name="T119" fmla="*/ 6459 h 20000"/>
                  <a:gd name="T120" fmla="*/ 9397 w 20000"/>
                  <a:gd name="T121" fmla="*/ 4183 h 20000"/>
                  <a:gd name="T122" fmla="*/ 13994 w 20000"/>
                  <a:gd name="T123" fmla="*/ 954 h 20000"/>
                  <a:gd name="T124" fmla="*/ 15201 w 20000"/>
                  <a:gd name="T12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5201" y="0"/>
                    </a:moveTo>
                    <a:lnTo>
                      <a:pt x="16839" y="587"/>
                    </a:lnTo>
                    <a:lnTo>
                      <a:pt x="17874" y="1505"/>
                    </a:lnTo>
                    <a:lnTo>
                      <a:pt x="18793" y="954"/>
                    </a:lnTo>
                    <a:lnTo>
                      <a:pt x="19080" y="2092"/>
                    </a:lnTo>
                    <a:lnTo>
                      <a:pt x="19080" y="3450"/>
                    </a:lnTo>
                    <a:lnTo>
                      <a:pt x="19511" y="4000"/>
                    </a:lnTo>
                    <a:lnTo>
                      <a:pt x="19511" y="4587"/>
                    </a:lnTo>
                    <a:lnTo>
                      <a:pt x="19971" y="5505"/>
                    </a:lnTo>
                    <a:lnTo>
                      <a:pt x="19799" y="5688"/>
                    </a:lnTo>
                    <a:lnTo>
                      <a:pt x="19511" y="11009"/>
                    </a:lnTo>
                    <a:lnTo>
                      <a:pt x="17586" y="14055"/>
                    </a:lnTo>
                    <a:lnTo>
                      <a:pt x="17270" y="14642"/>
                    </a:lnTo>
                    <a:lnTo>
                      <a:pt x="17155" y="15376"/>
                    </a:lnTo>
                    <a:lnTo>
                      <a:pt x="17155" y="16147"/>
                    </a:lnTo>
                    <a:lnTo>
                      <a:pt x="16839" y="16881"/>
                    </a:lnTo>
                    <a:lnTo>
                      <a:pt x="16408" y="17101"/>
                    </a:lnTo>
                    <a:lnTo>
                      <a:pt x="15948" y="17468"/>
                    </a:lnTo>
                    <a:lnTo>
                      <a:pt x="13707" y="16881"/>
                    </a:lnTo>
                    <a:lnTo>
                      <a:pt x="13276" y="17101"/>
                    </a:lnTo>
                    <a:lnTo>
                      <a:pt x="12816" y="17468"/>
                    </a:lnTo>
                    <a:lnTo>
                      <a:pt x="12385" y="17651"/>
                    </a:lnTo>
                    <a:lnTo>
                      <a:pt x="11638" y="18055"/>
                    </a:lnTo>
                    <a:lnTo>
                      <a:pt x="10115" y="17101"/>
                    </a:lnTo>
                    <a:lnTo>
                      <a:pt x="8649" y="17468"/>
                    </a:lnTo>
                    <a:lnTo>
                      <a:pt x="8218" y="16881"/>
                    </a:lnTo>
                    <a:lnTo>
                      <a:pt x="7471" y="16514"/>
                    </a:lnTo>
                    <a:lnTo>
                      <a:pt x="6724" y="16147"/>
                    </a:lnTo>
                    <a:lnTo>
                      <a:pt x="6724" y="16514"/>
                    </a:lnTo>
                    <a:lnTo>
                      <a:pt x="5833" y="16514"/>
                    </a:lnTo>
                    <a:lnTo>
                      <a:pt x="5374" y="16881"/>
                    </a:lnTo>
                    <a:lnTo>
                      <a:pt x="5057" y="17651"/>
                    </a:lnTo>
                    <a:lnTo>
                      <a:pt x="4339" y="18459"/>
                    </a:lnTo>
                    <a:lnTo>
                      <a:pt x="4339" y="19963"/>
                    </a:lnTo>
                    <a:lnTo>
                      <a:pt x="3879" y="19376"/>
                    </a:lnTo>
                    <a:lnTo>
                      <a:pt x="3420" y="18606"/>
                    </a:lnTo>
                    <a:lnTo>
                      <a:pt x="3132" y="18606"/>
                    </a:lnTo>
                    <a:lnTo>
                      <a:pt x="2845" y="19376"/>
                    </a:lnTo>
                    <a:lnTo>
                      <a:pt x="2414" y="18606"/>
                    </a:lnTo>
                    <a:lnTo>
                      <a:pt x="2701" y="18459"/>
                    </a:lnTo>
                    <a:lnTo>
                      <a:pt x="2414" y="18055"/>
                    </a:lnTo>
                    <a:lnTo>
                      <a:pt x="1954" y="18055"/>
                    </a:lnTo>
                    <a:lnTo>
                      <a:pt x="1063" y="17468"/>
                    </a:lnTo>
                    <a:lnTo>
                      <a:pt x="1063" y="17101"/>
                    </a:lnTo>
                    <a:lnTo>
                      <a:pt x="1494" y="17101"/>
                    </a:lnTo>
                    <a:lnTo>
                      <a:pt x="1494" y="16881"/>
                    </a:lnTo>
                    <a:lnTo>
                      <a:pt x="1063" y="16881"/>
                    </a:lnTo>
                    <a:lnTo>
                      <a:pt x="460" y="16147"/>
                    </a:lnTo>
                    <a:lnTo>
                      <a:pt x="316" y="15596"/>
                    </a:lnTo>
                    <a:lnTo>
                      <a:pt x="0" y="15009"/>
                    </a:lnTo>
                    <a:lnTo>
                      <a:pt x="0" y="14422"/>
                    </a:lnTo>
                    <a:lnTo>
                      <a:pt x="1207" y="14055"/>
                    </a:lnTo>
                    <a:lnTo>
                      <a:pt x="1494" y="13651"/>
                    </a:lnTo>
                    <a:lnTo>
                      <a:pt x="3879" y="13505"/>
                    </a:lnTo>
                    <a:lnTo>
                      <a:pt x="4339" y="13651"/>
                    </a:lnTo>
                    <a:lnTo>
                      <a:pt x="4770" y="12550"/>
                    </a:lnTo>
                    <a:lnTo>
                      <a:pt x="5057" y="11009"/>
                    </a:lnTo>
                    <a:lnTo>
                      <a:pt x="5374" y="10642"/>
                    </a:lnTo>
                    <a:lnTo>
                      <a:pt x="5374" y="7413"/>
                    </a:lnTo>
                    <a:lnTo>
                      <a:pt x="7471" y="6459"/>
                    </a:lnTo>
                    <a:lnTo>
                      <a:pt x="9397" y="4183"/>
                    </a:lnTo>
                    <a:lnTo>
                      <a:pt x="13994" y="954"/>
                    </a:lnTo>
                    <a:lnTo>
                      <a:pt x="1520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5" name="Freeform 111"/>
              <p:cNvSpPr>
                <a:spLocks/>
              </p:cNvSpPr>
              <p:nvPr/>
            </p:nvSpPr>
            <p:spPr bwMode="auto">
              <a:xfrm>
                <a:off x="5068887" y="4052889"/>
                <a:ext cx="336554" cy="276228"/>
              </a:xfrm>
              <a:custGeom>
                <a:avLst/>
                <a:gdLst>
                  <a:gd name="T0" fmla="*/ 18601 w 20000"/>
                  <a:gd name="T1" fmla="*/ 1193 h 20000"/>
                  <a:gd name="T2" fmla="*/ 18979 w 20000"/>
                  <a:gd name="T3" fmla="*/ 3073 h 20000"/>
                  <a:gd name="T4" fmla="*/ 19962 w 20000"/>
                  <a:gd name="T5" fmla="*/ 4771 h 20000"/>
                  <a:gd name="T6" fmla="*/ 18601 w 20000"/>
                  <a:gd name="T7" fmla="*/ 5459 h 20000"/>
                  <a:gd name="T8" fmla="*/ 18034 w 20000"/>
                  <a:gd name="T9" fmla="*/ 7385 h 20000"/>
                  <a:gd name="T10" fmla="*/ 17618 w 20000"/>
                  <a:gd name="T11" fmla="*/ 8991 h 20000"/>
                  <a:gd name="T12" fmla="*/ 16635 w 20000"/>
                  <a:gd name="T13" fmla="*/ 10413 h 20000"/>
                  <a:gd name="T14" fmla="*/ 15085 w 20000"/>
                  <a:gd name="T15" fmla="*/ 13486 h 20000"/>
                  <a:gd name="T16" fmla="*/ 15085 w 20000"/>
                  <a:gd name="T17" fmla="*/ 14220 h 20000"/>
                  <a:gd name="T18" fmla="*/ 13913 w 20000"/>
                  <a:gd name="T19" fmla="*/ 14954 h 20000"/>
                  <a:gd name="T20" fmla="*/ 13308 w 20000"/>
                  <a:gd name="T21" fmla="*/ 14037 h 20000"/>
                  <a:gd name="T22" fmla="*/ 12325 w 20000"/>
                  <a:gd name="T23" fmla="*/ 14220 h 20000"/>
                  <a:gd name="T24" fmla="*/ 10397 w 20000"/>
                  <a:gd name="T25" fmla="*/ 16101 h 20000"/>
                  <a:gd name="T26" fmla="*/ 9376 w 20000"/>
                  <a:gd name="T27" fmla="*/ 19220 h 20000"/>
                  <a:gd name="T28" fmla="*/ 9225 w 20000"/>
                  <a:gd name="T29" fmla="*/ 19220 h 20000"/>
                  <a:gd name="T30" fmla="*/ 6881 w 20000"/>
                  <a:gd name="T31" fmla="*/ 19220 h 20000"/>
                  <a:gd name="T32" fmla="*/ 5671 w 20000"/>
                  <a:gd name="T33" fmla="*/ 19954 h 20000"/>
                  <a:gd name="T34" fmla="*/ 4121 w 20000"/>
                  <a:gd name="T35" fmla="*/ 18073 h 20000"/>
                  <a:gd name="T36" fmla="*/ 4348 w 20000"/>
                  <a:gd name="T37" fmla="*/ 17339 h 20000"/>
                  <a:gd name="T38" fmla="*/ 3554 w 20000"/>
                  <a:gd name="T39" fmla="*/ 16101 h 20000"/>
                  <a:gd name="T40" fmla="*/ 227 w 20000"/>
                  <a:gd name="T41" fmla="*/ 15459 h 20000"/>
                  <a:gd name="T42" fmla="*/ 0 w 20000"/>
                  <a:gd name="T43" fmla="*/ 11147 h 20000"/>
                  <a:gd name="T44" fmla="*/ 605 w 20000"/>
                  <a:gd name="T45" fmla="*/ 9725 h 20000"/>
                  <a:gd name="T46" fmla="*/ 1172 w 20000"/>
                  <a:gd name="T47" fmla="*/ 8073 h 20000"/>
                  <a:gd name="T48" fmla="*/ 1550 w 20000"/>
                  <a:gd name="T49" fmla="*/ 6651 h 20000"/>
                  <a:gd name="T50" fmla="*/ 1172 w 20000"/>
                  <a:gd name="T51" fmla="*/ 4771 h 20000"/>
                  <a:gd name="T52" fmla="*/ 2155 w 20000"/>
                  <a:gd name="T53" fmla="*/ 1881 h 20000"/>
                  <a:gd name="T54" fmla="*/ 3176 w 20000"/>
                  <a:gd name="T55" fmla="*/ 459 h 20000"/>
                  <a:gd name="T56" fmla="*/ 4348 w 20000"/>
                  <a:gd name="T57" fmla="*/ 0 h 20000"/>
                  <a:gd name="T58" fmla="*/ 6276 w 20000"/>
                  <a:gd name="T59" fmla="*/ 917 h 20000"/>
                  <a:gd name="T60" fmla="*/ 8809 w 20000"/>
                  <a:gd name="T61" fmla="*/ 1193 h 20000"/>
                  <a:gd name="T62" fmla="*/ 11758 w 20000"/>
                  <a:gd name="T63" fmla="*/ 1881 h 20000"/>
                  <a:gd name="T64" fmla="*/ 12930 w 20000"/>
                  <a:gd name="T65" fmla="*/ 1193 h 20000"/>
                  <a:gd name="T66" fmla="*/ 16446 w 20000"/>
                  <a:gd name="T67" fmla="*/ 1651 h 20000"/>
                  <a:gd name="T68" fmla="*/ 17618 w 20000"/>
                  <a:gd name="T69" fmla="*/ 9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8034" y="0"/>
                    </a:moveTo>
                    <a:lnTo>
                      <a:pt x="18601" y="1193"/>
                    </a:lnTo>
                    <a:lnTo>
                      <a:pt x="18979" y="1651"/>
                    </a:lnTo>
                    <a:lnTo>
                      <a:pt x="18979" y="3073"/>
                    </a:lnTo>
                    <a:lnTo>
                      <a:pt x="19584" y="3532"/>
                    </a:lnTo>
                    <a:lnTo>
                      <a:pt x="19962" y="4771"/>
                    </a:lnTo>
                    <a:lnTo>
                      <a:pt x="19206" y="5917"/>
                    </a:lnTo>
                    <a:lnTo>
                      <a:pt x="18601" y="5459"/>
                    </a:lnTo>
                    <a:lnTo>
                      <a:pt x="18034" y="6651"/>
                    </a:lnTo>
                    <a:lnTo>
                      <a:pt x="18034" y="7385"/>
                    </a:lnTo>
                    <a:lnTo>
                      <a:pt x="17429" y="8073"/>
                    </a:lnTo>
                    <a:lnTo>
                      <a:pt x="17618" y="8991"/>
                    </a:lnTo>
                    <a:lnTo>
                      <a:pt x="16635" y="9266"/>
                    </a:lnTo>
                    <a:lnTo>
                      <a:pt x="16635" y="10413"/>
                    </a:lnTo>
                    <a:lnTo>
                      <a:pt x="16030" y="11147"/>
                    </a:lnTo>
                    <a:lnTo>
                      <a:pt x="15085" y="13486"/>
                    </a:lnTo>
                    <a:lnTo>
                      <a:pt x="15463" y="14220"/>
                    </a:lnTo>
                    <a:lnTo>
                      <a:pt x="15085" y="14220"/>
                    </a:lnTo>
                    <a:lnTo>
                      <a:pt x="14480" y="14954"/>
                    </a:lnTo>
                    <a:lnTo>
                      <a:pt x="13913" y="14954"/>
                    </a:lnTo>
                    <a:lnTo>
                      <a:pt x="13913" y="14725"/>
                    </a:lnTo>
                    <a:lnTo>
                      <a:pt x="13308" y="14037"/>
                    </a:lnTo>
                    <a:lnTo>
                      <a:pt x="12930" y="14220"/>
                    </a:lnTo>
                    <a:lnTo>
                      <a:pt x="12325" y="14220"/>
                    </a:lnTo>
                    <a:lnTo>
                      <a:pt x="11380" y="14954"/>
                    </a:lnTo>
                    <a:lnTo>
                      <a:pt x="10397" y="16101"/>
                    </a:lnTo>
                    <a:lnTo>
                      <a:pt x="9981" y="17798"/>
                    </a:lnTo>
                    <a:lnTo>
                      <a:pt x="9376" y="19220"/>
                    </a:lnTo>
                    <a:lnTo>
                      <a:pt x="9225" y="18991"/>
                    </a:lnTo>
                    <a:lnTo>
                      <a:pt x="9225" y="19220"/>
                    </a:lnTo>
                    <a:lnTo>
                      <a:pt x="7826" y="19679"/>
                    </a:lnTo>
                    <a:lnTo>
                      <a:pt x="6881" y="19220"/>
                    </a:lnTo>
                    <a:lnTo>
                      <a:pt x="6881" y="19679"/>
                    </a:lnTo>
                    <a:lnTo>
                      <a:pt x="5671" y="19954"/>
                    </a:lnTo>
                    <a:lnTo>
                      <a:pt x="5104" y="19679"/>
                    </a:lnTo>
                    <a:lnTo>
                      <a:pt x="4121" y="18073"/>
                    </a:lnTo>
                    <a:lnTo>
                      <a:pt x="4348" y="17798"/>
                    </a:lnTo>
                    <a:lnTo>
                      <a:pt x="4348" y="17339"/>
                    </a:lnTo>
                    <a:lnTo>
                      <a:pt x="3743" y="17339"/>
                    </a:lnTo>
                    <a:lnTo>
                      <a:pt x="3554" y="16101"/>
                    </a:lnTo>
                    <a:lnTo>
                      <a:pt x="2155" y="15459"/>
                    </a:lnTo>
                    <a:lnTo>
                      <a:pt x="227" y="15459"/>
                    </a:lnTo>
                    <a:lnTo>
                      <a:pt x="0" y="13486"/>
                    </a:lnTo>
                    <a:lnTo>
                      <a:pt x="0" y="11147"/>
                    </a:lnTo>
                    <a:lnTo>
                      <a:pt x="0" y="9954"/>
                    </a:lnTo>
                    <a:lnTo>
                      <a:pt x="605" y="9725"/>
                    </a:lnTo>
                    <a:lnTo>
                      <a:pt x="1021" y="8532"/>
                    </a:lnTo>
                    <a:lnTo>
                      <a:pt x="1172" y="8073"/>
                    </a:lnTo>
                    <a:lnTo>
                      <a:pt x="1172" y="7385"/>
                    </a:lnTo>
                    <a:lnTo>
                      <a:pt x="1550" y="6651"/>
                    </a:lnTo>
                    <a:lnTo>
                      <a:pt x="1172" y="4954"/>
                    </a:lnTo>
                    <a:lnTo>
                      <a:pt x="1172" y="4771"/>
                    </a:lnTo>
                    <a:lnTo>
                      <a:pt x="1172" y="2844"/>
                    </a:lnTo>
                    <a:lnTo>
                      <a:pt x="2155" y="1881"/>
                    </a:lnTo>
                    <a:lnTo>
                      <a:pt x="2571" y="917"/>
                    </a:lnTo>
                    <a:lnTo>
                      <a:pt x="3176" y="459"/>
                    </a:lnTo>
                    <a:lnTo>
                      <a:pt x="4348" y="459"/>
                    </a:lnTo>
                    <a:lnTo>
                      <a:pt x="4348" y="0"/>
                    </a:lnTo>
                    <a:lnTo>
                      <a:pt x="5293" y="459"/>
                    </a:lnTo>
                    <a:lnTo>
                      <a:pt x="6276" y="917"/>
                    </a:lnTo>
                    <a:lnTo>
                      <a:pt x="6881" y="1651"/>
                    </a:lnTo>
                    <a:lnTo>
                      <a:pt x="8809" y="1193"/>
                    </a:lnTo>
                    <a:lnTo>
                      <a:pt x="10775" y="2339"/>
                    </a:lnTo>
                    <a:lnTo>
                      <a:pt x="11758" y="1881"/>
                    </a:lnTo>
                    <a:lnTo>
                      <a:pt x="12325" y="1651"/>
                    </a:lnTo>
                    <a:lnTo>
                      <a:pt x="12930" y="1193"/>
                    </a:lnTo>
                    <a:lnTo>
                      <a:pt x="13497" y="917"/>
                    </a:lnTo>
                    <a:lnTo>
                      <a:pt x="16446" y="1651"/>
                    </a:lnTo>
                    <a:lnTo>
                      <a:pt x="17051" y="1193"/>
                    </a:lnTo>
                    <a:lnTo>
                      <a:pt x="17618" y="917"/>
                    </a:lnTo>
                    <a:lnTo>
                      <a:pt x="18034"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6" name="Freeform 110"/>
              <p:cNvSpPr>
                <a:spLocks/>
              </p:cNvSpPr>
              <p:nvPr/>
            </p:nvSpPr>
            <p:spPr bwMode="auto">
              <a:xfrm>
                <a:off x="5805488" y="4483100"/>
                <a:ext cx="57150" cy="50800"/>
              </a:xfrm>
              <a:custGeom>
                <a:avLst/>
                <a:gdLst>
                  <a:gd name="T0" fmla="*/ 8090 w 20000"/>
                  <a:gd name="T1" fmla="*/ 2532 h 20000"/>
                  <a:gd name="T2" fmla="*/ 11461 w 20000"/>
                  <a:gd name="T3" fmla="*/ 2532 h 20000"/>
                  <a:gd name="T4" fmla="*/ 11461 w 20000"/>
                  <a:gd name="T5" fmla="*/ 4051 h 20000"/>
                  <a:gd name="T6" fmla="*/ 17528 w 20000"/>
                  <a:gd name="T7" fmla="*/ 0 h 20000"/>
                  <a:gd name="T8" fmla="*/ 19775 w 20000"/>
                  <a:gd name="T9" fmla="*/ 6582 h 20000"/>
                  <a:gd name="T10" fmla="*/ 19775 w 20000"/>
                  <a:gd name="T11" fmla="*/ 12911 h 20000"/>
                  <a:gd name="T12" fmla="*/ 19775 w 20000"/>
                  <a:gd name="T13" fmla="*/ 15696 h 20000"/>
                  <a:gd name="T14" fmla="*/ 17528 w 20000"/>
                  <a:gd name="T15" fmla="*/ 16962 h 20000"/>
                  <a:gd name="T16" fmla="*/ 15056 w 20000"/>
                  <a:gd name="T17" fmla="*/ 12911 h 20000"/>
                  <a:gd name="T18" fmla="*/ 11461 w 20000"/>
                  <a:gd name="T19" fmla="*/ 15696 h 20000"/>
                  <a:gd name="T20" fmla="*/ 9213 w 20000"/>
                  <a:gd name="T21" fmla="*/ 16962 h 20000"/>
                  <a:gd name="T22" fmla="*/ 5843 w 20000"/>
                  <a:gd name="T23" fmla="*/ 19747 h 20000"/>
                  <a:gd name="T24" fmla="*/ 5843 w 20000"/>
                  <a:gd name="T25" fmla="*/ 15696 h 20000"/>
                  <a:gd name="T26" fmla="*/ 0 w 20000"/>
                  <a:gd name="T27" fmla="*/ 16962 h 20000"/>
                  <a:gd name="T28" fmla="*/ 0 w 20000"/>
                  <a:gd name="T29" fmla="*/ 15696 h 20000"/>
                  <a:gd name="T30" fmla="*/ 2247 w 20000"/>
                  <a:gd name="T31" fmla="*/ 12911 h 20000"/>
                  <a:gd name="T32" fmla="*/ 4719 w 20000"/>
                  <a:gd name="T33" fmla="*/ 6582 h 20000"/>
                  <a:gd name="T34" fmla="*/ 8090 w 20000"/>
                  <a:gd name="T35" fmla="*/ 4051 h 20000"/>
                  <a:gd name="T36" fmla="*/ 8090 w 20000"/>
                  <a:gd name="T37" fmla="*/ 25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8090" y="2532"/>
                    </a:moveTo>
                    <a:lnTo>
                      <a:pt x="11461" y="2532"/>
                    </a:lnTo>
                    <a:lnTo>
                      <a:pt x="11461" y="4051"/>
                    </a:lnTo>
                    <a:lnTo>
                      <a:pt x="17528" y="0"/>
                    </a:lnTo>
                    <a:lnTo>
                      <a:pt x="19775" y="6582"/>
                    </a:lnTo>
                    <a:lnTo>
                      <a:pt x="19775" y="12911"/>
                    </a:lnTo>
                    <a:lnTo>
                      <a:pt x="19775" y="15696"/>
                    </a:lnTo>
                    <a:lnTo>
                      <a:pt x="17528" y="16962"/>
                    </a:lnTo>
                    <a:lnTo>
                      <a:pt x="15056" y="12911"/>
                    </a:lnTo>
                    <a:lnTo>
                      <a:pt x="11461" y="15696"/>
                    </a:lnTo>
                    <a:lnTo>
                      <a:pt x="9213" y="16962"/>
                    </a:lnTo>
                    <a:lnTo>
                      <a:pt x="5843" y="19747"/>
                    </a:lnTo>
                    <a:lnTo>
                      <a:pt x="5843" y="15696"/>
                    </a:lnTo>
                    <a:lnTo>
                      <a:pt x="0" y="16962"/>
                    </a:lnTo>
                    <a:lnTo>
                      <a:pt x="0" y="15696"/>
                    </a:lnTo>
                    <a:lnTo>
                      <a:pt x="2247" y="12911"/>
                    </a:lnTo>
                    <a:lnTo>
                      <a:pt x="4719" y="6582"/>
                    </a:lnTo>
                    <a:lnTo>
                      <a:pt x="8090" y="4051"/>
                    </a:lnTo>
                    <a:lnTo>
                      <a:pt x="8090" y="253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7" name="Freeform 109"/>
              <p:cNvSpPr>
                <a:spLocks/>
              </p:cNvSpPr>
              <p:nvPr/>
            </p:nvSpPr>
            <p:spPr bwMode="auto">
              <a:xfrm>
                <a:off x="5603875" y="4687888"/>
                <a:ext cx="334963" cy="285750"/>
              </a:xfrm>
              <a:custGeom>
                <a:avLst/>
                <a:gdLst>
                  <a:gd name="T0" fmla="*/ 15871 w 20000"/>
                  <a:gd name="T1" fmla="*/ 1153 h 20000"/>
                  <a:gd name="T2" fmla="*/ 16818 w 20000"/>
                  <a:gd name="T3" fmla="*/ 1375 h 20000"/>
                  <a:gd name="T4" fmla="*/ 18030 w 20000"/>
                  <a:gd name="T5" fmla="*/ 1818 h 20000"/>
                  <a:gd name="T6" fmla="*/ 18598 w 20000"/>
                  <a:gd name="T7" fmla="*/ 2084 h 20000"/>
                  <a:gd name="T8" fmla="*/ 19583 w 20000"/>
                  <a:gd name="T9" fmla="*/ 3636 h 20000"/>
                  <a:gd name="T10" fmla="*/ 19962 w 20000"/>
                  <a:gd name="T11" fmla="*/ 4789 h 20000"/>
                  <a:gd name="T12" fmla="*/ 19394 w 20000"/>
                  <a:gd name="T13" fmla="*/ 5942 h 20000"/>
                  <a:gd name="T14" fmla="*/ 18977 w 20000"/>
                  <a:gd name="T15" fmla="*/ 7805 h 20000"/>
                  <a:gd name="T16" fmla="*/ 19394 w 20000"/>
                  <a:gd name="T17" fmla="*/ 8692 h 20000"/>
                  <a:gd name="T18" fmla="*/ 18598 w 20000"/>
                  <a:gd name="T19" fmla="*/ 9845 h 20000"/>
                  <a:gd name="T20" fmla="*/ 18598 w 20000"/>
                  <a:gd name="T21" fmla="*/ 11663 h 20000"/>
                  <a:gd name="T22" fmla="*/ 13864 w 20000"/>
                  <a:gd name="T23" fmla="*/ 14412 h 20000"/>
                  <a:gd name="T24" fmla="*/ 13485 w 20000"/>
                  <a:gd name="T25" fmla="*/ 15122 h 20000"/>
                  <a:gd name="T26" fmla="*/ 11364 w 20000"/>
                  <a:gd name="T27" fmla="*/ 15565 h 20000"/>
                  <a:gd name="T28" fmla="*/ 10379 w 20000"/>
                  <a:gd name="T29" fmla="*/ 16940 h 20000"/>
                  <a:gd name="T30" fmla="*/ 8598 w 20000"/>
                  <a:gd name="T31" fmla="*/ 19468 h 20000"/>
                  <a:gd name="T32" fmla="*/ 7652 w 20000"/>
                  <a:gd name="T33" fmla="*/ 19468 h 20000"/>
                  <a:gd name="T34" fmla="*/ 5265 w 20000"/>
                  <a:gd name="T35" fmla="*/ 19246 h 20000"/>
                  <a:gd name="T36" fmla="*/ 3712 w 20000"/>
                  <a:gd name="T37" fmla="*/ 18315 h 20000"/>
                  <a:gd name="T38" fmla="*/ 2159 w 20000"/>
                  <a:gd name="T39" fmla="*/ 18758 h 20000"/>
                  <a:gd name="T40" fmla="*/ 0 w 20000"/>
                  <a:gd name="T41" fmla="*/ 15787 h 20000"/>
                  <a:gd name="T42" fmla="*/ 3485 w 20000"/>
                  <a:gd name="T43" fmla="*/ 9623 h 20000"/>
                  <a:gd name="T44" fmla="*/ 3485 w 20000"/>
                  <a:gd name="T45" fmla="*/ 8692 h 20000"/>
                  <a:gd name="T46" fmla="*/ 3485 w 20000"/>
                  <a:gd name="T47" fmla="*/ 5055 h 20000"/>
                  <a:gd name="T48" fmla="*/ 4470 w 20000"/>
                  <a:gd name="T49" fmla="*/ 6608 h 20000"/>
                  <a:gd name="T50" fmla="*/ 6061 w 20000"/>
                  <a:gd name="T51" fmla="*/ 6608 h 20000"/>
                  <a:gd name="T52" fmla="*/ 7803 w 20000"/>
                  <a:gd name="T53" fmla="*/ 7317 h 20000"/>
                  <a:gd name="T54" fmla="*/ 8598 w 20000"/>
                  <a:gd name="T55" fmla="*/ 6608 h 20000"/>
                  <a:gd name="T56" fmla="*/ 9773 w 20000"/>
                  <a:gd name="T57" fmla="*/ 7982 h 20000"/>
                  <a:gd name="T58" fmla="*/ 11742 w 20000"/>
                  <a:gd name="T59" fmla="*/ 9623 h 20000"/>
                  <a:gd name="T60" fmla="*/ 12917 w 20000"/>
                  <a:gd name="T61" fmla="*/ 9845 h 20000"/>
                  <a:gd name="T62" fmla="*/ 13295 w 20000"/>
                  <a:gd name="T63" fmla="*/ 7982 h 20000"/>
                  <a:gd name="T64" fmla="*/ 12727 w 20000"/>
                  <a:gd name="T65" fmla="*/ 8514 h 20000"/>
                  <a:gd name="T66" fmla="*/ 11136 w 20000"/>
                  <a:gd name="T67" fmla="*/ 7317 h 20000"/>
                  <a:gd name="T68" fmla="*/ 11136 w 20000"/>
                  <a:gd name="T69" fmla="*/ 5942 h 20000"/>
                  <a:gd name="T70" fmla="*/ 11364 w 20000"/>
                  <a:gd name="T71" fmla="*/ 4346 h 20000"/>
                  <a:gd name="T72" fmla="*/ 11136 w 20000"/>
                  <a:gd name="T73" fmla="*/ 2528 h 20000"/>
                  <a:gd name="T74" fmla="*/ 11932 w 20000"/>
                  <a:gd name="T75" fmla="*/ 710 h 20000"/>
                  <a:gd name="T76" fmla="*/ 15265 w 20000"/>
                  <a:gd name="T7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15265" y="0"/>
                    </a:moveTo>
                    <a:lnTo>
                      <a:pt x="15871" y="1153"/>
                    </a:lnTo>
                    <a:lnTo>
                      <a:pt x="16439" y="1153"/>
                    </a:lnTo>
                    <a:lnTo>
                      <a:pt x="16818" y="1375"/>
                    </a:lnTo>
                    <a:lnTo>
                      <a:pt x="17424" y="1818"/>
                    </a:lnTo>
                    <a:lnTo>
                      <a:pt x="18030" y="1818"/>
                    </a:lnTo>
                    <a:lnTo>
                      <a:pt x="18409" y="2084"/>
                    </a:lnTo>
                    <a:lnTo>
                      <a:pt x="18598" y="2084"/>
                    </a:lnTo>
                    <a:lnTo>
                      <a:pt x="18977" y="2971"/>
                    </a:lnTo>
                    <a:lnTo>
                      <a:pt x="19583" y="3636"/>
                    </a:lnTo>
                    <a:lnTo>
                      <a:pt x="19962" y="4346"/>
                    </a:lnTo>
                    <a:lnTo>
                      <a:pt x="19962" y="4789"/>
                    </a:lnTo>
                    <a:lnTo>
                      <a:pt x="19394" y="5055"/>
                    </a:lnTo>
                    <a:lnTo>
                      <a:pt x="19394" y="5942"/>
                    </a:lnTo>
                    <a:lnTo>
                      <a:pt x="19394" y="7317"/>
                    </a:lnTo>
                    <a:lnTo>
                      <a:pt x="18977" y="7805"/>
                    </a:lnTo>
                    <a:lnTo>
                      <a:pt x="19583" y="8514"/>
                    </a:lnTo>
                    <a:lnTo>
                      <a:pt x="19394" y="8692"/>
                    </a:lnTo>
                    <a:lnTo>
                      <a:pt x="18598" y="8692"/>
                    </a:lnTo>
                    <a:lnTo>
                      <a:pt x="18598" y="9845"/>
                    </a:lnTo>
                    <a:lnTo>
                      <a:pt x="18409" y="10776"/>
                    </a:lnTo>
                    <a:lnTo>
                      <a:pt x="18598" y="11663"/>
                    </a:lnTo>
                    <a:lnTo>
                      <a:pt x="13485" y="13525"/>
                    </a:lnTo>
                    <a:lnTo>
                      <a:pt x="13864" y="14412"/>
                    </a:lnTo>
                    <a:lnTo>
                      <a:pt x="13864" y="15122"/>
                    </a:lnTo>
                    <a:lnTo>
                      <a:pt x="13485" y="15122"/>
                    </a:lnTo>
                    <a:lnTo>
                      <a:pt x="12727" y="15122"/>
                    </a:lnTo>
                    <a:lnTo>
                      <a:pt x="11364" y="15565"/>
                    </a:lnTo>
                    <a:lnTo>
                      <a:pt x="11364" y="16497"/>
                    </a:lnTo>
                    <a:lnTo>
                      <a:pt x="10379" y="16940"/>
                    </a:lnTo>
                    <a:lnTo>
                      <a:pt x="9394" y="17650"/>
                    </a:lnTo>
                    <a:lnTo>
                      <a:pt x="8598" y="19468"/>
                    </a:lnTo>
                    <a:lnTo>
                      <a:pt x="7803" y="19956"/>
                    </a:lnTo>
                    <a:lnTo>
                      <a:pt x="7652" y="19468"/>
                    </a:lnTo>
                    <a:lnTo>
                      <a:pt x="6061" y="19468"/>
                    </a:lnTo>
                    <a:lnTo>
                      <a:pt x="5265" y="19246"/>
                    </a:lnTo>
                    <a:lnTo>
                      <a:pt x="4697" y="18758"/>
                    </a:lnTo>
                    <a:lnTo>
                      <a:pt x="3712" y="18315"/>
                    </a:lnTo>
                    <a:lnTo>
                      <a:pt x="3485" y="18315"/>
                    </a:lnTo>
                    <a:lnTo>
                      <a:pt x="2159" y="18758"/>
                    </a:lnTo>
                    <a:lnTo>
                      <a:pt x="1553" y="17428"/>
                    </a:lnTo>
                    <a:lnTo>
                      <a:pt x="0" y="15787"/>
                    </a:lnTo>
                    <a:lnTo>
                      <a:pt x="379" y="9623"/>
                    </a:lnTo>
                    <a:lnTo>
                      <a:pt x="3485" y="9623"/>
                    </a:lnTo>
                    <a:lnTo>
                      <a:pt x="3485" y="9135"/>
                    </a:lnTo>
                    <a:lnTo>
                      <a:pt x="3485" y="8692"/>
                    </a:lnTo>
                    <a:lnTo>
                      <a:pt x="3485" y="7317"/>
                    </a:lnTo>
                    <a:lnTo>
                      <a:pt x="3485" y="5055"/>
                    </a:lnTo>
                    <a:lnTo>
                      <a:pt x="4091" y="5499"/>
                    </a:lnTo>
                    <a:lnTo>
                      <a:pt x="4470" y="6608"/>
                    </a:lnTo>
                    <a:lnTo>
                      <a:pt x="5644" y="5499"/>
                    </a:lnTo>
                    <a:lnTo>
                      <a:pt x="6061" y="6608"/>
                    </a:lnTo>
                    <a:lnTo>
                      <a:pt x="7197" y="7317"/>
                    </a:lnTo>
                    <a:lnTo>
                      <a:pt x="7803" y="7317"/>
                    </a:lnTo>
                    <a:lnTo>
                      <a:pt x="8598" y="7317"/>
                    </a:lnTo>
                    <a:lnTo>
                      <a:pt x="8598" y="6608"/>
                    </a:lnTo>
                    <a:lnTo>
                      <a:pt x="8826" y="6608"/>
                    </a:lnTo>
                    <a:lnTo>
                      <a:pt x="9773" y="7982"/>
                    </a:lnTo>
                    <a:lnTo>
                      <a:pt x="10758" y="7982"/>
                    </a:lnTo>
                    <a:lnTo>
                      <a:pt x="11742" y="9623"/>
                    </a:lnTo>
                    <a:lnTo>
                      <a:pt x="11932" y="10333"/>
                    </a:lnTo>
                    <a:lnTo>
                      <a:pt x="12917" y="9845"/>
                    </a:lnTo>
                    <a:lnTo>
                      <a:pt x="12917" y="10333"/>
                    </a:lnTo>
                    <a:lnTo>
                      <a:pt x="13295" y="7982"/>
                    </a:lnTo>
                    <a:lnTo>
                      <a:pt x="12727" y="7982"/>
                    </a:lnTo>
                    <a:lnTo>
                      <a:pt x="12727" y="8514"/>
                    </a:lnTo>
                    <a:lnTo>
                      <a:pt x="11932" y="7982"/>
                    </a:lnTo>
                    <a:lnTo>
                      <a:pt x="11136" y="7317"/>
                    </a:lnTo>
                    <a:lnTo>
                      <a:pt x="10758" y="6874"/>
                    </a:lnTo>
                    <a:lnTo>
                      <a:pt x="11136" y="5942"/>
                    </a:lnTo>
                    <a:lnTo>
                      <a:pt x="11136" y="5055"/>
                    </a:lnTo>
                    <a:lnTo>
                      <a:pt x="11364" y="4346"/>
                    </a:lnTo>
                    <a:lnTo>
                      <a:pt x="11364" y="2971"/>
                    </a:lnTo>
                    <a:lnTo>
                      <a:pt x="11136" y="2528"/>
                    </a:lnTo>
                    <a:lnTo>
                      <a:pt x="11742" y="1818"/>
                    </a:lnTo>
                    <a:lnTo>
                      <a:pt x="11932" y="710"/>
                    </a:lnTo>
                    <a:lnTo>
                      <a:pt x="11932" y="177"/>
                    </a:lnTo>
                    <a:lnTo>
                      <a:pt x="1526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8" name="Freeform 108"/>
              <p:cNvSpPr>
                <a:spLocks/>
              </p:cNvSpPr>
              <p:nvPr/>
            </p:nvSpPr>
            <p:spPr bwMode="auto">
              <a:xfrm>
                <a:off x="4498975" y="3971925"/>
                <a:ext cx="171450" cy="125413"/>
              </a:xfrm>
              <a:custGeom>
                <a:avLst/>
                <a:gdLst>
                  <a:gd name="T0" fmla="*/ 2222 w 20000"/>
                  <a:gd name="T1" fmla="*/ 2030 h 20000"/>
                  <a:gd name="T2" fmla="*/ 3778 w 20000"/>
                  <a:gd name="T3" fmla="*/ 406 h 20000"/>
                  <a:gd name="T4" fmla="*/ 6148 w 20000"/>
                  <a:gd name="T5" fmla="*/ 406 h 20000"/>
                  <a:gd name="T6" fmla="*/ 9185 w 20000"/>
                  <a:gd name="T7" fmla="*/ 0 h 20000"/>
                  <a:gd name="T8" fmla="*/ 10296 w 20000"/>
                  <a:gd name="T9" fmla="*/ 406 h 20000"/>
                  <a:gd name="T10" fmla="*/ 11926 w 20000"/>
                  <a:gd name="T11" fmla="*/ 3147 h 20000"/>
                  <a:gd name="T12" fmla="*/ 13037 w 20000"/>
                  <a:gd name="T13" fmla="*/ 3147 h 20000"/>
                  <a:gd name="T14" fmla="*/ 13407 w 20000"/>
                  <a:gd name="T15" fmla="*/ 5787 h 20000"/>
                  <a:gd name="T16" fmla="*/ 14148 w 20000"/>
                  <a:gd name="T17" fmla="*/ 5787 h 20000"/>
                  <a:gd name="T18" fmla="*/ 14963 w 20000"/>
                  <a:gd name="T19" fmla="*/ 7310 h 20000"/>
                  <a:gd name="T20" fmla="*/ 15259 w 20000"/>
                  <a:gd name="T21" fmla="*/ 8325 h 20000"/>
                  <a:gd name="T22" fmla="*/ 17259 w 20000"/>
                  <a:gd name="T23" fmla="*/ 8934 h 20000"/>
                  <a:gd name="T24" fmla="*/ 17259 w 20000"/>
                  <a:gd name="T25" fmla="*/ 10964 h 20000"/>
                  <a:gd name="T26" fmla="*/ 18000 w 20000"/>
                  <a:gd name="T27" fmla="*/ 11574 h 20000"/>
                  <a:gd name="T28" fmla="*/ 17259 w 20000"/>
                  <a:gd name="T29" fmla="*/ 14112 h 20000"/>
                  <a:gd name="T30" fmla="*/ 18000 w 20000"/>
                  <a:gd name="T31" fmla="*/ 15736 h 20000"/>
                  <a:gd name="T32" fmla="*/ 18444 w 20000"/>
                  <a:gd name="T33" fmla="*/ 15736 h 20000"/>
                  <a:gd name="T34" fmla="*/ 19926 w 20000"/>
                  <a:gd name="T35" fmla="*/ 17259 h 20000"/>
                  <a:gd name="T36" fmla="*/ 19926 w 20000"/>
                  <a:gd name="T37" fmla="*/ 19391 h 20000"/>
                  <a:gd name="T38" fmla="*/ 18000 w 20000"/>
                  <a:gd name="T39" fmla="*/ 19391 h 20000"/>
                  <a:gd name="T40" fmla="*/ 17259 w 20000"/>
                  <a:gd name="T41" fmla="*/ 19391 h 20000"/>
                  <a:gd name="T42" fmla="*/ 16148 w 20000"/>
                  <a:gd name="T43" fmla="*/ 19898 h 20000"/>
                  <a:gd name="T44" fmla="*/ 14148 w 20000"/>
                  <a:gd name="T45" fmla="*/ 19391 h 20000"/>
                  <a:gd name="T46" fmla="*/ 14148 w 20000"/>
                  <a:gd name="T47" fmla="*/ 18274 h 20000"/>
                  <a:gd name="T48" fmla="*/ 11926 w 20000"/>
                  <a:gd name="T49" fmla="*/ 18274 h 20000"/>
                  <a:gd name="T50" fmla="*/ 6889 w 20000"/>
                  <a:gd name="T51" fmla="*/ 18274 h 20000"/>
                  <a:gd name="T52" fmla="*/ 5407 w 20000"/>
                  <a:gd name="T53" fmla="*/ 19391 h 20000"/>
                  <a:gd name="T54" fmla="*/ 4222 w 20000"/>
                  <a:gd name="T55" fmla="*/ 19391 h 20000"/>
                  <a:gd name="T56" fmla="*/ 1926 w 20000"/>
                  <a:gd name="T57" fmla="*/ 19898 h 20000"/>
                  <a:gd name="T58" fmla="*/ 4222 w 20000"/>
                  <a:gd name="T59" fmla="*/ 18274 h 20000"/>
                  <a:gd name="T60" fmla="*/ 1926 w 20000"/>
                  <a:gd name="T61" fmla="*/ 18274 h 20000"/>
                  <a:gd name="T62" fmla="*/ 1185 w 20000"/>
                  <a:gd name="T63" fmla="*/ 16751 h 20000"/>
                  <a:gd name="T64" fmla="*/ 4963 w 20000"/>
                  <a:gd name="T65" fmla="*/ 15736 h 20000"/>
                  <a:gd name="T66" fmla="*/ 4963 w 20000"/>
                  <a:gd name="T67" fmla="*/ 15127 h 20000"/>
                  <a:gd name="T68" fmla="*/ 6148 w 20000"/>
                  <a:gd name="T69" fmla="*/ 15127 h 20000"/>
                  <a:gd name="T70" fmla="*/ 7259 w 20000"/>
                  <a:gd name="T71" fmla="*/ 14112 h 20000"/>
                  <a:gd name="T72" fmla="*/ 10296 w 20000"/>
                  <a:gd name="T73" fmla="*/ 15736 h 20000"/>
                  <a:gd name="T74" fmla="*/ 11926 w 20000"/>
                  <a:gd name="T75" fmla="*/ 14112 h 20000"/>
                  <a:gd name="T76" fmla="*/ 9926 w 20000"/>
                  <a:gd name="T77" fmla="*/ 14112 h 20000"/>
                  <a:gd name="T78" fmla="*/ 8000 w 20000"/>
                  <a:gd name="T79" fmla="*/ 13096 h 20000"/>
                  <a:gd name="T80" fmla="*/ 5407 w 20000"/>
                  <a:gd name="T81" fmla="*/ 13096 h 20000"/>
                  <a:gd name="T82" fmla="*/ 1926 w 20000"/>
                  <a:gd name="T83" fmla="*/ 14112 h 20000"/>
                  <a:gd name="T84" fmla="*/ 1926 w 20000"/>
                  <a:gd name="T85" fmla="*/ 13096 h 20000"/>
                  <a:gd name="T86" fmla="*/ 2222 w 20000"/>
                  <a:gd name="T87" fmla="*/ 12589 h 20000"/>
                  <a:gd name="T88" fmla="*/ 1185 w 20000"/>
                  <a:gd name="T89" fmla="*/ 12589 h 20000"/>
                  <a:gd name="T90" fmla="*/ 296 w 20000"/>
                  <a:gd name="T91" fmla="*/ 11574 h 20000"/>
                  <a:gd name="T92" fmla="*/ 0 w 20000"/>
                  <a:gd name="T93" fmla="*/ 8934 h 20000"/>
                  <a:gd name="T94" fmla="*/ 296 w 20000"/>
                  <a:gd name="T95" fmla="*/ 7310 h 20000"/>
                  <a:gd name="T96" fmla="*/ 1926 w 20000"/>
                  <a:gd name="T97" fmla="*/ 4772 h 20000"/>
                  <a:gd name="T98" fmla="*/ 2222 w 20000"/>
                  <a:gd name="T99" fmla="*/ 20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2222" y="2030"/>
                    </a:moveTo>
                    <a:lnTo>
                      <a:pt x="3778" y="406"/>
                    </a:lnTo>
                    <a:lnTo>
                      <a:pt x="6148" y="406"/>
                    </a:lnTo>
                    <a:lnTo>
                      <a:pt x="9185" y="0"/>
                    </a:lnTo>
                    <a:lnTo>
                      <a:pt x="10296" y="406"/>
                    </a:lnTo>
                    <a:lnTo>
                      <a:pt x="11926" y="3147"/>
                    </a:lnTo>
                    <a:lnTo>
                      <a:pt x="13037" y="3147"/>
                    </a:lnTo>
                    <a:lnTo>
                      <a:pt x="13407" y="5787"/>
                    </a:lnTo>
                    <a:lnTo>
                      <a:pt x="14148" y="5787"/>
                    </a:lnTo>
                    <a:lnTo>
                      <a:pt x="14963" y="7310"/>
                    </a:lnTo>
                    <a:lnTo>
                      <a:pt x="15259" y="8325"/>
                    </a:lnTo>
                    <a:lnTo>
                      <a:pt x="17259" y="8934"/>
                    </a:lnTo>
                    <a:lnTo>
                      <a:pt x="17259" y="10964"/>
                    </a:lnTo>
                    <a:lnTo>
                      <a:pt x="18000" y="11574"/>
                    </a:lnTo>
                    <a:lnTo>
                      <a:pt x="17259" y="14112"/>
                    </a:lnTo>
                    <a:lnTo>
                      <a:pt x="18000" y="15736"/>
                    </a:lnTo>
                    <a:lnTo>
                      <a:pt x="18444" y="15736"/>
                    </a:lnTo>
                    <a:lnTo>
                      <a:pt x="19926" y="17259"/>
                    </a:lnTo>
                    <a:lnTo>
                      <a:pt x="19926" y="19391"/>
                    </a:lnTo>
                    <a:lnTo>
                      <a:pt x="18000" y="19391"/>
                    </a:lnTo>
                    <a:lnTo>
                      <a:pt x="17259" y="19391"/>
                    </a:lnTo>
                    <a:lnTo>
                      <a:pt x="16148" y="19898"/>
                    </a:lnTo>
                    <a:lnTo>
                      <a:pt x="14148" y="19391"/>
                    </a:lnTo>
                    <a:lnTo>
                      <a:pt x="14148" y="18274"/>
                    </a:lnTo>
                    <a:lnTo>
                      <a:pt x="11926" y="18274"/>
                    </a:lnTo>
                    <a:lnTo>
                      <a:pt x="6889" y="18274"/>
                    </a:lnTo>
                    <a:lnTo>
                      <a:pt x="5407" y="19391"/>
                    </a:lnTo>
                    <a:lnTo>
                      <a:pt x="4222" y="19391"/>
                    </a:lnTo>
                    <a:lnTo>
                      <a:pt x="1926" y="19898"/>
                    </a:lnTo>
                    <a:lnTo>
                      <a:pt x="4222" y="18274"/>
                    </a:lnTo>
                    <a:lnTo>
                      <a:pt x="1926" y="18274"/>
                    </a:lnTo>
                    <a:lnTo>
                      <a:pt x="1185" y="16751"/>
                    </a:lnTo>
                    <a:lnTo>
                      <a:pt x="4963" y="15736"/>
                    </a:lnTo>
                    <a:lnTo>
                      <a:pt x="4963" y="15127"/>
                    </a:lnTo>
                    <a:lnTo>
                      <a:pt x="6148" y="15127"/>
                    </a:lnTo>
                    <a:lnTo>
                      <a:pt x="7259" y="14112"/>
                    </a:lnTo>
                    <a:lnTo>
                      <a:pt x="10296" y="15736"/>
                    </a:lnTo>
                    <a:lnTo>
                      <a:pt x="11926" y="14112"/>
                    </a:lnTo>
                    <a:lnTo>
                      <a:pt x="9926" y="14112"/>
                    </a:lnTo>
                    <a:lnTo>
                      <a:pt x="8000" y="13096"/>
                    </a:lnTo>
                    <a:lnTo>
                      <a:pt x="5407" y="13096"/>
                    </a:lnTo>
                    <a:lnTo>
                      <a:pt x="1926" y="14112"/>
                    </a:lnTo>
                    <a:lnTo>
                      <a:pt x="1926" y="13096"/>
                    </a:lnTo>
                    <a:lnTo>
                      <a:pt x="2222" y="12589"/>
                    </a:lnTo>
                    <a:lnTo>
                      <a:pt x="1185" y="12589"/>
                    </a:lnTo>
                    <a:lnTo>
                      <a:pt x="296" y="11574"/>
                    </a:lnTo>
                    <a:lnTo>
                      <a:pt x="0" y="8934"/>
                    </a:lnTo>
                    <a:lnTo>
                      <a:pt x="296" y="7310"/>
                    </a:lnTo>
                    <a:lnTo>
                      <a:pt x="1926" y="4772"/>
                    </a:lnTo>
                    <a:lnTo>
                      <a:pt x="2222" y="20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29" name="Freeform 107"/>
              <p:cNvSpPr>
                <a:spLocks/>
              </p:cNvSpPr>
              <p:nvPr/>
            </p:nvSpPr>
            <p:spPr bwMode="auto">
              <a:xfrm>
                <a:off x="4611688" y="4162425"/>
                <a:ext cx="85725" cy="96838"/>
              </a:xfrm>
              <a:custGeom>
                <a:avLst/>
                <a:gdLst>
                  <a:gd name="T0" fmla="*/ 0 w 20000"/>
                  <a:gd name="T1" fmla="*/ 6184 h 20000"/>
                  <a:gd name="T2" fmla="*/ 2222 w 20000"/>
                  <a:gd name="T3" fmla="*/ 4079 h 20000"/>
                  <a:gd name="T4" fmla="*/ 3852 w 20000"/>
                  <a:gd name="T5" fmla="*/ 4079 h 20000"/>
                  <a:gd name="T6" fmla="*/ 6074 w 20000"/>
                  <a:gd name="T7" fmla="*/ 789 h 20000"/>
                  <a:gd name="T8" fmla="*/ 6815 w 20000"/>
                  <a:gd name="T9" fmla="*/ 789 h 20000"/>
                  <a:gd name="T10" fmla="*/ 13778 w 20000"/>
                  <a:gd name="T11" fmla="*/ 0 h 20000"/>
                  <a:gd name="T12" fmla="*/ 16000 w 20000"/>
                  <a:gd name="T13" fmla="*/ 3421 h 20000"/>
                  <a:gd name="T14" fmla="*/ 16000 w 20000"/>
                  <a:gd name="T15" fmla="*/ 5395 h 20000"/>
                  <a:gd name="T16" fmla="*/ 16889 w 20000"/>
                  <a:gd name="T17" fmla="*/ 6184 h 20000"/>
                  <a:gd name="T18" fmla="*/ 16889 w 20000"/>
                  <a:gd name="T19" fmla="*/ 9605 h 20000"/>
                  <a:gd name="T20" fmla="*/ 19852 w 20000"/>
                  <a:gd name="T21" fmla="*/ 9605 h 20000"/>
                  <a:gd name="T22" fmla="*/ 19852 w 20000"/>
                  <a:gd name="T23" fmla="*/ 11579 h 20000"/>
                  <a:gd name="T24" fmla="*/ 18370 w 20000"/>
                  <a:gd name="T25" fmla="*/ 11579 h 20000"/>
                  <a:gd name="T26" fmla="*/ 18370 w 20000"/>
                  <a:gd name="T27" fmla="*/ 14211 h 20000"/>
                  <a:gd name="T28" fmla="*/ 16000 w 20000"/>
                  <a:gd name="T29" fmla="*/ 16316 h 20000"/>
                  <a:gd name="T30" fmla="*/ 13778 w 20000"/>
                  <a:gd name="T31" fmla="*/ 19868 h 20000"/>
                  <a:gd name="T32" fmla="*/ 8444 w 20000"/>
                  <a:gd name="T33" fmla="*/ 17763 h 20000"/>
                  <a:gd name="T34" fmla="*/ 2222 w 20000"/>
                  <a:gd name="T35" fmla="*/ 15000 h 20000"/>
                  <a:gd name="T36" fmla="*/ 2222 w 20000"/>
                  <a:gd name="T37" fmla="*/ 12895 h 20000"/>
                  <a:gd name="T38" fmla="*/ 0 w 20000"/>
                  <a:gd name="T39" fmla="*/ 9605 h 20000"/>
                  <a:gd name="T40" fmla="*/ 0 w 20000"/>
                  <a:gd name="T41" fmla="*/ 7500 h 20000"/>
                  <a:gd name="T42" fmla="*/ 0 w 20000"/>
                  <a:gd name="T43" fmla="*/ 61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0" y="6184"/>
                    </a:moveTo>
                    <a:lnTo>
                      <a:pt x="2222" y="4079"/>
                    </a:lnTo>
                    <a:lnTo>
                      <a:pt x="3852" y="4079"/>
                    </a:lnTo>
                    <a:lnTo>
                      <a:pt x="6074" y="789"/>
                    </a:lnTo>
                    <a:lnTo>
                      <a:pt x="6815" y="789"/>
                    </a:lnTo>
                    <a:lnTo>
                      <a:pt x="13778" y="0"/>
                    </a:lnTo>
                    <a:lnTo>
                      <a:pt x="16000" y="3421"/>
                    </a:lnTo>
                    <a:lnTo>
                      <a:pt x="16000" y="5395"/>
                    </a:lnTo>
                    <a:lnTo>
                      <a:pt x="16889" y="6184"/>
                    </a:lnTo>
                    <a:lnTo>
                      <a:pt x="16889" y="9605"/>
                    </a:lnTo>
                    <a:lnTo>
                      <a:pt x="19852" y="9605"/>
                    </a:lnTo>
                    <a:lnTo>
                      <a:pt x="19852" y="11579"/>
                    </a:lnTo>
                    <a:lnTo>
                      <a:pt x="18370" y="11579"/>
                    </a:lnTo>
                    <a:lnTo>
                      <a:pt x="18370" y="14211"/>
                    </a:lnTo>
                    <a:lnTo>
                      <a:pt x="16000" y="16316"/>
                    </a:lnTo>
                    <a:lnTo>
                      <a:pt x="13778" y="19868"/>
                    </a:lnTo>
                    <a:lnTo>
                      <a:pt x="8444" y="17763"/>
                    </a:lnTo>
                    <a:lnTo>
                      <a:pt x="2222" y="15000"/>
                    </a:lnTo>
                    <a:lnTo>
                      <a:pt x="2222" y="12895"/>
                    </a:lnTo>
                    <a:lnTo>
                      <a:pt x="0" y="9605"/>
                    </a:lnTo>
                    <a:lnTo>
                      <a:pt x="0" y="7500"/>
                    </a:lnTo>
                    <a:lnTo>
                      <a:pt x="0" y="61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0" name="Freeform 106"/>
              <p:cNvSpPr>
                <a:spLocks/>
              </p:cNvSpPr>
              <p:nvPr/>
            </p:nvSpPr>
            <p:spPr bwMode="auto">
              <a:xfrm>
                <a:off x="5692775" y="4903788"/>
                <a:ext cx="220663" cy="198437"/>
              </a:xfrm>
              <a:custGeom>
                <a:avLst/>
                <a:gdLst>
                  <a:gd name="T0" fmla="*/ 0 w 20000"/>
                  <a:gd name="T1" fmla="*/ 6026 h 20000"/>
                  <a:gd name="T2" fmla="*/ 1207 w 20000"/>
                  <a:gd name="T3" fmla="*/ 6282 h 20000"/>
                  <a:gd name="T4" fmla="*/ 3563 w 20000"/>
                  <a:gd name="T5" fmla="*/ 6282 h 20000"/>
                  <a:gd name="T6" fmla="*/ 3851 w 20000"/>
                  <a:gd name="T7" fmla="*/ 6987 h 20000"/>
                  <a:gd name="T8" fmla="*/ 5057 w 20000"/>
                  <a:gd name="T9" fmla="*/ 6282 h 20000"/>
                  <a:gd name="T10" fmla="*/ 6264 w 20000"/>
                  <a:gd name="T11" fmla="*/ 3654 h 20000"/>
                  <a:gd name="T12" fmla="*/ 7759 w 20000"/>
                  <a:gd name="T13" fmla="*/ 2628 h 20000"/>
                  <a:gd name="T14" fmla="*/ 9253 w 20000"/>
                  <a:gd name="T15" fmla="*/ 1987 h 20000"/>
                  <a:gd name="T16" fmla="*/ 9253 w 20000"/>
                  <a:gd name="T17" fmla="*/ 641 h 20000"/>
                  <a:gd name="T18" fmla="*/ 11322 w 20000"/>
                  <a:gd name="T19" fmla="*/ 0 h 20000"/>
                  <a:gd name="T20" fmla="*/ 12529 w 20000"/>
                  <a:gd name="T21" fmla="*/ 0 h 20000"/>
                  <a:gd name="T22" fmla="*/ 13103 w 20000"/>
                  <a:gd name="T23" fmla="*/ 0 h 20000"/>
                  <a:gd name="T24" fmla="*/ 13736 w 20000"/>
                  <a:gd name="T25" fmla="*/ 1026 h 20000"/>
                  <a:gd name="T26" fmla="*/ 15517 w 20000"/>
                  <a:gd name="T27" fmla="*/ 641 h 20000"/>
                  <a:gd name="T28" fmla="*/ 16092 w 20000"/>
                  <a:gd name="T29" fmla="*/ 1026 h 20000"/>
                  <a:gd name="T30" fmla="*/ 17011 w 20000"/>
                  <a:gd name="T31" fmla="*/ 1667 h 20000"/>
                  <a:gd name="T32" fmla="*/ 17586 w 20000"/>
                  <a:gd name="T33" fmla="*/ 1987 h 20000"/>
                  <a:gd name="T34" fmla="*/ 19368 w 20000"/>
                  <a:gd name="T35" fmla="*/ 1987 h 20000"/>
                  <a:gd name="T36" fmla="*/ 19368 w 20000"/>
                  <a:gd name="T37" fmla="*/ 2628 h 20000"/>
                  <a:gd name="T38" fmla="*/ 19943 w 20000"/>
                  <a:gd name="T39" fmla="*/ 4295 h 20000"/>
                  <a:gd name="T40" fmla="*/ 19943 w 20000"/>
                  <a:gd name="T41" fmla="*/ 6026 h 20000"/>
                  <a:gd name="T42" fmla="*/ 19943 w 20000"/>
                  <a:gd name="T43" fmla="*/ 7628 h 20000"/>
                  <a:gd name="T44" fmla="*/ 19943 w 20000"/>
                  <a:gd name="T45" fmla="*/ 8013 h 20000"/>
                  <a:gd name="T46" fmla="*/ 19368 w 20000"/>
                  <a:gd name="T47" fmla="*/ 8654 h 20000"/>
                  <a:gd name="T48" fmla="*/ 19943 w 20000"/>
                  <a:gd name="T49" fmla="*/ 8910 h 20000"/>
                  <a:gd name="T50" fmla="*/ 19368 w 20000"/>
                  <a:gd name="T51" fmla="*/ 8910 h 20000"/>
                  <a:gd name="T52" fmla="*/ 19368 w 20000"/>
                  <a:gd name="T53" fmla="*/ 10256 h 20000"/>
                  <a:gd name="T54" fmla="*/ 19368 w 20000"/>
                  <a:gd name="T55" fmla="*/ 11282 h 20000"/>
                  <a:gd name="T56" fmla="*/ 19943 w 20000"/>
                  <a:gd name="T57" fmla="*/ 12308 h 20000"/>
                  <a:gd name="T58" fmla="*/ 18793 w 20000"/>
                  <a:gd name="T59" fmla="*/ 13910 h 20000"/>
                  <a:gd name="T60" fmla="*/ 18448 w 20000"/>
                  <a:gd name="T61" fmla="*/ 14936 h 20000"/>
                  <a:gd name="T62" fmla="*/ 18448 w 20000"/>
                  <a:gd name="T63" fmla="*/ 15897 h 20000"/>
                  <a:gd name="T64" fmla="*/ 17874 w 20000"/>
                  <a:gd name="T65" fmla="*/ 17308 h 20000"/>
                  <a:gd name="T66" fmla="*/ 15172 w 20000"/>
                  <a:gd name="T67" fmla="*/ 19936 h 20000"/>
                  <a:gd name="T68" fmla="*/ 14598 w 20000"/>
                  <a:gd name="T69" fmla="*/ 19231 h 20000"/>
                  <a:gd name="T70" fmla="*/ 13103 w 20000"/>
                  <a:gd name="T71" fmla="*/ 19936 h 20000"/>
                  <a:gd name="T72" fmla="*/ 11609 w 20000"/>
                  <a:gd name="T73" fmla="*/ 19231 h 20000"/>
                  <a:gd name="T74" fmla="*/ 10115 w 20000"/>
                  <a:gd name="T75" fmla="*/ 19231 h 20000"/>
                  <a:gd name="T76" fmla="*/ 9253 w 20000"/>
                  <a:gd name="T77" fmla="*/ 19231 h 20000"/>
                  <a:gd name="T78" fmla="*/ 9253 w 20000"/>
                  <a:gd name="T79" fmla="*/ 17564 h 20000"/>
                  <a:gd name="T80" fmla="*/ 7759 w 20000"/>
                  <a:gd name="T81" fmla="*/ 17308 h 20000"/>
                  <a:gd name="T82" fmla="*/ 6839 w 20000"/>
                  <a:gd name="T83" fmla="*/ 17308 h 20000"/>
                  <a:gd name="T84" fmla="*/ 6264 w 20000"/>
                  <a:gd name="T85" fmla="*/ 15897 h 20000"/>
                  <a:gd name="T86" fmla="*/ 5977 w 20000"/>
                  <a:gd name="T87" fmla="*/ 13910 h 20000"/>
                  <a:gd name="T88" fmla="*/ 5402 w 20000"/>
                  <a:gd name="T89" fmla="*/ 13910 h 20000"/>
                  <a:gd name="T90" fmla="*/ 5057 w 20000"/>
                  <a:gd name="T91" fmla="*/ 12308 h 20000"/>
                  <a:gd name="T92" fmla="*/ 3563 w 20000"/>
                  <a:gd name="T93" fmla="*/ 11667 h 20000"/>
                  <a:gd name="T94" fmla="*/ 2126 w 20000"/>
                  <a:gd name="T95" fmla="*/ 10641 h 20000"/>
                  <a:gd name="T96" fmla="*/ 2126 w 20000"/>
                  <a:gd name="T97" fmla="*/ 9615 h 20000"/>
                  <a:gd name="T98" fmla="*/ 575 w 20000"/>
                  <a:gd name="T99" fmla="*/ 7628 h 20000"/>
                  <a:gd name="T100" fmla="*/ 0 w 20000"/>
                  <a:gd name="T101" fmla="*/ 602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0" y="6026"/>
                    </a:moveTo>
                    <a:lnTo>
                      <a:pt x="1207" y="6282"/>
                    </a:lnTo>
                    <a:lnTo>
                      <a:pt x="3563" y="6282"/>
                    </a:lnTo>
                    <a:lnTo>
                      <a:pt x="3851" y="6987"/>
                    </a:lnTo>
                    <a:lnTo>
                      <a:pt x="5057" y="6282"/>
                    </a:lnTo>
                    <a:lnTo>
                      <a:pt x="6264" y="3654"/>
                    </a:lnTo>
                    <a:lnTo>
                      <a:pt x="7759" y="2628"/>
                    </a:lnTo>
                    <a:lnTo>
                      <a:pt x="9253" y="1987"/>
                    </a:lnTo>
                    <a:lnTo>
                      <a:pt x="9253" y="641"/>
                    </a:lnTo>
                    <a:lnTo>
                      <a:pt x="11322" y="0"/>
                    </a:lnTo>
                    <a:lnTo>
                      <a:pt x="12529" y="0"/>
                    </a:lnTo>
                    <a:lnTo>
                      <a:pt x="13103" y="0"/>
                    </a:lnTo>
                    <a:lnTo>
                      <a:pt x="13736" y="1026"/>
                    </a:lnTo>
                    <a:lnTo>
                      <a:pt x="15517" y="641"/>
                    </a:lnTo>
                    <a:lnTo>
                      <a:pt x="16092" y="1026"/>
                    </a:lnTo>
                    <a:lnTo>
                      <a:pt x="17011" y="1667"/>
                    </a:lnTo>
                    <a:lnTo>
                      <a:pt x="17586" y="1987"/>
                    </a:lnTo>
                    <a:lnTo>
                      <a:pt x="19368" y="1987"/>
                    </a:lnTo>
                    <a:lnTo>
                      <a:pt x="19368" y="2628"/>
                    </a:lnTo>
                    <a:lnTo>
                      <a:pt x="19943" y="4295"/>
                    </a:lnTo>
                    <a:lnTo>
                      <a:pt x="19943" y="6026"/>
                    </a:lnTo>
                    <a:lnTo>
                      <a:pt x="19943" y="7628"/>
                    </a:lnTo>
                    <a:lnTo>
                      <a:pt x="19943" y="8013"/>
                    </a:lnTo>
                    <a:lnTo>
                      <a:pt x="19368" y="8654"/>
                    </a:lnTo>
                    <a:lnTo>
                      <a:pt x="19943" y="8910"/>
                    </a:lnTo>
                    <a:lnTo>
                      <a:pt x="19368" y="8910"/>
                    </a:lnTo>
                    <a:lnTo>
                      <a:pt x="19368" y="10256"/>
                    </a:lnTo>
                    <a:lnTo>
                      <a:pt x="19368" y="11282"/>
                    </a:lnTo>
                    <a:lnTo>
                      <a:pt x="19943" y="12308"/>
                    </a:lnTo>
                    <a:lnTo>
                      <a:pt x="18793" y="13910"/>
                    </a:lnTo>
                    <a:lnTo>
                      <a:pt x="18448" y="14936"/>
                    </a:lnTo>
                    <a:lnTo>
                      <a:pt x="18448" y="15897"/>
                    </a:lnTo>
                    <a:lnTo>
                      <a:pt x="17874" y="17308"/>
                    </a:lnTo>
                    <a:lnTo>
                      <a:pt x="15172" y="19936"/>
                    </a:lnTo>
                    <a:lnTo>
                      <a:pt x="14598" y="19231"/>
                    </a:lnTo>
                    <a:lnTo>
                      <a:pt x="13103" y="19936"/>
                    </a:lnTo>
                    <a:lnTo>
                      <a:pt x="11609" y="19231"/>
                    </a:lnTo>
                    <a:lnTo>
                      <a:pt x="10115" y="19231"/>
                    </a:lnTo>
                    <a:lnTo>
                      <a:pt x="9253" y="19231"/>
                    </a:lnTo>
                    <a:lnTo>
                      <a:pt x="9253" y="17564"/>
                    </a:lnTo>
                    <a:lnTo>
                      <a:pt x="7759" y="17308"/>
                    </a:lnTo>
                    <a:lnTo>
                      <a:pt x="6839" y="17308"/>
                    </a:lnTo>
                    <a:lnTo>
                      <a:pt x="6264" y="15897"/>
                    </a:lnTo>
                    <a:lnTo>
                      <a:pt x="5977" y="13910"/>
                    </a:lnTo>
                    <a:lnTo>
                      <a:pt x="5402" y="13910"/>
                    </a:lnTo>
                    <a:lnTo>
                      <a:pt x="5057" y="12308"/>
                    </a:lnTo>
                    <a:lnTo>
                      <a:pt x="3563" y="11667"/>
                    </a:lnTo>
                    <a:lnTo>
                      <a:pt x="2126" y="10641"/>
                    </a:lnTo>
                    <a:lnTo>
                      <a:pt x="2126" y="9615"/>
                    </a:lnTo>
                    <a:lnTo>
                      <a:pt x="575" y="7628"/>
                    </a:lnTo>
                    <a:lnTo>
                      <a:pt x="0" y="602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1" name="Freeform 105"/>
              <p:cNvSpPr>
                <a:spLocks/>
              </p:cNvSpPr>
              <p:nvPr/>
            </p:nvSpPr>
            <p:spPr bwMode="auto">
              <a:xfrm>
                <a:off x="6149975" y="4111625"/>
                <a:ext cx="282575" cy="382588"/>
              </a:xfrm>
              <a:custGeom>
                <a:avLst/>
                <a:gdLst>
                  <a:gd name="T0" fmla="*/ 3453 w 20000"/>
                  <a:gd name="T1" fmla="*/ 1728 h 20000"/>
                  <a:gd name="T2" fmla="*/ 3946 w 20000"/>
                  <a:gd name="T3" fmla="*/ 1229 h 20000"/>
                  <a:gd name="T4" fmla="*/ 4170 w 20000"/>
                  <a:gd name="T5" fmla="*/ 897 h 20000"/>
                  <a:gd name="T6" fmla="*/ 5785 w 20000"/>
                  <a:gd name="T7" fmla="*/ 2259 h 20000"/>
                  <a:gd name="T8" fmla="*/ 6951 w 20000"/>
                  <a:gd name="T9" fmla="*/ 2591 h 20000"/>
                  <a:gd name="T10" fmla="*/ 9058 w 20000"/>
                  <a:gd name="T11" fmla="*/ 1728 h 20000"/>
                  <a:gd name="T12" fmla="*/ 10628 w 20000"/>
                  <a:gd name="T13" fmla="*/ 1894 h 20000"/>
                  <a:gd name="T14" fmla="*/ 12556 w 20000"/>
                  <a:gd name="T15" fmla="*/ 1395 h 20000"/>
                  <a:gd name="T16" fmla="*/ 13229 w 20000"/>
                  <a:gd name="T17" fmla="*/ 1395 h 20000"/>
                  <a:gd name="T18" fmla="*/ 15112 w 20000"/>
                  <a:gd name="T19" fmla="*/ 1229 h 20000"/>
                  <a:gd name="T20" fmla="*/ 16233 w 20000"/>
                  <a:gd name="T21" fmla="*/ 1229 h 20000"/>
                  <a:gd name="T22" fmla="*/ 17668 w 20000"/>
                  <a:gd name="T23" fmla="*/ 897 h 20000"/>
                  <a:gd name="T24" fmla="*/ 18565 w 20000"/>
                  <a:gd name="T25" fmla="*/ 532 h 20000"/>
                  <a:gd name="T26" fmla="*/ 18789 w 20000"/>
                  <a:gd name="T27" fmla="*/ 0 h 20000"/>
                  <a:gd name="T28" fmla="*/ 19955 w 20000"/>
                  <a:gd name="T29" fmla="*/ 365 h 20000"/>
                  <a:gd name="T30" fmla="*/ 19507 w 20000"/>
                  <a:gd name="T31" fmla="*/ 1229 h 20000"/>
                  <a:gd name="T32" fmla="*/ 19507 w 20000"/>
                  <a:gd name="T33" fmla="*/ 1395 h 20000"/>
                  <a:gd name="T34" fmla="*/ 19507 w 20000"/>
                  <a:gd name="T35" fmla="*/ 2591 h 20000"/>
                  <a:gd name="T36" fmla="*/ 19238 w 20000"/>
                  <a:gd name="T37" fmla="*/ 3953 h 20000"/>
                  <a:gd name="T38" fmla="*/ 17668 w 20000"/>
                  <a:gd name="T39" fmla="*/ 5515 h 20000"/>
                  <a:gd name="T40" fmla="*/ 17399 w 20000"/>
                  <a:gd name="T41" fmla="*/ 6179 h 20000"/>
                  <a:gd name="T42" fmla="*/ 17399 w 20000"/>
                  <a:gd name="T43" fmla="*/ 6711 h 20000"/>
                  <a:gd name="T44" fmla="*/ 15785 w 20000"/>
                  <a:gd name="T45" fmla="*/ 8439 h 20000"/>
                  <a:gd name="T46" fmla="*/ 15785 w 20000"/>
                  <a:gd name="T47" fmla="*/ 8970 h 20000"/>
                  <a:gd name="T48" fmla="*/ 13722 w 20000"/>
                  <a:gd name="T49" fmla="*/ 11362 h 20000"/>
                  <a:gd name="T50" fmla="*/ 10179 w 20000"/>
                  <a:gd name="T51" fmla="*/ 13920 h 20000"/>
                  <a:gd name="T52" fmla="*/ 7892 w 20000"/>
                  <a:gd name="T53" fmla="*/ 15349 h 20000"/>
                  <a:gd name="T54" fmla="*/ 4170 w 20000"/>
                  <a:gd name="T55" fmla="*/ 17542 h 20000"/>
                  <a:gd name="T56" fmla="*/ 1166 w 20000"/>
                  <a:gd name="T57" fmla="*/ 19967 h 20000"/>
                  <a:gd name="T58" fmla="*/ 0 w 20000"/>
                  <a:gd name="T59" fmla="*/ 18937 h 20000"/>
                  <a:gd name="T60" fmla="*/ 0 w 20000"/>
                  <a:gd name="T61" fmla="*/ 13588 h 20000"/>
                  <a:gd name="T62" fmla="*/ 1839 w 20000"/>
                  <a:gd name="T63" fmla="*/ 12027 h 20000"/>
                  <a:gd name="T64" fmla="*/ 2780 w 20000"/>
                  <a:gd name="T65" fmla="*/ 11694 h 20000"/>
                  <a:gd name="T66" fmla="*/ 3946 w 20000"/>
                  <a:gd name="T67" fmla="*/ 11694 h 20000"/>
                  <a:gd name="T68" fmla="*/ 4664 w 20000"/>
                  <a:gd name="T69" fmla="*/ 10864 h 20000"/>
                  <a:gd name="T70" fmla="*/ 7220 w 20000"/>
                  <a:gd name="T71" fmla="*/ 10332 h 20000"/>
                  <a:gd name="T72" fmla="*/ 7892 w 20000"/>
                  <a:gd name="T73" fmla="*/ 10332 h 20000"/>
                  <a:gd name="T74" fmla="*/ 13722 w 20000"/>
                  <a:gd name="T75" fmla="*/ 5847 h 20000"/>
                  <a:gd name="T76" fmla="*/ 11839 w 20000"/>
                  <a:gd name="T77" fmla="*/ 5847 h 20000"/>
                  <a:gd name="T78" fmla="*/ 5785 w 20000"/>
                  <a:gd name="T79" fmla="*/ 4153 h 20000"/>
                  <a:gd name="T80" fmla="*/ 4664 w 20000"/>
                  <a:gd name="T81" fmla="*/ 3621 h 20000"/>
                  <a:gd name="T82" fmla="*/ 3004 w 20000"/>
                  <a:gd name="T83" fmla="*/ 2259 h 20000"/>
                  <a:gd name="T84" fmla="*/ 3453 w 20000"/>
                  <a:gd name="T85" fmla="*/ 172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3453" y="1728"/>
                    </a:moveTo>
                    <a:lnTo>
                      <a:pt x="3946" y="1229"/>
                    </a:lnTo>
                    <a:lnTo>
                      <a:pt x="4170" y="897"/>
                    </a:lnTo>
                    <a:lnTo>
                      <a:pt x="5785" y="2259"/>
                    </a:lnTo>
                    <a:lnTo>
                      <a:pt x="6951" y="2591"/>
                    </a:lnTo>
                    <a:lnTo>
                      <a:pt x="9058" y="1728"/>
                    </a:lnTo>
                    <a:lnTo>
                      <a:pt x="10628" y="1894"/>
                    </a:lnTo>
                    <a:lnTo>
                      <a:pt x="12556" y="1395"/>
                    </a:lnTo>
                    <a:lnTo>
                      <a:pt x="13229" y="1395"/>
                    </a:lnTo>
                    <a:lnTo>
                      <a:pt x="15112" y="1229"/>
                    </a:lnTo>
                    <a:lnTo>
                      <a:pt x="16233" y="1229"/>
                    </a:lnTo>
                    <a:lnTo>
                      <a:pt x="17668" y="897"/>
                    </a:lnTo>
                    <a:lnTo>
                      <a:pt x="18565" y="532"/>
                    </a:lnTo>
                    <a:lnTo>
                      <a:pt x="18789" y="0"/>
                    </a:lnTo>
                    <a:lnTo>
                      <a:pt x="19955" y="365"/>
                    </a:lnTo>
                    <a:lnTo>
                      <a:pt x="19507" y="1229"/>
                    </a:lnTo>
                    <a:lnTo>
                      <a:pt x="19507" y="1395"/>
                    </a:lnTo>
                    <a:lnTo>
                      <a:pt x="19507" y="2591"/>
                    </a:lnTo>
                    <a:lnTo>
                      <a:pt x="19238" y="3953"/>
                    </a:lnTo>
                    <a:lnTo>
                      <a:pt x="17668" y="5515"/>
                    </a:lnTo>
                    <a:lnTo>
                      <a:pt x="17399" y="6179"/>
                    </a:lnTo>
                    <a:lnTo>
                      <a:pt x="17399" y="6711"/>
                    </a:lnTo>
                    <a:lnTo>
                      <a:pt x="15785" y="8439"/>
                    </a:lnTo>
                    <a:lnTo>
                      <a:pt x="15785" y="8970"/>
                    </a:lnTo>
                    <a:lnTo>
                      <a:pt x="13722" y="11362"/>
                    </a:lnTo>
                    <a:lnTo>
                      <a:pt x="10179" y="13920"/>
                    </a:lnTo>
                    <a:lnTo>
                      <a:pt x="7892" y="15349"/>
                    </a:lnTo>
                    <a:lnTo>
                      <a:pt x="4170" y="17542"/>
                    </a:lnTo>
                    <a:lnTo>
                      <a:pt x="1166" y="19967"/>
                    </a:lnTo>
                    <a:lnTo>
                      <a:pt x="0" y="18937"/>
                    </a:lnTo>
                    <a:lnTo>
                      <a:pt x="0" y="13588"/>
                    </a:lnTo>
                    <a:lnTo>
                      <a:pt x="1839" y="12027"/>
                    </a:lnTo>
                    <a:lnTo>
                      <a:pt x="2780" y="11694"/>
                    </a:lnTo>
                    <a:lnTo>
                      <a:pt x="3946" y="11694"/>
                    </a:lnTo>
                    <a:lnTo>
                      <a:pt x="4664" y="10864"/>
                    </a:lnTo>
                    <a:lnTo>
                      <a:pt x="7220" y="10332"/>
                    </a:lnTo>
                    <a:lnTo>
                      <a:pt x="7892" y="10332"/>
                    </a:lnTo>
                    <a:lnTo>
                      <a:pt x="13722" y="5847"/>
                    </a:lnTo>
                    <a:lnTo>
                      <a:pt x="11839" y="5847"/>
                    </a:lnTo>
                    <a:lnTo>
                      <a:pt x="5785" y="4153"/>
                    </a:lnTo>
                    <a:lnTo>
                      <a:pt x="4664" y="3621"/>
                    </a:lnTo>
                    <a:lnTo>
                      <a:pt x="3004" y="2259"/>
                    </a:lnTo>
                    <a:lnTo>
                      <a:pt x="3453" y="172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2" name="Freeform 104"/>
              <p:cNvSpPr>
                <a:spLocks/>
              </p:cNvSpPr>
              <p:nvPr/>
            </p:nvSpPr>
            <p:spPr bwMode="auto">
              <a:xfrm>
                <a:off x="5440363" y="5094288"/>
                <a:ext cx="457200" cy="388937"/>
              </a:xfrm>
              <a:custGeom>
                <a:avLst/>
                <a:gdLst>
                  <a:gd name="T0" fmla="*/ 15090 w 20000"/>
                  <a:gd name="T1" fmla="*/ 523 h 20000"/>
                  <a:gd name="T2" fmla="*/ 13953 w 20000"/>
                  <a:gd name="T3" fmla="*/ 1373 h 20000"/>
                  <a:gd name="T4" fmla="*/ 13509 w 20000"/>
                  <a:gd name="T5" fmla="*/ 1699 h 20000"/>
                  <a:gd name="T6" fmla="*/ 12788 w 20000"/>
                  <a:gd name="T7" fmla="*/ 2549 h 20000"/>
                  <a:gd name="T8" fmla="*/ 12372 w 20000"/>
                  <a:gd name="T9" fmla="*/ 3562 h 20000"/>
                  <a:gd name="T10" fmla="*/ 11068 w 20000"/>
                  <a:gd name="T11" fmla="*/ 5261 h 20000"/>
                  <a:gd name="T12" fmla="*/ 9764 w 20000"/>
                  <a:gd name="T13" fmla="*/ 5261 h 20000"/>
                  <a:gd name="T14" fmla="*/ 8350 w 20000"/>
                  <a:gd name="T15" fmla="*/ 4739 h 20000"/>
                  <a:gd name="T16" fmla="*/ 7628 w 20000"/>
                  <a:gd name="T17" fmla="*/ 5752 h 20000"/>
                  <a:gd name="T18" fmla="*/ 6463 w 20000"/>
                  <a:gd name="T19" fmla="*/ 6601 h 20000"/>
                  <a:gd name="T20" fmla="*/ 5742 w 20000"/>
                  <a:gd name="T21" fmla="*/ 6765 h 20000"/>
                  <a:gd name="T22" fmla="*/ 5049 w 20000"/>
                  <a:gd name="T23" fmla="*/ 6275 h 20000"/>
                  <a:gd name="T24" fmla="*/ 5049 w 20000"/>
                  <a:gd name="T25" fmla="*/ 5261 h 20000"/>
                  <a:gd name="T26" fmla="*/ 4438 w 20000"/>
                  <a:gd name="T27" fmla="*/ 3889 h 20000"/>
                  <a:gd name="T28" fmla="*/ 3745 w 20000"/>
                  <a:gd name="T29" fmla="*/ 9641 h 20000"/>
                  <a:gd name="T30" fmla="*/ 3024 w 20000"/>
                  <a:gd name="T31" fmla="*/ 10359 h 20000"/>
                  <a:gd name="T32" fmla="*/ 1997 w 20000"/>
                  <a:gd name="T33" fmla="*/ 10163 h 20000"/>
                  <a:gd name="T34" fmla="*/ 860 w 20000"/>
                  <a:gd name="T35" fmla="*/ 9837 h 20000"/>
                  <a:gd name="T36" fmla="*/ 749 w 20000"/>
                  <a:gd name="T37" fmla="*/ 8954 h 20000"/>
                  <a:gd name="T38" fmla="*/ 166 w 20000"/>
                  <a:gd name="T39" fmla="*/ 9641 h 20000"/>
                  <a:gd name="T40" fmla="*/ 166 w 20000"/>
                  <a:gd name="T41" fmla="*/ 10686 h 20000"/>
                  <a:gd name="T42" fmla="*/ 1886 w 20000"/>
                  <a:gd name="T43" fmla="*/ 14706 h 20000"/>
                  <a:gd name="T44" fmla="*/ 1886 w 20000"/>
                  <a:gd name="T45" fmla="*/ 16438 h 20000"/>
                  <a:gd name="T46" fmla="*/ 1442 w 20000"/>
                  <a:gd name="T47" fmla="*/ 16765 h 20000"/>
                  <a:gd name="T48" fmla="*/ 1886 w 20000"/>
                  <a:gd name="T49" fmla="*/ 18954 h 20000"/>
                  <a:gd name="T50" fmla="*/ 1997 w 20000"/>
                  <a:gd name="T51" fmla="*/ 18627 h 20000"/>
                  <a:gd name="T52" fmla="*/ 2607 w 20000"/>
                  <a:gd name="T53" fmla="*/ 19118 h 20000"/>
                  <a:gd name="T54" fmla="*/ 3162 w 20000"/>
                  <a:gd name="T55" fmla="*/ 19641 h 20000"/>
                  <a:gd name="T56" fmla="*/ 4161 w 20000"/>
                  <a:gd name="T57" fmla="*/ 19444 h 20000"/>
                  <a:gd name="T58" fmla="*/ 5603 w 20000"/>
                  <a:gd name="T59" fmla="*/ 19118 h 20000"/>
                  <a:gd name="T60" fmla="*/ 6463 w 20000"/>
                  <a:gd name="T61" fmla="*/ 18627 h 20000"/>
                  <a:gd name="T62" fmla="*/ 8350 w 20000"/>
                  <a:gd name="T63" fmla="*/ 18627 h 20000"/>
                  <a:gd name="T64" fmla="*/ 9931 w 20000"/>
                  <a:gd name="T65" fmla="*/ 18627 h 20000"/>
                  <a:gd name="T66" fmla="*/ 10902 w 20000"/>
                  <a:gd name="T67" fmla="*/ 18301 h 20000"/>
                  <a:gd name="T68" fmla="*/ 14092 w 20000"/>
                  <a:gd name="T69" fmla="*/ 16438 h 20000"/>
                  <a:gd name="T70" fmla="*/ 16533 w 20000"/>
                  <a:gd name="T71" fmla="*/ 13889 h 20000"/>
                  <a:gd name="T72" fmla="*/ 17365 w 20000"/>
                  <a:gd name="T73" fmla="*/ 12353 h 20000"/>
                  <a:gd name="T74" fmla="*/ 18974 w 20000"/>
                  <a:gd name="T75" fmla="*/ 10163 h 20000"/>
                  <a:gd name="T76" fmla="*/ 19972 w 20000"/>
                  <a:gd name="T77" fmla="*/ 7484 h 20000"/>
                  <a:gd name="T78" fmla="*/ 18974 w 20000"/>
                  <a:gd name="T79" fmla="*/ 7092 h 20000"/>
                  <a:gd name="T80" fmla="*/ 18114 w 20000"/>
                  <a:gd name="T81" fmla="*/ 7614 h 20000"/>
                  <a:gd name="T82" fmla="*/ 18114 w 20000"/>
                  <a:gd name="T83" fmla="*/ 5752 h 20000"/>
                  <a:gd name="T84" fmla="*/ 18974 w 20000"/>
                  <a:gd name="T85" fmla="*/ 5425 h 20000"/>
                  <a:gd name="T86" fmla="*/ 18974 w 20000"/>
                  <a:gd name="T87" fmla="*/ 3235 h 20000"/>
                  <a:gd name="T88" fmla="*/ 18835 w 20000"/>
                  <a:gd name="T89" fmla="*/ 1373 h 20000"/>
                  <a:gd name="T90" fmla="*/ 18391 w 20000"/>
                  <a:gd name="T91" fmla="*/ 359 h 20000"/>
                  <a:gd name="T92" fmla="*/ 17365 w 20000"/>
                  <a:gd name="T93" fmla="*/ 359 h 20000"/>
                  <a:gd name="T94" fmla="*/ 15950 w 20000"/>
                  <a:gd name="T9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5506" y="0"/>
                    </a:moveTo>
                    <a:lnTo>
                      <a:pt x="15090" y="523"/>
                    </a:lnTo>
                    <a:lnTo>
                      <a:pt x="14646" y="523"/>
                    </a:lnTo>
                    <a:lnTo>
                      <a:pt x="13953" y="1373"/>
                    </a:lnTo>
                    <a:lnTo>
                      <a:pt x="13675" y="1373"/>
                    </a:lnTo>
                    <a:lnTo>
                      <a:pt x="13509" y="1699"/>
                    </a:lnTo>
                    <a:lnTo>
                      <a:pt x="13232" y="1863"/>
                    </a:lnTo>
                    <a:lnTo>
                      <a:pt x="12788" y="2549"/>
                    </a:lnTo>
                    <a:lnTo>
                      <a:pt x="12788" y="3235"/>
                    </a:lnTo>
                    <a:lnTo>
                      <a:pt x="12372" y="3562"/>
                    </a:lnTo>
                    <a:lnTo>
                      <a:pt x="11650" y="3889"/>
                    </a:lnTo>
                    <a:lnTo>
                      <a:pt x="11068" y="5261"/>
                    </a:lnTo>
                    <a:lnTo>
                      <a:pt x="10485" y="5261"/>
                    </a:lnTo>
                    <a:lnTo>
                      <a:pt x="9764" y="5261"/>
                    </a:lnTo>
                    <a:lnTo>
                      <a:pt x="9071" y="5261"/>
                    </a:lnTo>
                    <a:lnTo>
                      <a:pt x="8350" y="4739"/>
                    </a:lnTo>
                    <a:lnTo>
                      <a:pt x="7628" y="4739"/>
                    </a:lnTo>
                    <a:lnTo>
                      <a:pt x="7628" y="5752"/>
                    </a:lnTo>
                    <a:lnTo>
                      <a:pt x="6907" y="6601"/>
                    </a:lnTo>
                    <a:lnTo>
                      <a:pt x="6463" y="6601"/>
                    </a:lnTo>
                    <a:lnTo>
                      <a:pt x="6463" y="6765"/>
                    </a:lnTo>
                    <a:lnTo>
                      <a:pt x="5742" y="6765"/>
                    </a:lnTo>
                    <a:lnTo>
                      <a:pt x="5049" y="7092"/>
                    </a:lnTo>
                    <a:lnTo>
                      <a:pt x="5049" y="6275"/>
                    </a:lnTo>
                    <a:lnTo>
                      <a:pt x="5326" y="5752"/>
                    </a:lnTo>
                    <a:lnTo>
                      <a:pt x="5049" y="5261"/>
                    </a:lnTo>
                    <a:lnTo>
                      <a:pt x="4882" y="4412"/>
                    </a:lnTo>
                    <a:lnTo>
                      <a:pt x="4438" y="3889"/>
                    </a:lnTo>
                    <a:lnTo>
                      <a:pt x="4161" y="9641"/>
                    </a:lnTo>
                    <a:lnTo>
                      <a:pt x="3745" y="9641"/>
                    </a:lnTo>
                    <a:lnTo>
                      <a:pt x="3162" y="10163"/>
                    </a:lnTo>
                    <a:lnTo>
                      <a:pt x="3024" y="10359"/>
                    </a:lnTo>
                    <a:lnTo>
                      <a:pt x="2607" y="10163"/>
                    </a:lnTo>
                    <a:lnTo>
                      <a:pt x="1997" y="10163"/>
                    </a:lnTo>
                    <a:lnTo>
                      <a:pt x="1581" y="10163"/>
                    </a:lnTo>
                    <a:lnTo>
                      <a:pt x="860" y="9837"/>
                    </a:lnTo>
                    <a:lnTo>
                      <a:pt x="860" y="8954"/>
                    </a:lnTo>
                    <a:lnTo>
                      <a:pt x="749" y="8954"/>
                    </a:lnTo>
                    <a:lnTo>
                      <a:pt x="444" y="8954"/>
                    </a:lnTo>
                    <a:lnTo>
                      <a:pt x="166" y="9641"/>
                    </a:lnTo>
                    <a:lnTo>
                      <a:pt x="0" y="9837"/>
                    </a:lnTo>
                    <a:lnTo>
                      <a:pt x="166" y="10686"/>
                    </a:lnTo>
                    <a:lnTo>
                      <a:pt x="860" y="12516"/>
                    </a:lnTo>
                    <a:lnTo>
                      <a:pt x="1886" y="14706"/>
                    </a:lnTo>
                    <a:lnTo>
                      <a:pt x="1997" y="15556"/>
                    </a:lnTo>
                    <a:lnTo>
                      <a:pt x="1886" y="16438"/>
                    </a:lnTo>
                    <a:lnTo>
                      <a:pt x="1442" y="16438"/>
                    </a:lnTo>
                    <a:lnTo>
                      <a:pt x="1442" y="16765"/>
                    </a:lnTo>
                    <a:lnTo>
                      <a:pt x="1997" y="18105"/>
                    </a:lnTo>
                    <a:lnTo>
                      <a:pt x="1886" y="18954"/>
                    </a:lnTo>
                    <a:lnTo>
                      <a:pt x="1997" y="18954"/>
                    </a:lnTo>
                    <a:lnTo>
                      <a:pt x="1997" y="18627"/>
                    </a:lnTo>
                    <a:lnTo>
                      <a:pt x="2607" y="18627"/>
                    </a:lnTo>
                    <a:lnTo>
                      <a:pt x="2607" y="19118"/>
                    </a:lnTo>
                    <a:lnTo>
                      <a:pt x="2746" y="19118"/>
                    </a:lnTo>
                    <a:lnTo>
                      <a:pt x="3162" y="19641"/>
                    </a:lnTo>
                    <a:lnTo>
                      <a:pt x="3883" y="19967"/>
                    </a:lnTo>
                    <a:lnTo>
                      <a:pt x="4161" y="19444"/>
                    </a:lnTo>
                    <a:lnTo>
                      <a:pt x="4438" y="19118"/>
                    </a:lnTo>
                    <a:lnTo>
                      <a:pt x="5603" y="19118"/>
                    </a:lnTo>
                    <a:lnTo>
                      <a:pt x="6463" y="18954"/>
                    </a:lnTo>
                    <a:lnTo>
                      <a:pt x="6463" y="18627"/>
                    </a:lnTo>
                    <a:lnTo>
                      <a:pt x="7628" y="18627"/>
                    </a:lnTo>
                    <a:lnTo>
                      <a:pt x="8350" y="18627"/>
                    </a:lnTo>
                    <a:lnTo>
                      <a:pt x="9764" y="18954"/>
                    </a:lnTo>
                    <a:lnTo>
                      <a:pt x="9931" y="18627"/>
                    </a:lnTo>
                    <a:lnTo>
                      <a:pt x="10624" y="18627"/>
                    </a:lnTo>
                    <a:lnTo>
                      <a:pt x="10902" y="18301"/>
                    </a:lnTo>
                    <a:lnTo>
                      <a:pt x="11789" y="18301"/>
                    </a:lnTo>
                    <a:lnTo>
                      <a:pt x="14092" y="16438"/>
                    </a:lnTo>
                    <a:lnTo>
                      <a:pt x="15368" y="15098"/>
                    </a:lnTo>
                    <a:lnTo>
                      <a:pt x="16533" y="13889"/>
                    </a:lnTo>
                    <a:lnTo>
                      <a:pt x="16533" y="13366"/>
                    </a:lnTo>
                    <a:lnTo>
                      <a:pt x="17365" y="12353"/>
                    </a:lnTo>
                    <a:lnTo>
                      <a:pt x="17365" y="11830"/>
                    </a:lnTo>
                    <a:lnTo>
                      <a:pt x="18974" y="10163"/>
                    </a:lnTo>
                    <a:lnTo>
                      <a:pt x="19528" y="8824"/>
                    </a:lnTo>
                    <a:lnTo>
                      <a:pt x="19972" y="7484"/>
                    </a:lnTo>
                    <a:lnTo>
                      <a:pt x="19528" y="7484"/>
                    </a:lnTo>
                    <a:lnTo>
                      <a:pt x="18974" y="7092"/>
                    </a:lnTo>
                    <a:lnTo>
                      <a:pt x="18974" y="7614"/>
                    </a:lnTo>
                    <a:lnTo>
                      <a:pt x="18114" y="7614"/>
                    </a:lnTo>
                    <a:lnTo>
                      <a:pt x="17365" y="6601"/>
                    </a:lnTo>
                    <a:lnTo>
                      <a:pt x="18114" y="5752"/>
                    </a:lnTo>
                    <a:lnTo>
                      <a:pt x="18974" y="5752"/>
                    </a:lnTo>
                    <a:lnTo>
                      <a:pt x="18974" y="5425"/>
                    </a:lnTo>
                    <a:lnTo>
                      <a:pt x="18974" y="4412"/>
                    </a:lnTo>
                    <a:lnTo>
                      <a:pt x="18974" y="3235"/>
                    </a:lnTo>
                    <a:lnTo>
                      <a:pt x="18558" y="1863"/>
                    </a:lnTo>
                    <a:lnTo>
                      <a:pt x="18835" y="1373"/>
                    </a:lnTo>
                    <a:lnTo>
                      <a:pt x="18558" y="1209"/>
                    </a:lnTo>
                    <a:lnTo>
                      <a:pt x="18391" y="359"/>
                    </a:lnTo>
                    <a:lnTo>
                      <a:pt x="18114" y="0"/>
                    </a:lnTo>
                    <a:lnTo>
                      <a:pt x="17365" y="359"/>
                    </a:lnTo>
                    <a:lnTo>
                      <a:pt x="16671" y="0"/>
                    </a:lnTo>
                    <a:lnTo>
                      <a:pt x="15950" y="0"/>
                    </a:lnTo>
                    <a:lnTo>
                      <a:pt x="1550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3" name="Freeform 103"/>
              <p:cNvSpPr>
                <a:spLocks/>
              </p:cNvSpPr>
              <p:nvPr/>
            </p:nvSpPr>
            <p:spPr bwMode="auto">
              <a:xfrm>
                <a:off x="5732463" y="5286375"/>
                <a:ext cx="63500" cy="66675"/>
              </a:xfrm>
              <a:custGeom>
                <a:avLst/>
                <a:gdLst>
                  <a:gd name="T0" fmla="*/ 18586 w 20000"/>
                  <a:gd name="T1" fmla="*/ 12885 h 20000"/>
                  <a:gd name="T2" fmla="*/ 9495 w 20000"/>
                  <a:gd name="T3" fmla="*/ 14808 h 20000"/>
                  <a:gd name="T4" fmla="*/ 8283 w 20000"/>
                  <a:gd name="T5" fmla="*/ 19808 h 20000"/>
                  <a:gd name="T6" fmla="*/ 3232 w 20000"/>
                  <a:gd name="T7" fmla="*/ 17885 h 20000"/>
                  <a:gd name="T8" fmla="*/ 808 w 20000"/>
                  <a:gd name="T9" fmla="*/ 11923 h 20000"/>
                  <a:gd name="T10" fmla="*/ 0 w 20000"/>
                  <a:gd name="T11" fmla="*/ 9808 h 20000"/>
                  <a:gd name="T12" fmla="*/ 808 w 20000"/>
                  <a:gd name="T13" fmla="*/ 7885 h 20000"/>
                  <a:gd name="T14" fmla="*/ 5253 w 20000"/>
                  <a:gd name="T15" fmla="*/ 3077 h 20000"/>
                  <a:gd name="T16" fmla="*/ 13535 w 20000"/>
                  <a:gd name="T17" fmla="*/ 0 h 20000"/>
                  <a:gd name="T18" fmla="*/ 16566 w 20000"/>
                  <a:gd name="T19" fmla="*/ 1923 h 20000"/>
                  <a:gd name="T20" fmla="*/ 19798 w 20000"/>
                  <a:gd name="T21" fmla="*/ 6923 h 20000"/>
                  <a:gd name="T22" fmla="*/ 18586 w 20000"/>
                  <a:gd name="T23" fmla="*/ 9808 h 20000"/>
                  <a:gd name="T24" fmla="*/ 18586 w 20000"/>
                  <a:gd name="T25" fmla="*/ 1288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8586" y="12885"/>
                    </a:moveTo>
                    <a:lnTo>
                      <a:pt x="9495" y="14808"/>
                    </a:lnTo>
                    <a:lnTo>
                      <a:pt x="8283" y="19808"/>
                    </a:lnTo>
                    <a:lnTo>
                      <a:pt x="3232" y="17885"/>
                    </a:lnTo>
                    <a:lnTo>
                      <a:pt x="808" y="11923"/>
                    </a:lnTo>
                    <a:lnTo>
                      <a:pt x="0" y="9808"/>
                    </a:lnTo>
                    <a:lnTo>
                      <a:pt x="808" y="7885"/>
                    </a:lnTo>
                    <a:lnTo>
                      <a:pt x="5253" y="3077"/>
                    </a:lnTo>
                    <a:lnTo>
                      <a:pt x="13535" y="0"/>
                    </a:lnTo>
                    <a:lnTo>
                      <a:pt x="16566" y="1923"/>
                    </a:lnTo>
                    <a:lnTo>
                      <a:pt x="19798" y="6923"/>
                    </a:lnTo>
                    <a:lnTo>
                      <a:pt x="18586" y="9808"/>
                    </a:lnTo>
                    <a:lnTo>
                      <a:pt x="18586" y="1288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4" name="Freeform 102"/>
              <p:cNvSpPr>
                <a:spLocks/>
              </p:cNvSpPr>
              <p:nvPr/>
            </p:nvSpPr>
            <p:spPr bwMode="auto">
              <a:xfrm>
                <a:off x="5611813" y="3816350"/>
                <a:ext cx="460375" cy="536575"/>
              </a:xfrm>
              <a:custGeom>
                <a:avLst/>
                <a:gdLst>
                  <a:gd name="T0" fmla="*/ 17410 w 20000"/>
                  <a:gd name="T1" fmla="*/ 95 h 20000"/>
                  <a:gd name="T2" fmla="*/ 18127 w 20000"/>
                  <a:gd name="T3" fmla="*/ 1090 h 20000"/>
                  <a:gd name="T4" fmla="*/ 18567 w 20000"/>
                  <a:gd name="T5" fmla="*/ 3531 h 20000"/>
                  <a:gd name="T6" fmla="*/ 19835 w 20000"/>
                  <a:gd name="T7" fmla="*/ 4289 h 20000"/>
                  <a:gd name="T8" fmla="*/ 19835 w 20000"/>
                  <a:gd name="T9" fmla="*/ 5142 h 20000"/>
                  <a:gd name="T10" fmla="*/ 18843 w 20000"/>
                  <a:gd name="T11" fmla="*/ 5261 h 20000"/>
                  <a:gd name="T12" fmla="*/ 18402 w 20000"/>
                  <a:gd name="T13" fmla="*/ 5498 h 20000"/>
                  <a:gd name="T14" fmla="*/ 18127 w 20000"/>
                  <a:gd name="T15" fmla="*/ 6730 h 20000"/>
                  <a:gd name="T16" fmla="*/ 17410 w 20000"/>
                  <a:gd name="T17" fmla="*/ 9431 h 20000"/>
                  <a:gd name="T18" fmla="*/ 16832 w 20000"/>
                  <a:gd name="T19" fmla="*/ 10308 h 20000"/>
                  <a:gd name="T20" fmla="*/ 16116 w 20000"/>
                  <a:gd name="T21" fmla="*/ 12014 h 20000"/>
                  <a:gd name="T22" fmla="*/ 15427 w 20000"/>
                  <a:gd name="T23" fmla="*/ 12251 h 20000"/>
                  <a:gd name="T24" fmla="*/ 15124 w 20000"/>
                  <a:gd name="T25" fmla="*/ 13009 h 20000"/>
                  <a:gd name="T26" fmla="*/ 14986 w 20000"/>
                  <a:gd name="T27" fmla="*/ 14573 h 20000"/>
                  <a:gd name="T28" fmla="*/ 13554 w 20000"/>
                  <a:gd name="T29" fmla="*/ 14810 h 20000"/>
                  <a:gd name="T30" fmla="*/ 14408 w 20000"/>
                  <a:gd name="T31" fmla="*/ 15806 h 20000"/>
                  <a:gd name="T32" fmla="*/ 16116 w 20000"/>
                  <a:gd name="T33" fmla="*/ 17038 h 20000"/>
                  <a:gd name="T34" fmla="*/ 16556 w 20000"/>
                  <a:gd name="T35" fmla="*/ 18009 h 20000"/>
                  <a:gd name="T36" fmla="*/ 16997 w 20000"/>
                  <a:gd name="T37" fmla="*/ 18768 h 20000"/>
                  <a:gd name="T38" fmla="*/ 16556 w 20000"/>
                  <a:gd name="T39" fmla="*/ 18389 h 20000"/>
                  <a:gd name="T40" fmla="*/ 15124 w 20000"/>
                  <a:gd name="T41" fmla="*/ 19005 h 20000"/>
                  <a:gd name="T42" fmla="*/ 14242 w 20000"/>
                  <a:gd name="T43" fmla="*/ 19739 h 20000"/>
                  <a:gd name="T44" fmla="*/ 12562 w 20000"/>
                  <a:gd name="T45" fmla="*/ 19739 h 20000"/>
                  <a:gd name="T46" fmla="*/ 11983 w 20000"/>
                  <a:gd name="T47" fmla="*/ 19739 h 20000"/>
                  <a:gd name="T48" fmla="*/ 10854 w 20000"/>
                  <a:gd name="T49" fmla="*/ 19739 h 20000"/>
                  <a:gd name="T50" fmla="*/ 9394 w 20000"/>
                  <a:gd name="T51" fmla="*/ 18768 h 20000"/>
                  <a:gd name="T52" fmla="*/ 9118 w 20000"/>
                  <a:gd name="T53" fmla="*/ 19005 h 20000"/>
                  <a:gd name="T54" fmla="*/ 8430 w 20000"/>
                  <a:gd name="T55" fmla="*/ 18768 h 20000"/>
                  <a:gd name="T56" fmla="*/ 7989 w 20000"/>
                  <a:gd name="T57" fmla="*/ 19123 h 20000"/>
                  <a:gd name="T58" fmla="*/ 7135 w 20000"/>
                  <a:gd name="T59" fmla="*/ 18768 h 20000"/>
                  <a:gd name="T60" fmla="*/ 6584 w 20000"/>
                  <a:gd name="T61" fmla="*/ 18152 h 20000"/>
                  <a:gd name="T62" fmla="*/ 5702 w 20000"/>
                  <a:gd name="T63" fmla="*/ 17156 h 20000"/>
                  <a:gd name="T64" fmla="*/ 5289 w 20000"/>
                  <a:gd name="T65" fmla="*/ 16422 h 20000"/>
                  <a:gd name="T66" fmla="*/ 4848 w 20000"/>
                  <a:gd name="T67" fmla="*/ 16066 h 20000"/>
                  <a:gd name="T68" fmla="*/ 3829 w 20000"/>
                  <a:gd name="T69" fmla="*/ 15190 h 20000"/>
                  <a:gd name="T70" fmla="*/ 2700 w 20000"/>
                  <a:gd name="T71" fmla="*/ 14810 h 20000"/>
                  <a:gd name="T72" fmla="*/ 1983 w 20000"/>
                  <a:gd name="T73" fmla="*/ 14455 h 20000"/>
                  <a:gd name="T74" fmla="*/ 1846 w 20000"/>
                  <a:gd name="T75" fmla="*/ 13981 h 20000"/>
                  <a:gd name="T76" fmla="*/ 1983 w 20000"/>
                  <a:gd name="T77" fmla="*/ 13602 h 20000"/>
                  <a:gd name="T78" fmla="*/ 1129 w 20000"/>
                  <a:gd name="T79" fmla="*/ 12251 h 20000"/>
                  <a:gd name="T80" fmla="*/ 1129 w 20000"/>
                  <a:gd name="T81" fmla="*/ 11659 h 20000"/>
                  <a:gd name="T82" fmla="*/ 551 w 20000"/>
                  <a:gd name="T83" fmla="*/ 10900 h 20000"/>
                  <a:gd name="T84" fmla="*/ 441 w 20000"/>
                  <a:gd name="T85" fmla="*/ 10308 h 20000"/>
                  <a:gd name="T86" fmla="*/ 0 w 20000"/>
                  <a:gd name="T87" fmla="*/ 10308 h 20000"/>
                  <a:gd name="T88" fmla="*/ 441 w 20000"/>
                  <a:gd name="T89" fmla="*/ 9431 h 20000"/>
                  <a:gd name="T90" fmla="*/ 551 w 20000"/>
                  <a:gd name="T91" fmla="*/ 8460 h 20000"/>
                  <a:gd name="T92" fmla="*/ 551 w 20000"/>
                  <a:gd name="T93" fmla="*/ 7844 h 20000"/>
                  <a:gd name="T94" fmla="*/ 854 w 20000"/>
                  <a:gd name="T95" fmla="*/ 7109 h 20000"/>
                  <a:gd name="T96" fmla="*/ 2287 w 20000"/>
                  <a:gd name="T97" fmla="*/ 6730 h 20000"/>
                  <a:gd name="T98" fmla="*/ 2287 w 20000"/>
                  <a:gd name="T99" fmla="*/ 2322 h 20000"/>
                  <a:gd name="T100" fmla="*/ 3416 w 20000"/>
                  <a:gd name="T10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3416" y="0"/>
                    </a:moveTo>
                    <a:lnTo>
                      <a:pt x="17410" y="95"/>
                    </a:lnTo>
                    <a:lnTo>
                      <a:pt x="17686" y="711"/>
                    </a:lnTo>
                    <a:lnTo>
                      <a:pt x="18127" y="1090"/>
                    </a:lnTo>
                    <a:lnTo>
                      <a:pt x="17961" y="1090"/>
                    </a:lnTo>
                    <a:lnTo>
                      <a:pt x="18567" y="3531"/>
                    </a:lnTo>
                    <a:lnTo>
                      <a:pt x="19118" y="3910"/>
                    </a:lnTo>
                    <a:lnTo>
                      <a:pt x="19835" y="4289"/>
                    </a:lnTo>
                    <a:lnTo>
                      <a:pt x="19972" y="4526"/>
                    </a:lnTo>
                    <a:lnTo>
                      <a:pt x="19835" y="5142"/>
                    </a:lnTo>
                    <a:lnTo>
                      <a:pt x="19256" y="4882"/>
                    </a:lnTo>
                    <a:lnTo>
                      <a:pt x="18843" y="5261"/>
                    </a:lnTo>
                    <a:lnTo>
                      <a:pt x="18843" y="5498"/>
                    </a:lnTo>
                    <a:lnTo>
                      <a:pt x="18402" y="5498"/>
                    </a:lnTo>
                    <a:lnTo>
                      <a:pt x="18127" y="6137"/>
                    </a:lnTo>
                    <a:lnTo>
                      <a:pt x="18127" y="6730"/>
                    </a:lnTo>
                    <a:lnTo>
                      <a:pt x="17686" y="8081"/>
                    </a:lnTo>
                    <a:lnTo>
                      <a:pt x="17410" y="9431"/>
                    </a:lnTo>
                    <a:lnTo>
                      <a:pt x="17273" y="10047"/>
                    </a:lnTo>
                    <a:lnTo>
                      <a:pt x="16832" y="10308"/>
                    </a:lnTo>
                    <a:lnTo>
                      <a:pt x="16253" y="11019"/>
                    </a:lnTo>
                    <a:lnTo>
                      <a:pt x="16116" y="12014"/>
                    </a:lnTo>
                    <a:lnTo>
                      <a:pt x="15840" y="12251"/>
                    </a:lnTo>
                    <a:lnTo>
                      <a:pt x="15427" y="12251"/>
                    </a:lnTo>
                    <a:lnTo>
                      <a:pt x="15124" y="12630"/>
                    </a:lnTo>
                    <a:lnTo>
                      <a:pt x="15124" y="13009"/>
                    </a:lnTo>
                    <a:lnTo>
                      <a:pt x="14986" y="13483"/>
                    </a:lnTo>
                    <a:lnTo>
                      <a:pt x="14986" y="14573"/>
                    </a:lnTo>
                    <a:lnTo>
                      <a:pt x="14408" y="14810"/>
                    </a:lnTo>
                    <a:lnTo>
                      <a:pt x="13554" y="14810"/>
                    </a:lnTo>
                    <a:lnTo>
                      <a:pt x="13554" y="15427"/>
                    </a:lnTo>
                    <a:lnTo>
                      <a:pt x="14408" y="15806"/>
                    </a:lnTo>
                    <a:lnTo>
                      <a:pt x="15124" y="16422"/>
                    </a:lnTo>
                    <a:lnTo>
                      <a:pt x="16116" y="17038"/>
                    </a:lnTo>
                    <a:lnTo>
                      <a:pt x="16253" y="17512"/>
                    </a:lnTo>
                    <a:lnTo>
                      <a:pt x="16556" y="18009"/>
                    </a:lnTo>
                    <a:lnTo>
                      <a:pt x="16997" y="18009"/>
                    </a:lnTo>
                    <a:lnTo>
                      <a:pt x="16997" y="18768"/>
                    </a:lnTo>
                    <a:lnTo>
                      <a:pt x="16832" y="18768"/>
                    </a:lnTo>
                    <a:lnTo>
                      <a:pt x="16556" y="18389"/>
                    </a:lnTo>
                    <a:lnTo>
                      <a:pt x="15840" y="18768"/>
                    </a:lnTo>
                    <a:lnTo>
                      <a:pt x="15124" y="19005"/>
                    </a:lnTo>
                    <a:lnTo>
                      <a:pt x="14986" y="19360"/>
                    </a:lnTo>
                    <a:lnTo>
                      <a:pt x="14242" y="19739"/>
                    </a:lnTo>
                    <a:lnTo>
                      <a:pt x="13278" y="19739"/>
                    </a:lnTo>
                    <a:lnTo>
                      <a:pt x="12562" y="19739"/>
                    </a:lnTo>
                    <a:lnTo>
                      <a:pt x="12424" y="19976"/>
                    </a:lnTo>
                    <a:lnTo>
                      <a:pt x="11983" y="19739"/>
                    </a:lnTo>
                    <a:lnTo>
                      <a:pt x="10992" y="19597"/>
                    </a:lnTo>
                    <a:lnTo>
                      <a:pt x="10854" y="19739"/>
                    </a:lnTo>
                    <a:lnTo>
                      <a:pt x="9835" y="19123"/>
                    </a:lnTo>
                    <a:lnTo>
                      <a:pt x="9394" y="18768"/>
                    </a:lnTo>
                    <a:lnTo>
                      <a:pt x="9118" y="18768"/>
                    </a:lnTo>
                    <a:lnTo>
                      <a:pt x="9118" y="19005"/>
                    </a:lnTo>
                    <a:lnTo>
                      <a:pt x="8430" y="19005"/>
                    </a:lnTo>
                    <a:lnTo>
                      <a:pt x="8430" y="18768"/>
                    </a:lnTo>
                    <a:lnTo>
                      <a:pt x="8264" y="19005"/>
                    </a:lnTo>
                    <a:lnTo>
                      <a:pt x="7989" y="19123"/>
                    </a:lnTo>
                    <a:lnTo>
                      <a:pt x="7548" y="19005"/>
                    </a:lnTo>
                    <a:lnTo>
                      <a:pt x="7135" y="18768"/>
                    </a:lnTo>
                    <a:lnTo>
                      <a:pt x="7135" y="18389"/>
                    </a:lnTo>
                    <a:lnTo>
                      <a:pt x="6584" y="18152"/>
                    </a:lnTo>
                    <a:lnTo>
                      <a:pt x="6419" y="17512"/>
                    </a:lnTo>
                    <a:lnTo>
                      <a:pt x="5702" y="17156"/>
                    </a:lnTo>
                    <a:lnTo>
                      <a:pt x="5399" y="16540"/>
                    </a:lnTo>
                    <a:lnTo>
                      <a:pt x="5289" y="16422"/>
                    </a:lnTo>
                    <a:lnTo>
                      <a:pt x="4986" y="16422"/>
                    </a:lnTo>
                    <a:lnTo>
                      <a:pt x="4848" y="16066"/>
                    </a:lnTo>
                    <a:lnTo>
                      <a:pt x="4160" y="16066"/>
                    </a:lnTo>
                    <a:lnTo>
                      <a:pt x="3829" y="15190"/>
                    </a:lnTo>
                    <a:lnTo>
                      <a:pt x="3416" y="14810"/>
                    </a:lnTo>
                    <a:lnTo>
                      <a:pt x="2700" y="14810"/>
                    </a:lnTo>
                    <a:lnTo>
                      <a:pt x="2700" y="14455"/>
                    </a:lnTo>
                    <a:lnTo>
                      <a:pt x="1983" y="14455"/>
                    </a:lnTo>
                    <a:lnTo>
                      <a:pt x="1846" y="14218"/>
                    </a:lnTo>
                    <a:lnTo>
                      <a:pt x="1846" y="13981"/>
                    </a:lnTo>
                    <a:lnTo>
                      <a:pt x="1570" y="13839"/>
                    </a:lnTo>
                    <a:lnTo>
                      <a:pt x="1983" y="13602"/>
                    </a:lnTo>
                    <a:lnTo>
                      <a:pt x="1846" y="13009"/>
                    </a:lnTo>
                    <a:lnTo>
                      <a:pt x="1129" y="12251"/>
                    </a:lnTo>
                    <a:lnTo>
                      <a:pt x="854" y="12014"/>
                    </a:lnTo>
                    <a:lnTo>
                      <a:pt x="1129" y="11659"/>
                    </a:lnTo>
                    <a:lnTo>
                      <a:pt x="551" y="11398"/>
                    </a:lnTo>
                    <a:lnTo>
                      <a:pt x="551" y="10900"/>
                    </a:lnTo>
                    <a:lnTo>
                      <a:pt x="441" y="10403"/>
                    </a:lnTo>
                    <a:lnTo>
                      <a:pt x="441" y="10308"/>
                    </a:lnTo>
                    <a:lnTo>
                      <a:pt x="165" y="10047"/>
                    </a:lnTo>
                    <a:lnTo>
                      <a:pt x="0" y="10308"/>
                    </a:lnTo>
                    <a:lnTo>
                      <a:pt x="0" y="9810"/>
                    </a:lnTo>
                    <a:lnTo>
                      <a:pt x="441" y="9431"/>
                    </a:lnTo>
                    <a:lnTo>
                      <a:pt x="165" y="8815"/>
                    </a:lnTo>
                    <a:lnTo>
                      <a:pt x="551" y="8460"/>
                    </a:lnTo>
                    <a:lnTo>
                      <a:pt x="441" y="8081"/>
                    </a:lnTo>
                    <a:lnTo>
                      <a:pt x="551" y="7844"/>
                    </a:lnTo>
                    <a:lnTo>
                      <a:pt x="1129" y="7204"/>
                    </a:lnTo>
                    <a:lnTo>
                      <a:pt x="854" y="7109"/>
                    </a:lnTo>
                    <a:lnTo>
                      <a:pt x="1295" y="6872"/>
                    </a:lnTo>
                    <a:lnTo>
                      <a:pt x="2287" y="6730"/>
                    </a:lnTo>
                    <a:lnTo>
                      <a:pt x="2287" y="2701"/>
                    </a:lnTo>
                    <a:lnTo>
                      <a:pt x="2287" y="2322"/>
                    </a:lnTo>
                    <a:lnTo>
                      <a:pt x="3416" y="2322"/>
                    </a:lnTo>
                    <a:lnTo>
                      <a:pt x="341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5" name="Freeform 101"/>
              <p:cNvSpPr>
                <a:spLocks/>
              </p:cNvSpPr>
              <p:nvPr/>
            </p:nvSpPr>
            <p:spPr bwMode="auto">
              <a:xfrm>
                <a:off x="5837238" y="5207000"/>
                <a:ext cx="44450" cy="36513"/>
              </a:xfrm>
              <a:custGeom>
                <a:avLst/>
                <a:gdLst>
                  <a:gd name="T0" fmla="*/ 16812 w 20000"/>
                  <a:gd name="T1" fmla="*/ 0 h 20000"/>
                  <a:gd name="T2" fmla="*/ 19710 w 20000"/>
                  <a:gd name="T3" fmla="*/ 5517 h 20000"/>
                  <a:gd name="T4" fmla="*/ 16812 w 20000"/>
                  <a:gd name="T5" fmla="*/ 14138 h 20000"/>
                  <a:gd name="T6" fmla="*/ 16812 w 20000"/>
                  <a:gd name="T7" fmla="*/ 19655 h 20000"/>
                  <a:gd name="T8" fmla="*/ 7826 w 20000"/>
                  <a:gd name="T9" fmla="*/ 19655 h 20000"/>
                  <a:gd name="T10" fmla="*/ 0 w 20000"/>
                  <a:gd name="T11" fmla="*/ 8966 h 20000"/>
                  <a:gd name="T12" fmla="*/ 7826 w 20000"/>
                  <a:gd name="T13" fmla="*/ 0 h 20000"/>
                  <a:gd name="T14" fmla="*/ 16812 w 20000"/>
                  <a:gd name="T15" fmla="*/ 0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6812" y="0"/>
                    </a:moveTo>
                    <a:lnTo>
                      <a:pt x="19710" y="5517"/>
                    </a:lnTo>
                    <a:lnTo>
                      <a:pt x="16812" y="14138"/>
                    </a:lnTo>
                    <a:lnTo>
                      <a:pt x="16812" y="19655"/>
                    </a:lnTo>
                    <a:lnTo>
                      <a:pt x="7826" y="19655"/>
                    </a:lnTo>
                    <a:lnTo>
                      <a:pt x="0" y="8966"/>
                    </a:lnTo>
                    <a:lnTo>
                      <a:pt x="7826" y="0"/>
                    </a:lnTo>
                    <a:lnTo>
                      <a:pt x="1681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6" name="Freeform 100"/>
              <p:cNvSpPr>
                <a:spLocks/>
              </p:cNvSpPr>
              <p:nvPr/>
            </p:nvSpPr>
            <p:spPr bwMode="auto">
              <a:xfrm>
                <a:off x="5821363" y="4479925"/>
                <a:ext cx="303212" cy="306388"/>
              </a:xfrm>
              <a:custGeom>
                <a:avLst/>
                <a:gdLst>
                  <a:gd name="T0" fmla="*/ 2845 w 20000"/>
                  <a:gd name="T1" fmla="*/ 0 h 20000"/>
                  <a:gd name="T2" fmla="*/ 8452 w 20000"/>
                  <a:gd name="T3" fmla="*/ 0 h 20000"/>
                  <a:gd name="T4" fmla="*/ 15816 w 20000"/>
                  <a:gd name="T5" fmla="*/ 4058 h 20000"/>
                  <a:gd name="T6" fmla="*/ 18201 w 20000"/>
                  <a:gd name="T7" fmla="*/ 7288 h 20000"/>
                  <a:gd name="T8" fmla="*/ 17573 w 20000"/>
                  <a:gd name="T9" fmla="*/ 9896 h 20000"/>
                  <a:gd name="T10" fmla="*/ 18201 w 20000"/>
                  <a:gd name="T11" fmla="*/ 10932 h 20000"/>
                  <a:gd name="T12" fmla="*/ 18661 w 20000"/>
                  <a:gd name="T13" fmla="*/ 11843 h 20000"/>
                  <a:gd name="T14" fmla="*/ 18661 w 20000"/>
                  <a:gd name="T15" fmla="*/ 13085 h 20000"/>
                  <a:gd name="T16" fmla="*/ 18661 w 20000"/>
                  <a:gd name="T17" fmla="*/ 15487 h 20000"/>
                  <a:gd name="T18" fmla="*/ 19707 w 20000"/>
                  <a:gd name="T19" fmla="*/ 17184 h 20000"/>
                  <a:gd name="T20" fmla="*/ 19958 w 20000"/>
                  <a:gd name="T21" fmla="*/ 18012 h 20000"/>
                  <a:gd name="T22" fmla="*/ 17992 w 20000"/>
                  <a:gd name="T23" fmla="*/ 19089 h 20000"/>
                  <a:gd name="T24" fmla="*/ 16444 w 20000"/>
                  <a:gd name="T25" fmla="*/ 19710 h 20000"/>
                  <a:gd name="T26" fmla="*/ 15816 w 20000"/>
                  <a:gd name="T27" fmla="*/ 19296 h 20000"/>
                  <a:gd name="T28" fmla="*/ 14728 w 20000"/>
                  <a:gd name="T29" fmla="*/ 19959 h 20000"/>
                  <a:gd name="T30" fmla="*/ 13431 w 20000"/>
                  <a:gd name="T31" fmla="*/ 19959 h 20000"/>
                  <a:gd name="T32" fmla="*/ 11925 w 20000"/>
                  <a:gd name="T33" fmla="*/ 19710 h 20000"/>
                  <a:gd name="T34" fmla="*/ 10795 w 20000"/>
                  <a:gd name="T35" fmla="*/ 19710 h 20000"/>
                  <a:gd name="T36" fmla="*/ 9079 w 20000"/>
                  <a:gd name="T37" fmla="*/ 19710 h 20000"/>
                  <a:gd name="T38" fmla="*/ 8033 w 20000"/>
                  <a:gd name="T39" fmla="*/ 16315 h 20000"/>
                  <a:gd name="T40" fmla="*/ 6276 w 20000"/>
                  <a:gd name="T41" fmla="*/ 15487 h 20000"/>
                  <a:gd name="T42" fmla="*/ 5649 w 20000"/>
                  <a:gd name="T43" fmla="*/ 15238 h 20000"/>
                  <a:gd name="T44" fmla="*/ 4351 w 20000"/>
                  <a:gd name="T45" fmla="*/ 14824 h 20000"/>
                  <a:gd name="T46" fmla="*/ 3264 w 20000"/>
                  <a:gd name="T47" fmla="*/ 14576 h 20000"/>
                  <a:gd name="T48" fmla="*/ 1715 w 20000"/>
                  <a:gd name="T49" fmla="*/ 11843 h 20000"/>
                  <a:gd name="T50" fmla="*/ 0 w 20000"/>
                  <a:gd name="T51" fmla="*/ 9648 h 20000"/>
                  <a:gd name="T52" fmla="*/ 0 w 20000"/>
                  <a:gd name="T53" fmla="*/ 7288 h 20000"/>
                  <a:gd name="T54" fmla="*/ 1088 w 20000"/>
                  <a:gd name="T55" fmla="*/ 6253 h 20000"/>
                  <a:gd name="T56" fmla="*/ 2845 w 20000"/>
                  <a:gd name="T57" fmla="*/ 4513 h 20000"/>
                  <a:gd name="T58" fmla="*/ 2176 w 20000"/>
                  <a:gd name="T59" fmla="*/ 3478 h 20000"/>
                  <a:gd name="T60" fmla="*/ 2594 w 20000"/>
                  <a:gd name="T61" fmla="*/ 2816 h 20000"/>
                  <a:gd name="T62" fmla="*/ 2594 w 20000"/>
                  <a:gd name="T63" fmla="*/ 12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2176" y="248"/>
                    </a:moveTo>
                    <a:lnTo>
                      <a:pt x="2845" y="0"/>
                    </a:lnTo>
                    <a:lnTo>
                      <a:pt x="5649" y="0"/>
                    </a:lnTo>
                    <a:lnTo>
                      <a:pt x="8452" y="0"/>
                    </a:lnTo>
                    <a:lnTo>
                      <a:pt x="9079" y="0"/>
                    </a:lnTo>
                    <a:lnTo>
                      <a:pt x="15816" y="4058"/>
                    </a:lnTo>
                    <a:lnTo>
                      <a:pt x="15816" y="5176"/>
                    </a:lnTo>
                    <a:lnTo>
                      <a:pt x="18201" y="7288"/>
                    </a:lnTo>
                    <a:lnTo>
                      <a:pt x="17573" y="8571"/>
                    </a:lnTo>
                    <a:lnTo>
                      <a:pt x="17573" y="9896"/>
                    </a:lnTo>
                    <a:lnTo>
                      <a:pt x="17992" y="10725"/>
                    </a:lnTo>
                    <a:lnTo>
                      <a:pt x="18201" y="10932"/>
                    </a:lnTo>
                    <a:lnTo>
                      <a:pt x="18661" y="11346"/>
                    </a:lnTo>
                    <a:lnTo>
                      <a:pt x="18661" y="11843"/>
                    </a:lnTo>
                    <a:lnTo>
                      <a:pt x="18201" y="12008"/>
                    </a:lnTo>
                    <a:lnTo>
                      <a:pt x="18661" y="13085"/>
                    </a:lnTo>
                    <a:lnTo>
                      <a:pt x="18201" y="14161"/>
                    </a:lnTo>
                    <a:lnTo>
                      <a:pt x="18661" y="15487"/>
                    </a:lnTo>
                    <a:lnTo>
                      <a:pt x="18828" y="16936"/>
                    </a:lnTo>
                    <a:lnTo>
                      <a:pt x="19707" y="17184"/>
                    </a:lnTo>
                    <a:lnTo>
                      <a:pt x="19958" y="17598"/>
                    </a:lnTo>
                    <a:lnTo>
                      <a:pt x="19958" y="18012"/>
                    </a:lnTo>
                    <a:lnTo>
                      <a:pt x="19289" y="18675"/>
                    </a:lnTo>
                    <a:lnTo>
                      <a:pt x="17992" y="19089"/>
                    </a:lnTo>
                    <a:lnTo>
                      <a:pt x="17113" y="19296"/>
                    </a:lnTo>
                    <a:lnTo>
                      <a:pt x="16444" y="19710"/>
                    </a:lnTo>
                    <a:lnTo>
                      <a:pt x="16444" y="19296"/>
                    </a:lnTo>
                    <a:lnTo>
                      <a:pt x="15816" y="19296"/>
                    </a:lnTo>
                    <a:lnTo>
                      <a:pt x="15397" y="19710"/>
                    </a:lnTo>
                    <a:lnTo>
                      <a:pt x="14728" y="19959"/>
                    </a:lnTo>
                    <a:lnTo>
                      <a:pt x="13640" y="19959"/>
                    </a:lnTo>
                    <a:lnTo>
                      <a:pt x="13431" y="19959"/>
                    </a:lnTo>
                    <a:lnTo>
                      <a:pt x="12594" y="19959"/>
                    </a:lnTo>
                    <a:lnTo>
                      <a:pt x="11925" y="19710"/>
                    </a:lnTo>
                    <a:lnTo>
                      <a:pt x="11297" y="19959"/>
                    </a:lnTo>
                    <a:lnTo>
                      <a:pt x="10795" y="19710"/>
                    </a:lnTo>
                    <a:lnTo>
                      <a:pt x="9540" y="19959"/>
                    </a:lnTo>
                    <a:lnTo>
                      <a:pt x="9079" y="19710"/>
                    </a:lnTo>
                    <a:lnTo>
                      <a:pt x="9079" y="18675"/>
                    </a:lnTo>
                    <a:lnTo>
                      <a:pt x="8033" y="16315"/>
                    </a:lnTo>
                    <a:lnTo>
                      <a:pt x="7364" y="15901"/>
                    </a:lnTo>
                    <a:lnTo>
                      <a:pt x="6276" y="15487"/>
                    </a:lnTo>
                    <a:lnTo>
                      <a:pt x="6067" y="15487"/>
                    </a:lnTo>
                    <a:lnTo>
                      <a:pt x="5649" y="15238"/>
                    </a:lnTo>
                    <a:lnTo>
                      <a:pt x="4979" y="15238"/>
                    </a:lnTo>
                    <a:lnTo>
                      <a:pt x="4351" y="14824"/>
                    </a:lnTo>
                    <a:lnTo>
                      <a:pt x="3933" y="14576"/>
                    </a:lnTo>
                    <a:lnTo>
                      <a:pt x="3264" y="14576"/>
                    </a:lnTo>
                    <a:lnTo>
                      <a:pt x="2594" y="13540"/>
                    </a:lnTo>
                    <a:lnTo>
                      <a:pt x="1715" y="11843"/>
                    </a:lnTo>
                    <a:lnTo>
                      <a:pt x="669" y="10725"/>
                    </a:lnTo>
                    <a:lnTo>
                      <a:pt x="0" y="9648"/>
                    </a:lnTo>
                    <a:lnTo>
                      <a:pt x="0" y="8157"/>
                    </a:lnTo>
                    <a:lnTo>
                      <a:pt x="0" y="7288"/>
                    </a:lnTo>
                    <a:lnTo>
                      <a:pt x="0" y="6460"/>
                    </a:lnTo>
                    <a:lnTo>
                      <a:pt x="1088" y="6253"/>
                    </a:lnTo>
                    <a:lnTo>
                      <a:pt x="2176" y="5176"/>
                    </a:lnTo>
                    <a:lnTo>
                      <a:pt x="2845" y="4513"/>
                    </a:lnTo>
                    <a:lnTo>
                      <a:pt x="2845" y="3644"/>
                    </a:lnTo>
                    <a:lnTo>
                      <a:pt x="2176" y="3478"/>
                    </a:lnTo>
                    <a:lnTo>
                      <a:pt x="2176" y="3023"/>
                    </a:lnTo>
                    <a:lnTo>
                      <a:pt x="2594" y="2816"/>
                    </a:lnTo>
                    <a:lnTo>
                      <a:pt x="2594" y="2360"/>
                    </a:lnTo>
                    <a:lnTo>
                      <a:pt x="2594" y="1284"/>
                    </a:lnTo>
                    <a:lnTo>
                      <a:pt x="2176" y="2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7" name="Freeform 99"/>
              <p:cNvSpPr>
                <a:spLocks/>
              </p:cNvSpPr>
              <p:nvPr/>
            </p:nvSpPr>
            <p:spPr bwMode="auto">
              <a:xfrm>
                <a:off x="4986338" y="4138613"/>
                <a:ext cx="50800" cy="138112"/>
              </a:xfrm>
              <a:custGeom>
                <a:avLst/>
                <a:gdLst>
                  <a:gd name="T0" fmla="*/ 2532 w 20000"/>
                  <a:gd name="T1" fmla="*/ 0 h 20000"/>
                  <a:gd name="T2" fmla="*/ 5316 w 20000"/>
                  <a:gd name="T3" fmla="*/ 0 h 20000"/>
                  <a:gd name="T4" fmla="*/ 9367 w 20000"/>
                  <a:gd name="T5" fmla="*/ 0 h 20000"/>
                  <a:gd name="T6" fmla="*/ 11899 w 20000"/>
                  <a:gd name="T7" fmla="*/ 2396 h 20000"/>
                  <a:gd name="T8" fmla="*/ 15696 w 20000"/>
                  <a:gd name="T9" fmla="*/ 3779 h 20000"/>
                  <a:gd name="T10" fmla="*/ 17215 w 20000"/>
                  <a:gd name="T11" fmla="*/ 5622 h 20000"/>
                  <a:gd name="T12" fmla="*/ 19747 w 20000"/>
                  <a:gd name="T13" fmla="*/ 7097 h 20000"/>
                  <a:gd name="T14" fmla="*/ 19747 w 20000"/>
                  <a:gd name="T15" fmla="*/ 17143 h 20000"/>
                  <a:gd name="T16" fmla="*/ 19747 w 20000"/>
                  <a:gd name="T17" fmla="*/ 17512 h 20000"/>
                  <a:gd name="T18" fmla="*/ 19747 w 20000"/>
                  <a:gd name="T19" fmla="*/ 19447 h 20000"/>
                  <a:gd name="T20" fmla="*/ 17215 w 20000"/>
                  <a:gd name="T21" fmla="*/ 19447 h 20000"/>
                  <a:gd name="T22" fmla="*/ 13165 w 20000"/>
                  <a:gd name="T23" fmla="*/ 19908 h 20000"/>
                  <a:gd name="T24" fmla="*/ 9367 w 20000"/>
                  <a:gd name="T25" fmla="*/ 18525 h 20000"/>
                  <a:gd name="T26" fmla="*/ 6582 w 20000"/>
                  <a:gd name="T27" fmla="*/ 15668 h 20000"/>
                  <a:gd name="T28" fmla="*/ 6582 w 20000"/>
                  <a:gd name="T29" fmla="*/ 13272 h 20000"/>
                  <a:gd name="T30" fmla="*/ 6582 w 20000"/>
                  <a:gd name="T31" fmla="*/ 11429 h 20000"/>
                  <a:gd name="T32" fmla="*/ 9367 w 20000"/>
                  <a:gd name="T33" fmla="*/ 9954 h 20000"/>
                  <a:gd name="T34" fmla="*/ 6582 w 20000"/>
                  <a:gd name="T35" fmla="*/ 8479 h 20000"/>
                  <a:gd name="T36" fmla="*/ 6582 w 20000"/>
                  <a:gd name="T37" fmla="*/ 7558 h 20000"/>
                  <a:gd name="T38" fmla="*/ 6582 w 20000"/>
                  <a:gd name="T39" fmla="*/ 6175 h 20000"/>
                  <a:gd name="T40" fmla="*/ 2532 w 20000"/>
                  <a:gd name="T41" fmla="*/ 5622 h 20000"/>
                  <a:gd name="T42" fmla="*/ 5316 w 20000"/>
                  <a:gd name="T43" fmla="*/ 3779 h 20000"/>
                  <a:gd name="T44" fmla="*/ 5316 w 20000"/>
                  <a:gd name="T45" fmla="*/ 2396 h 20000"/>
                  <a:gd name="T46" fmla="*/ 0 w 20000"/>
                  <a:gd name="T47" fmla="*/ 922 h 20000"/>
                  <a:gd name="T48" fmla="*/ 2532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2532" y="0"/>
                    </a:moveTo>
                    <a:lnTo>
                      <a:pt x="5316" y="0"/>
                    </a:lnTo>
                    <a:lnTo>
                      <a:pt x="9367" y="0"/>
                    </a:lnTo>
                    <a:lnTo>
                      <a:pt x="11899" y="2396"/>
                    </a:lnTo>
                    <a:lnTo>
                      <a:pt x="15696" y="3779"/>
                    </a:lnTo>
                    <a:lnTo>
                      <a:pt x="17215" y="5622"/>
                    </a:lnTo>
                    <a:lnTo>
                      <a:pt x="19747" y="7097"/>
                    </a:lnTo>
                    <a:lnTo>
                      <a:pt x="19747" y="17143"/>
                    </a:lnTo>
                    <a:lnTo>
                      <a:pt x="19747" y="17512"/>
                    </a:lnTo>
                    <a:lnTo>
                      <a:pt x="19747" y="19447"/>
                    </a:lnTo>
                    <a:lnTo>
                      <a:pt x="17215" y="19447"/>
                    </a:lnTo>
                    <a:lnTo>
                      <a:pt x="13165" y="19908"/>
                    </a:lnTo>
                    <a:lnTo>
                      <a:pt x="9367" y="18525"/>
                    </a:lnTo>
                    <a:lnTo>
                      <a:pt x="6582" y="15668"/>
                    </a:lnTo>
                    <a:lnTo>
                      <a:pt x="6582" y="13272"/>
                    </a:lnTo>
                    <a:lnTo>
                      <a:pt x="6582" y="11429"/>
                    </a:lnTo>
                    <a:lnTo>
                      <a:pt x="9367" y="9954"/>
                    </a:lnTo>
                    <a:lnTo>
                      <a:pt x="6582" y="8479"/>
                    </a:lnTo>
                    <a:lnTo>
                      <a:pt x="6582" y="7558"/>
                    </a:lnTo>
                    <a:lnTo>
                      <a:pt x="6582" y="6175"/>
                    </a:lnTo>
                    <a:lnTo>
                      <a:pt x="2532" y="5622"/>
                    </a:lnTo>
                    <a:lnTo>
                      <a:pt x="5316" y="3779"/>
                    </a:lnTo>
                    <a:lnTo>
                      <a:pt x="5316" y="2396"/>
                    </a:lnTo>
                    <a:lnTo>
                      <a:pt x="0" y="922"/>
                    </a:lnTo>
                    <a:lnTo>
                      <a:pt x="253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8" name="Freeform 98"/>
              <p:cNvSpPr>
                <a:spLocks/>
              </p:cNvSpPr>
              <p:nvPr/>
            </p:nvSpPr>
            <p:spPr bwMode="auto">
              <a:xfrm>
                <a:off x="5372100" y="3778250"/>
                <a:ext cx="292100" cy="463550"/>
              </a:xfrm>
              <a:custGeom>
                <a:avLst/>
                <a:gdLst>
                  <a:gd name="T0" fmla="*/ 4685 w 20000"/>
                  <a:gd name="T1" fmla="*/ 0 h 20000"/>
                  <a:gd name="T2" fmla="*/ 19957 w 20000"/>
                  <a:gd name="T3" fmla="*/ 9507 h 20000"/>
                  <a:gd name="T4" fmla="*/ 17744 w 20000"/>
                  <a:gd name="T5" fmla="*/ 9918 h 20000"/>
                  <a:gd name="T6" fmla="*/ 17267 w 20000"/>
                  <a:gd name="T7" fmla="*/ 10767 h 20000"/>
                  <a:gd name="T8" fmla="*/ 17267 w 20000"/>
                  <a:gd name="T9" fmla="*/ 11479 h 20000"/>
                  <a:gd name="T10" fmla="*/ 17050 w 20000"/>
                  <a:gd name="T11" fmla="*/ 12603 h 20000"/>
                  <a:gd name="T12" fmla="*/ 16356 w 20000"/>
                  <a:gd name="T13" fmla="*/ 13616 h 20000"/>
                  <a:gd name="T14" fmla="*/ 17050 w 20000"/>
                  <a:gd name="T15" fmla="*/ 13616 h 20000"/>
                  <a:gd name="T16" fmla="*/ 17267 w 20000"/>
                  <a:gd name="T17" fmla="*/ 14329 h 20000"/>
                  <a:gd name="T18" fmla="*/ 18178 w 20000"/>
                  <a:gd name="T19" fmla="*/ 15178 h 20000"/>
                  <a:gd name="T20" fmla="*/ 17050 w 20000"/>
                  <a:gd name="T21" fmla="*/ 15616 h 20000"/>
                  <a:gd name="T22" fmla="*/ 15445 w 20000"/>
                  <a:gd name="T23" fmla="*/ 16575 h 20000"/>
                  <a:gd name="T24" fmla="*/ 14100 w 20000"/>
                  <a:gd name="T25" fmla="*/ 17288 h 20000"/>
                  <a:gd name="T26" fmla="*/ 13015 w 20000"/>
                  <a:gd name="T27" fmla="*/ 17699 h 20000"/>
                  <a:gd name="T28" fmla="*/ 10542 w 20000"/>
                  <a:gd name="T29" fmla="*/ 18137 h 20000"/>
                  <a:gd name="T30" fmla="*/ 10542 w 20000"/>
                  <a:gd name="T31" fmla="*/ 18849 h 20000"/>
                  <a:gd name="T32" fmla="*/ 8980 w 20000"/>
                  <a:gd name="T33" fmla="*/ 18986 h 20000"/>
                  <a:gd name="T34" fmla="*/ 7809 w 20000"/>
                  <a:gd name="T35" fmla="*/ 18986 h 20000"/>
                  <a:gd name="T36" fmla="*/ 6030 w 20000"/>
                  <a:gd name="T37" fmla="*/ 19534 h 20000"/>
                  <a:gd name="T38" fmla="*/ 4685 w 20000"/>
                  <a:gd name="T39" fmla="*/ 19699 h 20000"/>
                  <a:gd name="T40" fmla="*/ 3991 w 20000"/>
                  <a:gd name="T41" fmla="*/ 19534 h 20000"/>
                  <a:gd name="T42" fmla="*/ 3124 w 20000"/>
                  <a:gd name="T43" fmla="*/ 18411 h 20000"/>
                  <a:gd name="T44" fmla="*/ 1128 w 20000"/>
                  <a:gd name="T45" fmla="*/ 17288 h 20000"/>
                  <a:gd name="T46" fmla="*/ 2213 w 20000"/>
                  <a:gd name="T47" fmla="*/ 16740 h 20000"/>
                  <a:gd name="T48" fmla="*/ 3124 w 20000"/>
                  <a:gd name="T49" fmla="*/ 16301 h 20000"/>
                  <a:gd name="T50" fmla="*/ 2907 w 20000"/>
                  <a:gd name="T51" fmla="*/ 14877 h 20000"/>
                  <a:gd name="T52" fmla="*/ 2473 w 20000"/>
                  <a:gd name="T53" fmla="*/ 13616 h 20000"/>
                  <a:gd name="T54" fmla="*/ 1779 w 20000"/>
                  <a:gd name="T55" fmla="*/ 12877 h 20000"/>
                  <a:gd name="T56" fmla="*/ 694 w 20000"/>
                  <a:gd name="T57" fmla="*/ 12603 h 20000"/>
                  <a:gd name="T58" fmla="*/ 0 w 20000"/>
                  <a:gd name="T59" fmla="*/ 11315 h 20000"/>
                  <a:gd name="T60" fmla="*/ 694 w 20000"/>
                  <a:gd name="T61" fmla="*/ 10356 h 20000"/>
                  <a:gd name="T62" fmla="*/ 3991 w 20000"/>
                  <a:gd name="T63" fmla="*/ 4082 h 20000"/>
                  <a:gd name="T64" fmla="*/ 3557 w 20000"/>
                  <a:gd name="T65" fmla="*/ 3260 h 20000"/>
                  <a:gd name="T66" fmla="*/ 2907 w 20000"/>
                  <a:gd name="T67" fmla="*/ 2411 h 20000"/>
                  <a:gd name="T68" fmla="*/ 2473 w 20000"/>
                  <a:gd name="T69" fmla="*/ 54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2473" y="548"/>
                    </a:moveTo>
                    <a:lnTo>
                      <a:pt x="4685" y="0"/>
                    </a:lnTo>
                    <a:lnTo>
                      <a:pt x="19957" y="4822"/>
                    </a:lnTo>
                    <a:lnTo>
                      <a:pt x="19957" y="9507"/>
                    </a:lnTo>
                    <a:lnTo>
                      <a:pt x="18395" y="9644"/>
                    </a:lnTo>
                    <a:lnTo>
                      <a:pt x="17744" y="9918"/>
                    </a:lnTo>
                    <a:lnTo>
                      <a:pt x="18178" y="10055"/>
                    </a:lnTo>
                    <a:lnTo>
                      <a:pt x="17267" y="10767"/>
                    </a:lnTo>
                    <a:lnTo>
                      <a:pt x="17050" y="11041"/>
                    </a:lnTo>
                    <a:lnTo>
                      <a:pt x="17267" y="11479"/>
                    </a:lnTo>
                    <a:lnTo>
                      <a:pt x="16616" y="11918"/>
                    </a:lnTo>
                    <a:lnTo>
                      <a:pt x="17050" y="12603"/>
                    </a:lnTo>
                    <a:lnTo>
                      <a:pt x="16356" y="13041"/>
                    </a:lnTo>
                    <a:lnTo>
                      <a:pt x="16356" y="13616"/>
                    </a:lnTo>
                    <a:lnTo>
                      <a:pt x="16616" y="13315"/>
                    </a:lnTo>
                    <a:lnTo>
                      <a:pt x="17050" y="13616"/>
                    </a:lnTo>
                    <a:lnTo>
                      <a:pt x="17050" y="13753"/>
                    </a:lnTo>
                    <a:lnTo>
                      <a:pt x="17267" y="14329"/>
                    </a:lnTo>
                    <a:lnTo>
                      <a:pt x="17267" y="14877"/>
                    </a:lnTo>
                    <a:lnTo>
                      <a:pt x="18178" y="15178"/>
                    </a:lnTo>
                    <a:lnTo>
                      <a:pt x="17744" y="15616"/>
                    </a:lnTo>
                    <a:lnTo>
                      <a:pt x="17050" y="15616"/>
                    </a:lnTo>
                    <a:lnTo>
                      <a:pt x="15922" y="15890"/>
                    </a:lnTo>
                    <a:lnTo>
                      <a:pt x="15445" y="16575"/>
                    </a:lnTo>
                    <a:lnTo>
                      <a:pt x="14794" y="16740"/>
                    </a:lnTo>
                    <a:lnTo>
                      <a:pt x="14100" y="17288"/>
                    </a:lnTo>
                    <a:lnTo>
                      <a:pt x="13666" y="17425"/>
                    </a:lnTo>
                    <a:lnTo>
                      <a:pt x="13015" y="17699"/>
                    </a:lnTo>
                    <a:lnTo>
                      <a:pt x="11193" y="17863"/>
                    </a:lnTo>
                    <a:lnTo>
                      <a:pt x="10542" y="18137"/>
                    </a:lnTo>
                    <a:lnTo>
                      <a:pt x="10759" y="18411"/>
                    </a:lnTo>
                    <a:lnTo>
                      <a:pt x="10542" y="18849"/>
                    </a:lnTo>
                    <a:lnTo>
                      <a:pt x="9414" y="18986"/>
                    </a:lnTo>
                    <a:lnTo>
                      <a:pt x="8980" y="18986"/>
                    </a:lnTo>
                    <a:lnTo>
                      <a:pt x="8330" y="19260"/>
                    </a:lnTo>
                    <a:lnTo>
                      <a:pt x="7809" y="18986"/>
                    </a:lnTo>
                    <a:lnTo>
                      <a:pt x="6941" y="19260"/>
                    </a:lnTo>
                    <a:lnTo>
                      <a:pt x="6030" y="19534"/>
                    </a:lnTo>
                    <a:lnTo>
                      <a:pt x="5857" y="19260"/>
                    </a:lnTo>
                    <a:lnTo>
                      <a:pt x="4685" y="19699"/>
                    </a:lnTo>
                    <a:lnTo>
                      <a:pt x="3991" y="19973"/>
                    </a:lnTo>
                    <a:lnTo>
                      <a:pt x="3991" y="19534"/>
                    </a:lnTo>
                    <a:lnTo>
                      <a:pt x="3557" y="19260"/>
                    </a:lnTo>
                    <a:lnTo>
                      <a:pt x="3124" y="18411"/>
                    </a:lnTo>
                    <a:lnTo>
                      <a:pt x="2473" y="18137"/>
                    </a:lnTo>
                    <a:lnTo>
                      <a:pt x="1128" y="17288"/>
                    </a:lnTo>
                    <a:lnTo>
                      <a:pt x="1345" y="16740"/>
                    </a:lnTo>
                    <a:lnTo>
                      <a:pt x="2213" y="16740"/>
                    </a:lnTo>
                    <a:lnTo>
                      <a:pt x="3991" y="16740"/>
                    </a:lnTo>
                    <a:lnTo>
                      <a:pt x="3124" y="16301"/>
                    </a:lnTo>
                    <a:lnTo>
                      <a:pt x="2907" y="15616"/>
                    </a:lnTo>
                    <a:lnTo>
                      <a:pt x="2907" y="14877"/>
                    </a:lnTo>
                    <a:lnTo>
                      <a:pt x="2907" y="14329"/>
                    </a:lnTo>
                    <a:lnTo>
                      <a:pt x="2473" y="13616"/>
                    </a:lnTo>
                    <a:lnTo>
                      <a:pt x="1779" y="13315"/>
                    </a:lnTo>
                    <a:lnTo>
                      <a:pt x="1779" y="12877"/>
                    </a:lnTo>
                    <a:lnTo>
                      <a:pt x="1128" y="12877"/>
                    </a:lnTo>
                    <a:lnTo>
                      <a:pt x="694" y="12603"/>
                    </a:lnTo>
                    <a:lnTo>
                      <a:pt x="0" y="11918"/>
                    </a:lnTo>
                    <a:lnTo>
                      <a:pt x="0" y="11315"/>
                    </a:lnTo>
                    <a:lnTo>
                      <a:pt x="174" y="10767"/>
                    </a:lnTo>
                    <a:lnTo>
                      <a:pt x="694" y="10356"/>
                    </a:lnTo>
                    <a:lnTo>
                      <a:pt x="3557" y="8055"/>
                    </a:lnTo>
                    <a:lnTo>
                      <a:pt x="3991" y="4082"/>
                    </a:lnTo>
                    <a:lnTo>
                      <a:pt x="4252" y="3973"/>
                    </a:lnTo>
                    <a:lnTo>
                      <a:pt x="3557" y="3260"/>
                    </a:lnTo>
                    <a:lnTo>
                      <a:pt x="3557" y="2849"/>
                    </a:lnTo>
                    <a:lnTo>
                      <a:pt x="2907" y="2411"/>
                    </a:lnTo>
                    <a:lnTo>
                      <a:pt x="2907" y="1397"/>
                    </a:lnTo>
                    <a:lnTo>
                      <a:pt x="2473" y="5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39" name="Freeform 97"/>
              <p:cNvSpPr>
                <a:spLocks/>
              </p:cNvSpPr>
              <p:nvPr/>
            </p:nvSpPr>
            <p:spPr bwMode="auto">
              <a:xfrm>
                <a:off x="5197475" y="3343275"/>
                <a:ext cx="115888" cy="223838"/>
              </a:xfrm>
              <a:custGeom>
                <a:avLst/>
                <a:gdLst>
                  <a:gd name="T0" fmla="*/ 5055 w 20000"/>
                  <a:gd name="T1" fmla="*/ 1473 h 20000"/>
                  <a:gd name="T2" fmla="*/ 6703 w 20000"/>
                  <a:gd name="T3" fmla="*/ 340 h 20000"/>
                  <a:gd name="T4" fmla="*/ 9560 w 20000"/>
                  <a:gd name="T5" fmla="*/ 0 h 20000"/>
                  <a:gd name="T6" fmla="*/ 11868 w 20000"/>
                  <a:gd name="T7" fmla="*/ 340 h 20000"/>
                  <a:gd name="T8" fmla="*/ 12527 w 20000"/>
                  <a:gd name="T9" fmla="*/ 1756 h 20000"/>
                  <a:gd name="T10" fmla="*/ 15385 w 20000"/>
                  <a:gd name="T11" fmla="*/ 907 h 20000"/>
                  <a:gd name="T12" fmla="*/ 16484 w 20000"/>
                  <a:gd name="T13" fmla="*/ 1473 h 20000"/>
                  <a:gd name="T14" fmla="*/ 14286 w 20000"/>
                  <a:gd name="T15" fmla="*/ 2323 h 20000"/>
                  <a:gd name="T16" fmla="*/ 13626 w 20000"/>
                  <a:gd name="T17" fmla="*/ 3796 h 20000"/>
                  <a:gd name="T18" fmla="*/ 15385 w 20000"/>
                  <a:gd name="T19" fmla="*/ 4646 h 20000"/>
                  <a:gd name="T20" fmla="*/ 16484 w 20000"/>
                  <a:gd name="T21" fmla="*/ 6176 h 20000"/>
                  <a:gd name="T22" fmla="*/ 14286 w 20000"/>
                  <a:gd name="T23" fmla="*/ 7649 h 20000"/>
                  <a:gd name="T24" fmla="*/ 11868 w 20000"/>
                  <a:gd name="T25" fmla="*/ 9065 h 20000"/>
                  <a:gd name="T26" fmla="*/ 12527 w 20000"/>
                  <a:gd name="T27" fmla="*/ 10312 h 20000"/>
                  <a:gd name="T28" fmla="*/ 14286 w 20000"/>
                  <a:gd name="T29" fmla="*/ 10312 h 20000"/>
                  <a:gd name="T30" fmla="*/ 14286 w 20000"/>
                  <a:gd name="T31" fmla="*/ 10878 h 20000"/>
                  <a:gd name="T32" fmla="*/ 16484 w 20000"/>
                  <a:gd name="T33" fmla="*/ 10878 h 20000"/>
                  <a:gd name="T34" fmla="*/ 17033 w 20000"/>
                  <a:gd name="T35" fmla="*/ 11445 h 20000"/>
                  <a:gd name="T36" fmla="*/ 18791 w 20000"/>
                  <a:gd name="T37" fmla="*/ 12295 h 20000"/>
                  <a:gd name="T38" fmla="*/ 18791 w 20000"/>
                  <a:gd name="T39" fmla="*/ 13201 h 20000"/>
                  <a:gd name="T40" fmla="*/ 19890 w 20000"/>
                  <a:gd name="T41" fmla="*/ 14051 h 20000"/>
                  <a:gd name="T42" fmla="*/ 16484 w 20000"/>
                  <a:gd name="T43" fmla="*/ 14618 h 20000"/>
                  <a:gd name="T44" fmla="*/ 12527 w 20000"/>
                  <a:gd name="T45" fmla="*/ 16431 h 20000"/>
                  <a:gd name="T46" fmla="*/ 13626 w 20000"/>
                  <a:gd name="T47" fmla="*/ 18470 h 20000"/>
                  <a:gd name="T48" fmla="*/ 10769 w 20000"/>
                  <a:gd name="T49" fmla="*/ 19943 h 20000"/>
                  <a:gd name="T50" fmla="*/ 9560 w 20000"/>
                  <a:gd name="T51" fmla="*/ 19943 h 20000"/>
                  <a:gd name="T52" fmla="*/ 8022 w 20000"/>
                  <a:gd name="T53" fmla="*/ 14618 h 20000"/>
                  <a:gd name="T54" fmla="*/ 4505 w 20000"/>
                  <a:gd name="T55" fmla="*/ 13768 h 20000"/>
                  <a:gd name="T56" fmla="*/ 3297 w 20000"/>
                  <a:gd name="T57" fmla="*/ 11728 h 20000"/>
                  <a:gd name="T58" fmla="*/ 1648 w 20000"/>
                  <a:gd name="T59" fmla="*/ 11445 h 20000"/>
                  <a:gd name="T60" fmla="*/ 0 w 20000"/>
                  <a:gd name="T61" fmla="*/ 9405 h 20000"/>
                  <a:gd name="T62" fmla="*/ 3297 w 20000"/>
                  <a:gd name="T63" fmla="*/ 7082 h 20000"/>
                  <a:gd name="T64" fmla="*/ 3297 w 20000"/>
                  <a:gd name="T65" fmla="*/ 4646 h 20000"/>
                  <a:gd name="T66" fmla="*/ 3297 w 20000"/>
                  <a:gd name="T67" fmla="*/ 2946 h 20000"/>
                  <a:gd name="T68" fmla="*/ 3297 w 20000"/>
                  <a:gd name="T69" fmla="*/ 2323 h 20000"/>
                  <a:gd name="T70" fmla="*/ 5055 w 20000"/>
                  <a:gd name="T71" fmla="*/ 1756 h 20000"/>
                  <a:gd name="T72" fmla="*/ 5055 w 20000"/>
                  <a:gd name="T73" fmla="*/ 147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5055" y="1473"/>
                    </a:moveTo>
                    <a:lnTo>
                      <a:pt x="6703" y="340"/>
                    </a:lnTo>
                    <a:lnTo>
                      <a:pt x="9560" y="0"/>
                    </a:lnTo>
                    <a:lnTo>
                      <a:pt x="11868" y="340"/>
                    </a:lnTo>
                    <a:lnTo>
                      <a:pt x="12527" y="1756"/>
                    </a:lnTo>
                    <a:lnTo>
                      <a:pt x="15385" y="907"/>
                    </a:lnTo>
                    <a:lnTo>
                      <a:pt x="16484" y="1473"/>
                    </a:lnTo>
                    <a:lnTo>
                      <a:pt x="14286" y="2323"/>
                    </a:lnTo>
                    <a:lnTo>
                      <a:pt x="13626" y="3796"/>
                    </a:lnTo>
                    <a:lnTo>
                      <a:pt x="15385" y="4646"/>
                    </a:lnTo>
                    <a:lnTo>
                      <a:pt x="16484" y="6176"/>
                    </a:lnTo>
                    <a:lnTo>
                      <a:pt x="14286" y="7649"/>
                    </a:lnTo>
                    <a:lnTo>
                      <a:pt x="11868" y="9065"/>
                    </a:lnTo>
                    <a:lnTo>
                      <a:pt x="12527" y="10312"/>
                    </a:lnTo>
                    <a:lnTo>
                      <a:pt x="14286" y="10312"/>
                    </a:lnTo>
                    <a:lnTo>
                      <a:pt x="14286" y="10878"/>
                    </a:lnTo>
                    <a:lnTo>
                      <a:pt x="16484" y="10878"/>
                    </a:lnTo>
                    <a:lnTo>
                      <a:pt x="17033" y="11445"/>
                    </a:lnTo>
                    <a:lnTo>
                      <a:pt x="18791" y="12295"/>
                    </a:lnTo>
                    <a:lnTo>
                      <a:pt x="18791" y="13201"/>
                    </a:lnTo>
                    <a:lnTo>
                      <a:pt x="19890" y="14051"/>
                    </a:lnTo>
                    <a:lnTo>
                      <a:pt x="16484" y="14618"/>
                    </a:lnTo>
                    <a:lnTo>
                      <a:pt x="12527" y="16431"/>
                    </a:lnTo>
                    <a:lnTo>
                      <a:pt x="13626" y="18470"/>
                    </a:lnTo>
                    <a:lnTo>
                      <a:pt x="10769" y="19943"/>
                    </a:lnTo>
                    <a:lnTo>
                      <a:pt x="9560" y="19943"/>
                    </a:lnTo>
                    <a:lnTo>
                      <a:pt x="8022" y="14618"/>
                    </a:lnTo>
                    <a:lnTo>
                      <a:pt x="4505" y="13768"/>
                    </a:lnTo>
                    <a:lnTo>
                      <a:pt x="3297" y="11728"/>
                    </a:lnTo>
                    <a:lnTo>
                      <a:pt x="1648" y="11445"/>
                    </a:lnTo>
                    <a:lnTo>
                      <a:pt x="0" y="9405"/>
                    </a:lnTo>
                    <a:lnTo>
                      <a:pt x="3297" y="7082"/>
                    </a:lnTo>
                    <a:lnTo>
                      <a:pt x="3297" y="4646"/>
                    </a:lnTo>
                    <a:lnTo>
                      <a:pt x="3297" y="2946"/>
                    </a:lnTo>
                    <a:lnTo>
                      <a:pt x="3297" y="2323"/>
                    </a:lnTo>
                    <a:lnTo>
                      <a:pt x="5055" y="1756"/>
                    </a:lnTo>
                    <a:lnTo>
                      <a:pt x="5055" y="147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0" name="Freeform 96"/>
              <p:cNvSpPr>
                <a:spLocks/>
              </p:cNvSpPr>
              <p:nvPr/>
            </p:nvSpPr>
            <p:spPr bwMode="auto">
              <a:xfrm>
                <a:off x="5827713" y="4335463"/>
                <a:ext cx="155575" cy="158750"/>
              </a:xfrm>
              <a:custGeom>
                <a:avLst/>
                <a:gdLst>
                  <a:gd name="T0" fmla="*/ 4245 w 20000"/>
                  <a:gd name="T1" fmla="*/ 1280 h 20000"/>
                  <a:gd name="T2" fmla="*/ 4735 w 20000"/>
                  <a:gd name="T3" fmla="*/ 800 h 20000"/>
                  <a:gd name="T4" fmla="*/ 7673 w 20000"/>
                  <a:gd name="T5" fmla="*/ 1280 h 20000"/>
                  <a:gd name="T6" fmla="*/ 8898 w 20000"/>
                  <a:gd name="T7" fmla="*/ 2080 h 20000"/>
                  <a:gd name="T8" fmla="*/ 9388 w 20000"/>
                  <a:gd name="T9" fmla="*/ 1280 h 20000"/>
                  <a:gd name="T10" fmla="*/ 11429 w 20000"/>
                  <a:gd name="T11" fmla="*/ 1280 h 20000"/>
                  <a:gd name="T12" fmla="*/ 14367 w 20000"/>
                  <a:gd name="T13" fmla="*/ 1280 h 20000"/>
                  <a:gd name="T14" fmla="*/ 16571 w 20000"/>
                  <a:gd name="T15" fmla="*/ 0 h 20000"/>
                  <a:gd name="T16" fmla="*/ 16571 w 20000"/>
                  <a:gd name="T17" fmla="*/ 800 h 20000"/>
                  <a:gd name="T18" fmla="*/ 17796 w 20000"/>
                  <a:gd name="T19" fmla="*/ 1280 h 20000"/>
                  <a:gd name="T20" fmla="*/ 17796 w 20000"/>
                  <a:gd name="T21" fmla="*/ 2480 h 20000"/>
                  <a:gd name="T22" fmla="*/ 18204 w 20000"/>
                  <a:gd name="T23" fmla="*/ 4560 h 20000"/>
                  <a:gd name="T24" fmla="*/ 19918 w 20000"/>
                  <a:gd name="T25" fmla="*/ 7840 h 20000"/>
                  <a:gd name="T26" fmla="*/ 18204 w 20000"/>
                  <a:gd name="T27" fmla="*/ 9920 h 20000"/>
                  <a:gd name="T28" fmla="*/ 15673 w 20000"/>
                  <a:gd name="T29" fmla="*/ 14080 h 20000"/>
                  <a:gd name="T30" fmla="*/ 15673 w 20000"/>
                  <a:gd name="T31" fmla="*/ 18240 h 20000"/>
                  <a:gd name="T32" fmla="*/ 10204 w 20000"/>
                  <a:gd name="T33" fmla="*/ 18240 h 20000"/>
                  <a:gd name="T34" fmla="*/ 4735 w 20000"/>
                  <a:gd name="T35" fmla="*/ 18240 h 20000"/>
                  <a:gd name="T36" fmla="*/ 3429 w 20000"/>
                  <a:gd name="T37" fmla="*/ 18640 h 20000"/>
                  <a:gd name="T38" fmla="*/ 1306 w 20000"/>
                  <a:gd name="T39" fmla="*/ 19920 h 20000"/>
                  <a:gd name="T40" fmla="*/ 1306 w 20000"/>
                  <a:gd name="T41" fmla="*/ 19440 h 20000"/>
                  <a:gd name="T42" fmla="*/ 0 w 20000"/>
                  <a:gd name="T43" fmla="*/ 19440 h 20000"/>
                  <a:gd name="T44" fmla="*/ 490 w 20000"/>
                  <a:gd name="T45" fmla="*/ 14880 h 20000"/>
                  <a:gd name="T46" fmla="*/ 1306 w 20000"/>
                  <a:gd name="T47" fmla="*/ 12880 h 20000"/>
                  <a:gd name="T48" fmla="*/ 2531 w 20000"/>
                  <a:gd name="T49" fmla="*/ 10800 h 20000"/>
                  <a:gd name="T50" fmla="*/ 4735 w 20000"/>
                  <a:gd name="T51" fmla="*/ 8720 h 20000"/>
                  <a:gd name="T52" fmla="*/ 6041 w 20000"/>
                  <a:gd name="T53" fmla="*/ 7520 h 20000"/>
                  <a:gd name="T54" fmla="*/ 4735 w 20000"/>
                  <a:gd name="T55" fmla="*/ 5360 h 20000"/>
                  <a:gd name="T56" fmla="*/ 4735 w 20000"/>
                  <a:gd name="T57" fmla="*/ 4080 h 20000"/>
                  <a:gd name="T58" fmla="*/ 4735 w 20000"/>
                  <a:gd name="T59" fmla="*/ 2480 h 20000"/>
                  <a:gd name="T60" fmla="*/ 4245 w 20000"/>
                  <a:gd name="T61" fmla="*/ 128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000" h="20000">
                    <a:moveTo>
                      <a:pt x="4245" y="1280"/>
                    </a:moveTo>
                    <a:lnTo>
                      <a:pt x="4735" y="800"/>
                    </a:lnTo>
                    <a:lnTo>
                      <a:pt x="7673" y="1280"/>
                    </a:lnTo>
                    <a:lnTo>
                      <a:pt x="8898" y="2080"/>
                    </a:lnTo>
                    <a:lnTo>
                      <a:pt x="9388" y="1280"/>
                    </a:lnTo>
                    <a:lnTo>
                      <a:pt x="11429" y="1280"/>
                    </a:lnTo>
                    <a:lnTo>
                      <a:pt x="14367" y="1280"/>
                    </a:lnTo>
                    <a:lnTo>
                      <a:pt x="16571" y="0"/>
                    </a:lnTo>
                    <a:lnTo>
                      <a:pt x="16571" y="800"/>
                    </a:lnTo>
                    <a:lnTo>
                      <a:pt x="17796" y="1280"/>
                    </a:lnTo>
                    <a:lnTo>
                      <a:pt x="17796" y="2480"/>
                    </a:lnTo>
                    <a:lnTo>
                      <a:pt x="18204" y="4560"/>
                    </a:lnTo>
                    <a:lnTo>
                      <a:pt x="19918" y="7840"/>
                    </a:lnTo>
                    <a:lnTo>
                      <a:pt x="18204" y="9920"/>
                    </a:lnTo>
                    <a:lnTo>
                      <a:pt x="15673" y="14080"/>
                    </a:lnTo>
                    <a:lnTo>
                      <a:pt x="15673" y="18240"/>
                    </a:lnTo>
                    <a:lnTo>
                      <a:pt x="10204" y="18240"/>
                    </a:lnTo>
                    <a:lnTo>
                      <a:pt x="4735" y="18240"/>
                    </a:lnTo>
                    <a:lnTo>
                      <a:pt x="3429" y="18640"/>
                    </a:lnTo>
                    <a:lnTo>
                      <a:pt x="1306" y="19920"/>
                    </a:lnTo>
                    <a:lnTo>
                      <a:pt x="1306" y="19440"/>
                    </a:lnTo>
                    <a:lnTo>
                      <a:pt x="0" y="19440"/>
                    </a:lnTo>
                    <a:lnTo>
                      <a:pt x="490" y="14880"/>
                    </a:lnTo>
                    <a:lnTo>
                      <a:pt x="1306" y="12880"/>
                    </a:lnTo>
                    <a:lnTo>
                      <a:pt x="2531" y="10800"/>
                    </a:lnTo>
                    <a:lnTo>
                      <a:pt x="4735" y="8720"/>
                    </a:lnTo>
                    <a:lnTo>
                      <a:pt x="6041" y="7520"/>
                    </a:lnTo>
                    <a:lnTo>
                      <a:pt x="4735" y="5360"/>
                    </a:lnTo>
                    <a:lnTo>
                      <a:pt x="4735" y="4080"/>
                    </a:lnTo>
                    <a:lnTo>
                      <a:pt x="4735" y="2480"/>
                    </a:lnTo>
                    <a:lnTo>
                      <a:pt x="4245" y="128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1" name="Freeform 95"/>
              <p:cNvSpPr>
                <a:spLocks/>
              </p:cNvSpPr>
              <p:nvPr/>
            </p:nvSpPr>
            <p:spPr bwMode="auto">
              <a:xfrm>
                <a:off x="5335588" y="4298950"/>
                <a:ext cx="539750" cy="536575"/>
              </a:xfrm>
              <a:custGeom>
                <a:avLst/>
                <a:gdLst>
                  <a:gd name="T0" fmla="*/ 6565 w 20000"/>
                  <a:gd name="T1" fmla="*/ 970 h 20000"/>
                  <a:gd name="T2" fmla="*/ 8376 w 20000"/>
                  <a:gd name="T3" fmla="*/ 734 h 20000"/>
                  <a:gd name="T4" fmla="*/ 10212 w 20000"/>
                  <a:gd name="T5" fmla="*/ 1112 h 20000"/>
                  <a:gd name="T6" fmla="*/ 11200 w 20000"/>
                  <a:gd name="T7" fmla="*/ 734 h 20000"/>
                  <a:gd name="T8" fmla="*/ 12776 w 20000"/>
                  <a:gd name="T9" fmla="*/ 379 h 20000"/>
                  <a:gd name="T10" fmla="*/ 13765 w 20000"/>
                  <a:gd name="T11" fmla="*/ 142 h 20000"/>
                  <a:gd name="T12" fmla="*/ 14729 w 20000"/>
                  <a:gd name="T13" fmla="*/ 142 h 20000"/>
                  <a:gd name="T14" fmla="*/ 15459 w 20000"/>
                  <a:gd name="T15" fmla="*/ 142 h 20000"/>
                  <a:gd name="T16" fmla="*/ 16306 w 20000"/>
                  <a:gd name="T17" fmla="*/ 734 h 20000"/>
                  <a:gd name="T18" fmla="*/ 17271 w 20000"/>
                  <a:gd name="T19" fmla="*/ 970 h 20000"/>
                  <a:gd name="T20" fmla="*/ 18000 w 20000"/>
                  <a:gd name="T21" fmla="*/ 970 h 20000"/>
                  <a:gd name="T22" fmla="*/ 18612 w 20000"/>
                  <a:gd name="T23" fmla="*/ 1112 h 20000"/>
                  <a:gd name="T24" fmla="*/ 19600 w 20000"/>
                  <a:gd name="T25" fmla="*/ 2556 h 20000"/>
                  <a:gd name="T26" fmla="*/ 19600 w 20000"/>
                  <a:gd name="T27" fmla="*/ 3929 h 20000"/>
                  <a:gd name="T28" fmla="*/ 18376 w 20000"/>
                  <a:gd name="T29" fmla="*/ 5751 h 20000"/>
                  <a:gd name="T30" fmla="*/ 17906 w 20000"/>
                  <a:gd name="T31" fmla="*/ 7456 h 20000"/>
                  <a:gd name="T32" fmla="*/ 17412 w 20000"/>
                  <a:gd name="T33" fmla="*/ 8450 h 20000"/>
                  <a:gd name="T34" fmla="*/ 17906 w 20000"/>
                  <a:gd name="T35" fmla="*/ 9325 h 20000"/>
                  <a:gd name="T36" fmla="*/ 18000 w 20000"/>
                  <a:gd name="T37" fmla="*/ 10414 h 20000"/>
                  <a:gd name="T38" fmla="*/ 18000 w 20000"/>
                  <a:gd name="T39" fmla="*/ 12237 h 20000"/>
                  <a:gd name="T40" fmla="*/ 19482 w 20000"/>
                  <a:gd name="T41" fmla="*/ 14462 h 20000"/>
                  <a:gd name="T42" fmla="*/ 17271 w 20000"/>
                  <a:gd name="T43" fmla="*/ 15432 h 20000"/>
                  <a:gd name="T44" fmla="*/ 17035 w 20000"/>
                  <a:gd name="T45" fmla="*/ 16781 h 20000"/>
                  <a:gd name="T46" fmla="*/ 16682 w 20000"/>
                  <a:gd name="T47" fmla="*/ 18130 h 20000"/>
                  <a:gd name="T48" fmla="*/ 17906 w 20000"/>
                  <a:gd name="T49" fmla="*/ 19006 h 20000"/>
                  <a:gd name="T50" fmla="*/ 18000 w 20000"/>
                  <a:gd name="T51" fmla="*/ 19976 h 20000"/>
                  <a:gd name="T52" fmla="*/ 17271 w 20000"/>
                  <a:gd name="T53" fmla="*/ 19598 h 20000"/>
                  <a:gd name="T54" fmla="*/ 15459 w 20000"/>
                  <a:gd name="T55" fmla="*/ 17988 h 20000"/>
                  <a:gd name="T56" fmla="*/ 14847 w 20000"/>
                  <a:gd name="T57" fmla="*/ 18367 h 20000"/>
                  <a:gd name="T58" fmla="*/ 13506 w 20000"/>
                  <a:gd name="T59" fmla="*/ 17396 h 20000"/>
                  <a:gd name="T60" fmla="*/ 12165 w 20000"/>
                  <a:gd name="T61" fmla="*/ 17160 h 20000"/>
                  <a:gd name="T62" fmla="*/ 11200 w 20000"/>
                  <a:gd name="T63" fmla="*/ 17396 h 20000"/>
                  <a:gd name="T64" fmla="*/ 10353 w 20000"/>
                  <a:gd name="T65" fmla="*/ 17396 h 20000"/>
                  <a:gd name="T66" fmla="*/ 10212 w 20000"/>
                  <a:gd name="T67" fmla="*/ 16047 h 20000"/>
                  <a:gd name="T68" fmla="*/ 9976 w 20000"/>
                  <a:gd name="T69" fmla="*/ 14201 h 20000"/>
                  <a:gd name="T70" fmla="*/ 8753 w 20000"/>
                  <a:gd name="T71" fmla="*/ 12852 h 20000"/>
                  <a:gd name="T72" fmla="*/ 7647 w 20000"/>
                  <a:gd name="T73" fmla="*/ 13586 h 20000"/>
                  <a:gd name="T74" fmla="*/ 6565 w 20000"/>
                  <a:gd name="T75" fmla="*/ 13964 h 20000"/>
                  <a:gd name="T76" fmla="*/ 4847 w 20000"/>
                  <a:gd name="T77" fmla="*/ 13231 h 20000"/>
                  <a:gd name="T78" fmla="*/ 4612 w 20000"/>
                  <a:gd name="T79" fmla="*/ 12379 h 20000"/>
                  <a:gd name="T80" fmla="*/ 1929 w 20000"/>
                  <a:gd name="T81" fmla="*/ 11882 h 20000"/>
                  <a:gd name="T82" fmla="*/ 729 w 20000"/>
                  <a:gd name="T83" fmla="*/ 11882 h 20000"/>
                  <a:gd name="T84" fmla="*/ 376 w 20000"/>
                  <a:gd name="T85" fmla="*/ 11645 h 20000"/>
                  <a:gd name="T86" fmla="*/ 729 w 20000"/>
                  <a:gd name="T87" fmla="*/ 10414 h 20000"/>
                  <a:gd name="T88" fmla="*/ 1435 w 20000"/>
                  <a:gd name="T89" fmla="*/ 10651 h 20000"/>
                  <a:gd name="T90" fmla="*/ 2306 w 20000"/>
                  <a:gd name="T91" fmla="*/ 10414 h 20000"/>
                  <a:gd name="T92" fmla="*/ 3035 w 20000"/>
                  <a:gd name="T93" fmla="*/ 10296 h 20000"/>
                  <a:gd name="T94" fmla="*/ 4000 w 20000"/>
                  <a:gd name="T95" fmla="*/ 9041 h 20000"/>
                  <a:gd name="T96" fmla="*/ 4518 w 20000"/>
                  <a:gd name="T97" fmla="*/ 7456 h 20000"/>
                  <a:gd name="T98" fmla="*/ 5224 w 20000"/>
                  <a:gd name="T99" fmla="*/ 6722 h 20000"/>
                  <a:gd name="T100" fmla="*/ 5835 w 20000"/>
                  <a:gd name="T101" fmla="*/ 5278 h 20000"/>
                  <a:gd name="T102" fmla="*/ 6071 w 20000"/>
                  <a:gd name="T103" fmla="*/ 3550 h 20000"/>
                  <a:gd name="T104" fmla="*/ 6565 w 20000"/>
                  <a:gd name="T105" fmla="*/ 17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6565" y="1704"/>
                    </a:moveTo>
                    <a:lnTo>
                      <a:pt x="6565" y="1112"/>
                    </a:lnTo>
                    <a:lnTo>
                      <a:pt x="6565" y="970"/>
                    </a:lnTo>
                    <a:lnTo>
                      <a:pt x="7059" y="615"/>
                    </a:lnTo>
                    <a:lnTo>
                      <a:pt x="7647" y="142"/>
                    </a:lnTo>
                    <a:lnTo>
                      <a:pt x="8376" y="734"/>
                    </a:lnTo>
                    <a:lnTo>
                      <a:pt x="8988" y="970"/>
                    </a:lnTo>
                    <a:lnTo>
                      <a:pt x="9624" y="1112"/>
                    </a:lnTo>
                    <a:lnTo>
                      <a:pt x="10212" y="1112"/>
                    </a:lnTo>
                    <a:lnTo>
                      <a:pt x="10588" y="1349"/>
                    </a:lnTo>
                    <a:lnTo>
                      <a:pt x="10965" y="734"/>
                    </a:lnTo>
                    <a:lnTo>
                      <a:pt x="11200" y="734"/>
                    </a:lnTo>
                    <a:lnTo>
                      <a:pt x="11788" y="734"/>
                    </a:lnTo>
                    <a:lnTo>
                      <a:pt x="12165" y="615"/>
                    </a:lnTo>
                    <a:lnTo>
                      <a:pt x="12776" y="379"/>
                    </a:lnTo>
                    <a:lnTo>
                      <a:pt x="13129" y="379"/>
                    </a:lnTo>
                    <a:lnTo>
                      <a:pt x="13506" y="379"/>
                    </a:lnTo>
                    <a:lnTo>
                      <a:pt x="13765" y="142"/>
                    </a:lnTo>
                    <a:lnTo>
                      <a:pt x="13859" y="0"/>
                    </a:lnTo>
                    <a:lnTo>
                      <a:pt x="14353" y="142"/>
                    </a:lnTo>
                    <a:lnTo>
                      <a:pt x="14729" y="142"/>
                    </a:lnTo>
                    <a:lnTo>
                      <a:pt x="14847" y="379"/>
                    </a:lnTo>
                    <a:lnTo>
                      <a:pt x="15341" y="379"/>
                    </a:lnTo>
                    <a:lnTo>
                      <a:pt x="15459" y="142"/>
                    </a:lnTo>
                    <a:lnTo>
                      <a:pt x="15835" y="142"/>
                    </a:lnTo>
                    <a:lnTo>
                      <a:pt x="16306" y="379"/>
                    </a:lnTo>
                    <a:lnTo>
                      <a:pt x="16306" y="734"/>
                    </a:lnTo>
                    <a:lnTo>
                      <a:pt x="16682" y="970"/>
                    </a:lnTo>
                    <a:lnTo>
                      <a:pt x="17035" y="1112"/>
                    </a:lnTo>
                    <a:lnTo>
                      <a:pt x="17271" y="970"/>
                    </a:lnTo>
                    <a:lnTo>
                      <a:pt x="17412" y="734"/>
                    </a:lnTo>
                    <a:lnTo>
                      <a:pt x="17412" y="970"/>
                    </a:lnTo>
                    <a:lnTo>
                      <a:pt x="18000" y="970"/>
                    </a:lnTo>
                    <a:lnTo>
                      <a:pt x="18000" y="734"/>
                    </a:lnTo>
                    <a:lnTo>
                      <a:pt x="18235" y="734"/>
                    </a:lnTo>
                    <a:lnTo>
                      <a:pt x="18612" y="1112"/>
                    </a:lnTo>
                    <a:lnTo>
                      <a:pt x="19482" y="1704"/>
                    </a:lnTo>
                    <a:lnTo>
                      <a:pt x="19600" y="2083"/>
                    </a:lnTo>
                    <a:lnTo>
                      <a:pt x="19600" y="2556"/>
                    </a:lnTo>
                    <a:lnTo>
                      <a:pt x="19600" y="2935"/>
                    </a:lnTo>
                    <a:lnTo>
                      <a:pt x="19976" y="3550"/>
                    </a:lnTo>
                    <a:lnTo>
                      <a:pt x="19600" y="3929"/>
                    </a:lnTo>
                    <a:lnTo>
                      <a:pt x="18988" y="4544"/>
                    </a:lnTo>
                    <a:lnTo>
                      <a:pt x="18612" y="5136"/>
                    </a:lnTo>
                    <a:lnTo>
                      <a:pt x="18376" y="5751"/>
                    </a:lnTo>
                    <a:lnTo>
                      <a:pt x="18235" y="7101"/>
                    </a:lnTo>
                    <a:lnTo>
                      <a:pt x="18235" y="7219"/>
                    </a:lnTo>
                    <a:lnTo>
                      <a:pt x="17906" y="7456"/>
                    </a:lnTo>
                    <a:lnTo>
                      <a:pt x="17647" y="8071"/>
                    </a:lnTo>
                    <a:lnTo>
                      <a:pt x="17412" y="8331"/>
                    </a:lnTo>
                    <a:lnTo>
                      <a:pt x="17412" y="8450"/>
                    </a:lnTo>
                    <a:lnTo>
                      <a:pt x="17647" y="8805"/>
                    </a:lnTo>
                    <a:lnTo>
                      <a:pt x="17906" y="9041"/>
                    </a:lnTo>
                    <a:lnTo>
                      <a:pt x="17906" y="9325"/>
                    </a:lnTo>
                    <a:lnTo>
                      <a:pt x="17906" y="9680"/>
                    </a:lnTo>
                    <a:lnTo>
                      <a:pt x="18000" y="10296"/>
                    </a:lnTo>
                    <a:lnTo>
                      <a:pt x="18000" y="10414"/>
                    </a:lnTo>
                    <a:lnTo>
                      <a:pt x="18000" y="10888"/>
                    </a:lnTo>
                    <a:lnTo>
                      <a:pt x="18000" y="11408"/>
                    </a:lnTo>
                    <a:lnTo>
                      <a:pt x="18000" y="12237"/>
                    </a:lnTo>
                    <a:lnTo>
                      <a:pt x="18376" y="12852"/>
                    </a:lnTo>
                    <a:lnTo>
                      <a:pt x="18988" y="13491"/>
                    </a:lnTo>
                    <a:lnTo>
                      <a:pt x="19482" y="14462"/>
                    </a:lnTo>
                    <a:lnTo>
                      <a:pt x="17412" y="14556"/>
                    </a:lnTo>
                    <a:lnTo>
                      <a:pt x="17412" y="14840"/>
                    </a:lnTo>
                    <a:lnTo>
                      <a:pt x="17271" y="15432"/>
                    </a:lnTo>
                    <a:lnTo>
                      <a:pt x="16918" y="15811"/>
                    </a:lnTo>
                    <a:lnTo>
                      <a:pt x="17035" y="16047"/>
                    </a:lnTo>
                    <a:lnTo>
                      <a:pt x="17035" y="16781"/>
                    </a:lnTo>
                    <a:lnTo>
                      <a:pt x="16918" y="17160"/>
                    </a:lnTo>
                    <a:lnTo>
                      <a:pt x="16918" y="17633"/>
                    </a:lnTo>
                    <a:lnTo>
                      <a:pt x="16682" y="18130"/>
                    </a:lnTo>
                    <a:lnTo>
                      <a:pt x="16918" y="18367"/>
                    </a:lnTo>
                    <a:lnTo>
                      <a:pt x="17412" y="18722"/>
                    </a:lnTo>
                    <a:lnTo>
                      <a:pt x="17906" y="19006"/>
                    </a:lnTo>
                    <a:lnTo>
                      <a:pt x="17906" y="18722"/>
                    </a:lnTo>
                    <a:lnTo>
                      <a:pt x="18235" y="18722"/>
                    </a:lnTo>
                    <a:lnTo>
                      <a:pt x="18000" y="19976"/>
                    </a:lnTo>
                    <a:lnTo>
                      <a:pt x="18000" y="19716"/>
                    </a:lnTo>
                    <a:lnTo>
                      <a:pt x="17412" y="19976"/>
                    </a:lnTo>
                    <a:lnTo>
                      <a:pt x="17271" y="19598"/>
                    </a:lnTo>
                    <a:lnTo>
                      <a:pt x="16682" y="18722"/>
                    </a:lnTo>
                    <a:lnTo>
                      <a:pt x="16071" y="18722"/>
                    </a:lnTo>
                    <a:lnTo>
                      <a:pt x="15459" y="17988"/>
                    </a:lnTo>
                    <a:lnTo>
                      <a:pt x="15341" y="17988"/>
                    </a:lnTo>
                    <a:lnTo>
                      <a:pt x="15341" y="18367"/>
                    </a:lnTo>
                    <a:lnTo>
                      <a:pt x="14847" y="18367"/>
                    </a:lnTo>
                    <a:lnTo>
                      <a:pt x="14471" y="18367"/>
                    </a:lnTo>
                    <a:lnTo>
                      <a:pt x="13765" y="17988"/>
                    </a:lnTo>
                    <a:lnTo>
                      <a:pt x="13506" y="17396"/>
                    </a:lnTo>
                    <a:lnTo>
                      <a:pt x="12776" y="17988"/>
                    </a:lnTo>
                    <a:lnTo>
                      <a:pt x="12541" y="17396"/>
                    </a:lnTo>
                    <a:lnTo>
                      <a:pt x="12165" y="17160"/>
                    </a:lnTo>
                    <a:lnTo>
                      <a:pt x="12165" y="17396"/>
                    </a:lnTo>
                    <a:lnTo>
                      <a:pt x="11788" y="17160"/>
                    </a:lnTo>
                    <a:lnTo>
                      <a:pt x="11200" y="17396"/>
                    </a:lnTo>
                    <a:lnTo>
                      <a:pt x="10706" y="17396"/>
                    </a:lnTo>
                    <a:lnTo>
                      <a:pt x="10588" y="17633"/>
                    </a:lnTo>
                    <a:lnTo>
                      <a:pt x="10353" y="17396"/>
                    </a:lnTo>
                    <a:lnTo>
                      <a:pt x="10353" y="17018"/>
                    </a:lnTo>
                    <a:lnTo>
                      <a:pt x="10353" y="16166"/>
                    </a:lnTo>
                    <a:lnTo>
                      <a:pt x="10212" y="16047"/>
                    </a:lnTo>
                    <a:lnTo>
                      <a:pt x="9718" y="15574"/>
                    </a:lnTo>
                    <a:lnTo>
                      <a:pt x="10212" y="14840"/>
                    </a:lnTo>
                    <a:lnTo>
                      <a:pt x="9976" y="14201"/>
                    </a:lnTo>
                    <a:lnTo>
                      <a:pt x="9718" y="13491"/>
                    </a:lnTo>
                    <a:lnTo>
                      <a:pt x="8753" y="13491"/>
                    </a:lnTo>
                    <a:lnTo>
                      <a:pt x="8753" y="12852"/>
                    </a:lnTo>
                    <a:lnTo>
                      <a:pt x="8141" y="12970"/>
                    </a:lnTo>
                    <a:lnTo>
                      <a:pt x="7647" y="13231"/>
                    </a:lnTo>
                    <a:lnTo>
                      <a:pt x="7647" y="13586"/>
                    </a:lnTo>
                    <a:lnTo>
                      <a:pt x="7412" y="13586"/>
                    </a:lnTo>
                    <a:lnTo>
                      <a:pt x="7412" y="13964"/>
                    </a:lnTo>
                    <a:lnTo>
                      <a:pt x="6565" y="13964"/>
                    </a:lnTo>
                    <a:lnTo>
                      <a:pt x="6447" y="14201"/>
                    </a:lnTo>
                    <a:lnTo>
                      <a:pt x="5482" y="14201"/>
                    </a:lnTo>
                    <a:lnTo>
                      <a:pt x="4847" y="13231"/>
                    </a:lnTo>
                    <a:lnTo>
                      <a:pt x="4847" y="12970"/>
                    </a:lnTo>
                    <a:lnTo>
                      <a:pt x="4612" y="12615"/>
                    </a:lnTo>
                    <a:lnTo>
                      <a:pt x="4612" y="12379"/>
                    </a:lnTo>
                    <a:lnTo>
                      <a:pt x="4518" y="11882"/>
                    </a:lnTo>
                    <a:lnTo>
                      <a:pt x="3882" y="11882"/>
                    </a:lnTo>
                    <a:lnTo>
                      <a:pt x="1929" y="11882"/>
                    </a:lnTo>
                    <a:lnTo>
                      <a:pt x="1435" y="12000"/>
                    </a:lnTo>
                    <a:lnTo>
                      <a:pt x="1082" y="11882"/>
                    </a:lnTo>
                    <a:lnTo>
                      <a:pt x="729" y="11882"/>
                    </a:lnTo>
                    <a:lnTo>
                      <a:pt x="94" y="11882"/>
                    </a:lnTo>
                    <a:lnTo>
                      <a:pt x="0" y="11645"/>
                    </a:lnTo>
                    <a:lnTo>
                      <a:pt x="376" y="11645"/>
                    </a:lnTo>
                    <a:lnTo>
                      <a:pt x="376" y="11030"/>
                    </a:lnTo>
                    <a:lnTo>
                      <a:pt x="729" y="10651"/>
                    </a:lnTo>
                    <a:lnTo>
                      <a:pt x="729" y="10414"/>
                    </a:lnTo>
                    <a:lnTo>
                      <a:pt x="965" y="10414"/>
                    </a:lnTo>
                    <a:lnTo>
                      <a:pt x="1082" y="10651"/>
                    </a:lnTo>
                    <a:lnTo>
                      <a:pt x="1435" y="10651"/>
                    </a:lnTo>
                    <a:lnTo>
                      <a:pt x="1694" y="10296"/>
                    </a:lnTo>
                    <a:lnTo>
                      <a:pt x="2071" y="10296"/>
                    </a:lnTo>
                    <a:lnTo>
                      <a:pt x="2306" y="10414"/>
                    </a:lnTo>
                    <a:lnTo>
                      <a:pt x="2541" y="10888"/>
                    </a:lnTo>
                    <a:lnTo>
                      <a:pt x="2918" y="10414"/>
                    </a:lnTo>
                    <a:lnTo>
                      <a:pt x="3035" y="10296"/>
                    </a:lnTo>
                    <a:lnTo>
                      <a:pt x="3506" y="10059"/>
                    </a:lnTo>
                    <a:lnTo>
                      <a:pt x="3882" y="9680"/>
                    </a:lnTo>
                    <a:lnTo>
                      <a:pt x="4000" y="9041"/>
                    </a:lnTo>
                    <a:lnTo>
                      <a:pt x="4000" y="8450"/>
                    </a:lnTo>
                    <a:lnTo>
                      <a:pt x="4000" y="7834"/>
                    </a:lnTo>
                    <a:lnTo>
                      <a:pt x="4518" y="7456"/>
                    </a:lnTo>
                    <a:lnTo>
                      <a:pt x="4612" y="7219"/>
                    </a:lnTo>
                    <a:lnTo>
                      <a:pt x="4847" y="6722"/>
                    </a:lnTo>
                    <a:lnTo>
                      <a:pt x="5224" y="6722"/>
                    </a:lnTo>
                    <a:lnTo>
                      <a:pt x="5835" y="6130"/>
                    </a:lnTo>
                    <a:lnTo>
                      <a:pt x="5835" y="5751"/>
                    </a:lnTo>
                    <a:lnTo>
                      <a:pt x="5835" y="5278"/>
                    </a:lnTo>
                    <a:lnTo>
                      <a:pt x="5835" y="4639"/>
                    </a:lnTo>
                    <a:lnTo>
                      <a:pt x="6071" y="4166"/>
                    </a:lnTo>
                    <a:lnTo>
                      <a:pt x="6071" y="3550"/>
                    </a:lnTo>
                    <a:lnTo>
                      <a:pt x="6447" y="2698"/>
                    </a:lnTo>
                    <a:lnTo>
                      <a:pt x="6565" y="2320"/>
                    </a:lnTo>
                    <a:lnTo>
                      <a:pt x="6565" y="170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2" name="Freeform 94"/>
              <p:cNvSpPr>
                <a:spLocks/>
              </p:cNvSpPr>
              <p:nvPr/>
            </p:nvSpPr>
            <p:spPr bwMode="auto">
              <a:xfrm>
                <a:off x="5403850" y="4138613"/>
                <a:ext cx="358775" cy="247650"/>
              </a:xfrm>
              <a:custGeom>
                <a:avLst/>
                <a:gdLst>
                  <a:gd name="T0" fmla="*/ 2014 w 20000"/>
                  <a:gd name="T1" fmla="*/ 7661 h 20000"/>
                  <a:gd name="T2" fmla="*/ 3110 w 20000"/>
                  <a:gd name="T3" fmla="*/ 7404 h 20000"/>
                  <a:gd name="T4" fmla="*/ 4558 w 20000"/>
                  <a:gd name="T5" fmla="*/ 6375 h 20000"/>
                  <a:gd name="T6" fmla="*/ 5512 w 20000"/>
                  <a:gd name="T7" fmla="*/ 6375 h 20000"/>
                  <a:gd name="T8" fmla="*/ 6784 w 20000"/>
                  <a:gd name="T9" fmla="*/ 6067 h 20000"/>
                  <a:gd name="T10" fmla="*/ 6784 w 20000"/>
                  <a:gd name="T11" fmla="*/ 4781 h 20000"/>
                  <a:gd name="T12" fmla="*/ 8763 w 20000"/>
                  <a:gd name="T13" fmla="*/ 3959 h 20000"/>
                  <a:gd name="T14" fmla="*/ 9682 w 20000"/>
                  <a:gd name="T15" fmla="*/ 3136 h 20000"/>
                  <a:gd name="T16" fmla="*/ 10777 w 20000"/>
                  <a:gd name="T17" fmla="*/ 1851 h 20000"/>
                  <a:gd name="T18" fmla="*/ 12085 w 20000"/>
                  <a:gd name="T19" fmla="*/ 0 h 20000"/>
                  <a:gd name="T20" fmla="*/ 13004 w 20000"/>
                  <a:gd name="T21" fmla="*/ 514 h 20000"/>
                  <a:gd name="T22" fmla="*/ 14099 w 20000"/>
                  <a:gd name="T23" fmla="*/ 3445 h 20000"/>
                  <a:gd name="T24" fmla="*/ 13887 w 20000"/>
                  <a:gd name="T25" fmla="*/ 4216 h 20000"/>
                  <a:gd name="T26" fmla="*/ 14099 w 20000"/>
                  <a:gd name="T27" fmla="*/ 5296 h 20000"/>
                  <a:gd name="T28" fmla="*/ 15018 w 20000"/>
                  <a:gd name="T29" fmla="*/ 6067 h 20000"/>
                  <a:gd name="T30" fmla="*/ 16466 w 20000"/>
                  <a:gd name="T31" fmla="*/ 6889 h 20000"/>
                  <a:gd name="T32" fmla="*/ 17739 w 20000"/>
                  <a:gd name="T33" fmla="*/ 8792 h 20000"/>
                  <a:gd name="T34" fmla="*/ 18304 w 20000"/>
                  <a:gd name="T35" fmla="*/ 9563 h 20000"/>
                  <a:gd name="T36" fmla="*/ 18869 w 20000"/>
                  <a:gd name="T37" fmla="*/ 11105 h 20000"/>
                  <a:gd name="T38" fmla="*/ 19965 w 20000"/>
                  <a:gd name="T39" fmla="*/ 13316 h 20000"/>
                  <a:gd name="T40" fmla="*/ 19223 w 20000"/>
                  <a:gd name="T41" fmla="*/ 13830 h 20000"/>
                  <a:gd name="T42" fmla="*/ 18304 w 20000"/>
                  <a:gd name="T43" fmla="*/ 13316 h 20000"/>
                  <a:gd name="T44" fmla="*/ 16996 w 20000"/>
                  <a:gd name="T45" fmla="*/ 13008 h 20000"/>
                  <a:gd name="T46" fmla="*/ 16466 w 20000"/>
                  <a:gd name="T47" fmla="*/ 13830 h 20000"/>
                  <a:gd name="T48" fmla="*/ 15371 w 20000"/>
                  <a:gd name="T49" fmla="*/ 13830 h 20000"/>
                  <a:gd name="T50" fmla="*/ 13887 w 20000"/>
                  <a:gd name="T51" fmla="*/ 14602 h 20000"/>
                  <a:gd name="T52" fmla="*/ 12650 w 20000"/>
                  <a:gd name="T53" fmla="*/ 14602 h 20000"/>
                  <a:gd name="T54" fmla="*/ 11519 w 20000"/>
                  <a:gd name="T55" fmla="*/ 15424 h 20000"/>
                  <a:gd name="T56" fmla="*/ 9682 w 20000"/>
                  <a:gd name="T57" fmla="*/ 15116 h 20000"/>
                  <a:gd name="T58" fmla="*/ 7668 w 20000"/>
                  <a:gd name="T59" fmla="*/ 13316 h 20000"/>
                  <a:gd name="T60" fmla="*/ 6007 w 20000"/>
                  <a:gd name="T61" fmla="*/ 15116 h 20000"/>
                  <a:gd name="T62" fmla="*/ 6007 w 20000"/>
                  <a:gd name="T63" fmla="*/ 16710 h 20000"/>
                  <a:gd name="T64" fmla="*/ 4417 w 20000"/>
                  <a:gd name="T65" fmla="*/ 16710 h 20000"/>
                  <a:gd name="T66" fmla="*/ 2968 w 20000"/>
                  <a:gd name="T67" fmla="*/ 18560 h 20000"/>
                  <a:gd name="T68" fmla="*/ 2014 w 20000"/>
                  <a:gd name="T69" fmla="*/ 19383 h 20000"/>
                  <a:gd name="T70" fmla="*/ 2014 w 20000"/>
                  <a:gd name="T71" fmla="*/ 18046 h 20000"/>
                  <a:gd name="T72" fmla="*/ 742 w 20000"/>
                  <a:gd name="T73" fmla="*/ 15116 h 20000"/>
                  <a:gd name="T74" fmla="*/ 212 w 20000"/>
                  <a:gd name="T75" fmla="*/ 13316 h 20000"/>
                  <a:gd name="T76" fmla="*/ 0 w 20000"/>
                  <a:gd name="T77" fmla="*/ 11105 h 20000"/>
                  <a:gd name="T78" fmla="*/ 742 w 20000"/>
                  <a:gd name="T79" fmla="*/ 87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1449" y="8175"/>
                    </a:moveTo>
                    <a:lnTo>
                      <a:pt x="2014" y="7661"/>
                    </a:lnTo>
                    <a:lnTo>
                      <a:pt x="2968" y="6889"/>
                    </a:lnTo>
                    <a:lnTo>
                      <a:pt x="3110" y="7404"/>
                    </a:lnTo>
                    <a:lnTo>
                      <a:pt x="3852" y="6889"/>
                    </a:lnTo>
                    <a:lnTo>
                      <a:pt x="4558" y="6375"/>
                    </a:lnTo>
                    <a:lnTo>
                      <a:pt x="4947" y="6889"/>
                    </a:lnTo>
                    <a:lnTo>
                      <a:pt x="5512" y="6375"/>
                    </a:lnTo>
                    <a:lnTo>
                      <a:pt x="5866" y="6375"/>
                    </a:lnTo>
                    <a:lnTo>
                      <a:pt x="6784" y="6067"/>
                    </a:lnTo>
                    <a:lnTo>
                      <a:pt x="6961" y="5296"/>
                    </a:lnTo>
                    <a:lnTo>
                      <a:pt x="6784" y="4781"/>
                    </a:lnTo>
                    <a:lnTo>
                      <a:pt x="7314" y="4216"/>
                    </a:lnTo>
                    <a:lnTo>
                      <a:pt x="8763" y="3959"/>
                    </a:lnTo>
                    <a:lnTo>
                      <a:pt x="9329" y="3445"/>
                    </a:lnTo>
                    <a:lnTo>
                      <a:pt x="9682" y="3136"/>
                    </a:lnTo>
                    <a:lnTo>
                      <a:pt x="10247" y="2108"/>
                    </a:lnTo>
                    <a:lnTo>
                      <a:pt x="10777" y="1851"/>
                    </a:lnTo>
                    <a:lnTo>
                      <a:pt x="11166" y="514"/>
                    </a:lnTo>
                    <a:lnTo>
                      <a:pt x="12085" y="0"/>
                    </a:lnTo>
                    <a:lnTo>
                      <a:pt x="12650" y="0"/>
                    </a:lnTo>
                    <a:lnTo>
                      <a:pt x="13004" y="514"/>
                    </a:lnTo>
                    <a:lnTo>
                      <a:pt x="13887" y="2108"/>
                    </a:lnTo>
                    <a:lnTo>
                      <a:pt x="14099" y="3445"/>
                    </a:lnTo>
                    <a:lnTo>
                      <a:pt x="13534" y="3959"/>
                    </a:lnTo>
                    <a:lnTo>
                      <a:pt x="13887" y="4216"/>
                    </a:lnTo>
                    <a:lnTo>
                      <a:pt x="13887" y="4781"/>
                    </a:lnTo>
                    <a:lnTo>
                      <a:pt x="14099" y="5296"/>
                    </a:lnTo>
                    <a:lnTo>
                      <a:pt x="15018" y="5296"/>
                    </a:lnTo>
                    <a:lnTo>
                      <a:pt x="15018" y="6067"/>
                    </a:lnTo>
                    <a:lnTo>
                      <a:pt x="15901" y="6067"/>
                    </a:lnTo>
                    <a:lnTo>
                      <a:pt x="16466" y="6889"/>
                    </a:lnTo>
                    <a:lnTo>
                      <a:pt x="16855" y="8792"/>
                    </a:lnTo>
                    <a:lnTo>
                      <a:pt x="17739" y="8792"/>
                    </a:lnTo>
                    <a:lnTo>
                      <a:pt x="17915" y="9563"/>
                    </a:lnTo>
                    <a:lnTo>
                      <a:pt x="18304" y="9563"/>
                    </a:lnTo>
                    <a:lnTo>
                      <a:pt x="18481" y="9820"/>
                    </a:lnTo>
                    <a:lnTo>
                      <a:pt x="18869" y="11105"/>
                    </a:lnTo>
                    <a:lnTo>
                      <a:pt x="19753" y="11928"/>
                    </a:lnTo>
                    <a:lnTo>
                      <a:pt x="19965" y="13316"/>
                    </a:lnTo>
                    <a:lnTo>
                      <a:pt x="19399" y="13316"/>
                    </a:lnTo>
                    <a:lnTo>
                      <a:pt x="19223" y="13830"/>
                    </a:lnTo>
                    <a:lnTo>
                      <a:pt x="18481" y="13830"/>
                    </a:lnTo>
                    <a:lnTo>
                      <a:pt x="18304" y="13316"/>
                    </a:lnTo>
                    <a:lnTo>
                      <a:pt x="17739" y="13316"/>
                    </a:lnTo>
                    <a:lnTo>
                      <a:pt x="16996" y="13008"/>
                    </a:lnTo>
                    <a:lnTo>
                      <a:pt x="16855" y="13316"/>
                    </a:lnTo>
                    <a:lnTo>
                      <a:pt x="16466" y="13830"/>
                    </a:lnTo>
                    <a:lnTo>
                      <a:pt x="15901" y="13830"/>
                    </a:lnTo>
                    <a:lnTo>
                      <a:pt x="15371" y="13830"/>
                    </a:lnTo>
                    <a:lnTo>
                      <a:pt x="14452" y="14344"/>
                    </a:lnTo>
                    <a:lnTo>
                      <a:pt x="13887" y="14602"/>
                    </a:lnTo>
                    <a:lnTo>
                      <a:pt x="13004" y="14602"/>
                    </a:lnTo>
                    <a:lnTo>
                      <a:pt x="12650" y="14602"/>
                    </a:lnTo>
                    <a:lnTo>
                      <a:pt x="12085" y="15938"/>
                    </a:lnTo>
                    <a:lnTo>
                      <a:pt x="11519" y="15424"/>
                    </a:lnTo>
                    <a:lnTo>
                      <a:pt x="10636" y="15424"/>
                    </a:lnTo>
                    <a:lnTo>
                      <a:pt x="9682" y="15116"/>
                    </a:lnTo>
                    <a:lnTo>
                      <a:pt x="8763" y="14602"/>
                    </a:lnTo>
                    <a:lnTo>
                      <a:pt x="7668" y="13316"/>
                    </a:lnTo>
                    <a:lnTo>
                      <a:pt x="6784" y="14344"/>
                    </a:lnTo>
                    <a:lnTo>
                      <a:pt x="6007" y="15116"/>
                    </a:lnTo>
                    <a:lnTo>
                      <a:pt x="6007" y="15424"/>
                    </a:lnTo>
                    <a:lnTo>
                      <a:pt x="6007" y="16710"/>
                    </a:lnTo>
                    <a:lnTo>
                      <a:pt x="5300" y="16710"/>
                    </a:lnTo>
                    <a:lnTo>
                      <a:pt x="4417" y="16710"/>
                    </a:lnTo>
                    <a:lnTo>
                      <a:pt x="3110" y="16710"/>
                    </a:lnTo>
                    <a:lnTo>
                      <a:pt x="2968" y="18560"/>
                    </a:lnTo>
                    <a:lnTo>
                      <a:pt x="2191" y="19949"/>
                    </a:lnTo>
                    <a:lnTo>
                      <a:pt x="2014" y="19383"/>
                    </a:lnTo>
                    <a:lnTo>
                      <a:pt x="2191" y="18046"/>
                    </a:lnTo>
                    <a:lnTo>
                      <a:pt x="2014" y="18046"/>
                    </a:lnTo>
                    <a:lnTo>
                      <a:pt x="742" y="16452"/>
                    </a:lnTo>
                    <a:lnTo>
                      <a:pt x="742" y="15116"/>
                    </a:lnTo>
                    <a:lnTo>
                      <a:pt x="212" y="14602"/>
                    </a:lnTo>
                    <a:lnTo>
                      <a:pt x="212" y="13316"/>
                    </a:lnTo>
                    <a:lnTo>
                      <a:pt x="0" y="13008"/>
                    </a:lnTo>
                    <a:lnTo>
                      <a:pt x="0" y="11105"/>
                    </a:lnTo>
                    <a:lnTo>
                      <a:pt x="212" y="10900"/>
                    </a:lnTo>
                    <a:lnTo>
                      <a:pt x="742" y="8792"/>
                    </a:lnTo>
                    <a:lnTo>
                      <a:pt x="1449" y="81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3" name="Freeform 93"/>
              <p:cNvSpPr>
                <a:spLocks/>
              </p:cNvSpPr>
              <p:nvPr/>
            </p:nvSpPr>
            <p:spPr bwMode="auto">
              <a:xfrm>
                <a:off x="5732463" y="5286375"/>
                <a:ext cx="63500" cy="66675"/>
              </a:xfrm>
              <a:custGeom>
                <a:avLst/>
                <a:gdLst>
                  <a:gd name="T0" fmla="*/ 5253 w 20000"/>
                  <a:gd name="T1" fmla="*/ 3077 h 20000"/>
                  <a:gd name="T2" fmla="*/ 13535 w 20000"/>
                  <a:gd name="T3" fmla="*/ 0 h 20000"/>
                  <a:gd name="T4" fmla="*/ 16566 w 20000"/>
                  <a:gd name="T5" fmla="*/ 1923 h 20000"/>
                  <a:gd name="T6" fmla="*/ 19798 w 20000"/>
                  <a:gd name="T7" fmla="*/ 6923 h 20000"/>
                  <a:gd name="T8" fmla="*/ 18586 w 20000"/>
                  <a:gd name="T9" fmla="*/ 9808 h 20000"/>
                  <a:gd name="T10" fmla="*/ 18586 w 20000"/>
                  <a:gd name="T11" fmla="*/ 12885 h 20000"/>
                  <a:gd name="T12" fmla="*/ 9495 w 20000"/>
                  <a:gd name="T13" fmla="*/ 14808 h 20000"/>
                  <a:gd name="T14" fmla="*/ 8283 w 20000"/>
                  <a:gd name="T15" fmla="*/ 19808 h 20000"/>
                  <a:gd name="T16" fmla="*/ 3232 w 20000"/>
                  <a:gd name="T17" fmla="*/ 17885 h 20000"/>
                  <a:gd name="T18" fmla="*/ 808 w 20000"/>
                  <a:gd name="T19" fmla="*/ 11923 h 20000"/>
                  <a:gd name="T20" fmla="*/ 0 w 20000"/>
                  <a:gd name="T21" fmla="*/ 9808 h 20000"/>
                  <a:gd name="T22" fmla="*/ 808 w 20000"/>
                  <a:gd name="T23" fmla="*/ 7885 h 20000"/>
                  <a:gd name="T24" fmla="*/ 5253 w 20000"/>
                  <a:gd name="T25" fmla="*/ 307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5253" y="3077"/>
                    </a:moveTo>
                    <a:lnTo>
                      <a:pt x="13535" y="0"/>
                    </a:lnTo>
                    <a:lnTo>
                      <a:pt x="16566" y="1923"/>
                    </a:lnTo>
                    <a:lnTo>
                      <a:pt x="19798" y="6923"/>
                    </a:lnTo>
                    <a:lnTo>
                      <a:pt x="18586" y="9808"/>
                    </a:lnTo>
                    <a:lnTo>
                      <a:pt x="18586" y="12885"/>
                    </a:lnTo>
                    <a:lnTo>
                      <a:pt x="9495" y="14808"/>
                    </a:lnTo>
                    <a:lnTo>
                      <a:pt x="8283" y="19808"/>
                    </a:lnTo>
                    <a:lnTo>
                      <a:pt x="3232" y="17885"/>
                    </a:lnTo>
                    <a:lnTo>
                      <a:pt x="808" y="11923"/>
                    </a:lnTo>
                    <a:lnTo>
                      <a:pt x="0" y="9808"/>
                    </a:lnTo>
                    <a:lnTo>
                      <a:pt x="808" y="7885"/>
                    </a:lnTo>
                    <a:lnTo>
                      <a:pt x="5253" y="307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4" name="Freeform 92"/>
              <p:cNvSpPr>
                <a:spLocks/>
              </p:cNvSpPr>
              <p:nvPr/>
            </p:nvSpPr>
            <p:spPr bwMode="auto">
              <a:xfrm>
                <a:off x="3052763" y="5075238"/>
                <a:ext cx="447675" cy="1062037"/>
              </a:xfrm>
              <a:custGeom>
                <a:avLst/>
                <a:gdLst>
                  <a:gd name="T0" fmla="*/ 3824 w 20000"/>
                  <a:gd name="T1" fmla="*/ 48 h 20000"/>
                  <a:gd name="T2" fmla="*/ 5751 w 20000"/>
                  <a:gd name="T3" fmla="*/ 167 h 20000"/>
                  <a:gd name="T4" fmla="*/ 8102 w 20000"/>
                  <a:gd name="T5" fmla="*/ 48 h 20000"/>
                  <a:gd name="T6" fmla="*/ 12210 w 20000"/>
                  <a:gd name="T7" fmla="*/ 1292 h 20000"/>
                  <a:gd name="T8" fmla="*/ 15297 w 20000"/>
                  <a:gd name="T9" fmla="*/ 1854 h 20000"/>
                  <a:gd name="T10" fmla="*/ 14079 w 20000"/>
                  <a:gd name="T11" fmla="*/ 3098 h 20000"/>
                  <a:gd name="T12" fmla="*/ 17790 w 20000"/>
                  <a:gd name="T13" fmla="*/ 3146 h 20000"/>
                  <a:gd name="T14" fmla="*/ 18810 w 20000"/>
                  <a:gd name="T15" fmla="*/ 1782 h 20000"/>
                  <a:gd name="T16" fmla="*/ 19972 w 20000"/>
                  <a:gd name="T17" fmla="*/ 2584 h 20000"/>
                  <a:gd name="T18" fmla="*/ 17790 w 20000"/>
                  <a:gd name="T19" fmla="*/ 3768 h 20000"/>
                  <a:gd name="T20" fmla="*/ 16006 w 20000"/>
                  <a:gd name="T21" fmla="*/ 4880 h 20000"/>
                  <a:gd name="T22" fmla="*/ 15297 w 20000"/>
                  <a:gd name="T23" fmla="*/ 5885 h 20000"/>
                  <a:gd name="T24" fmla="*/ 15297 w 20000"/>
                  <a:gd name="T25" fmla="*/ 6746 h 20000"/>
                  <a:gd name="T26" fmla="*/ 15411 w 20000"/>
                  <a:gd name="T27" fmla="*/ 7787 h 20000"/>
                  <a:gd name="T28" fmla="*/ 16912 w 20000"/>
                  <a:gd name="T29" fmla="*/ 8289 h 20000"/>
                  <a:gd name="T30" fmla="*/ 17790 w 20000"/>
                  <a:gd name="T31" fmla="*/ 8971 h 20000"/>
                  <a:gd name="T32" fmla="*/ 14986 w 20000"/>
                  <a:gd name="T33" fmla="*/ 10263 h 20000"/>
                  <a:gd name="T34" fmla="*/ 11898 w 20000"/>
                  <a:gd name="T35" fmla="*/ 10646 h 20000"/>
                  <a:gd name="T36" fmla="*/ 11898 w 20000"/>
                  <a:gd name="T37" fmla="*/ 11579 h 20000"/>
                  <a:gd name="T38" fmla="*/ 8527 w 20000"/>
                  <a:gd name="T39" fmla="*/ 11699 h 20000"/>
                  <a:gd name="T40" fmla="*/ 9263 w 20000"/>
                  <a:gd name="T41" fmla="*/ 12560 h 20000"/>
                  <a:gd name="T42" fmla="*/ 10737 w 20000"/>
                  <a:gd name="T43" fmla="*/ 12990 h 20000"/>
                  <a:gd name="T44" fmla="*/ 9263 w 20000"/>
                  <a:gd name="T45" fmla="*/ 12871 h 20000"/>
                  <a:gd name="T46" fmla="*/ 9122 w 20000"/>
                  <a:gd name="T47" fmla="*/ 13493 h 20000"/>
                  <a:gd name="T48" fmla="*/ 8385 w 20000"/>
                  <a:gd name="T49" fmla="*/ 14605 h 20000"/>
                  <a:gd name="T50" fmla="*/ 8527 w 20000"/>
                  <a:gd name="T51" fmla="*/ 16077 h 20000"/>
                  <a:gd name="T52" fmla="*/ 8102 w 20000"/>
                  <a:gd name="T53" fmla="*/ 17392 h 20000"/>
                  <a:gd name="T54" fmla="*/ 6912 w 20000"/>
                  <a:gd name="T55" fmla="*/ 18864 h 20000"/>
                  <a:gd name="T56" fmla="*/ 6912 w 20000"/>
                  <a:gd name="T57" fmla="*/ 19797 h 20000"/>
                  <a:gd name="T58" fmla="*/ 3088 w 20000"/>
                  <a:gd name="T59" fmla="*/ 19378 h 20000"/>
                  <a:gd name="T60" fmla="*/ 1473 w 20000"/>
                  <a:gd name="T61" fmla="*/ 18373 h 20000"/>
                  <a:gd name="T62" fmla="*/ 2210 w 20000"/>
                  <a:gd name="T63" fmla="*/ 16950 h 20000"/>
                  <a:gd name="T64" fmla="*/ 2210 w 20000"/>
                  <a:gd name="T65" fmla="*/ 15778 h 20000"/>
                  <a:gd name="T66" fmla="*/ 1926 w 20000"/>
                  <a:gd name="T67" fmla="*/ 14605 h 20000"/>
                  <a:gd name="T68" fmla="*/ 2210 w 20000"/>
                  <a:gd name="T69" fmla="*/ 14175 h 20000"/>
                  <a:gd name="T70" fmla="*/ 1190 w 20000"/>
                  <a:gd name="T71" fmla="*/ 13493 h 20000"/>
                  <a:gd name="T72" fmla="*/ 1048 w 20000"/>
                  <a:gd name="T73" fmla="*/ 12679 h 20000"/>
                  <a:gd name="T74" fmla="*/ 453 w 20000"/>
                  <a:gd name="T75" fmla="*/ 10455 h 20000"/>
                  <a:gd name="T76" fmla="*/ 312 w 20000"/>
                  <a:gd name="T77" fmla="*/ 8840 h 20000"/>
                  <a:gd name="T78" fmla="*/ 1190 w 20000"/>
                  <a:gd name="T79" fmla="*/ 7356 h 20000"/>
                  <a:gd name="T80" fmla="*/ 0 w 20000"/>
                  <a:gd name="T81" fmla="*/ 5562 h 20000"/>
                  <a:gd name="T82" fmla="*/ 1048 w 20000"/>
                  <a:gd name="T83" fmla="*/ 3589 h 20000"/>
                  <a:gd name="T84" fmla="*/ 1473 w 20000"/>
                  <a:gd name="T85" fmla="*/ 2656 h 20000"/>
                  <a:gd name="T86" fmla="*/ 1473 w 20000"/>
                  <a:gd name="T87" fmla="*/ 1663 h 20000"/>
                  <a:gd name="T88" fmla="*/ 3088 w 20000"/>
                  <a:gd name="T89" fmla="*/ 55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3088" y="550"/>
                    </a:moveTo>
                    <a:lnTo>
                      <a:pt x="3371" y="167"/>
                    </a:lnTo>
                    <a:lnTo>
                      <a:pt x="3824" y="48"/>
                    </a:lnTo>
                    <a:lnTo>
                      <a:pt x="3824" y="0"/>
                    </a:lnTo>
                    <a:lnTo>
                      <a:pt x="4561" y="167"/>
                    </a:lnTo>
                    <a:lnTo>
                      <a:pt x="5751" y="167"/>
                    </a:lnTo>
                    <a:lnTo>
                      <a:pt x="6487" y="490"/>
                    </a:lnTo>
                    <a:lnTo>
                      <a:pt x="6912" y="48"/>
                    </a:lnTo>
                    <a:lnTo>
                      <a:pt x="8102" y="48"/>
                    </a:lnTo>
                    <a:lnTo>
                      <a:pt x="9547" y="682"/>
                    </a:lnTo>
                    <a:lnTo>
                      <a:pt x="10737" y="1172"/>
                    </a:lnTo>
                    <a:lnTo>
                      <a:pt x="12210" y="1292"/>
                    </a:lnTo>
                    <a:lnTo>
                      <a:pt x="13371" y="1543"/>
                    </a:lnTo>
                    <a:lnTo>
                      <a:pt x="14703" y="1663"/>
                    </a:lnTo>
                    <a:lnTo>
                      <a:pt x="15297" y="1854"/>
                    </a:lnTo>
                    <a:lnTo>
                      <a:pt x="14986" y="2285"/>
                    </a:lnTo>
                    <a:lnTo>
                      <a:pt x="14533" y="2584"/>
                    </a:lnTo>
                    <a:lnTo>
                      <a:pt x="14079" y="3098"/>
                    </a:lnTo>
                    <a:lnTo>
                      <a:pt x="15411" y="3146"/>
                    </a:lnTo>
                    <a:lnTo>
                      <a:pt x="16601" y="3397"/>
                    </a:lnTo>
                    <a:lnTo>
                      <a:pt x="17790" y="3146"/>
                    </a:lnTo>
                    <a:lnTo>
                      <a:pt x="18810" y="2775"/>
                    </a:lnTo>
                    <a:lnTo>
                      <a:pt x="19093" y="2285"/>
                    </a:lnTo>
                    <a:lnTo>
                      <a:pt x="18810" y="1782"/>
                    </a:lnTo>
                    <a:lnTo>
                      <a:pt x="19093" y="1292"/>
                    </a:lnTo>
                    <a:lnTo>
                      <a:pt x="19235" y="2093"/>
                    </a:lnTo>
                    <a:lnTo>
                      <a:pt x="19972" y="2584"/>
                    </a:lnTo>
                    <a:lnTo>
                      <a:pt x="19688" y="3098"/>
                    </a:lnTo>
                    <a:lnTo>
                      <a:pt x="18810" y="3397"/>
                    </a:lnTo>
                    <a:lnTo>
                      <a:pt x="17790" y="3768"/>
                    </a:lnTo>
                    <a:lnTo>
                      <a:pt x="17195" y="4151"/>
                    </a:lnTo>
                    <a:lnTo>
                      <a:pt x="16459" y="4569"/>
                    </a:lnTo>
                    <a:lnTo>
                      <a:pt x="16006" y="4880"/>
                    </a:lnTo>
                    <a:lnTo>
                      <a:pt x="15411" y="4952"/>
                    </a:lnTo>
                    <a:lnTo>
                      <a:pt x="15411" y="5371"/>
                    </a:lnTo>
                    <a:lnTo>
                      <a:pt x="15297" y="5885"/>
                    </a:lnTo>
                    <a:lnTo>
                      <a:pt x="15297" y="6376"/>
                    </a:lnTo>
                    <a:lnTo>
                      <a:pt x="15297" y="6675"/>
                    </a:lnTo>
                    <a:lnTo>
                      <a:pt x="15297" y="6746"/>
                    </a:lnTo>
                    <a:lnTo>
                      <a:pt x="15297" y="7297"/>
                    </a:lnTo>
                    <a:lnTo>
                      <a:pt x="15297" y="7476"/>
                    </a:lnTo>
                    <a:lnTo>
                      <a:pt x="15411" y="7787"/>
                    </a:lnTo>
                    <a:lnTo>
                      <a:pt x="16176" y="7859"/>
                    </a:lnTo>
                    <a:lnTo>
                      <a:pt x="16912" y="8158"/>
                    </a:lnTo>
                    <a:lnTo>
                      <a:pt x="16912" y="8289"/>
                    </a:lnTo>
                    <a:lnTo>
                      <a:pt x="16912" y="8600"/>
                    </a:lnTo>
                    <a:lnTo>
                      <a:pt x="17790" y="8792"/>
                    </a:lnTo>
                    <a:lnTo>
                      <a:pt x="17790" y="8971"/>
                    </a:lnTo>
                    <a:lnTo>
                      <a:pt x="17337" y="9462"/>
                    </a:lnTo>
                    <a:lnTo>
                      <a:pt x="16912" y="9964"/>
                    </a:lnTo>
                    <a:lnTo>
                      <a:pt x="14986" y="10263"/>
                    </a:lnTo>
                    <a:lnTo>
                      <a:pt x="13088" y="10383"/>
                    </a:lnTo>
                    <a:lnTo>
                      <a:pt x="11190" y="10383"/>
                    </a:lnTo>
                    <a:lnTo>
                      <a:pt x="11898" y="10646"/>
                    </a:lnTo>
                    <a:lnTo>
                      <a:pt x="11898" y="10945"/>
                    </a:lnTo>
                    <a:lnTo>
                      <a:pt x="11586" y="11388"/>
                    </a:lnTo>
                    <a:lnTo>
                      <a:pt x="11898" y="11579"/>
                    </a:lnTo>
                    <a:lnTo>
                      <a:pt x="11473" y="11878"/>
                    </a:lnTo>
                    <a:lnTo>
                      <a:pt x="9858" y="11878"/>
                    </a:lnTo>
                    <a:lnTo>
                      <a:pt x="8527" y="11699"/>
                    </a:lnTo>
                    <a:lnTo>
                      <a:pt x="8527" y="11998"/>
                    </a:lnTo>
                    <a:lnTo>
                      <a:pt x="8810" y="12249"/>
                    </a:lnTo>
                    <a:lnTo>
                      <a:pt x="9263" y="12560"/>
                    </a:lnTo>
                    <a:lnTo>
                      <a:pt x="10425" y="12560"/>
                    </a:lnTo>
                    <a:lnTo>
                      <a:pt x="10737" y="12679"/>
                    </a:lnTo>
                    <a:lnTo>
                      <a:pt x="10737" y="12990"/>
                    </a:lnTo>
                    <a:lnTo>
                      <a:pt x="10312" y="13050"/>
                    </a:lnTo>
                    <a:lnTo>
                      <a:pt x="9972" y="12871"/>
                    </a:lnTo>
                    <a:lnTo>
                      <a:pt x="9263" y="12871"/>
                    </a:lnTo>
                    <a:lnTo>
                      <a:pt x="9263" y="13050"/>
                    </a:lnTo>
                    <a:lnTo>
                      <a:pt x="9858" y="13301"/>
                    </a:lnTo>
                    <a:lnTo>
                      <a:pt x="9122" y="13493"/>
                    </a:lnTo>
                    <a:lnTo>
                      <a:pt x="9263" y="13983"/>
                    </a:lnTo>
                    <a:lnTo>
                      <a:pt x="9263" y="14605"/>
                    </a:lnTo>
                    <a:lnTo>
                      <a:pt x="8385" y="14605"/>
                    </a:lnTo>
                    <a:lnTo>
                      <a:pt x="7365" y="15096"/>
                    </a:lnTo>
                    <a:lnTo>
                      <a:pt x="7195" y="15586"/>
                    </a:lnTo>
                    <a:lnTo>
                      <a:pt x="8527" y="16077"/>
                    </a:lnTo>
                    <a:lnTo>
                      <a:pt x="9858" y="16148"/>
                    </a:lnTo>
                    <a:lnTo>
                      <a:pt x="9263" y="16890"/>
                    </a:lnTo>
                    <a:lnTo>
                      <a:pt x="8102" y="17392"/>
                    </a:lnTo>
                    <a:lnTo>
                      <a:pt x="8102" y="17883"/>
                    </a:lnTo>
                    <a:lnTo>
                      <a:pt x="7195" y="18373"/>
                    </a:lnTo>
                    <a:lnTo>
                      <a:pt x="6912" y="18864"/>
                    </a:lnTo>
                    <a:lnTo>
                      <a:pt x="7365" y="19378"/>
                    </a:lnTo>
                    <a:lnTo>
                      <a:pt x="8102" y="19988"/>
                    </a:lnTo>
                    <a:lnTo>
                      <a:pt x="6912" y="19797"/>
                    </a:lnTo>
                    <a:lnTo>
                      <a:pt x="5439" y="19797"/>
                    </a:lnTo>
                    <a:lnTo>
                      <a:pt x="4278" y="19797"/>
                    </a:lnTo>
                    <a:lnTo>
                      <a:pt x="3088" y="19378"/>
                    </a:lnTo>
                    <a:lnTo>
                      <a:pt x="3088" y="18744"/>
                    </a:lnTo>
                    <a:lnTo>
                      <a:pt x="2210" y="18744"/>
                    </a:lnTo>
                    <a:lnTo>
                      <a:pt x="1473" y="18373"/>
                    </a:lnTo>
                    <a:lnTo>
                      <a:pt x="1190" y="17763"/>
                    </a:lnTo>
                    <a:lnTo>
                      <a:pt x="1926" y="17452"/>
                    </a:lnTo>
                    <a:lnTo>
                      <a:pt x="2210" y="16950"/>
                    </a:lnTo>
                    <a:lnTo>
                      <a:pt x="1926" y="16639"/>
                    </a:lnTo>
                    <a:lnTo>
                      <a:pt x="2210" y="16268"/>
                    </a:lnTo>
                    <a:lnTo>
                      <a:pt x="2210" y="15778"/>
                    </a:lnTo>
                    <a:lnTo>
                      <a:pt x="2210" y="15347"/>
                    </a:lnTo>
                    <a:lnTo>
                      <a:pt x="2210" y="14976"/>
                    </a:lnTo>
                    <a:lnTo>
                      <a:pt x="1926" y="14605"/>
                    </a:lnTo>
                    <a:lnTo>
                      <a:pt x="1473" y="14486"/>
                    </a:lnTo>
                    <a:lnTo>
                      <a:pt x="2210" y="14486"/>
                    </a:lnTo>
                    <a:lnTo>
                      <a:pt x="2210" y="14175"/>
                    </a:lnTo>
                    <a:lnTo>
                      <a:pt x="1473" y="14175"/>
                    </a:lnTo>
                    <a:lnTo>
                      <a:pt x="1473" y="13672"/>
                    </a:lnTo>
                    <a:lnTo>
                      <a:pt x="1190" y="13493"/>
                    </a:lnTo>
                    <a:lnTo>
                      <a:pt x="453" y="13301"/>
                    </a:lnTo>
                    <a:lnTo>
                      <a:pt x="453" y="12560"/>
                    </a:lnTo>
                    <a:lnTo>
                      <a:pt x="1048" y="12679"/>
                    </a:lnTo>
                    <a:lnTo>
                      <a:pt x="312" y="11998"/>
                    </a:lnTo>
                    <a:lnTo>
                      <a:pt x="312" y="11256"/>
                    </a:lnTo>
                    <a:lnTo>
                      <a:pt x="453" y="10455"/>
                    </a:lnTo>
                    <a:lnTo>
                      <a:pt x="1048" y="10383"/>
                    </a:lnTo>
                    <a:lnTo>
                      <a:pt x="312" y="9653"/>
                    </a:lnTo>
                    <a:lnTo>
                      <a:pt x="312" y="8840"/>
                    </a:lnTo>
                    <a:lnTo>
                      <a:pt x="1048" y="8648"/>
                    </a:lnTo>
                    <a:lnTo>
                      <a:pt x="765" y="8038"/>
                    </a:lnTo>
                    <a:lnTo>
                      <a:pt x="1190" y="7356"/>
                    </a:lnTo>
                    <a:lnTo>
                      <a:pt x="765" y="6675"/>
                    </a:lnTo>
                    <a:lnTo>
                      <a:pt x="453" y="6053"/>
                    </a:lnTo>
                    <a:lnTo>
                      <a:pt x="0" y="5562"/>
                    </a:lnTo>
                    <a:lnTo>
                      <a:pt x="312" y="4952"/>
                    </a:lnTo>
                    <a:lnTo>
                      <a:pt x="312" y="4079"/>
                    </a:lnTo>
                    <a:lnTo>
                      <a:pt x="1048" y="3589"/>
                    </a:lnTo>
                    <a:lnTo>
                      <a:pt x="1473" y="3146"/>
                    </a:lnTo>
                    <a:lnTo>
                      <a:pt x="1926" y="2955"/>
                    </a:lnTo>
                    <a:lnTo>
                      <a:pt x="1473" y="2656"/>
                    </a:lnTo>
                    <a:lnTo>
                      <a:pt x="1756" y="2464"/>
                    </a:lnTo>
                    <a:lnTo>
                      <a:pt x="1473" y="1974"/>
                    </a:lnTo>
                    <a:lnTo>
                      <a:pt x="1473" y="1663"/>
                    </a:lnTo>
                    <a:lnTo>
                      <a:pt x="1756" y="1483"/>
                    </a:lnTo>
                    <a:lnTo>
                      <a:pt x="2946" y="1292"/>
                    </a:lnTo>
                    <a:lnTo>
                      <a:pt x="3088" y="55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5" name="Freeform 91"/>
              <p:cNvSpPr>
                <a:spLocks/>
              </p:cNvSpPr>
              <p:nvPr/>
            </p:nvSpPr>
            <p:spPr bwMode="auto">
              <a:xfrm>
                <a:off x="3233738" y="6153150"/>
                <a:ext cx="112712" cy="96838"/>
              </a:xfrm>
              <a:custGeom>
                <a:avLst/>
                <a:gdLst>
                  <a:gd name="T0" fmla="*/ 4181 w 20000"/>
                  <a:gd name="T1" fmla="*/ 18421 h 20000"/>
                  <a:gd name="T2" fmla="*/ 1808 w 20000"/>
                  <a:gd name="T3" fmla="*/ 9605 h 20000"/>
                  <a:gd name="T4" fmla="*/ 0 w 20000"/>
                  <a:gd name="T5" fmla="*/ 0 h 20000"/>
                  <a:gd name="T6" fmla="*/ 2938 w 20000"/>
                  <a:gd name="T7" fmla="*/ 2763 h 20000"/>
                  <a:gd name="T8" fmla="*/ 4181 w 20000"/>
                  <a:gd name="T9" fmla="*/ 6184 h 20000"/>
                  <a:gd name="T10" fmla="*/ 10621 w 20000"/>
                  <a:gd name="T11" fmla="*/ 10921 h 20000"/>
                  <a:gd name="T12" fmla="*/ 15254 w 20000"/>
                  <a:gd name="T13" fmla="*/ 15000 h 20000"/>
                  <a:gd name="T14" fmla="*/ 19887 w 20000"/>
                  <a:gd name="T15" fmla="*/ 16447 h 20000"/>
                  <a:gd name="T16" fmla="*/ 14011 w 20000"/>
                  <a:gd name="T17" fmla="*/ 19868 h 20000"/>
                  <a:gd name="T18" fmla="*/ 8814 w 20000"/>
                  <a:gd name="T19" fmla="*/ 18421 h 20000"/>
                  <a:gd name="T20" fmla="*/ 4181 w 20000"/>
                  <a:gd name="T21" fmla="*/ 1842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4181" y="18421"/>
                    </a:moveTo>
                    <a:lnTo>
                      <a:pt x="1808" y="9605"/>
                    </a:lnTo>
                    <a:lnTo>
                      <a:pt x="0" y="0"/>
                    </a:lnTo>
                    <a:lnTo>
                      <a:pt x="2938" y="2763"/>
                    </a:lnTo>
                    <a:lnTo>
                      <a:pt x="4181" y="6184"/>
                    </a:lnTo>
                    <a:lnTo>
                      <a:pt x="10621" y="10921"/>
                    </a:lnTo>
                    <a:lnTo>
                      <a:pt x="15254" y="15000"/>
                    </a:lnTo>
                    <a:lnTo>
                      <a:pt x="19887" y="16447"/>
                    </a:lnTo>
                    <a:lnTo>
                      <a:pt x="14011" y="19868"/>
                    </a:lnTo>
                    <a:lnTo>
                      <a:pt x="8814" y="18421"/>
                    </a:lnTo>
                    <a:lnTo>
                      <a:pt x="4181" y="1842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6" name="Freeform 90"/>
              <p:cNvSpPr>
                <a:spLocks/>
              </p:cNvSpPr>
              <p:nvPr/>
            </p:nvSpPr>
            <p:spPr bwMode="auto">
              <a:xfrm>
                <a:off x="2835275" y="3629025"/>
                <a:ext cx="20638" cy="42863"/>
              </a:xfrm>
              <a:custGeom>
                <a:avLst/>
                <a:gdLst>
                  <a:gd name="T0" fmla="*/ 15625 w 20000"/>
                  <a:gd name="T1" fmla="*/ 19706 h 20000"/>
                  <a:gd name="T2" fmla="*/ 9375 w 20000"/>
                  <a:gd name="T3" fmla="*/ 15000 h 20000"/>
                  <a:gd name="T4" fmla="*/ 9375 w 20000"/>
                  <a:gd name="T5" fmla="*/ 12059 h 20000"/>
                  <a:gd name="T6" fmla="*/ 9375 w 20000"/>
                  <a:gd name="T7" fmla="*/ 4706 h 20000"/>
                  <a:gd name="T8" fmla="*/ 0 w 20000"/>
                  <a:gd name="T9" fmla="*/ 2941 h 20000"/>
                  <a:gd name="T10" fmla="*/ 0 w 20000"/>
                  <a:gd name="T11" fmla="*/ 0 h 20000"/>
                  <a:gd name="T12" fmla="*/ 9375 w 20000"/>
                  <a:gd name="T13" fmla="*/ 2941 h 20000"/>
                  <a:gd name="T14" fmla="*/ 19375 w 20000"/>
                  <a:gd name="T15" fmla="*/ 12059 h 20000"/>
                  <a:gd name="T16" fmla="*/ 15625 w 20000"/>
                  <a:gd name="T17"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5625" y="19706"/>
                    </a:moveTo>
                    <a:lnTo>
                      <a:pt x="9375" y="15000"/>
                    </a:lnTo>
                    <a:lnTo>
                      <a:pt x="9375" y="12059"/>
                    </a:lnTo>
                    <a:lnTo>
                      <a:pt x="9375" y="4706"/>
                    </a:lnTo>
                    <a:lnTo>
                      <a:pt x="0" y="2941"/>
                    </a:lnTo>
                    <a:lnTo>
                      <a:pt x="0" y="0"/>
                    </a:lnTo>
                    <a:lnTo>
                      <a:pt x="9375" y="2941"/>
                    </a:lnTo>
                    <a:lnTo>
                      <a:pt x="19375" y="12059"/>
                    </a:lnTo>
                    <a:lnTo>
                      <a:pt x="15625"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7" name="Freeform 89"/>
              <p:cNvSpPr>
                <a:spLocks/>
              </p:cNvSpPr>
              <p:nvPr/>
            </p:nvSpPr>
            <p:spPr bwMode="auto">
              <a:xfrm>
                <a:off x="2816225" y="3695700"/>
                <a:ext cx="14288" cy="20638"/>
              </a:xfrm>
              <a:custGeom>
                <a:avLst/>
                <a:gdLst>
                  <a:gd name="T0" fmla="*/ 5455 w 20000"/>
                  <a:gd name="T1" fmla="*/ 19375 h 20000"/>
                  <a:gd name="T2" fmla="*/ 0 w 20000"/>
                  <a:gd name="T3" fmla="*/ 12500 h 20000"/>
                  <a:gd name="T4" fmla="*/ 5455 w 20000"/>
                  <a:gd name="T5" fmla="*/ 9375 h 20000"/>
                  <a:gd name="T6" fmla="*/ 5455 w 20000"/>
                  <a:gd name="T7" fmla="*/ 0 h 20000"/>
                  <a:gd name="T8" fmla="*/ 19091 w 20000"/>
                  <a:gd name="T9" fmla="*/ 0 h 20000"/>
                  <a:gd name="T10" fmla="*/ 19091 w 20000"/>
                  <a:gd name="T11" fmla="*/ 12500 h 20000"/>
                  <a:gd name="T12" fmla="*/ 5455 w 20000"/>
                  <a:gd name="T13" fmla="*/ 1937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455" y="19375"/>
                    </a:moveTo>
                    <a:lnTo>
                      <a:pt x="0" y="12500"/>
                    </a:lnTo>
                    <a:lnTo>
                      <a:pt x="5455" y="9375"/>
                    </a:lnTo>
                    <a:lnTo>
                      <a:pt x="5455" y="0"/>
                    </a:lnTo>
                    <a:lnTo>
                      <a:pt x="19091" y="0"/>
                    </a:lnTo>
                    <a:lnTo>
                      <a:pt x="19091" y="12500"/>
                    </a:lnTo>
                    <a:lnTo>
                      <a:pt x="5455"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8" name="Freeform 88"/>
              <p:cNvSpPr>
                <a:spLocks/>
              </p:cNvSpPr>
              <p:nvPr/>
            </p:nvSpPr>
            <p:spPr bwMode="auto">
              <a:xfrm>
                <a:off x="2855913" y="3679825"/>
                <a:ext cx="23812" cy="30163"/>
              </a:xfrm>
              <a:custGeom>
                <a:avLst/>
                <a:gdLst>
                  <a:gd name="T0" fmla="*/ 19459 w 20000"/>
                  <a:gd name="T1" fmla="*/ 19574 h 20000"/>
                  <a:gd name="T2" fmla="*/ 10811 w 20000"/>
                  <a:gd name="T3" fmla="*/ 17447 h 20000"/>
                  <a:gd name="T4" fmla="*/ 14054 w 20000"/>
                  <a:gd name="T5" fmla="*/ 11064 h 20000"/>
                  <a:gd name="T6" fmla="*/ 0 w 20000"/>
                  <a:gd name="T7" fmla="*/ 1702 h 20000"/>
                  <a:gd name="T8" fmla="*/ 5405 w 20000"/>
                  <a:gd name="T9" fmla="*/ 0 h 20000"/>
                  <a:gd name="T10" fmla="*/ 19459 w 20000"/>
                  <a:gd name="T11" fmla="*/ 11064 h 20000"/>
                  <a:gd name="T12" fmla="*/ 19459 w 20000"/>
                  <a:gd name="T13" fmla="*/ 1957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9459" y="19574"/>
                    </a:moveTo>
                    <a:lnTo>
                      <a:pt x="10811" y="17447"/>
                    </a:lnTo>
                    <a:lnTo>
                      <a:pt x="14054" y="11064"/>
                    </a:lnTo>
                    <a:lnTo>
                      <a:pt x="0" y="1702"/>
                    </a:lnTo>
                    <a:lnTo>
                      <a:pt x="5405" y="0"/>
                    </a:lnTo>
                    <a:lnTo>
                      <a:pt x="19459" y="11064"/>
                    </a:lnTo>
                    <a:lnTo>
                      <a:pt x="19459" y="1957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49" name="Freeform 87"/>
              <p:cNvSpPr>
                <a:spLocks/>
              </p:cNvSpPr>
              <p:nvPr/>
            </p:nvSpPr>
            <p:spPr bwMode="auto">
              <a:xfrm>
                <a:off x="2801938" y="3638550"/>
                <a:ext cx="34925" cy="12700"/>
              </a:xfrm>
              <a:custGeom>
                <a:avLst/>
                <a:gdLst>
                  <a:gd name="T0" fmla="*/ 4074 w 20000"/>
                  <a:gd name="T1" fmla="*/ 19048 h 20000"/>
                  <a:gd name="T2" fmla="*/ 0 w 20000"/>
                  <a:gd name="T3" fmla="*/ 0 h 20000"/>
                  <a:gd name="T4" fmla="*/ 7778 w 20000"/>
                  <a:gd name="T5" fmla="*/ 0 h 20000"/>
                  <a:gd name="T6" fmla="*/ 15926 w 20000"/>
                  <a:gd name="T7" fmla="*/ 0 h 20000"/>
                  <a:gd name="T8" fmla="*/ 19630 w 20000"/>
                  <a:gd name="T9" fmla="*/ 0 h 20000"/>
                  <a:gd name="T10" fmla="*/ 4074 w 20000"/>
                  <a:gd name="T11" fmla="*/ 19048 h 20000"/>
                </a:gdLst>
                <a:ahLst/>
                <a:cxnLst>
                  <a:cxn ang="0">
                    <a:pos x="T0" y="T1"/>
                  </a:cxn>
                  <a:cxn ang="0">
                    <a:pos x="T2" y="T3"/>
                  </a:cxn>
                  <a:cxn ang="0">
                    <a:pos x="T4" y="T5"/>
                  </a:cxn>
                  <a:cxn ang="0">
                    <a:pos x="T6" y="T7"/>
                  </a:cxn>
                  <a:cxn ang="0">
                    <a:pos x="T8" y="T9"/>
                  </a:cxn>
                  <a:cxn ang="0">
                    <a:pos x="T10" y="T11"/>
                  </a:cxn>
                </a:cxnLst>
                <a:rect l="0" t="0" r="r" b="b"/>
                <a:pathLst>
                  <a:path w="20000" h="20000">
                    <a:moveTo>
                      <a:pt x="4074" y="19048"/>
                    </a:moveTo>
                    <a:lnTo>
                      <a:pt x="0" y="0"/>
                    </a:lnTo>
                    <a:lnTo>
                      <a:pt x="7778" y="0"/>
                    </a:lnTo>
                    <a:lnTo>
                      <a:pt x="15926" y="0"/>
                    </a:lnTo>
                    <a:lnTo>
                      <a:pt x="19630" y="0"/>
                    </a:lnTo>
                    <a:lnTo>
                      <a:pt x="4074" y="190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0" name="Freeform 86"/>
              <p:cNvSpPr>
                <a:spLocks/>
              </p:cNvSpPr>
              <p:nvPr/>
            </p:nvSpPr>
            <p:spPr bwMode="auto">
              <a:xfrm>
                <a:off x="2930525" y="3816350"/>
                <a:ext cx="23813" cy="11113"/>
              </a:xfrm>
              <a:custGeom>
                <a:avLst/>
                <a:gdLst>
                  <a:gd name="T0" fmla="*/ 5405 w 20000"/>
                  <a:gd name="T1" fmla="*/ 18824 h 20000"/>
                  <a:gd name="T2" fmla="*/ 0 w 20000"/>
                  <a:gd name="T3" fmla="*/ 5882 h 20000"/>
                  <a:gd name="T4" fmla="*/ 8649 w 20000"/>
                  <a:gd name="T5" fmla="*/ 0 h 20000"/>
                  <a:gd name="T6" fmla="*/ 19459 w 20000"/>
                  <a:gd name="T7" fmla="*/ 0 h 20000"/>
                  <a:gd name="T8" fmla="*/ 14054 w 20000"/>
                  <a:gd name="T9" fmla="*/ 18824 h 20000"/>
                  <a:gd name="T10" fmla="*/ 5405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5405" y="18824"/>
                    </a:moveTo>
                    <a:lnTo>
                      <a:pt x="0" y="5882"/>
                    </a:lnTo>
                    <a:lnTo>
                      <a:pt x="8649" y="0"/>
                    </a:lnTo>
                    <a:lnTo>
                      <a:pt x="19459" y="0"/>
                    </a:lnTo>
                    <a:lnTo>
                      <a:pt x="14054" y="18824"/>
                    </a:lnTo>
                    <a:lnTo>
                      <a:pt x="5405"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1" name="Freeform 85"/>
              <p:cNvSpPr>
                <a:spLocks/>
              </p:cNvSpPr>
              <p:nvPr/>
            </p:nvSpPr>
            <p:spPr bwMode="auto">
              <a:xfrm>
                <a:off x="2886075" y="3705225"/>
                <a:ext cx="12700" cy="20638"/>
              </a:xfrm>
              <a:custGeom>
                <a:avLst/>
                <a:gdLst>
                  <a:gd name="T0" fmla="*/ 3810 w 20000"/>
                  <a:gd name="T1" fmla="*/ 19375 h 20000"/>
                  <a:gd name="T2" fmla="*/ 3810 w 20000"/>
                  <a:gd name="T3" fmla="*/ 15625 h 20000"/>
                  <a:gd name="T4" fmla="*/ 0 w 20000"/>
                  <a:gd name="T5" fmla="*/ 2500 h 20000"/>
                  <a:gd name="T6" fmla="*/ 3810 w 20000"/>
                  <a:gd name="T7" fmla="*/ 0 h 20000"/>
                  <a:gd name="T8" fmla="*/ 19048 w 20000"/>
                  <a:gd name="T9" fmla="*/ 19375 h 20000"/>
                  <a:gd name="T10" fmla="*/ 3810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3810" y="19375"/>
                    </a:moveTo>
                    <a:lnTo>
                      <a:pt x="3810" y="15625"/>
                    </a:lnTo>
                    <a:lnTo>
                      <a:pt x="0" y="2500"/>
                    </a:lnTo>
                    <a:lnTo>
                      <a:pt x="3810" y="0"/>
                    </a:lnTo>
                    <a:lnTo>
                      <a:pt x="19048" y="19375"/>
                    </a:lnTo>
                    <a:lnTo>
                      <a:pt x="3810"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2" name="Freeform 84"/>
              <p:cNvSpPr>
                <a:spLocks/>
              </p:cNvSpPr>
              <p:nvPr/>
            </p:nvSpPr>
            <p:spPr bwMode="auto">
              <a:xfrm>
                <a:off x="2894013" y="3741738"/>
                <a:ext cx="11112" cy="26987"/>
              </a:xfrm>
              <a:custGeom>
                <a:avLst/>
                <a:gdLst>
                  <a:gd name="T0" fmla="*/ 18824 w 20000"/>
                  <a:gd name="T1" fmla="*/ 19524 h 20000"/>
                  <a:gd name="T2" fmla="*/ 0 w 20000"/>
                  <a:gd name="T3" fmla="*/ 0 h 20000"/>
                  <a:gd name="T4" fmla="*/ 18824 w 20000"/>
                  <a:gd name="T5" fmla="*/ 16667 h 20000"/>
                  <a:gd name="T6" fmla="*/ 18824 w 20000"/>
                  <a:gd name="T7" fmla="*/ 19524 h 20000"/>
                </a:gdLst>
                <a:ahLst/>
                <a:cxnLst>
                  <a:cxn ang="0">
                    <a:pos x="T0" y="T1"/>
                  </a:cxn>
                  <a:cxn ang="0">
                    <a:pos x="T2" y="T3"/>
                  </a:cxn>
                  <a:cxn ang="0">
                    <a:pos x="T4" y="T5"/>
                  </a:cxn>
                  <a:cxn ang="0">
                    <a:pos x="T6" y="T7"/>
                  </a:cxn>
                </a:cxnLst>
                <a:rect l="0" t="0" r="r" b="b"/>
                <a:pathLst>
                  <a:path w="20000" h="20000">
                    <a:moveTo>
                      <a:pt x="18824" y="19524"/>
                    </a:moveTo>
                    <a:lnTo>
                      <a:pt x="0" y="0"/>
                    </a:lnTo>
                    <a:lnTo>
                      <a:pt x="18824" y="16667"/>
                    </a:lnTo>
                    <a:lnTo>
                      <a:pt x="18824"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3" name="Freeform 83"/>
              <p:cNvSpPr>
                <a:spLocks/>
              </p:cNvSpPr>
              <p:nvPr/>
            </p:nvSpPr>
            <p:spPr bwMode="auto">
              <a:xfrm>
                <a:off x="2828925" y="3724275"/>
                <a:ext cx="6350" cy="11113"/>
              </a:xfrm>
              <a:custGeom>
                <a:avLst/>
                <a:gdLst>
                  <a:gd name="T0" fmla="*/ 0 w 20000"/>
                  <a:gd name="T1" fmla="*/ 18824 h 20000"/>
                  <a:gd name="T2" fmla="*/ 0 w 20000"/>
                  <a:gd name="T3" fmla="*/ 11765 h 20000"/>
                  <a:gd name="T4" fmla="*/ 18182 w 20000"/>
                  <a:gd name="T5" fmla="*/ 0 h 20000"/>
                  <a:gd name="T6" fmla="*/ 18182 w 20000"/>
                  <a:gd name="T7" fmla="*/ 18824 h 20000"/>
                  <a:gd name="T8" fmla="*/ 0 w 20000"/>
                  <a:gd name="T9" fmla="*/ 18824 h 20000"/>
                </a:gdLst>
                <a:ahLst/>
                <a:cxnLst>
                  <a:cxn ang="0">
                    <a:pos x="T0" y="T1"/>
                  </a:cxn>
                  <a:cxn ang="0">
                    <a:pos x="T2" y="T3"/>
                  </a:cxn>
                  <a:cxn ang="0">
                    <a:pos x="T4" y="T5"/>
                  </a:cxn>
                  <a:cxn ang="0">
                    <a:pos x="T6" y="T7"/>
                  </a:cxn>
                  <a:cxn ang="0">
                    <a:pos x="T8" y="T9"/>
                  </a:cxn>
                </a:cxnLst>
                <a:rect l="0" t="0" r="r" b="b"/>
                <a:pathLst>
                  <a:path w="20000" h="20000">
                    <a:moveTo>
                      <a:pt x="0" y="18824"/>
                    </a:moveTo>
                    <a:lnTo>
                      <a:pt x="0" y="11765"/>
                    </a:lnTo>
                    <a:lnTo>
                      <a:pt x="18182" y="0"/>
                    </a:lnTo>
                    <a:lnTo>
                      <a:pt x="18182" y="18824"/>
                    </a:lnTo>
                    <a:lnTo>
                      <a:pt x="0"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4" name="Freeform 82"/>
              <p:cNvSpPr>
                <a:spLocks/>
              </p:cNvSpPr>
              <p:nvPr/>
            </p:nvSpPr>
            <p:spPr bwMode="auto">
              <a:xfrm>
                <a:off x="2954338" y="3778250"/>
                <a:ext cx="11112" cy="6350"/>
              </a:xfrm>
              <a:custGeom>
                <a:avLst/>
                <a:gdLst>
                  <a:gd name="T0" fmla="*/ 18824 w 20000"/>
                  <a:gd name="T1" fmla="*/ 18182 h 20000"/>
                  <a:gd name="T2" fmla="*/ 0 w 20000"/>
                  <a:gd name="T3" fmla="*/ 18182 h 20000"/>
                  <a:gd name="T4" fmla="*/ 0 w 20000"/>
                  <a:gd name="T5" fmla="*/ 0 h 20000"/>
                  <a:gd name="T6" fmla="*/ 18824 w 20000"/>
                  <a:gd name="T7" fmla="*/ 18182 h 20000"/>
                </a:gdLst>
                <a:ahLst/>
                <a:cxnLst>
                  <a:cxn ang="0">
                    <a:pos x="T0" y="T1"/>
                  </a:cxn>
                  <a:cxn ang="0">
                    <a:pos x="T2" y="T3"/>
                  </a:cxn>
                  <a:cxn ang="0">
                    <a:pos x="T4" y="T5"/>
                  </a:cxn>
                  <a:cxn ang="0">
                    <a:pos x="T6" y="T7"/>
                  </a:cxn>
                </a:cxnLst>
                <a:rect l="0" t="0" r="r" b="b"/>
                <a:pathLst>
                  <a:path w="20000" h="20000">
                    <a:moveTo>
                      <a:pt x="18824" y="18182"/>
                    </a:moveTo>
                    <a:lnTo>
                      <a:pt x="0" y="18182"/>
                    </a:lnTo>
                    <a:lnTo>
                      <a:pt x="0" y="0"/>
                    </a:lnTo>
                    <a:lnTo>
                      <a:pt x="18824" y="181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5" name="Freeform 81"/>
              <p:cNvSpPr>
                <a:spLocks/>
              </p:cNvSpPr>
              <p:nvPr/>
            </p:nvSpPr>
            <p:spPr bwMode="auto">
              <a:xfrm>
                <a:off x="3309938" y="4059238"/>
                <a:ext cx="11112" cy="17462"/>
              </a:xfrm>
              <a:custGeom>
                <a:avLst/>
                <a:gdLst>
                  <a:gd name="T0" fmla="*/ 5882 w 20000"/>
                  <a:gd name="T1" fmla="*/ 19259 h 20000"/>
                  <a:gd name="T2" fmla="*/ 0 w 20000"/>
                  <a:gd name="T3" fmla="*/ 0 h 20000"/>
                  <a:gd name="T4" fmla="*/ 5882 w 20000"/>
                  <a:gd name="T5" fmla="*/ 0 h 20000"/>
                  <a:gd name="T6" fmla="*/ 18824 w 20000"/>
                  <a:gd name="T7" fmla="*/ 11852 h 20000"/>
                  <a:gd name="T8" fmla="*/ 5882 w 20000"/>
                  <a:gd name="T9" fmla="*/ 19259 h 20000"/>
                </a:gdLst>
                <a:ahLst/>
                <a:cxnLst>
                  <a:cxn ang="0">
                    <a:pos x="T0" y="T1"/>
                  </a:cxn>
                  <a:cxn ang="0">
                    <a:pos x="T2" y="T3"/>
                  </a:cxn>
                  <a:cxn ang="0">
                    <a:pos x="T4" y="T5"/>
                  </a:cxn>
                  <a:cxn ang="0">
                    <a:pos x="T6" y="T7"/>
                  </a:cxn>
                  <a:cxn ang="0">
                    <a:pos x="T8" y="T9"/>
                  </a:cxn>
                </a:cxnLst>
                <a:rect l="0" t="0" r="r" b="b"/>
                <a:pathLst>
                  <a:path w="20000" h="20000">
                    <a:moveTo>
                      <a:pt x="5882" y="19259"/>
                    </a:moveTo>
                    <a:lnTo>
                      <a:pt x="0" y="0"/>
                    </a:lnTo>
                    <a:lnTo>
                      <a:pt x="5882" y="0"/>
                    </a:lnTo>
                    <a:lnTo>
                      <a:pt x="18824" y="11852"/>
                    </a:lnTo>
                    <a:lnTo>
                      <a:pt x="5882"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6" name="Freeform 80"/>
              <p:cNvSpPr>
                <a:spLocks/>
              </p:cNvSpPr>
              <p:nvPr/>
            </p:nvSpPr>
            <p:spPr bwMode="auto">
              <a:xfrm>
                <a:off x="2484438" y="3895725"/>
                <a:ext cx="41275" cy="76200"/>
              </a:xfrm>
              <a:custGeom>
                <a:avLst/>
                <a:gdLst>
                  <a:gd name="T0" fmla="*/ 3125 w 20000"/>
                  <a:gd name="T1" fmla="*/ 4333 h 20000"/>
                  <a:gd name="T2" fmla="*/ 11250 w 20000"/>
                  <a:gd name="T3" fmla="*/ 0 h 20000"/>
                  <a:gd name="T4" fmla="*/ 16250 w 20000"/>
                  <a:gd name="T5" fmla="*/ 0 h 20000"/>
                  <a:gd name="T6" fmla="*/ 19688 w 20000"/>
                  <a:gd name="T7" fmla="*/ 1667 h 20000"/>
                  <a:gd name="T8" fmla="*/ 16250 w 20000"/>
                  <a:gd name="T9" fmla="*/ 8500 h 20000"/>
                  <a:gd name="T10" fmla="*/ 13125 w 20000"/>
                  <a:gd name="T11" fmla="*/ 13667 h 20000"/>
                  <a:gd name="T12" fmla="*/ 8125 w 20000"/>
                  <a:gd name="T13" fmla="*/ 16333 h 20000"/>
                  <a:gd name="T14" fmla="*/ 3125 w 20000"/>
                  <a:gd name="T15" fmla="*/ 19833 h 20000"/>
                  <a:gd name="T16" fmla="*/ 0 w 20000"/>
                  <a:gd name="T17" fmla="*/ 18000 h 20000"/>
                  <a:gd name="T18" fmla="*/ 3125 w 20000"/>
                  <a:gd name="T19" fmla="*/ 43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3125" y="4333"/>
                    </a:moveTo>
                    <a:lnTo>
                      <a:pt x="11250" y="0"/>
                    </a:lnTo>
                    <a:lnTo>
                      <a:pt x="16250" y="0"/>
                    </a:lnTo>
                    <a:lnTo>
                      <a:pt x="19688" y="1667"/>
                    </a:lnTo>
                    <a:lnTo>
                      <a:pt x="16250" y="8500"/>
                    </a:lnTo>
                    <a:lnTo>
                      <a:pt x="13125" y="13667"/>
                    </a:lnTo>
                    <a:lnTo>
                      <a:pt x="8125" y="16333"/>
                    </a:lnTo>
                    <a:lnTo>
                      <a:pt x="3125" y="19833"/>
                    </a:lnTo>
                    <a:lnTo>
                      <a:pt x="0" y="18000"/>
                    </a:lnTo>
                    <a:lnTo>
                      <a:pt x="3125" y="433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7" name="Freeform 79"/>
              <p:cNvSpPr>
                <a:spLocks/>
              </p:cNvSpPr>
              <p:nvPr/>
            </p:nvSpPr>
            <p:spPr bwMode="auto">
              <a:xfrm>
                <a:off x="3025775" y="4718050"/>
                <a:ext cx="346075" cy="387350"/>
              </a:xfrm>
              <a:custGeom>
                <a:avLst/>
                <a:gdLst>
                  <a:gd name="T0" fmla="*/ 587 w 20000"/>
                  <a:gd name="T1" fmla="*/ 8478 h 20000"/>
                  <a:gd name="T2" fmla="*/ 991 w 20000"/>
                  <a:gd name="T3" fmla="*/ 6939 h 20000"/>
                  <a:gd name="T4" fmla="*/ 991 w 20000"/>
                  <a:gd name="T5" fmla="*/ 5728 h 20000"/>
                  <a:gd name="T6" fmla="*/ 1505 w 20000"/>
                  <a:gd name="T7" fmla="*/ 3863 h 20000"/>
                  <a:gd name="T8" fmla="*/ 0 w 20000"/>
                  <a:gd name="T9" fmla="*/ 1669 h 20000"/>
                  <a:gd name="T10" fmla="*/ 1908 w 20000"/>
                  <a:gd name="T11" fmla="*/ 1997 h 20000"/>
                  <a:gd name="T12" fmla="*/ 2862 w 20000"/>
                  <a:gd name="T13" fmla="*/ 1342 h 20000"/>
                  <a:gd name="T14" fmla="*/ 4954 w 20000"/>
                  <a:gd name="T15" fmla="*/ 0 h 20000"/>
                  <a:gd name="T16" fmla="*/ 6862 w 20000"/>
                  <a:gd name="T17" fmla="*/ 0 h 20000"/>
                  <a:gd name="T18" fmla="*/ 7046 w 20000"/>
                  <a:gd name="T19" fmla="*/ 1997 h 20000"/>
                  <a:gd name="T20" fmla="*/ 7817 w 20000"/>
                  <a:gd name="T21" fmla="*/ 3372 h 20000"/>
                  <a:gd name="T22" fmla="*/ 9321 w 20000"/>
                  <a:gd name="T23" fmla="*/ 4223 h 20000"/>
                  <a:gd name="T24" fmla="*/ 12000 w 20000"/>
                  <a:gd name="T25" fmla="*/ 4877 h 20000"/>
                  <a:gd name="T26" fmla="*/ 15009 w 20000"/>
                  <a:gd name="T27" fmla="*/ 6088 h 20000"/>
                  <a:gd name="T28" fmla="*/ 15413 w 20000"/>
                  <a:gd name="T29" fmla="*/ 7954 h 20000"/>
                  <a:gd name="T30" fmla="*/ 15413 w 20000"/>
                  <a:gd name="T31" fmla="*/ 9624 h 20000"/>
                  <a:gd name="T32" fmla="*/ 18826 w 20000"/>
                  <a:gd name="T33" fmla="*/ 9951 h 20000"/>
                  <a:gd name="T34" fmla="*/ 19963 w 20000"/>
                  <a:gd name="T35" fmla="*/ 12013 h 20000"/>
                  <a:gd name="T36" fmla="*/ 19963 w 20000"/>
                  <a:gd name="T37" fmla="*/ 14043 h 20000"/>
                  <a:gd name="T38" fmla="*/ 19376 w 20000"/>
                  <a:gd name="T39" fmla="*/ 15908 h 20000"/>
                  <a:gd name="T40" fmla="*/ 18239 w 20000"/>
                  <a:gd name="T41" fmla="*/ 14894 h 20000"/>
                  <a:gd name="T42" fmla="*/ 13505 w 20000"/>
                  <a:gd name="T43" fmla="*/ 14894 h 20000"/>
                  <a:gd name="T44" fmla="*/ 13505 w 20000"/>
                  <a:gd name="T45" fmla="*/ 15417 h 20000"/>
                  <a:gd name="T46" fmla="*/ 12550 w 20000"/>
                  <a:gd name="T47" fmla="*/ 16236 h 20000"/>
                  <a:gd name="T48" fmla="*/ 12917 w 20000"/>
                  <a:gd name="T49" fmla="*/ 17250 h 20000"/>
                  <a:gd name="T50" fmla="*/ 12000 w 20000"/>
                  <a:gd name="T51" fmla="*/ 18625 h 20000"/>
                  <a:gd name="T52" fmla="*/ 10459 w 20000"/>
                  <a:gd name="T53" fmla="*/ 18625 h 20000"/>
                  <a:gd name="T54" fmla="*/ 9908 w 20000"/>
                  <a:gd name="T55" fmla="*/ 19804 h 20000"/>
                  <a:gd name="T56" fmla="*/ 8954 w 20000"/>
                  <a:gd name="T57" fmla="*/ 18953 h 20000"/>
                  <a:gd name="T58" fmla="*/ 7413 w 20000"/>
                  <a:gd name="T59" fmla="*/ 18953 h 20000"/>
                  <a:gd name="T60" fmla="*/ 6459 w 20000"/>
                  <a:gd name="T61" fmla="*/ 18462 h 20000"/>
                  <a:gd name="T62" fmla="*/ 6459 w 20000"/>
                  <a:gd name="T63" fmla="*/ 18625 h 20000"/>
                  <a:gd name="T64" fmla="*/ 5872 w 20000"/>
                  <a:gd name="T65" fmla="*/ 18953 h 20000"/>
                  <a:gd name="T66" fmla="*/ 5505 w 20000"/>
                  <a:gd name="T67" fmla="*/ 19967 h 20000"/>
                  <a:gd name="T68" fmla="*/ 4367 w 20000"/>
                  <a:gd name="T69" fmla="*/ 19967 h 20000"/>
                  <a:gd name="T70" fmla="*/ 3817 w 20000"/>
                  <a:gd name="T71" fmla="*/ 18462 h 20000"/>
                  <a:gd name="T72" fmla="*/ 3083 w 20000"/>
                  <a:gd name="T73" fmla="*/ 16759 h 20000"/>
                  <a:gd name="T74" fmla="*/ 2495 w 20000"/>
                  <a:gd name="T75" fmla="*/ 14566 h 20000"/>
                  <a:gd name="T76" fmla="*/ 1505 w 20000"/>
                  <a:gd name="T77" fmla="*/ 12831 h 20000"/>
                  <a:gd name="T78" fmla="*/ 587 w 20000"/>
                  <a:gd name="T79" fmla="*/ 11817 h 20000"/>
                  <a:gd name="T80" fmla="*/ 991 w 20000"/>
                  <a:gd name="T81" fmla="*/ 10671 h 20000"/>
                  <a:gd name="T82" fmla="*/ 1358 w 20000"/>
                  <a:gd name="T83" fmla="*/ 9951 h 20000"/>
                  <a:gd name="T84" fmla="*/ 1505 w 20000"/>
                  <a:gd name="T85" fmla="*/ 10147 h 20000"/>
                  <a:gd name="T86" fmla="*/ 2092 w 20000"/>
                  <a:gd name="T87" fmla="*/ 9624 h 20000"/>
                  <a:gd name="T88" fmla="*/ 587 w 20000"/>
                  <a:gd name="T89" fmla="*/ 84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587" y="8478"/>
                    </a:moveTo>
                    <a:lnTo>
                      <a:pt x="991" y="6939"/>
                    </a:lnTo>
                    <a:lnTo>
                      <a:pt x="991" y="5728"/>
                    </a:lnTo>
                    <a:lnTo>
                      <a:pt x="1505" y="3863"/>
                    </a:lnTo>
                    <a:lnTo>
                      <a:pt x="0" y="1669"/>
                    </a:lnTo>
                    <a:lnTo>
                      <a:pt x="1908" y="1997"/>
                    </a:lnTo>
                    <a:lnTo>
                      <a:pt x="2862" y="1342"/>
                    </a:lnTo>
                    <a:lnTo>
                      <a:pt x="4954" y="0"/>
                    </a:lnTo>
                    <a:lnTo>
                      <a:pt x="6862" y="0"/>
                    </a:lnTo>
                    <a:lnTo>
                      <a:pt x="7046" y="1997"/>
                    </a:lnTo>
                    <a:lnTo>
                      <a:pt x="7817" y="3372"/>
                    </a:lnTo>
                    <a:lnTo>
                      <a:pt x="9321" y="4223"/>
                    </a:lnTo>
                    <a:lnTo>
                      <a:pt x="12000" y="4877"/>
                    </a:lnTo>
                    <a:lnTo>
                      <a:pt x="15009" y="6088"/>
                    </a:lnTo>
                    <a:lnTo>
                      <a:pt x="15413" y="7954"/>
                    </a:lnTo>
                    <a:lnTo>
                      <a:pt x="15413" y="9624"/>
                    </a:lnTo>
                    <a:lnTo>
                      <a:pt x="18826" y="9951"/>
                    </a:lnTo>
                    <a:lnTo>
                      <a:pt x="19963" y="12013"/>
                    </a:lnTo>
                    <a:lnTo>
                      <a:pt x="19963" y="14043"/>
                    </a:lnTo>
                    <a:lnTo>
                      <a:pt x="19376" y="15908"/>
                    </a:lnTo>
                    <a:lnTo>
                      <a:pt x="18239" y="14894"/>
                    </a:lnTo>
                    <a:lnTo>
                      <a:pt x="13505" y="14894"/>
                    </a:lnTo>
                    <a:lnTo>
                      <a:pt x="13505" y="15417"/>
                    </a:lnTo>
                    <a:lnTo>
                      <a:pt x="12550" y="16236"/>
                    </a:lnTo>
                    <a:lnTo>
                      <a:pt x="12917" y="17250"/>
                    </a:lnTo>
                    <a:lnTo>
                      <a:pt x="12000" y="18625"/>
                    </a:lnTo>
                    <a:lnTo>
                      <a:pt x="10459" y="18625"/>
                    </a:lnTo>
                    <a:lnTo>
                      <a:pt x="9908" y="19804"/>
                    </a:lnTo>
                    <a:lnTo>
                      <a:pt x="8954" y="18953"/>
                    </a:lnTo>
                    <a:lnTo>
                      <a:pt x="7413" y="18953"/>
                    </a:lnTo>
                    <a:lnTo>
                      <a:pt x="6459" y="18462"/>
                    </a:lnTo>
                    <a:lnTo>
                      <a:pt x="6459" y="18625"/>
                    </a:lnTo>
                    <a:lnTo>
                      <a:pt x="5872" y="18953"/>
                    </a:lnTo>
                    <a:lnTo>
                      <a:pt x="5505" y="19967"/>
                    </a:lnTo>
                    <a:lnTo>
                      <a:pt x="4367" y="19967"/>
                    </a:lnTo>
                    <a:lnTo>
                      <a:pt x="3817" y="18462"/>
                    </a:lnTo>
                    <a:lnTo>
                      <a:pt x="3083" y="16759"/>
                    </a:lnTo>
                    <a:lnTo>
                      <a:pt x="2495" y="14566"/>
                    </a:lnTo>
                    <a:lnTo>
                      <a:pt x="1505" y="12831"/>
                    </a:lnTo>
                    <a:lnTo>
                      <a:pt x="587" y="11817"/>
                    </a:lnTo>
                    <a:lnTo>
                      <a:pt x="991" y="10671"/>
                    </a:lnTo>
                    <a:lnTo>
                      <a:pt x="1358" y="9951"/>
                    </a:lnTo>
                    <a:lnTo>
                      <a:pt x="1505" y="10147"/>
                    </a:lnTo>
                    <a:lnTo>
                      <a:pt x="2092" y="9624"/>
                    </a:lnTo>
                    <a:lnTo>
                      <a:pt x="587" y="847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8" name="Freeform 78"/>
              <p:cNvSpPr>
                <a:spLocks/>
              </p:cNvSpPr>
              <p:nvPr/>
            </p:nvSpPr>
            <p:spPr bwMode="auto">
              <a:xfrm>
                <a:off x="2905125" y="4286250"/>
                <a:ext cx="1103313" cy="1160463"/>
              </a:xfrm>
              <a:custGeom>
                <a:avLst/>
                <a:gdLst>
                  <a:gd name="T0" fmla="*/ 10800 w 20000"/>
                  <a:gd name="T1" fmla="*/ 1586 h 20000"/>
                  <a:gd name="T2" fmla="*/ 11399 w 20000"/>
                  <a:gd name="T3" fmla="*/ 569 h 20000"/>
                  <a:gd name="T4" fmla="*/ 12228 w 20000"/>
                  <a:gd name="T5" fmla="*/ 1761 h 20000"/>
                  <a:gd name="T6" fmla="*/ 11272 w 20000"/>
                  <a:gd name="T7" fmla="*/ 2954 h 20000"/>
                  <a:gd name="T8" fmla="*/ 11940 w 20000"/>
                  <a:gd name="T9" fmla="*/ 2779 h 20000"/>
                  <a:gd name="T10" fmla="*/ 11871 w 20000"/>
                  <a:gd name="T11" fmla="*/ 3578 h 20000"/>
                  <a:gd name="T12" fmla="*/ 13898 w 20000"/>
                  <a:gd name="T13" fmla="*/ 3118 h 20000"/>
                  <a:gd name="T14" fmla="*/ 14922 w 20000"/>
                  <a:gd name="T15" fmla="*/ 4081 h 20000"/>
                  <a:gd name="T16" fmla="*/ 17179 w 20000"/>
                  <a:gd name="T17" fmla="*/ 4081 h 20000"/>
                  <a:gd name="T18" fmla="*/ 19447 w 20000"/>
                  <a:gd name="T19" fmla="*/ 5153 h 20000"/>
                  <a:gd name="T20" fmla="*/ 19747 w 20000"/>
                  <a:gd name="T21" fmla="*/ 7090 h 20000"/>
                  <a:gd name="T22" fmla="*/ 18618 w 20000"/>
                  <a:gd name="T23" fmla="*/ 8720 h 20000"/>
                  <a:gd name="T24" fmla="*/ 17962 w 20000"/>
                  <a:gd name="T25" fmla="*/ 9912 h 20000"/>
                  <a:gd name="T26" fmla="*/ 17720 w 20000"/>
                  <a:gd name="T27" fmla="*/ 11718 h 20000"/>
                  <a:gd name="T28" fmla="*/ 17064 w 20000"/>
                  <a:gd name="T29" fmla="*/ 13643 h 20000"/>
                  <a:gd name="T30" fmla="*/ 15452 w 20000"/>
                  <a:gd name="T31" fmla="*/ 14333 h 20000"/>
                  <a:gd name="T32" fmla="*/ 13483 w 20000"/>
                  <a:gd name="T33" fmla="*/ 15514 h 20000"/>
                  <a:gd name="T34" fmla="*/ 13184 w 20000"/>
                  <a:gd name="T35" fmla="*/ 17221 h 20000"/>
                  <a:gd name="T36" fmla="*/ 12355 w 20000"/>
                  <a:gd name="T37" fmla="*/ 18687 h 20000"/>
                  <a:gd name="T38" fmla="*/ 11399 w 20000"/>
                  <a:gd name="T39" fmla="*/ 19989 h 20000"/>
                  <a:gd name="T40" fmla="*/ 10800 w 20000"/>
                  <a:gd name="T41" fmla="*/ 18851 h 20000"/>
                  <a:gd name="T42" fmla="*/ 9372 w 20000"/>
                  <a:gd name="T43" fmla="*/ 18063 h 20000"/>
                  <a:gd name="T44" fmla="*/ 9672 w 20000"/>
                  <a:gd name="T45" fmla="*/ 17385 h 20000"/>
                  <a:gd name="T46" fmla="*/ 10685 w 20000"/>
                  <a:gd name="T47" fmla="*/ 16422 h 20000"/>
                  <a:gd name="T48" fmla="*/ 10432 w 20000"/>
                  <a:gd name="T49" fmla="*/ 14781 h 20000"/>
                  <a:gd name="T50" fmla="*/ 9672 w 20000"/>
                  <a:gd name="T51" fmla="*/ 13818 h 20000"/>
                  <a:gd name="T52" fmla="*/ 8474 w 20000"/>
                  <a:gd name="T53" fmla="*/ 12123 h 20000"/>
                  <a:gd name="T54" fmla="*/ 7047 w 20000"/>
                  <a:gd name="T55" fmla="*/ 10646 h 20000"/>
                  <a:gd name="T56" fmla="*/ 5964 w 20000"/>
                  <a:gd name="T57" fmla="*/ 9059 h 20000"/>
                  <a:gd name="T58" fmla="*/ 4421 w 20000"/>
                  <a:gd name="T59" fmla="*/ 8096 h 20000"/>
                  <a:gd name="T60" fmla="*/ 3109 w 20000"/>
                  <a:gd name="T61" fmla="*/ 7877 h 20000"/>
                  <a:gd name="T62" fmla="*/ 1911 w 20000"/>
                  <a:gd name="T63" fmla="*/ 7987 h 20000"/>
                  <a:gd name="T64" fmla="*/ 1439 w 20000"/>
                  <a:gd name="T65" fmla="*/ 7429 h 20000"/>
                  <a:gd name="T66" fmla="*/ 311 w 20000"/>
                  <a:gd name="T67" fmla="*/ 6958 h 20000"/>
                  <a:gd name="T68" fmla="*/ 311 w 20000"/>
                  <a:gd name="T69" fmla="*/ 5777 h 20000"/>
                  <a:gd name="T70" fmla="*/ 1439 w 20000"/>
                  <a:gd name="T71" fmla="*/ 4584 h 20000"/>
                  <a:gd name="T72" fmla="*/ 2211 w 20000"/>
                  <a:gd name="T73" fmla="*/ 3118 h 20000"/>
                  <a:gd name="T74" fmla="*/ 1911 w 20000"/>
                  <a:gd name="T75" fmla="*/ 2330 h 20000"/>
                  <a:gd name="T76" fmla="*/ 1911 w 20000"/>
                  <a:gd name="T77" fmla="*/ 2046 h 20000"/>
                  <a:gd name="T78" fmla="*/ 2809 w 20000"/>
                  <a:gd name="T79" fmla="*/ 1761 h 20000"/>
                  <a:gd name="T80" fmla="*/ 3397 w 20000"/>
                  <a:gd name="T81" fmla="*/ 1926 h 20000"/>
                  <a:gd name="T82" fmla="*/ 4122 w 20000"/>
                  <a:gd name="T83" fmla="*/ 2155 h 20000"/>
                  <a:gd name="T84" fmla="*/ 5320 w 20000"/>
                  <a:gd name="T85" fmla="*/ 1411 h 20000"/>
                  <a:gd name="T86" fmla="*/ 4537 w 20000"/>
                  <a:gd name="T87" fmla="*/ 569 h 20000"/>
                  <a:gd name="T88" fmla="*/ 5792 w 20000"/>
                  <a:gd name="T89" fmla="*/ 569 h 20000"/>
                  <a:gd name="T90" fmla="*/ 6920 w 20000"/>
                  <a:gd name="T91" fmla="*/ 0 h 20000"/>
                  <a:gd name="T92" fmla="*/ 7047 w 20000"/>
                  <a:gd name="T93" fmla="*/ 1302 h 20000"/>
                  <a:gd name="T94" fmla="*/ 8405 w 20000"/>
                  <a:gd name="T95" fmla="*/ 1761 h 20000"/>
                  <a:gd name="T96" fmla="*/ 9188 w 20000"/>
                  <a:gd name="T97" fmla="*/ 141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9845" y="1477"/>
                    </a:moveTo>
                    <a:lnTo>
                      <a:pt x="10201" y="1707"/>
                    </a:lnTo>
                    <a:lnTo>
                      <a:pt x="10800" y="1586"/>
                    </a:lnTo>
                    <a:lnTo>
                      <a:pt x="11100" y="1138"/>
                    </a:lnTo>
                    <a:lnTo>
                      <a:pt x="11272" y="678"/>
                    </a:lnTo>
                    <a:lnTo>
                      <a:pt x="11399" y="569"/>
                    </a:lnTo>
                    <a:lnTo>
                      <a:pt x="11583" y="744"/>
                    </a:lnTo>
                    <a:lnTo>
                      <a:pt x="11871" y="1707"/>
                    </a:lnTo>
                    <a:lnTo>
                      <a:pt x="12228" y="1761"/>
                    </a:lnTo>
                    <a:lnTo>
                      <a:pt x="12170" y="2155"/>
                    </a:lnTo>
                    <a:lnTo>
                      <a:pt x="11583" y="2615"/>
                    </a:lnTo>
                    <a:lnTo>
                      <a:pt x="11272" y="2954"/>
                    </a:lnTo>
                    <a:lnTo>
                      <a:pt x="10927" y="3403"/>
                    </a:lnTo>
                    <a:lnTo>
                      <a:pt x="11583" y="3228"/>
                    </a:lnTo>
                    <a:lnTo>
                      <a:pt x="11940" y="2779"/>
                    </a:lnTo>
                    <a:lnTo>
                      <a:pt x="12999" y="2888"/>
                    </a:lnTo>
                    <a:lnTo>
                      <a:pt x="12712" y="3403"/>
                    </a:lnTo>
                    <a:lnTo>
                      <a:pt x="11871" y="3578"/>
                    </a:lnTo>
                    <a:lnTo>
                      <a:pt x="12527" y="3687"/>
                    </a:lnTo>
                    <a:lnTo>
                      <a:pt x="13299" y="2954"/>
                    </a:lnTo>
                    <a:lnTo>
                      <a:pt x="13898" y="3118"/>
                    </a:lnTo>
                    <a:lnTo>
                      <a:pt x="14554" y="3337"/>
                    </a:lnTo>
                    <a:lnTo>
                      <a:pt x="15037" y="3687"/>
                    </a:lnTo>
                    <a:lnTo>
                      <a:pt x="14922" y="4081"/>
                    </a:lnTo>
                    <a:lnTo>
                      <a:pt x="15636" y="3851"/>
                    </a:lnTo>
                    <a:lnTo>
                      <a:pt x="16408" y="4081"/>
                    </a:lnTo>
                    <a:lnTo>
                      <a:pt x="17179" y="4081"/>
                    </a:lnTo>
                    <a:lnTo>
                      <a:pt x="18008" y="4540"/>
                    </a:lnTo>
                    <a:lnTo>
                      <a:pt x="18733" y="5044"/>
                    </a:lnTo>
                    <a:lnTo>
                      <a:pt x="19447" y="5153"/>
                    </a:lnTo>
                    <a:lnTo>
                      <a:pt x="19747" y="5613"/>
                    </a:lnTo>
                    <a:lnTo>
                      <a:pt x="19988" y="6171"/>
                    </a:lnTo>
                    <a:lnTo>
                      <a:pt x="19747" y="7090"/>
                    </a:lnTo>
                    <a:lnTo>
                      <a:pt x="19378" y="7538"/>
                    </a:lnTo>
                    <a:lnTo>
                      <a:pt x="18975" y="8096"/>
                    </a:lnTo>
                    <a:lnTo>
                      <a:pt x="18618" y="8720"/>
                    </a:lnTo>
                    <a:lnTo>
                      <a:pt x="18192" y="8895"/>
                    </a:lnTo>
                    <a:lnTo>
                      <a:pt x="17962" y="9289"/>
                    </a:lnTo>
                    <a:lnTo>
                      <a:pt x="17962" y="9912"/>
                    </a:lnTo>
                    <a:lnTo>
                      <a:pt x="18008" y="10470"/>
                    </a:lnTo>
                    <a:lnTo>
                      <a:pt x="17962" y="11379"/>
                    </a:lnTo>
                    <a:lnTo>
                      <a:pt x="17720" y="11718"/>
                    </a:lnTo>
                    <a:lnTo>
                      <a:pt x="17663" y="12298"/>
                    </a:lnTo>
                    <a:lnTo>
                      <a:pt x="17179" y="13195"/>
                    </a:lnTo>
                    <a:lnTo>
                      <a:pt x="17064" y="13643"/>
                    </a:lnTo>
                    <a:lnTo>
                      <a:pt x="16695" y="14103"/>
                    </a:lnTo>
                    <a:lnTo>
                      <a:pt x="16166" y="14103"/>
                    </a:lnTo>
                    <a:lnTo>
                      <a:pt x="15452" y="14333"/>
                    </a:lnTo>
                    <a:lnTo>
                      <a:pt x="14669" y="14672"/>
                    </a:lnTo>
                    <a:lnTo>
                      <a:pt x="13967" y="15011"/>
                    </a:lnTo>
                    <a:lnTo>
                      <a:pt x="13483" y="15514"/>
                    </a:lnTo>
                    <a:lnTo>
                      <a:pt x="13425" y="16193"/>
                    </a:lnTo>
                    <a:lnTo>
                      <a:pt x="13425" y="16882"/>
                    </a:lnTo>
                    <a:lnTo>
                      <a:pt x="13184" y="17221"/>
                    </a:lnTo>
                    <a:lnTo>
                      <a:pt x="12827" y="17779"/>
                    </a:lnTo>
                    <a:lnTo>
                      <a:pt x="12642" y="18228"/>
                    </a:lnTo>
                    <a:lnTo>
                      <a:pt x="12355" y="18687"/>
                    </a:lnTo>
                    <a:lnTo>
                      <a:pt x="11940" y="19081"/>
                    </a:lnTo>
                    <a:lnTo>
                      <a:pt x="11756" y="19540"/>
                    </a:lnTo>
                    <a:lnTo>
                      <a:pt x="11399" y="19989"/>
                    </a:lnTo>
                    <a:lnTo>
                      <a:pt x="11272" y="19595"/>
                    </a:lnTo>
                    <a:lnTo>
                      <a:pt x="11399" y="19300"/>
                    </a:lnTo>
                    <a:lnTo>
                      <a:pt x="10800" y="18851"/>
                    </a:lnTo>
                    <a:lnTo>
                      <a:pt x="10317" y="18512"/>
                    </a:lnTo>
                    <a:lnTo>
                      <a:pt x="10029" y="18512"/>
                    </a:lnTo>
                    <a:lnTo>
                      <a:pt x="9372" y="18063"/>
                    </a:lnTo>
                    <a:lnTo>
                      <a:pt x="9188" y="18063"/>
                    </a:lnTo>
                    <a:lnTo>
                      <a:pt x="9372" y="17779"/>
                    </a:lnTo>
                    <a:lnTo>
                      <a:pt x="9672" y="17385"/>
                    </a:lnTo>
                    <a:lnTo>
                      <a:pt x="9914" y="17046"/>
                    </a:lnTo>
                    <a:lnTo>
                      <a:pt x="10317" y="16707"/>
                    </a:lnTo>
                    <a:lnTo>
                      <a:pt x="10685" y="16422"/>
                    </a:lnTo>
                    <a:lnTo>
                      <a:pt x="10800" y="15963"/>
                    </a:lnTo>
                    <a:lnTo>
                      <a:pt x="10501" y="15514"/>
                    </a:lnTo>
                    <a:lnTo>
                      <a:pt x="10432" y="14781"/>
                    </a:lnTo>
                    <a:lnTo>
                      <a:pt x="10201" y="14551"/>
                    </a:lnTo>
                    <a:lnTo>
                      <a:pt x="10029" y="14672"/>
                    </a:lnTo>
                    <a:lnTo>
                      <a:pt x="9672" y="13818"/>
                    </a:lnTo>
                    <a:lnTo>
                      <a:pt x="8590" y="13753"/>
                    </a:lnTo>
                    <a:lnTo>
                      <a:pt x="8290" y="12746"/>
                    </a:lnTo>
                    <a:lnTo>
                      <a:pt x="8474" y="12123"/>
                    </a:lnTo>
                    <a:lnTo>
                      <a:pt x="8474" y="11444"/>
                    </a:lnTo>
                    <a:lnTo>
                      <a:pt x="8117" y="10755"/>
                    </a:lnTo>
                    <a:lnTo>
                      <a:pt x="7047" y="10646"/>
                    </a:lnTo>
                    <a:lnTo>
                      <a:pt x="7047" y="10088"/>
                    </a:lnTo>
                    <a:lnTo>
                      <a:pt x="6920" y="9464"/>
                    </a:lnTo>
                    <a:lnTo>
                      <a:pt x="5964" y="9059"/>
                    </a:lnTo>
                    <a:lnTo>
                      <a:pt x="5135" y="8840"/>
                    </a:lnTo>
                    <a:lnTo>
                      <a:pt x="4663" y="8545"/>
                    </a:lnTo>
                    <a:lnTo>
                      <a:pt x="4421" y="8096"/>
                    </a:lnTo>
                    <a:lnTo>
                      <a:pt x="4364" y="7429"/>
                    </a:lnTo>
                    <a:lnTo>
                      <a:pt x="3765" y="7429"/>
                    </a:lnTo>
                    <a:lnTo>
                      <a:pt x="3109" y="7877"/>
                    </a:lnTo>
                    <a:lnTo>
                      <a:pt x="2809" y="8096"/>
                    </a:lnTo>
                    <a:lnTo>
                      <a:pt x="2211" y="7987"/>
                    </a:lnTo>
                    <a:lnTo>
                      <a:pt x="1911" y="7987"/>
                    </a:lnTo>
                    <a:lnTo>
                      <a:pt x="1739" y="7987"/>
                    </a:lnTo>
                    <a:lnTo>
                      <a:pt x="1739" y="7254"/>
                    </a:lnTo>
                    <a:lnTo>
                      <a:pt x="1439" y="7429"/>
                    </a:lnTo>
                    <a:lnTo>
                      <a:pt x="967" y="7429"/>
                    </a:lnTo>
                    <a:lnTo>
                      <a:pt x="599" y="7254"/>
                    </a:lnTo>
                    <a:lnTo>
                      <a:pt x="311" y="6958"/>
                    </a:lnTo>
                    <a:lnTo>
                      <a:pt x="0" y="6510"/>
                    </a:lnTo>
                    <a:lnTo>
                      <a:pt x="0" y="5952"/>
                    </a:lnTo>
                    <a:lnTo>
                      <a:pt x="311" y="5777"/>
                    </a:lnTo>
                    <a:lnTo>
                      <a:pt x="357" y="5328"/>
                    </a:lnTo>
                    <a:lnTo>
                      <a:pt x="599" y="4989"/>
                    </a:lnTo>
                    <a:lnTo>
                      <a:pt x="1439" y="4584"/>
                    </a:lnTo>
                    <a:lnTo>
                      <a:pt x="1854" y="4584"/>
                    </a:lnTo>
                    <a:lnTo>
                      <a:pt x="1911" y="4584"/>
                    </a:lnTo>
                    <a:lnTo>
                      <a:pt x="2211" y="3118"/>
                    </a:lnTo>
                    <a:lnTo>
                      <a:pt x="2153" y="2779"/>
                    </a:lnTo>
                    <a:lnTo>
                      <a:pt x="1854" y="2615"/>
                    </a:lnTo>
                    <a:lnTo>
                      <a:pt x="1911" y="2330"/>
                    </a:lnTo>
                    <a:lnTo>
                      <a:pt x="2211" y="2330"/>
                    </a:lnTo>
                    <a:lnTo>
                      <a:pt x="2211" y="2155"/>
                    </a:lnTo>
                    <a:lnTo>
                      <a:pt x="1911" y="2046"/>
                    </a:lnTo>
                    <a:lnTo>
                      <a:pt x="1911" y="1761"/>
                    </a:lnTo>
                    <a:lnTo>
                      <a:pt x="2153" y="1707"/>
                    </a:lnTo>
                    <a:lnTo>
                      <a:pt x="2809" y="1761"/>
                    </a:lnTo>
                    <a:lnTo>
                      <a:pt x="2809" y="1586"/>
                    </a:lnTo>
                    <a:lnTo>
                      <a:pt x="3166" y="1586"/>
                    </a:lnTo>
                    <a:lnTo>
                      <a:pt x="3397" y="1926"/>
                    </a:lnTo>
                    <a:lnTo>
                      <a:pt x="3466" y="2046"/>
                    </a:lnTo>
                    <a:lnTo>
                      <a:pt x="3765" y="2210"/>
                    </a:lnTo>
                    <a:lnTo>
                      <a:pt x="4122" y="2155"/>
                    </a:lnTo>
                    <a:lnTo>
                      <a:pt x="4893" y="1882"/>
                    </a:lnTo>
                    <a:lnTo>
                      <a:pt x="5377" y="1586"/>
                    </a:lnTo>
                    <a:lnTo>
                      <a:pt x="5320" y="1411"/>
                    </a:lnTo>
                    <a:lnTo>
                      <a:pt x="4836" y="1302"/>
                    </a:lnTo>
                    <a:lnTo>
                      <a:pt x="4893" y="853"/>
                    </a:lnTo>
                    <a:lnTo>
                      <a:pt x="4537" y="569"/>
                    </a:lnTo>
                    <a:lnTo>
                      <a:pt x="5020" y="569"/>
                    </a:lnTo>
                    <a:lnTo>
                      <a:pt x="5607" y="744"/>
                    </a:lnTo>
                    <a:lnTo>
                      <a:pt x="5792" y="569"/>
                    </a:lnTo>
                    <a:lnTo>
                      <a:pt x="6390" y="405"/>
                    </a:lnTo>
                    <a:lnTo>
                      <a:pt x="6736" y="120"/>
                    </a:lnTo>
                    <a:lnTo>
                      <a:pt x="6920" y="0"/>
                    </a:lnTo>
                    <a:lnTo>
                      <a:pt x="7047" y="405"/>
                    </a:lnTo>
                    <a:lnTo>
                      <a:pt x="7231" y="678"/>
                    </a:lnTo>
                    <a:lnTo>
                      <a:pt x="7047" y="1302"/>
                    </a:lnTo>
                    <a:lnTo>
                      <a:pt x="7231" y="1761"/>
                    </a:lnTo>
                    <a:lnTo>
                      <a:pt x="7818" y="1926"/>
                    </a:lnTo>
                    <a:lnTo>
                      <a:pt x="8405" y="1761"/>
                    </a:lnTo>
                    <a:lnTo>
                      <a:pt x="8762" y="1707"/>
                    </a:lnTo>
                    <a:lnTo>
                      <a:pt x="9073" y="1761"/>
                    </a:lnTo>
                    <a:lnTo>
                      <a:pt x="9188" y="1411"/>
                    </a:lnTo>
                    <a:lnTo>
                      <a:pt x="9672" y="1302"/>
                    </a:lnTo>
                    <a:lnTo>
                      <a:pt x="9845" y="147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59" name="Freeform 77"/>
              <p:cNvSpPr>
                <a:spLocks/>
              </p:cNvSpPr>
              <p:nvPr/>
            </p:nvSpPr>
            <p:spPr bwMode="auto">
              <a:xfrm>
                <a:off x="2994025" y="4946650"/>
                <a:ext cx="241300" cy="1263650"/>
              </a:xfrm>
              <a:custGeom>
                <a:avLst/>
                <a:gdLst>
                  <a:gd name="T0" fmla="*/ 3536 w 20000"/>
                  <a:gd name="T1" fmla="*/ 0 h 20000"/>
                  <a:gd name="T2" fmla="*/ 7124 w 20000"/>
                  <a:gd name="T3" fmla="*/ 1518 h 20000"/>
                  <a:gd name="T4" fmla="*/ 10660 w 20000"/>
                  <a:gd name="T5" fmla="*/ 2504 h 20000"/>
                  <a:gd name="T6" fmla="*/ 7652 w 20000"/>
                  <a:gd name="T7" fmla="*/ 3439 h 20000"/>
                  <a:gd name="T8" fmla="*/ 7652 w 20000"/>
                  <a:gd name="T9" fmla="*/ 4274 h 20000"/>
                  <a:gd name="T10" fmla="*/ 6807 w 20000"/>
                  <a:gd name="T11" fmla="*/ 5058 h 20000"/>
                  <a:gd name="T12" fmla="*/ 4908 w 20000"/>
                  <a:gd name="T13" fmla="*/ 6717 h 20000"/>
                  <a:gd name="T14" fmla="*/ 7124 w 20000"/>
                  <a:gd name="T15" fmla="*/ 8225 h 20000"/>
                  <a:gd name="T16" fmla="*/ 5488 w 20000"/>
                  <a:gd name="T17" fmla="*/ 9472 h 20000"/>
                  <a:gd name="T18" fmla="*/ 5699 w 20000"/>
                  <a:gd name="T19" fmla="*/ 10830 h 20000"/>
                  <a:gd name="T20" fmla="*/ 6807 w 20000"/>
                  <a:gd name="T21" fmla="*/ 12700 h 20000"/>
                  <a:gd name="T22" fmla="*/ 7124 w 20000"/>
                  <a:gd name="T23" fmla="*/ 13384 h 20000"/>
                  <a:gd name="T24" fmla="*/ 9024 w 20000"/>
                  <a:gd name="T25" fmla="*/ 13957 h 20000"/>
                  <a:gd name="T26" fmla="*/ 8496 w 20000"/>
                  <a:gd name="T27" fmla="*/ 14319 h 20000"/>
                  <a:gd name="T28" fmla="*/ 9024 w 20000"/>
                  <a:gd name="T29" fmla="*/ 15304 h 20000"/>
                  <a:gd name="T30" fmla="*/ 9024 w 20000"/>
                  <a:gd name="T31" fmla="*/ 16290 h 20000"/>
                  <a:gd name="T32" fmla="*/ 7652 w 20000"/>
                  <a:gd name="T33" fmla="*/ 17486 h 20000"/>
                  <a:gd name="T34" fmla="*/ 10660 w 20000"/>
                  <a:gd name="T35" fmla="*/ 18331 h 20000"/>
                  <a:gd name="T36" fmla="*/ 17784 w 20000"/>
                  <a:gd name="T37" fmla="*/ 18693 h 20000"/>
                  <a:gd name="T38" fmla="*/ 16412 w 20000"/>
                  <a:gd name="T39" fmla="*/ 19155 h 20000"/>
                  <a:gd name="T40" fmla="*/ 14987 w 20000"/>
                  <a:gd name="T41" fmla="*/ 19990 h 20000"/>
                  <a:gd name="T42" fmla="*/ 13931 w 20000"/>
                  <a:gd name="T43" fmla="*/ 19517 h 20000"/>
                  <a:gd name="T44" fmla="*/ 11451 w 20000"/>
                  <a:gd name="T45" fmla="*/ 19155 h 20000"/>
                  <a:gd name="T46" fmla="*/ 12612 w 20000"/>
                  <a:gd name="T47" fmla="*/ 19678 h 20000"/>
                  <a:gd name="T48" fmla="*/ 9815 w 20000"/>
                  <a:gd name="T49" fmla="*/ 19316 h 20000"/>
                  <a:gd name="T50" fmla="*/ 9288 w 20000"/>
                  <a:gd name="T51" fmla="*/ 18904 h 20000"/>
                  <a:gd name="T52" fmla="*/ 9815 w 20000"/>
                  <a:gd name="T53" fmla="*/ 18592 h 20000"/>
                  <a:gd name="T54" fmla="*/ 7124 w 20000"/>
                  <a:gd name="T55" fmla="*/ 18059 h 20000"/>
                  <a:gd name="T56" fmla="*/ 6280 w 20000"/>
                  <a:gd name="T57" fmla="*/ 17597 h 20000"/>
                  <a:gd name="T58" fmla="*/ 5488 w 20000"/>
                  <a:gd name="T59" fmla="*/ 17134 h 20000"/>
                  <a:gd name="T60" fmla="*/ 6807 w 20000"/>
                  <a:gd name="T61" fmla="*/ 16400 h 20000"/>
                  <a:gd name="T62" fmla="*/ 4644 w 20000"/>
                  <a:gd name="T63" fmla="*/ 15716 h 20000"/>
                  <a:gd name="T64" fmla="*/ 1372 w 20000"/>
                  <a:gd name="T65" fmla="*/ 15043 h 20000"/>
                  <a:gd name="T66" fmla="*/ 5488 w 20000"/>
                  <a:gd name="T67" fmla="*/ 15043 h 20000"/>
                  <a:gd name="T68" fmla="*/ 5699 w 20000"/>
                  <a:gd name="T69" fmla="*/ 14057 h 20000"/>
                  <a:gd name="T70" fmla="*/ 4644 w 20000"/>
                  <a:gd name="T71" fmla="*/ 13012 h 20000"/>
                  <a:gd name="T72" fmla="*/ 1900 w 20000"/>
                  <a:gd name="T73" fmla="*/ 12348 h 20000"/>
                  <a:gd name="T74" fmla="*/ 1055 w 20000"/>
                  <a:gd name="T75" fmla="*/ 10830 h 20000"/>
                  <a:gd name="T76" fmla="*/ 1900 w 20000"/>
                  <a:gd name="T77" fmla="*/ 9060 h 20000"/>
                  <a:gd name="T78" fmla="*/ 2691 w 20000"/>
                  <a:gd name="T79" fmla="*/ 7501 h 20000"/>
                  <a:gd name="T80" fmla="*/ 1900 w 20000"/>
                  <a:gd name="T81" fmla="*/ 5631 h 20000"/>
                  <a:gd name="T82" fmla="*/ 2691 w 20000"/>
                  <a:gd name="T83" fmla="*/ 3539 h 20000"/>
                  <a:gd name="T84" fmla="*/ 2691 w 20000"/>
                  <a:gd name="T85" fmla="*/ 208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00" y="422"/>
                    </a:moveTo>
                    <a:lnTo>
                      <a:pt x="2691" y="271"/>
                    </a:lnTo>
                    <a:lnTo>
                      <a:pt x="3536" y="0"/>
                    </a:lnTo>
                    <a:lnTo>
                      <a:pt x="4908" y="312"/>
                    </a:lnTo>
                    <a:lnTo>
                      <a:pt x="6280" y="845"/>
                    </a:lnTo>
                    <a:lnTo>
                      <a:pt x="7124" y="1518"/>
                    </a:lnTo>
                    <a:lnTo>
                      <a:pt x="8179" y="2041"/>
                    </a:lnTo>
                    <a:lnTo>
                      <a:pt x="9024" y="2504"/>
                    </a:lnTo>
                    <a:lnTo>
                      <a:pt x="10660" y="2504"/>
                    </a:lnTo>
                    <a:lnTo>
                      <a:pt x="10343" y="3127"/>
                    </a:lnTo>
                    <a:lnTo>
                      <a:pt x="8179" y="3288"/>
                    </a:lnTo>
                    <a:lnTo>
                      <a:pt x="7652" y="3439"/>
                    </a:lnTo>
                    <a:lnTo>
                      <a:pt x="7652" y="3700"/>
                    </a:lnTo>
                    <a:lnTo>
                      <a:pt x="8179" y="4113"/>
                    </a:lnTo>
                    <a:lnTo>
                      <a:pt x="7652" y="4274"/>
                    </a:lnTo>
                    <a:lnTo>
                      <a:pt x="8496" y="4525"/>
                    </a:lnTo>
                    <a:lnTo>
                      <a:pt x="7652" y="4686"/>
                    </a:lnTo>
                    <a:lnTo>
                      <a:pt x="6807" y="5058"/>
                    </a:lnTo>
                    <a:lnTo>
                      <a:pt x="5488" y="5470"/>
                    </a:lnTo>
                    <a:lnTo>
                      <a:pt x="5488" y="6204"/>
                    </a:lnTo>
                    <a:lnTo>
                      <a:pt x="4908" y="6717"/>
                    </a:lnTo>
                    <a:lnTo>
                      <a:pt x="5699" y="7129"/>
                    </a:lnTo>
                    <a:lnTo>
                      <a:pt x="6280" y="7652"/>
                    </a:lnTo>
                    <a:lnTo>
                      <a:pt x="7124" y="8225"/>
                    </a:lnTo>
                    <a:lnTo>
                      <a:pt x="6280" y="8798"/>
                    </a:lnTo>
                    <a:lnTo>
                      <a:pt x="6807" y="9311"/>
                    </a:lnTo>
                    <a:lnTo>
                      <a:pt x="5488" y="9472"/>
                    </a:lnTo>
                    <a:lnTo>
                      <a:pt x="5488" y="10156"/>
                    </a:lnTo>
                    <a:lnTo>
                      <a:pt x="6807" y="10769"/>
                    </a:lnTo>
                    <a:lnTo>
                      <a:pt x="5699" y="10830"/>
                    </a:lnTo>
                    <a:lnTo>
                      <a:pt x="5488" y="11503"/>
                    </a:lnTo>
                    <a:lnTo>
                      <a:pt x="5488" y="12127"/>
                    </a:lnTo>
                    <a:lnTo>
                      <a:pt x="6807" y="12700"/>
                    </a:lnTo>
                    <a:lnTo>
                      <a:pt x="5699" y="12599"/>
                    </a:lnTo>
                    <a:lnTo>
                      <a:pt x="5699" y="13233"/>
                    </a:lnTo>
                    <a:lnTo>
                      <a:pt x="7124" y="13384"/>
                    </a:lnTo>
                    <a:lnTo>
                      <a:pt x="7652" y="13534"/>
                    </a:lnTo>
                    <a:lnTo>
                      <a:pt x="7652" y="13957"/>
                    </a:lnTo>
                    <a:lnTo>
                      <a:pt x="9024" y="13957"/>
                    </a:lnTo>
                    <a:lnTo>
                      <a:pt x="9024" y="14218"/>
                    </a:lnTo>
                    <a:lnTo>
                      <a:pt x="7652" y="14218"/>
                    </a:lnTo>
                    <a:lnTo>
                      <a:pt x="8496" y="14319"/>
                    </a:lnTo>
                    <a:lnTo>
                      <a:pt x="9024" y="14630"/>
                    </a:lnTo>
                    <a:lnTo>
                      <a:pt x="9024" y="14942"/>
                    </a:lnTo>
                    <a:lnTo>
                      <a:pt x="9024" y="15304"/>
                    </a:lnTo>
                    <a:lnTo>
                      <a:pt x="9024" y="15716"/>
                    </a:lnTo>
                    <a:lnTo>
                      <a:pt x="8496" y="16028"/>
                    </a:lnTo>
                    <a:lnTo>
                      <a:pt x="9024" y="16290"/>
                    </a:lnTo>
                    <a:lnTo>
                      <a:pt x="8496" y="16712"/>
                    </a:lnTo>
                    <a:lnTo>
                      <a:pt x="7124" y="16973"/>
                    </a:lnTo>
                    <a:lnTo>
                      <a:pt x="7652" y="17486"/>
                    </a:lnTo>
                    <a:lnTo>
                      <a:pt x="9024" y="17798"/>
                    </a:lnTo>
                    <a:lnTo>
                      <a:pt x="10660" y="17798"/>
                    </a:lnTo>
                    <a:lnTo>
                      <a:pt x="10660" y="18331"/>
                    </a:lnTo>
                    <a:lnTo>
                      <a:pt x="12823" y="18693"/>
                    </a:lnTo>
                    <a:lnTo>
                      <a:pt x="14987" y="18693"/>
                    </a:lnTo>
                    <a:lnTo>
                      <a:pt x="17784" y="18693"/>
                    </a:lnTo>
                    <a:lnTo>
                      <a:pt x="19947" y="18844"/>
                    </a:lnTo>
                    <a:lnTo>
                      <a:pt x="18311" y="18904"/>
                    </a:lnTo>
                    <a:lnTo>
                      <a:pt x="16412" y="19155"/>
                    </a:lnTo>
                    <a:lnTo>
                      <a:pt x="16095" y="19417"/>
                    </a:lnTo>
                    <a:lnTo>
                      <a:pt x="16095" y="19829"/>
                    </a:lnTo>
                    <a:lnTo>
                      <a:pt x="14987" y="19990"/>
                    </a:lnTo>
                    <a:lnTo>
                      <a:pt x="13931" y="19930"/>
                    </a:lnTo>
                    <a:lnTo>
                      <a:pt x="12823" y="19678"/>
                    </a:lnTo>
                    <a:lnTo>
                      <a:pt x="13931" y="19517"/>
                    </a:lnTo>
                    <a:lnTo>
                      <a:pt x="14987" y="19417"/>
                    </a:lnTo>
                    <a:lnTo>
                      <a:pt x="13931" y="19105"/>
                    </a:lnTo>
                    <a:lnTo>
                      <a:pt x="11451" y="19155"/>
                    </a:lnTo>
                    <a:lnTo>
                      <a:pt x="13351" y="19417"/>
                    </a:lnTo>
                    <a:lnTo>
                      <a:pt x="12612" y="19578"/>
                    </a:lnTo>
                    <a:lnTo>
                      <a:pt x="12612" y="19678"/>
                    </a:lnTo>
                    <a:lnTo>
                      <a:pt x="11187" y="19578"/>
                    </a:lnTo>
                    <a:lnTo>
                      <a:pt x="11451" y="19417"/>
                    </a:lnTo>
                    <a:lnTo>
                      <a:pt x="9815" y="19316"/>
                    </a:lnTo>
                    <a:lnTo>
                      <a:pt x="10343" y="19105"/>
                    </a:lnTo>
                    <a:lnTo>
                      <a:pt x="9288" y="19256"/>
                    </a:lnTo>
                    <a:lnTo>
                      <a:pt x="9288" y="18904"/>
                    </a:lnTo>
                    <a:lnTo>
                      <a:pt x="11187" y="18904"/>
                    </a:lnTo>
                    <a:lnTo>
                      <a:pt x="11187" y="18693"/>
                    </a:lnTo>
                    <a:lnTo>
                      <a:pt x="9815" y="18592"/>
                    </a:lnTo>
                    <a:lnTo>
                      <a:pt x="9288" y="18743"/>
                    </a:lnTo>
                    <a:lnTo>
                      <a:pt x="8179" y="18472"/>
                    </a:lnTo>
                    <a:lnTo>
                      <a:pt x="7124" y="18059"/>
                    </a:lnTo>
                    <a:lnTo>
                      <a:pt x="7124" y="18019"/>
                    </a:lnTo>
                    <a:lnTo>
                      <a:pt x="5488" y="17647"/>
                    </a:lnTo>
                    <a:lnTo>
                      <a:pt x="6280" y="17597"/>
                    </a:lnTo>
                    <a:lnTo>
                      <a:pt x="5699" y="17335"/>
                    </a:lnTo>
                    <a:lnTo>
                      <a:pt x="6807" y="17335"/>
                    </a:lnTo>
                    <a:lnTo>
                      <a:pt x="5488" y="17134"/>
                    </a:lnTo>
                    <a:lnTo>
                      <a:pt x="4908" y="16662"/>
                    </a:lnTo>
                    <a:lnTo>
                      <a:pt x="4908" y="16400"/>
                    </a:lnTo>
                    <a:lnTo>
                      <a:pt x="6807" y="16400"/>
                    </a:lnTo>
                    <a:lnTo>
                      <a:pt x="5488" y="16028"/>
                    </a:lnTo>
                    <a:lnTo>
                      <a:pt x="3536" y="16028"/>
                    </a:lnTo>
                    <a:lnTo>
                      <a:pt x="4644" y="15716"/>
                    </a:lnTo>
                    <a:lnTo>
                      <a:pt x="1900" y="15455"/>
                    </a:lnTo>
                    <a:lnTo>
                      <a:pt x="1055" y="15556"/>
                    </a:lnTo>
                    <a:lnTo>
                      <a:pt x="1372" y="15043"/>
                    </a:lnTo>
                    <a:lnTo>
                      <a:pt x="3536" y="15043"/>
                    </a:lnTo>
                    <a:lnTo>
                      <a:pt x="4644" y="15455"/>
                    </a:lnTo>
                    <a:lnTo>
                      <a:pt x="5488" y="15043"/>
                    </a:lnTo>
                    <a:lnTo>
                      <a:pt x="4644" y="14470"/>
                    </a:lnTo>
                    <a:lnTo>
                      <a:pt x="4908" y="14369"/>
                    </a:lnTo>
                    <a:lnTo>
                      <a:pt x="5699" y="14057"/>
                    </a:lnTo>
                    <a:lnTo>
                      <a:pt x="4644" y="13957"/>
                    </a:lnTo>
                    <a:lnTo>
                      <a:pt x="4644" y="13645"/>
                    </a:lnTo>
                    <a:lnTo>
                      <a:pt x="4644" y="13012"/>
                    </a:lnTo>
                    <a:lnTo>
                      <a:pt x="4644" y="12448"/>
                    </a:lnTo>
                    <a:lnTo>
                      <a:pt x="2691" y="12448"/>
                    </a:lnTo>
                    <a:lnTo>
                      <a:pt x="1900" y="12348"/>
                    </a:lnTo>
                    <a:lnTo>
                      <a:pt x="1372" y="11926"/>
                    </a:lnTo>
                    <a:lnTo>
                      <a:pt x="1900" y="11453"/>
                    </a:lnTo>
                    <a:lnTo>
                      <a:pt x="1055" y="10830"/>
                    </a:lnTo>
                    <a:lnTo>
                      <a:pt x="0" y="10106"/>
                    </a:lnTo>
                    <a:lnTo>
                      <a:pt x="1055" y="9744"/>
                    </a:lnTo>
                    <a:lnTo>
                      <a:pt x="1900" y="9060"/>
                    </a:lnTo>
                    <a:lnTo>
                      <a:pt x="2691" y="8326"/>
                    </a:lnTo>
                    <a:lnTo>
                      <a:pt x="2691" y="7712"/>
                    </a:lnTo>
                    <a:lnTo>
                      <a:pt x="2691" y="7501"/>
                    </a:lnTo>
                    <a:lnTo>
                      <a:pt x="1900" y="6828"/>
                    </a:lnTo>
                    <a:lnTo>
                      <a:pt x="1900" y="6305"/>
                    </a:lnTo>
                    <a:lnTo>
                      <a:pt x="1900" y="5631"/>
                    </a:lnTo>
                    <a:lnTo>
                      <a:pt x="2480" y="4897"/>
                    </a:lnTo>
                    <a:lnTo>
                      <a:pt x="2691" y="4213"/>
                    </a:lnTo>
                    <a:lnTo>
                      <a:pt x="2691" y="3539"/>
                    </a:lnTo>
                    <a:lnTo>
                      <a:pt x="2480" y="2866"/>
                    </a:lnTo>
                    <a:lnTo>
                      <a:pt x="2691" y="2614"/>
                    </a:lnTo>
                    <a:lnTo>
                      <a:pt x="2691" y="2081"/>
                    </a:lnTo>
                    <a:lnTo>
                      <a:pt x="2691" y="1156"/>
                    </a:lnTo>
                    <a:lnTo>
                      <a:pt x="1900" y="42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0" name="Freeform 76"/>
              <p:cNvSpPr>
                <a:spLocks/>
              </p:cNvSpPr>
              <p:nvPr/>
            </p:nvSpPr>
            <p:spPr bwMode="auto">
              <a:xfrm>
                <a:off x="3175000" y="6153150"/>
                <a:ext cx="84138" cy="96838"/>
              </a:xfrm>
              <a:custGeom>
                <a:avLst/>
                <a:gdLst>
                  <a:gd name="T0" fmla="*/ 14242 w 20000"/>
                  <a:gd name="T1" fmla="*/ 0 h 20000"/>
                  <a:gd name="T2" fmla="*/ 16667 w 20000"/>
                  <a:gd name="T3" fmla="*/ 9605 h 20000"/>
                  <a:gd name="T4" fmla="*/ 19848 w 20000"/>
                  <a:gd name="T5" fmla="*/ 18421 h 20000"/>
                  <a:gd name="T6" fmla="*/ 11818 w 20000"/>
                  <a:gd name="T7" fmla="*/ 19868 h 20000"/>
                  <a:gd name="T8" fmla="*/ 0 w 20000"/>
                  <a:gd name="T9" fmla="*/ 16447 h 20000"/>
                  <a:gd name="T10" fmla="*/ 15758 w 20000"/>
                  <a:gd name="T11" fmla="*/ 15000 h 20000"/>
                  <a:gd name="T12" fmla="*/ 9545 w 20000"/>
                  <a:gd name="T13" fmla="*/ 9605 h 20000"/>
                  <a:gd name="T14" fmla="*/ 11818 w 20000"/>
                  <a:gd name="T15" fmla="*/ 6184 h 20000"/>
                  <a:gd name="T16" fmla="*/ 6515 w 20000"/>
                  <a:gd name="T17" fmla="*/ 7500 h 20000"/>
                  <a:gd name="T18" fmla="*/ 6515 w 20000"/>
                  <a:gd name="T19" fmla="*/ 2105 h 20000"/>
                  <a:gd name="T20" fmla="*/ 9545 w 20000"/>
                  <a:gd name="T21" fmla="*/ 0 h 20000"/>
                  <a:gd name="T22" fmla="*/ 14242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4242" y="0"/>
                    </a:moveTo>
                    <a:lnTo>
                      <a:pt x="16667" y="9605"/>
                    </a:lnTo>
                    <a:lnTo>
                      <a:pt x="19848" y="18421"/>
                    </a:lnTo>
                    <a:lnTo>
                      <a:pt x="11818" y="19868"/>
                    </a:lnTo>
                    <a:lnTo>
                      <a:pt x="0" y="16447"/>
                    </a:lnTo>
                    <a:lnTo>
                      <a:pt x="15758" y="15000"/>
                    </a:lnTo>
                    <a:lnTo>
                      <a:pt x="9545" y="9605"/>
                    </a:lnTo>
                    <a:lnTo>
                      <a:pt x="11818" y="6184"/>
                    </a:lnTo>
                    <a:lnTo>
                      <a:pt x="6515" y="7500"/>
                    </a:lnTo>
                    <a:lnTo>
                      <a:pt x="6515" y="2105"/>
                    </a:lnTo>
                    <a:lnTo>
                      <a:pt x="9545" y="0"/>
                    </a:lnTo>
                    <a:lnTo>
                      <a:pt x="1424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1" name="Freeform 75"/>
              <p:cNvSpPr>
                <a:spLocks/>
              </p:cNvSpPr>
              <p:nvPr/>
            </p:nvSpPr>
            <p:spPr bwMode="auto">
              <a:xfrm>
                <a:off x="2565400" y="4111625"/>
                <a:ext cx="98425" cy="96838"/>
              </a:xfrm>
              <a:custGeom>
                <a:avLst/>
                <a:gdLst>
                  <a:gd name="T0" fmla="*/ 769 w 20000"/>
                  <a:gd name="T1" fmla="*/ 0 h 20000"/>
                  <a:gd name="T2" fmla="*/ 2564 w 20000"/>
                  <a:gd name="T3" fmla="*/ 0 h 20000"/>
                  <a:gd name="T4" fmla="*/ 5256 w 20000"/>
                  <a:gd name="T5" fmla="*/ 0 h 20000"/>
                  <a:gd name="T6" fmla="*/ 7308 w 20000"/>
                  <a:gd name="T7" fmla="*/ 0 h 20000"/>
                  <a:gd name="T8" fmla="*/ 10513 w 20000"/>
                  <a:gd name="T9" fmla="*/ 2105 h 20000"/>
                  <a:gd name="T10" fmla="*/ 13846 w 20000"/>
                  <a:gd name="T11" fmla="*/ 2105 h 20000"/>
                  <a:gd name="T12" fmla="*/ 15897 w 20000"/>
                  <a:gd name="T13" fmla="*/ 5526 h 20000"/>
                  <a:gd name="T14" fmla="*/ 16538 w 20000"/>
                  <a:gd name="T15" fmla="*/ 7500 h 20000"/>
                  <a:gd name="T16" fmla="*/ 19231 w 20000"/>
                  <a:gd name="T17" fmla="*/ 8947 h 20000"/>
                  <a:gd name="T18" fmla="*/ 19872 w 20000"/>
                  <a:gd name="T19" fmla="*/ 10263 h 20000"/>
                  <a:gd name="T20" fmla="*/ 17821 w 20000"/>
                  <a:gd name="T21" fmla="*/ 10263 h 20000"/>
                  <a:gd name="T22" fmla="*/ 16538 w 20000"/>
                  <a:gd name="T23" fmla="*/ 14474 h 20000"/>
                  <a:gd name="T24" fmla="*/ 16538 w 20000"/>
                  <a:gd name="T25" fmla="*/ 15789 h 20000"/>
                  <a:gd name="T26" fmla="*/ 17821 w 20000"/>
                  <a:gd name="T27" fmla="*/ 17763 h 20000"/>
                  <a:gd name="T28" fmla="*/ 16538 w 20000"/>
                  <a:gd name="T29" fmla="*/ 19868 h 20000"/>
                  <a:gd name="T30" fmla="*/ 15897 w 20000"/>
                  <a:gd name="T31" fmla="*/ 19079 h 20000"/>
                  <a:gd name="T32" fmla="*/ 14615 w 20000"/>
                  <a:gd name="T33" fmla="*/ 15789 h 20000"/>
                  <a:gd name="T34" fmla="*/ 13846 w 20000"/>
                  <a:gd name="T35" fmla="*/ 16447 h 20000"/>
                  <a:gd name="T36" fmla="*/ 12564 w 20000"/>
                  <a:gd name="T37" fmla="*/ 15789 h 20000"/>
                  <a:gd name="T38" fmla="*/ 12564 w 20000"/>
                  <a:gd name="T39" fmla="*/ 12368 h 20000"/>
                  <a:gd name="T40" fmla="*/ 7949 w 20000"/>
                  <a:gd name="T41" fmla="*/ 10263 h 20000"/>
                  <a:gd name="T42" fmla="*/ 3974 w 20000"/>
                  <a:gd name="T43" fmla="*/ 5526 h 20000"/>
                  <a:gd name="T44" fmla="*/ 5256 w 20000"/>
                  <a:gd name="T45" fmla="*/ 8947 h 20000"/>
                  <a:gd name="T46" fmla="*/ 0 w 20000"/>
                  <a:gd name="T47" fmla="*/ 5526 h 20000"/>
                  <a:gd name="T48" fmla="*/ 769 w 20000"/>
                  <a:gd name="T49" fmla="*/ 3553 h 20000"/>
                  <a:gd name="T50" fmla="*/ 769 w 20000"/>
                  <a:gd name="T5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769" y="0"/>
                    </a:moveTo>
                    <a:lnTo>
                      <a:pt x="2564" y="0"/>
                    </a:lnTo>
                    <a:lnTo>
                      <a:pt x="5256" y="0"/>
                    </a:lnTo>
                    <a:lnTo>
                      <a:pt x="7308" y="0"/>
                    </a:lnTo>
                    <a:lnTo>
                      <a:pt x="10513" y="2105"/>
                    </a:lnTo>
                    <a:lnTo>
                      <a:pt x="13846" y="2105"/>
                    </a:lnTo>
                    <a:lnTo>
                      <a:pt x="15897" y="5526"/>
                    </a:lnTo>
                    <a:lnTo>
                      <a:pt x="16538" y="7500"/>
                    </a:lnTo>
                    <a:lnTo>
                      <a:pt x="19231" y="8947"/>
                    </a:lnTo>
                    <a:lnTo>
                      <a:pt x="19872" y="10263"/>
                    </a:lnTo>
                    <a:lnTo>
                      <a:pt x="17821" y="10263"/>
                    </a:lnTo>
                    <a:lnTo>
                      <a:pt x="16538" y="14474"/>
                    </a:lnTo>
                    <a:lnTo>
                      <a:pt x="16538" y="15789"/>
                    </a:lnTo>
                    <a:lnTo>
                      <a:pt x="17821" y="17763"/>
                    </a:lnTo>
                    <a:lnTo>
                      <a:pt x="16538" y="19868"/>
                    </a:lnTo>
                    <a:lnTo>
                      <a:pt x="15897" y="19079"/>
                    </a:lnTo>
                    <a:lnTo>
                      <a:pt x="14615" y="15789"/>
                    </a:lnTo>
                    <a:lnTo>
                      <a:pt x="13846" y="16447"/>
                    </a:lnTo>
                    <a:lnTo>
                      <a:pt x="12564" y="15789"/>
                    </a:lnTo>
                    <a:lnTo>
                      <a:pt x="12564" y="12368"/>
                    </a:lnTo>
                    <a:lnTo>
                      <a:pt x="7949" y="10263"/>
                    </a:lnTo>
                    <a:lnTo>
                      <a:pt x="3974" y="5526"/>
                    </a:lnTo>
                    <a:lnTo>
                      <a:pt x="5256" y="8947"/>
                    </a:lnTo>
                    <a:lnTo>
                      <a:pt x="0" y="5526"/>
                    </a:lnTo>
                    <a:lnTo>
                      <a:pt x="769" y="3553"/>
                    </a:lnTo>
                    <a:lnTo>
                      <a:pt x="76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2" name="Freeform 74"/>
              <p:cNvSpPr>
                <a:spLocks/>
              </p:cNvSpPr>
              <p:nvPr/>
            </p:nvSpPr>
            <p:spPr bwMode="auto">
              <a:xfrm>
                <a:off x="2979738" y="3863975"/>
                <a:ext cx="100012" cy="66675"/>
              </a:xfrm>
              <a:custGeom>
                <a:avLst/>
                <a:gdLst>
                  <a:gd name="T0" fmla="*/ 0 w 20000"/>
                  <a:gd name="T1" fmla="*/ 14808 h 20000"/>
                  <a:gd name="T2" fmla="*/ 0 w 20000"/>
                  <a:gd name="T3" fmla="*/ 7885 h 20000"/>
                  <a:gd name="T4" fmla="*/ 0 w 20000"/>
                  <a:gd name="T5" fmla="*/ 0 h 20000"/>
                  <a:gd name="T6" fmla="*/ 764 w 20000"/>
                  <a:gd name="T7" fmla="*/ 0 h 20000"/>
                  <a:gd name="T8" fmla="*/ 5223 w 20000"/>
                  <a:gd name="T9" fmla="*/ 0 h 20000"/>
                  <a:gd name="T10" fmla="*/ 10701 w 20000"/>
                  <a:gd name="T11" fmla="*/ 1923 h 20000"/>
                  <a:gd name="T12" fmla="*/ 12611 w 20000"/>
                  <a:gd name="T13" fmla="*/ 5000 h 20000"/>
                  <a:gd name="T14" fmla="*/ 19873 w 20000"/>
                  <a:gd name="T15" fmla="*/ 7885 h 20000"/>
                  <a:gd name="T16" fmla="*/ 17834 w 20000"/>
                  <a:gd name="T17" fmla="*/ 12885 h 20000"/>
                  <a:gd name="T18" fmla="*/ 9172 w 20000"/>
                  <a:gd name="T19" fmla="*/ 12885 h 20000"/>
                  <a:gd name="T20" fmla="*/ 5987 w 20000"/>
                  <a:gd name="T21" fmla="*/ 12885 h 20000"/>
                  <a:gd name="T22" fmla="*/ 2038 w 20000"/>
                  <a:gd name="T23" fmla="*/ 19808 h 20000"/>
                  <a:gd name="T24" fmla="*/ 0 w 20000"/>
                  <a:gd name="T25" fmla="*/ 148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0" y="14808"/>
                    </a:moveTo>
                    <a:lnTo>
                      <a:pt x="0" y="7885"/>
                    </a:lnTo>
                    <a:lnTo>
                      <a:pt x="0" y="0"/>
                    </a:lnTo>
                    <a:lnTo>
                      <a:pt x="764" y="0"/>
                    </a:lnTo>
                    <a:lnTo>
                      <a:pt x="5223" y="0"/>
                    </a:lnTo>
                    <a:lnTo>
                      <a:pt x="10701" y="1923"/>
                    </a:lnTo>
                    <a:lnTo>
                      <a:pt x="12611" y="5000"/>
                    </a:lnTo>
                    <a:lnTo>
                      <a:pt x="19873" y="7885"/>
                    </a:lnTo>
                    <a:lnTo>
                      <a:pt x="17834" y="12885"/>
                    </a:lnTo>
                    <a:lnTo>
                      <a:pt x="9172" y="12885"/>
                    </a:lnTo>
                    <a:lnTo>
                      <a:pt x="5987" y="12885"/>
                    </a:lnTo>
                    <a:lnTo>
                      <a:pt x="2038" y="19808"/>
                    </a:lnTo>
                    <a:lnTo>
                      <a:pt x="0" y="148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3" name="Freeform 73"/>
              <p:cNvSpPr>
                <a:spLocks/>
              </p:cNvSpPr>
              <p:nvPr/>
            </p:nvSpPr>
            <p:spPr bwMode="auto">
              <a:xfrm>
                <a:off x="2698750" y="4395788"/>
                <a:ext cx="165100" cy="180975"/>
              </a:xfrm>
              <a:custGeom>
                <a:avLst/>
                <a:gdLst>
                  <a:gd name="T0" fmla="*/ 7538 w 20000"/>
                  <a:gd name="T1" fmla="*/ 0 h 20000"/>
                  <a:gd name="T2" fmla="*/ 11538 w 20000"/>
                  <a:gd name="T3" fmla="*/ 1825 h 20000"/>
                  <a:gd name="T4" fmla="*/ 13538 w 20000"/>
                  <a:gd name="T5" fmla="*/ 3228 h 20000"/>
                  <a:gd name="T6" fmla="*/ 16000 w 20000"/>
                  <a:gd name="T7" fmla="*/ 3228 h 20000"/>
                  <a:gd name="T8" fmla="*/ 17923 w 20000"/>
                  <a:gd name="T9" fmla="*/ 4000 h 20000"/>
                  <a:gd name="T10" fmla="*/ 19923 w 20000"/>
                  <a:gd name="T11" fmla="*/ 6877 h 20000"/>
                  <a:gd name="T12" fmla="*/ 17923 w 20000"/>
                  <a:gd name="T13" fmla="*/ 9404 h 20000"/>
                  <a:gd name="T14" fmla="*/ 14769 w 20000"/>
                  <a:gd name="T15" fmla="*/ 12632 h 20000"/>
                  <a:gd name="T16" fmla="*/ 10692 w 20000"/>
                  <a:gd name="T17" fmla="*/ 14175 h 20000"/>
                  <a:gd name="T18" fmla="*/ 8308 w 20000"/>
                  <a:gd name="T19" fmla="*/ 17053 h 20000"/>
                  <a:gd name="T20" fmla="*/ 7154 w 20000"/>
                  <a:gd name="T21" fmla="*/ 19930 h 20000"/>
                  <a:gd name="T22" fmla="*/ 4385 w 20000"/>
                  <a:gd name="T23" fmla="*/ 18456 h 20000"/>
                  <a:gd name="T24" fmla="*/ 2385 w 20000"/>
                  <a:gd name="T25" fmla="*/ 18105 h 20000"/>
                  <a:gd name="T26" fmla="*/ 3154 w 20000"/>
                  <a:gd name="T27" fmla="*/ 15228 h 20000"/>
                  <a:gd name="T28" fmla="*/ 3923 w 20000"/>
                  <a:gd name="T29" fmla="*/ 15228 h 20000"/>
                  <a:gd name="T30" fmla="*/ 4385 w 20000"/>
                  <a:gd name="T31" fmla="*/ 12632 h 20000"/>
                  <a:gd name="T32" fmla="*/ 3923 w 20000"/>
                  <a:gd name="T33" fmla="*/ 11579 h 20000"/>
                  <a:gd name="T34" fmla="*/ 2385 w 20000"/>
                  <a:gd name="T35" fmla="*/ 12632 h 20000"/>
                  <a:gd name="T36" fmla="*/ 0 w 20000"/>
                  <a:gd name="T37" fmla="*/ 11579 h 20000"/>
                  <a:gd name="T38" fmla="*/ 1231 w 20000"/>
                  <a:gd name="T39" fmla="*/ 10456 h 20000"/>
                  <a:gd name="T40" fmla="*/ 769 w 20000"/>
                  <a:gd name="T41" fmla="*/ 7579 h 20000"/>
                  <a:gd name="T42" fmla="*/ 2000 w 20000"/>
                  <a:gd name="T43" fmla="*/ 6877 h 20000"/>
                  <a:gd name="T44" fmla="*/ 2000 w 20000"/>
                  <a:gd name="T45" fmla="*/ 5754 h 20000"/>
                  <a:gd name="T46" fmla="*/ 3154 w 20000"/>
                  <a:gd name="T47" fmla="*/ 4000 h 20000"/>
                  <a:gd name="T48" fmla="*/ 3154 w 20000"/>
                  <a:gd name="T49" fmla="*/ 2105 h 20000"/>
                  <a:gd name="T50" fmla="*/ 4385 w 20000"/>
                  <a:gd name="T51" fmla="*/ 1825 h 20000"/>
                  <a:gd name="T52" fmla="*/ 7538 w 20000"/>
                  <a:gd name="T5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7538" y="0"/>
                    </a:moveTo>
                    <a:lnTo>
                      <a:pt x="11538" y="1825"/>
                    </a:lnTo>
                    <a:lnTo>
                      <a:pt x="13538" y="3228"/>
                    </a:lnTo>
                    <a:lnTo>
                      <a:pt x="16000" y="3228"/>
                    </a:lnTo>
                    <a:lnTo>
                      <a:pt x="17923" y="4000"/>
                    </a:lnTo>
                    <a:lnTo>
                      <a:pt x="19923" y="6877"/>
                    </a:lnTo>
                    <a:lnTo>
                      <a:pt x="17923" y="9404"/>
                    </a:lnTo>
                    <a:lnTo>
                      <a:pt x="14769" y="12632"/>
                    </a:lnTo>
                    <a:lnTo>
                      <a:pt x="10692" y="14175"/>
                    </a:lnTo>
                    <a:lnTo>
                      <a:pt x="8308" y="17053"/>
                    </a:lnTo>
                    <a:lnTo>
                      <a:pt x="7154" y="19930"/>
                    </a:lnTo>
                    <a:lnTo>
                      <a:pt x="4385" y="18456"/>
                    </a:lnTo>
                    <a:lnTo>
                      <a:pt x="2385" y="18105"/>
                    </a:lnTo>
                    <a:lnTo>
                      <a:pt x="3154" y="15228"/>
                    </a:lnTo>
                    <a:lnTo>
                      <a:pt x="3923" y="15228"/>
                    </a:lnTo>
                    <a:lnTo>
                      <a:pt x="4385" y="12632"/>
                    </a:lnTo>
                    <a:lnTo>
                      <a:pt x="3923" y="11579"/>
                    </a:lnTo>
                    <a:lnTo>
                      <a:pt x="2385" y="12632"/>
                    </a:lnTo>
                    <a:lnTo>
                      <a:pt x="0" y="11579"/>
                    </a:lnTo>
                    <a:lnTo>
                      <a:pt x="1231" y="10456"/>
                    </a:lnTo>
                    <a:lnTo>
                      <a:pt x="769" y="7579"/>
                    </a:lnTo>
                    <a:lnTo>
                      <a:pt x="2000" y="6877"/>
                    </a:lnTo>
                    <a:lnTo>
                      <a:pt x="2000" y="5754"/>
                    </a:lnTo>
                    <a:lnTo>
                      <a:pt x="3154" y="4000"/>
                    </a:lnTo>
                    <a:lnTo>
                      <a:pt x="3154" y="2105"/>
                    </a:lnTo>
                    <a:lnTo>
                      <a:pt x="4385" y="1825"/>
                    </a:lnTo>
                    <a:lnTo>
                      <a:pt x="753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4" name="Freeform 72"/>
              <p:cNvSpPr>
                <a:spLocks/>
              </p:cNvSpPr>
              <p:nvPr/>
            </p:nvSpPr>
            <p:spPr bwMode="auto">
              <a:xfrm>
                <a:off x="2393950" y="3911600"/>
                <a:ext cx="106363" cy="122238"/>
              </a:xfrm>
              <a:custGeom>
                <a:avLst/>
                <a:gdLst>
                  <a:gd name="T0" fmla="*/ 17964 w 20000"/>
                  <a:gd name="T1" fmla="*/ 0 h 20000"/>
                  <a:gd name="T2" fmla="*/ 16766 w 20000"/>
                  <a:gd name="T3" fmla="*/ 8601 h 20000"/>
                  <a:gd name="T4" fmla="*/ 17964 w 20000"/>
                  <a:gd name="T5" fmla="*/ 9741 h 20000"/>
                  <a:gd name="T6" fmla="*/ 19162 w 20000"/>
                  <a:gd name="T7" fmla="*/ 10155 h 20000"/>
                  <a:gd name="T8" fmla="*/ 19880 w 20000"/>
                  <a:gd name="T9" fmla="*/ 10155 h 20000"/>
                  <a:gd name="T10" fmla="*/ 19880 w 20000"/>
                  <a:gd name="T11" fmla="*/ 11813 h 20000"/>
                  <a:gd name="T12" fmla="*/ 16766 w 20000"/>
                  <a:gd name="T13" fmla="*/ 12953 h 20000"/>
                  <a:gd name="T14" fmla="*/ 16766 w 20000"/>
                  <a:gd name="T15" fmla="*/ 14611 h 20000"/>
                  <a:gd name="T16" fmla="*/ 16168 w 20000"/>
                  <a:gd name="T17" fmla="*/ 16062 h 20000"/>
                  <a:gd name="T18" fmla="*/ 14970 w 20000"/>
                  <a:gd name="T19" fmla="*/ 16062 h 20000"/>
                  <a:gd name="T20" fmla="*/ 13772 w 20000"/>
                  <a:gd name="T21" fmla="*/ 18238 h 20000"/>
                  <a:gd name="T22" fmla="*/ 11856 w 20000"/>
                  <a:gd name="T23" fmla="*/ 19896 h 20000"/>
                  <a:gd name="T24" fmla="*/ 4910 w 20000"/>
                  <a:gd name="T25" fmla="*/ 18860 h 20000"/>
                  <a:gd name="T26" fmla="*/ 0 w 20000"/>
                  <a:gd name="T27" fmla="*/ 15648 h 20000"/>
                  <a:gd name="T28" fmla="*/ 1916 w 20000"/>
                  <a:gd name="T29" fmla="*/ 13990 h 20000"/>
                  <a:gd name="T30" fmla="*/ 719 w 20000"/>
                  <a:gd name="T31" fmla="*/ 11813 h 20000"/>
                  <a:gd name="T32" fmla="*/ 3713 w 20000"/>
                  <a:gd name="T33" fmla="*/ 8601 h 20000"/>
                  <a:gd name="T34" fmla="*/ 10060 w 20000"/>
                  <a:gd name="T35" fmla="*/ 8601 h 20000"/>
                  <a:gd name="T36" fmla="*/ 11257 w 20000"/>
                  <a:gd name="T37" fmla="*/ 7047 h 20000"/>
                  <a:gd name="T38" fmla="*/ 6826 w 20000"/>
                  <a:gd name="T39" fmla="*/ 3212 h 20000"/>
                  <a:gd name="T40" fmla="*/ 8623 w 20000"/>
                  <a:gd name="T41" fmla="*/ 0 h 20000"/>
                  <a:gd name="T42" fmla="*/ 17964 w 20000"/>
                  <a:gd name="T4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17964" y="0"/>
                    </a:moveTo>
                    <a:lnTo>
                      <a:pt x="16766" y="8601"/>
                    </a:lnTo>
                    <a:lnTo>
                      <a:pt x="17964" y="9741"/>
                    </a:lnTo>
                    <a:lnTo>
                      <a:pt x="19162" y="10155"/>
                    </a:lnTo>
                    <a:lnTo>
                      <a:pt x="19880" y="10155"/>
                    </a:lnTo>
                    <a:lnTo>
                      <a:pt x="19880" y="11813"/>
                    </a:lnTo>
                    <a:lnTo>
                      <a:pt x="16766" y="12953"/>
                    </a:lnTo>
                    <a:lnTo>
                      <a:pt x="16766" y="14611"/>
                    </a:lnTo>
                    <a:lnTo>
                      <a:pt x="16168" y="16062"/>
                    </a:lnTo>
                    <a:lnTo>
                      <a:pt x="14970" y="16062"/>
                    </a:lnTo>
                    <a:lnTo>
                      <a:pt x="13772" y="18238"/>
                    </a:lnTo>
                    <a:lnTo>
                      <a:pt x="11856" y="19896"/>
                    </a:lnTo>
                    <a:lnTo>
                      <a:pt x="4910" y="18860"/>
                    </a:lnTo>
                    <a:lnTo>
                      <a:pt x="0" y="15648"/>
                    </a:lnTo>
                    <a:lnTo>
                      <a:pt x="1916" y="13990"/>
                    </a:lnTo>
                    <a:lnTo>
                      <a:pt x="719" y="11813"/>
                    </a:lnTo>
                    <a:lnTo>
                      <a:pt x="3713" y="8601"/>
                    </a:lnTo>
                    <a:lnTo>
                      <a:pt x="10060" y="8601"/>
                    </a:lnTo>
                    <a:lnTo>
                      <a:pt x="11257" y="7047"/>
                    </a:lnTo>
                    <a:lnTo>
                      <a:pt x="6826" y="3212"/>
                    </a:lnTo>
                    <a:lnTo>
                      <a:pt x="8623" y="0"/>
                    </a:lnTo>
                    <a:lnTo>
                      <a:pt x="17964"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5" name="Freeform 71"/>
              <p:cNvSpPr>
                <a:spLocks/>
              </p:cNvSpPr>
              <p:nvPr/>
            </p:nvSpPr>
            <p:spPr bwMode="auto">
              <a:xfrm>
                <a:off x="3257550" y="4203700"/>
                <a:ext cx="131763" cy="195263"/>
              </a:xfrm>
              <a:custGeom>
                <a:avLst/>
                <a:gdLst>
                  <a:gd name="T0" fmla="*/ 6957 w 20000"/>
                  <a:gd name="T1" fmla="*/ 0 h 20000"/>
                  <a:gd name="T2" fmla="*/ 12947 w 20000"/>
                  <a:gd name="T3" fmla="*/ 2671 h 20000"/>
                  <a:gd name="T4" fmla="*/ 11014 w 20000"/>
                  <a:gd name="T5" fmla="*/ 5472 h 20000"/>
                  <a:gd name="T6" fmla="*/ 13430 w 20000"/>
                  <a:gd name="T7" fmla="*/ 4430 h 20000"/>
                  <a:gd name="T8" fmla="*/ 18357 w 20000"/>
                  <a:gd name="T9" fmla="*/ 6450 h 20000"/>
                  <a:gd name="T10" fmla="*/ 17391 w 20000"/>
                  <a:gd name="T11" fmla="*/ 9186 h 20000"/>
                  <a:gd name="T12" fmla="*/ 14396 w 20000"/>
                  <a:gd name="T13" fmla="*/ 10163 h 20000"/>
                  <a:gd name="T14" fmla="*/ 13430 w 20000"/>
                  <a:gd name="T15" fmla="*/ 12508 h 20000"/>
                  <a:gd name="T16" fmla="*/ 17391 w 20000"/>
                  <a:gd name="T17" fmla="*/ 14202 h 20000"/>
                  <a:gd name="T18" fmla="*/ 19903 w 20000"/>
                  <a:gd name="T19" fmla="*/ 18632 h 20000"/>
                  <a:gd name="T20" fmla="*/ 16908 w 20000"/>
                  <a:gd name="T21" fmla="*/ 18893 h 20000"/>
                  <a:gd name="T22" fmla="*/ 11981 w 20000"/>
                  <a:gd name="T23" fmla="*/ 19935 h 20000"/>
                  <a:gd name="T24" fmla="*/ 6957 w 20000"/>
                  <a:gd name="T25" fmla="*/ 18893 h 20000"/>
                  <a:gd name="T26" fmla="*/ 5507 w 20000"/>
                  <a:gd name="T27" fmla="*/ 16221 h 20000"/>
                  <a:gd name="T28" fmla="*/ 6957 w 20000"/>
                  <a:gd name="T29" fmla="*/ 12508 h 20000"/>
                  <a:gd name="T30" fmla="*/ 5507 w 20000"/>
                  <a:gd name="T31" fmla="*/ 10814 h 20000"/>
                  <a:gd name="T32" fmla="*/ 4444 w 20000"/>
                  <a:gd name="T33" fmla="*/ 8404 h 20000"/>
                  <a:gd name="T34" fmla="*/ 2899 w 20000"/>
                  <a:gd name="T35" fmla="*/ 9186 h 20000"/>
                  <a:gd name="T36" fmla="*/ 0 w 20000"/>
                  <a:gd name="T37" fmla="*/ 7101 h 20000"/>
                  <a:gd name="T38" fmla="*/ 1353 w 20000"/>
                  <a:gd name="T39" fmla="*/ 5472 h 20000"/>
                  <a:gd name="T40" fmla="*/ 1353 w 20000"/>
                  <a:gd name="T41" fmla="*/ 4430 h 20000"/>
                  <a:gd name="T42" fmla="*/ 4444 w 20000"/>
                  <a:gd name="T43" fmla="*/ 3713 h 20000"/>
                  <a:gd name="T44" fmla="*/ 2899 w 20000"/>
                  <a:gd name="T45" fmla="*/ 2020 h 20000"/>
                  <a:gd name="T46" fmla="*/ 6957 w 20000"/>
                  <a:gd name="T4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00" h="20000">
                    <a:moveTo>
                      <a:pt x="6957" y="0"/>
                    </a:moveTo>
                    <a:lnTo>
                      <a:pt x="12947" y="2671"/>
                    </a:lnTo>
                    <a:lnTo>
                      <a:pt x="11014" y="5472"/>
                    </a:lnTo>
                    <a:lnTo>
                      <a:pt x="13430" y="4430"/>
                    </a:lnTo>
                    <a:lnTo>
                      <a:pt x="18357" y="6450"/>
                    </a:lnTo>
                    <a:lnTo>
                      <a:pt x="17391" y="9186"/>
                    </a:lnTo>
                    <a:lnTo>
                      <a:pt x="14396" y="10163"/>
                    </a:lnTo>
                    <a:lnTo>
                      <a:pt x="13430" y="12508"/>
                    </a:lnTo>
                    <a:lnTo>
                      <a:pt x="17391" y="14202"/>
                    </a:lnTo>
                    <a:lnTo>
                      <a:pt x="19903" y="18632"/>
                    </a:lnTo>
                    <a:lnTo>
                      <a:pt x="16908" y="18893"/>
                    </a:lnTo>
                    <a:lnTo>
                      <a:pt x="11981" y="19935"/>
                    </a:lnTo>
                    <a:lnTo>
                      <a:pt x="6957" y="18893"/>
                    </a:lnTo>
                    <a:lnTo>
                      <a:pt x="5507" y="16221"/>
                    </a:lnTo>
                    <a:lnTo>
                      <a:pt x="6957" y="12508"/>
                    </a:lnTo>
                    <a:lnTo>
                      <a:pt x="5507" y="10814"/>
                    </a:lnTo>
                    <a:lnTo>
                      <a:pt x="4444" y="8404"/>
                    </a:lnTo>
                    <a:lnTo>
                      <a:pt x="2899" y="9186"/>
                    </a:lnTo>
                    <a:lnTo>
                      <a:pt x="0" y="7101"/>
                    </a:lnTo>
                    <a:lnTo>
                      <a:pt x="1353" y="5472"/>
                    </a:lnTo>
                    <a:lnTo>
                      <a:pt x="1353" y="4430"/>
                    </a:lnTo>
                    <a:lnTo>
                      <a:pt x="4444" y="3713"/>
                    </a:lnTo>
                    <a:lnTo>
                      <a:pt x="2899" y="2020"/>
                    </a:lnTo>
                    <a:lnTo>
                      <a:pt x="6957"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6" name="Freeform 70"/>
              <p:cNvSpPr>
                <a:spLocks/>
              </p:cNvSpPr>
              <p:nvPr/>
            </p:nvSpPr>
            <p:spPr bwMode="auto">
              <a:xfrm>
                <a:off x="2905125" y="3859213"/>
                <a:ext cx="76200" cy="53975"/>
              </a:xfrm>
              <a:custGeom>
                <a:avLst/>
                <a:gdLst>
                  <a:gd name="T0" fmla="*/ 19833 w 20000"/>
                  <a:gd name="T1" fmla="*/ 1429 h 20000"/>
                  <a:gd name="T2" fmla="*/ 19833 w 20000"/>
                  <a:gd name="T3" fmla="*/ 11190 h 20000"/>
                  <a:gd name="T4" fmla="*/ 19833 w 20000"/>
                  <a:gd name="T5" fmla="*/ 19762 h 20000"/>
                  <a:gd name="T6" fmla="*/ 4500 w 20000"/>
                  <a:gd name="T7" fmla="*/ 19762 h 20000"/>
                  <a:gd name="T8" fmla="*/ 0 w 20000"/>
                  <a:gd name="T9" fmla="*/ 17381 h 20000"/>
                  <a:gd name="T10" fmla="*/ 1833 w 20000"/>
                  <a:gd name="T11" fmla="*/ 11190 h 20000"/>
                  <a:gd name="T12" fmla="*/ 16500 w 20000"/>
                  <a:gd name="T13" fmla="*/ 13571 h 20000"/>
                  <a:gd name="T14" fmla="*/ 13000 w 20000"/>
                  <a:gd name="T15" fmla="*/ 9762 h 20000"/>
                  <a:gd name="T16" fmla="*/ 11333 w 20000"/>
                  <a:gd name="T17" fmla="*/ 4762 h 20000"/>
                  <a:gd name="T18" fmla="*/ 8667 w 20000"/>
                  <a:gd name="T19" fmla="*/ 0 h 20000"/>
                  <a:gd name="T20" fmla="*/ 15500 w 20000"/>
                  <a:gd name="T21" fmla="*/ 0 h 20000"/>
                  <a:gd name="T22" fmla="*/ 19833 w 20000"/>
                  <a:gd name="T23" fmla="*/ 142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9833" y="1429"/>
                    </a:moveTo>
                    <a:lnTo>
                      <a:pt x="19833" y="11190"/>
                    </a:lnTo>
                    <a:lnTo>
                      <a:pt x="19833" y="19762"/>
                    </a:lnTo>
                    <a:lnTo>
                      <a:pt x="4500" y="19762"/>
                    </a:lnTo>
                    <a:lnTo>
                      <a:pt x="0" y="17381"/>
                    </a:lnTo>
                    <a:lnTo>
                      <a:pt x="1833" y="11190"/>
                    </a:lnTo>
                    <a:lnTo>
                      <a:pt x="16500" y="13571"/>
                    </a:lnTo>
                    <a:lnTo>
                      <a:pt x="13000" y="9762"/>
                    </a:lnTo>
                    <a:lnTo>
                      <a:pt x="11333" y="4762"/>
                    </a:lnTo>
                    <a:lnTo>
                      <a:pt x="8667" y="0"/>
                    </a:lnTo>
                    <a:lnTo>
                      <a:pt x="15500" y="0"/>
                    </a:lnTo>
                    <a:lnTo>
                      <a:pt x="19833" y="142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7" name="Freeform 69"/>
              <p:cNvSpPr>
                <a:spLocks/>
              </p:cNvSpPr>
              <p:nvPr/>
            </p:nvSpPr>
            <p:spPr bwMode="auto">
              <a:xfrm>
                <a:off x="2473325" y="3971925"/>
                <a:ext cx="174625" cy="82550"/>
              </a:xfrm>
              <a:custGeom>
                <a:avLst/>
                <a:gdLst>
                  <a:gd name="T0" fmla="*/ 2982 w 20000"/>
                  <a:gd name="T1" fmla="*/ 615 h 20000"/>
                  <a:gd name="T2" fmla="*/ 4873 w 20000"/>
                  <a:gd name="T3" fmla="*/ 615 h 20000"/>
                  <a:gd name="T4" fmla="*/ 8655 w 20000"/>
                  <a:gd name="T5" fmla="*/ 615 h 20000"/>
                  <a:gd name="T6" fmla="*/ 12800 w 20000"/>
                  <a:gd name="T7" fmla="*/ 0 h 20000"/>
                  <a:gd name="T8" fmla="*/ 15055 w 20000"/>
                  <a:gd name="T9" fmla="*/ 615 h 20000"/>
                  <a:gd name="T10" fmla="*/ 17673 w 20000"/>
                  <a:gd name="T11" fmla="*/ 615 h 20000"/>
                  <a:gd name="T12" fmla="*/ 18400 w 20000"/>
                  <a:gd name="T13" fmla="*/ 3077 h 20000"/>
                  <a:gd name="T14" fmla="*/ 16945 w 20000"/>
                  <a:gd name="T15" fmla="*/ 4769 h 20000"/>
                  <a:gd name="T16" fmla="*/ 19927 w 20000"/>
                  <a:gd name="T17" fmla="*/ 6308 h 20000"/>
                  <a:gd name="T18" fmla="*/ 15782 w 20000"/>
                  <a:gd name="T19" fmla="*/ 9385 h 20000"/>
                  <a:gd name="T20" fmla="*/ 14691 w 20000"/>
                  <a:gd name="T21" fmla="*/ 7231 h 20000"/>
                  <a:gd name="T22" fmla="*/ 13891 w 20000"/>
                  <a:gd name="T23" fmla="*/ 9385 h 20000"/>
                  <a:gd name="T24" fmla="*/ 12000 w 20000"/>
                  <a:gd name="T25" fmla="*/ 13538 h 20000"/>
                  <a:gd name="T26" fmla="*/ 9818 w 20000"/>
                  <a:gd name="T27" fmla="*/ 15077 h 20000"/>
                  <a:gd name="T28" fmla="*/ 7855 w 20000"/>
                  <a:gd name="T29" fmla="*/ 19846 h 20000"/>
                  <a:gd name="T30" fmla="*/ 6691 w 20000"/>
                  <a:gd name="T31" fmla="*/ 19846 h 20000"/>
                  <a:gd name="T32" fmla="*/ 5964 w 20000"/>
                  <a:gd name="T33" fmla="*/ 18923 h 20000"/>
                  <a:gd name="T34" fmla="*/ 5673 w 20000"/>
                  <a:gd name="T35" fmla="*/ 17385 h 20000"/>
                  <a:gd name="T36" fmla="*/ 4873 w 20000"/>
                  <a:gd name="T37" fmla="*/ 13538 h 20000"/>
                  <a:gd name="T38" fmla="*/ 2618 w 20000"/>
                  <a:gd name="T39" fmla="*/ 11077 h 20000"/>
                  <a:gd name="T40" fmla="*/ 0 w 20000"/>
                  <a:gd name="T41" fmla="*/ 9385 h 20000"/>
                  <a:gd name="T42" fmla="*/ 727 w 20000"/>
                  <a:gd name="T43" fmla="*/ 9385 h 20000"/>
                  <a:gd name="T44" fmla="*/ 1164 w 20000"/>
                  <a:gd name="T45" fmla="*/ 7231 h 20000"/>
                  <a:gd name="T46" fmla="*/ 1164 w 20000"/>
                  <a:gd name="T47" fmla="*/ 4769 h 20000"/>
                  <a:gd name="T48" fmla="*/ 2982 w 20000"/>
                  <a:gd name="T49" fmla="*/ 3077 h 20000"/>
                  <a:gd name="T50" fmla="*/ 2982 w 20000"/>
                  <a:gd name="T51" fmla="*/ 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2982" y="615"/>
                    </a:moveTo>
                    <a:lnTo>
                      <a:pt x="4873" y="615"/>
                    </a:lnTo>
                    <a:lnTo>
                      <a:pt x="8655" y="615"/>
                    </a:lnTo>
                    <a:lnTo>
                      <a:pt x="12800" y="0"/>
                    </a:lnTo>
                    <a:lnTo>
                      <a:pt x="15055" y="615"/>
                    </a:lnTo>
                    <a:lnTo>
                      <a:pt x="17673" y="615"/>
                    </a:lnTo>
                    <a:lnTo>
                      <a:pt x="18400" y="3077"/>
                    </a:lnTo>
                    <a:lnTo>
                      <a:pt x="16945" y="4769"/>
                    </a:lnTo>
                    <a:lnTo>
                      <a:pt x="19927" y="6308"/>
                    </a:lnTo>
                    <a:lnTo>
                      <a:pt x="15782" y="9385"/>
                    </a:lnTo>
                    <a:lnTo>
                      <a:pt x="14691" y="7231"/>
                    </a:lnTo>
                    <a:lnTo>
                      <a:pt x="13891" y="9385"/>
                    </a:lnTo>
                    <a:lnTo>
                      <a:pt x="12000" y="13538"/>
                    </a:lnTo>
                    <a:lnTo>
                      <a:pt x="9818" y="15077"/>
                    </a:lnTo>
                    <a:lnTo>
                      <a:pt x="7855" y="19846"/>
                    </a:lnTo>
                    <a:lnTo>
                      <a:pt x="6691" y="19846"/>
                    </a:lnTo>
                    <a:lnTo>
                      <a:pt x="5964" y="18923"/>
                    </a:lnTo>
                    <a:lnTo>
                      <a:pt x="5673" y="17385"/>
                    </a:lnTo>
                    <a:lnTo>
                      <a:pt x="4873" y="13538"/>
                    </a:lnTo>
                    <a:lnTo>
                      <a:pt x="2618" y="11077"/>
                    </a:lnTo>
                    <a:lnTo>
                      <a:pt x="0" y="9385"/>
                    </a:lnTo>
                    <a:lnTo>
                      <a:pt x="727" y="9385"/>
                    </a:lnTo>
                    <a:lnTo>
                      <a:pt x="1164" y="7231"/>
                    </a:lnTo>
                    <a:lnTo>
                      <a:pt x="1164" y="4769"/>
                    </a:lnTo>
                    <a:lnTo>
                      <a:pt x="2982" y="3077"/>
                    </a:lnTo>
                    <a:lnTo>
                      <a:pt x="2982" y="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8" name="Freeform 68"/>
              <p:cNvSpPr>
                <a:spLocks/>
              </p:cNvSpPr>
              <p:nvPr/>
            </p:nvSpPr>
            <p:spPr bwMode="auto">
              <a:xfrm>
                <a:off x="2800350" y="3895725"/>
                <a:ext cx="53975" cy="20638"/>
              </a:xfrm>
              <a:custGeom>
                <a:avLst/>
                <a:gdLst>
                  <a:gd name="T0" fmla="*/ 11190 w 20000"/>
                  <a:gd name="T1" fmla="*/ 19375 h 20000"/>
                  <a:gd name="T2" fmla="*/ 3810 w 20000"/>
                  <a:gd name="T3" fmla="*/ 19375 h 20000"/>
                  <a:gd name="T4" fmla="*/ 0 w 20000"/>
                  <a:gd name="T5" fmla="*/ 9375 h 20000"/>
                  <a:gd name="T6" fmla="*/ 3810 w 20000"/>
                  <a:gd name="T7" fmla="*/ 0 h 20000"/>
                  <a:gd name="T8" fmla="*/ 15952 w 20000"/>
                  <a:gd name="T9" fmla="*/ 6250 h 20000"/>
                  <a:gd name="T10" fmla="*/ 19762 w 20000"/>
                  <a:gd name="T11" fmla="*/ 19375 h 20000"/>
                  <a:gd name="T12" fmla="*/ 11190 w 20000"/>
                  <a:gd name="T13" fmla="*/ 1937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190" y="19375"/>
                    </a:moveTo>
                    <a:lnTo>
                      <a:pt x="3810" y="19375"/>
                    </a:lnTo>
                    <a:lnTo>
                      <a:pt x="0" y="9375"/>
                    </a:lnTo>
                    <a:lnTo>
                      <a:pt x="3810" y="0"/>
                    </a:lnTo>
                    <a:lnTo>
                      <a:pt x="15952" y="6250"/>
                    </a:lnTo>
                    <a:lnTo>
                      <a:pt x="19762" y="19375"/>
                    </a:lnTo>
                    <a:lnTo>
                      <a:pt x="11190"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69" name="Freeform 67"/>
              <p:cNvSpPr>
                <a:spLocks/>
              </p:cNvSpPr>
              <p:nvPr/>
            </p:nvSpPr>
            <p:spPr bwMode="auto">
              <a:xfrm>
                <a:off x="1557338" y="1576388"/>
                <a:ext cx="2028825" cy="1538287"/>
              </a:xfrm>
              <a:custGeom>
                <a:avLst/>
                <a:gdLst>
                  <a:gd name="T0" fmla="*/ 4118 w 20000"/>
                  <a:gd name="T1" fmla="*/ 1024 h 20000"/>
                  <a:gd name="T2" fmla="*/ 5870 w 20000"/>
                  <a:gd name="T3" fmla="*/ 768 h 20000"/>
                  <a:gd name="T4" fmla="*/ 5219 w 20000"/>
                  <a:gd name="T5" fmla="*/ 1148 h 20000"/>
                  <a:gd name="T6" fmla="*/ 6483 w 20000"/>
                  <a:gd name="T7" fmla="*/ 553 h 20000"/>
                  <a:gd name="T8" fmla="*/ 6740 w 20000"/>
                  <a:gd name="T9" fmla="*/ 1668 h 20000"/>
                  <a:gd name="T10" fmla="*/ 8454 w 20000"/>
                  <a:gd name="T11" fmla="*/ 2477 h 20000"/>
                  <a:gd name="T12" fmla="*/ 9362 w 20000"/>
                  <a:gd name="T13" fmla="*/ 3501 h 20000"/>
                  <a:gd name="T14" fmla="*/ 9656 w 20000"/>
                  <a:gd name="T15" fmla="*/ 4352 h 20000"/>
                  <a:gd name="T16" fmla="*/ 9887 w 20000"/>
                  <a:gd name="T17" fmla="*/ 3501 h 20000"/>
                  <a:gd name="T18" fmla="*/ 10989 w 20000"/>
                  <a:gd name="T19" fmla="*/ 3931 h 20000"/>
                  <a:gd name="T20" fmla="*/ 12253 w 20000"/>
                  <a:gd name="T21" fmla="*/ 4525 h 20000"/>
                  <a:gd name="T22" fmla="*/ 12666 w 20000"/>
                  <a:gd name="T23" fmla="*/ 4352 h 20000"/>
                  <a:gd name="T24" fmla="*/ 12509 w 20000"/>
                  <a:gd name="T25" fmla="*/ 5078 h 20000"/>
                  <a:gd name="T26" fmla="*/ 13091 w 20000"/>
                  <a:gd name="T27" fmla="*/ 4145 h 20000"/>
                  <a:gd name="T28" fmla="*/ 13548 w 20000"/>
                  <a:gd name="T29" fmla="*/ 3625 h 20000"/>
                  <a:gd name="T30" fmla="*/ 13217 w 20000"/>
                  <a:gd name="T31" fmla="*/ 2898 h 20000"/>
                  <a:gd name="T32" fmla="*/ 13773 w 20000"/>
                  <a:gd name="T33" fmla="*/ 2263 h 20000"/>
                  <a:gd name="T34" fmla="*/ 14124 w 20000"/>
                  <a:gd name="T35" fmla="*/ 3369 h 20000"/>
                  <a:gd name="T36" fmla="*/ 14161 w 20000"/>
                  <a:gd name="T37" fmla="*/ 3840 h 20000"/>
                  <a:gd name="T38" fmla="*/ 14324 w 20000"/>
                  <a:gd name="T39" fmla="*/ 4905 h 20000"/>
                  <a:gd name="T40" fmla="*/ 15388 w 20000"/>
                  <a:gd name="T41" fmla="*/ 4013 h 20000"/>
                  <a:gd name="T42" fmla="*/ 16008 w 20000"/>
                  <a:gd name="T43" fmla="*/ 4955 h 20000"/>
                  <a:gd name="T44" fmla="*/ 14906 w 20000"/>
                  <a:gd name="T45" fmla="*/ 5632 h 20000"/>
                  <a:gd name="T46" fmla="*/ 13805 w 20000"/>
                  <a:gd name="T47" fmla="*/ 6532 h 20000"/>
                  <a:gd name="T48" fmla="*/ 13379 w 20000"/>
                  <a:gd name="T49" fmla="*/ 7424 h 20000"/>
                  <a:gd name="T50" fmla="*/ 12178 w 20000"/>
                  <a:gd name="T51" fmla="*/ 7300 h 20000"/>
                  <a:gd name="T52" fmla="*/ 11602 w 20000"/>
                  <a:gd name="T53" fmla="*/ 8885 h 20000"/>
                  <a:gd name="T54" fmla="*/ 11145 w 20000"/>
                  <a:gd name="T55" fmla="*/ 11709 h 20000"/>
                  <a:gd name="T56" fmla="*/ 12804 w 20000"/>
                  <a:gd name="T57" fmla="*/ 13022 h 20000"/>
                  <a:gd name="T58" fmla="*/ 13548 w 20000"/>
                  <a:gd name="T59" fmla="*/ 15376 h 20000"/>
                  <a:gd name="T60" fmla="*/ 14969 w 20000"/>
                  <a:gd name="T61" fmla="*/ 12989 h 20000"/>
                  <a:gd name="T62" fmla="*/ 15519 w 20000"/>
                  <a:gd name="T63" fmla="*/ 9529 h 20000"/>
                  <a:gd name="T64" fmla="*/ 16915 w 20000"/>
                  <a:gd name="T65" fmla="*/ 9992 h 20000"/>
                  <a:gd name="T66" fmla="*/ 16946 w 20000"/>
                  <a:gd name="T67" fmla="*/ 11536 h 20000"/>
                  <a:gd name="T68" fmla="*/ 18536 w 20000"/>
                  <a:gd name="T69" fmla="*/ 10760 h 20000"/>
                  <a:gd name="T70" fmla="*/ 19675 w 20000"/>
                  <a:gd name="T71" fmla="*/ 14269 h 20000"/>
                  <a:gd name="T72" fmla="*/ 19637 w 20000"/>
                  <a:gd name="T73" fmla="*/ 14913 h 20000"/>
                  <a:gd name="T74" fmla="*/ 18667 w 20000"/>
                  <a:gd name="T75" fmla="*/ 16491 h 20000"/>
                  <a:gd name="T76" fmla="*/ 16915 w 20000"/>
                  <a:gd name="T77" fmla="*/ 16837 h 20000"/>
                  <a:gd name="T78" fmla="*/ 17040 w 20000"/>
                  <a:gd name="T79" fmla="*/ 17647 h 20000"/>
                  <a:gd name="T80" fmla="*/ 17109 w 20000"/>
                  <a:gd name="T81" fmla="*/ 19306 h 20000"/>
                  <a:gd name="T82" fmla="*/ 17109 w 20000"/>
                  <a:gd name="T83" fmla="*/ 18761 h 20000"/>
                  <a:gd name="T84" fmla="*/ 16108 w 20000"/>
                  <a:gd name="T85" fmla="*/ 17812 h 20000"/>
                  <a:gd name="T86" fmla="*/ 13642 w 20000"/>
                  <a:gd name="T87" fmla="*/ 19100 h 20000"/>
                  <a:gd name="T88" fmla="*/ 13185 w 20000"/>
                  <a:gd name="T89" fmla="*/ 19653 h 20000"/>
                  <a:gd name="T90" fmla="*/ 12509 w 20000"/>
                  <a:gd name="T91" fmla="*/ 19306 h 20000"/>
                  <a:gd name="T92" fmla="*/ 13091 w 20000"/>
                  <a:gd name="T93" fmla="*/ 18629 h 20000"/>
                  <a:gd name="T94" fmla="*/ 11859 w 20000"/>
                  <a:gd name="T95" fmla="*/ 17044 h 20000"/>
                  <a:gd name="T96" fmla="*/ 10144 w 20000"/>
                  <a:gd name="T97" fmla="*/ 16573 h 20000"/>
                  <a:gd name="T98" fmla="*/ 9618 w 20000"/>
                  <a:gd name="T99" fmla="*/ 15723 h 20000"/>
                  <a:gd name="T100" fmla="*/ 1358 w 20000"/>
                  <a:gd name="T101" fmla="*/ 13501 h 20000"/>
                  <a:gd name="T102" fmla="*/ 1621 w 20000"/>
                  <a:gd name="T103" fmla="*/ 10462 h 20000"/>
                  <a:gd name="T104" fmla="*/ 870 w 20000"/>
                  <a:gd name="T105" fmla="*/ 7605 h 20000"/>
                  <a:gd name="T106" fmla="*/ 1909 w 20000"/>
                  <a:gd name="T107" fmla="*/ 21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1909" y="2139"/>
                    </a:moveTo>
                    <a:lnTo>
                      <a:pt x="3235" y="0"/>
                    </a:lnTo>
                    <a:lnTo>
                      <a:pt x="3492" y="132"/>
                    </a:lnTo>
                    <a:lnTo>
                      <a:pt x="3692" y="809"/>
                    </a:lnTo>
                    <a:lnTo>
                      <a:pt x="4118" y="1148"/>
                    </a:lnTo>
                    <a:lnTo>
                      <a:pt x="4118" y="1024"/>
                    </a:lnTo>
                    <a:lnTo>
                      <a:pt x="4212" y="1107"/>
                    </a:lnTo>
                    <a:lnTo>
                      <a:pt x="4274" y="1363"/>
                    </a:lnTo>
                    <a:lnTo>
                      <a:pt x="4374" y="1024"/>
                    </a:lnTo>
                    <a:lnTo>
                      <a:pt x="4693" y="809"/>
                    </a:lnTo>
                    <a:lnTo>
                      <a:pt x="5895" y="595"/>
                    </a:lnTo>
                    <a:lnTo>
                      <a:pt x="5870" y="768"/>
                    </a:lnTo>
                    <a:lnTo>
                      <a:pt x="5444" y="892"/>
                    </a:lnTo>
                    <a:lnTo>
                      <a:pt x="4862" y="941"/>
                    </a:lnTo>
                    <a:lnTo>
                      <a:pt x="4599" y="1230"/>
                    </a:lnTo>
                    <a:lnTo>
                      <a:pt x="4762" y="1280"/>
                    </a:lnTo>
                    <a:lnTo>
                      <a:pt x="5313" y="1024"/>
                    </a:lnTo>
                    <a:lnTo>
                      <a:pt x="5219" y="1148"/>
                    </a:lnTo>
                    <a:lnTo>
                      <a:pt x="5895" y="892"/>
                    </a:lnTo>
                    <a:lnTo>
                      <a:pt x="5870" y="941"/>
                    </a:lnTo>
                    <a:lnTo>
                      <a:pt x="5895" y="1107"/>
                    </a:lnTo>
                    <a:lnTo>
                      <a:pt x="6383" y="768"/>
                    </a:lnTo>
                    <a:lnTo>
                      <a:pt x="6383" y="595"/>
                    </a:lnTo>
                    <a:lnTo>
                      <a:pt x="6483" y="553"/>
                    </a:lnTo>
                    <a:lnTo>
                      <a:pt x="6383" y="1363"/>
                    </a:lnTo>
                    <a:lnTo>
                      <a:pt x="6483" y="1577"/>
                    </a:lnTo>
                    <a:lnTo>
                      <a:pt x="6802" y="1107"/>
                    </a:lnTo>
                    <a:lnTo>
                      <a:pt x="6996" y="1024"/>
                    </a:lnTo>
                    <a:lnTo>
                      <a:pt x="6934" y="1363"/>
                    </a:lnTo>
                    <a:lnTo>
                      <a:pt x="6740" y="1668"/>
                    </a:lnTo>
                    <a:lnTo>
                      <a:pt x="7059" y="1668"/>
                    </a:lnTo>
                    <a:lnTo>
                      <a:pt x="7228" y="1445"/>
                    </a:lnTo>
                    <a:lnTo>
                      <a:pt x="7484" y="1495"/>
                    </a:lnTo>
                    <a:lnTo>
                      <a:pt x="7610" y="1833"/>
                    </a:lnTo>
                    <a:lnTo>
                      <a:pt x="8098" y="2395"/>
                    </a:lnTo>
                    <a:lnTo>
                      <a:pt x="8454" y="2477"/>
                    </a:lnTo>
                    <a:lnTo>
                      <a:pt x="8617" y="2898"/>
                    </a:lnTo>
                    <a:lnTo>
                      <a:pt x="8586" y="3121"/>
                    </a:lnTo>
                    <a:lnTo>
                      <a:pt x="8354" y="3031"/>
                    </a:lnTo>
                    <a:lnTo>
                      <a:pt x="8160" y="3154"/>
                    </a:lnTo>
                    <a:lnTo>
                      <a:pt x="8780" y="3501"/>
                    </a:lnTo>
                    <a:lnTo>
                      <a:pt x="9362" y="3501"/>
                    </a:lnTo>
                    <a:lnTo>
                      <a:pt x="9618" y="3931"/>
                    </a:lnTo>
                    <a:lnTo>
                      <a:pt x="9618" y="4269"/>
                    </a:lnTo>
                    <a:lnTo>
                      <a:pt x="9462" y="4187"/>
                    </a:lnTo>
                    <a:lnTo>
                      <a:pt x="9556" y="4740"/>
                    </a:lnTo>
                    <a:lnTo>
                      <a:pt x="9556" y="4484"/>
                    </a:lnTo>
                    <a:lnTo>
                      <a:pt x="9656" y="4352"/>
                    </a:lnTo>
                    <a:lnTo>
                      <a:pt x="9718" y="4401"/>
                    </a:lnTo>
                    <a:lnTo>
                      <a:pt x="9812" y="3840"/>
                    </a:lnTo>
                    <a:lnTo>
                      <a:pt x="9950" y="3625"/>
                    </a:lnTo>
                    <a:lnTo>
                      <a:pt x="10338" y="3625"/>
                    </a:lnTo>
                    <a:lnTo>
                      <a:pt x="10563" y="3460"/>
                    </a:lnTo>
                    <a:lnTo>
                      <a:pt x="9887" y="3501"/>
                    </a:lnTo>
                    <a:lnTo>
                      <a:pt x="9812" y="3460"/>
                    </a:lnTo>
                    <a:lnTo>
                      <a:pt x="10044" y="3287"/>
                    </a:lnTo>
                    <a:lnTo>
                      <a:pt x="10626" y="3237"/>
                    </a:lnTo>
                    <a:lnTo>
                      <a:pt x="10720" y="3799"/>
                    </a:lnTo>
                    <a:lnTo>
                      <a:pt x="10820" y="3931"/>
                    </a:lnTo>
                    <a:lnTo>
                      <a:pt x="10989" y="3931"/>
                    </a:lnTo>
                    <a:lnTo>
                      <a:pt x="11076" y="4352"/>
                    </a:lnTo>
                    <a:lnTo>
                      <a:pt x="11176" y="4269"/>
                    </a:lnTo>
                    <a:lnTo>
                      <a:pt x="11859" y="4484"/>
                    </a:lnTo>
                    <a:lnTo>
                      <a:pt x="11990" y="4269"/>
                    </a:lnTo>
                    <a:lnTo>
                      <a:pt x="12090" y="4484"/>
                    </a:lnTo>
                    <a:lnTo>
                      <a:pt x="12253" y="4525"/>
                    </a:lnTo>
                    <a:lnTo>
                      <a:pt x="12090" y="4269"/>
                    </a:lnTo>
                    <a:lnTo>
                      <a:pt x="12115" y="4063"/>
                    </a:lnTo>
                    <a:lnTo>
                      <a:pt x="12347" y="4063"/>
                    </a:lnTo>
                    <a:lnTo>
                      <a:pt x="12509" y="4269"/>
                    </a:lnTo>
                    <a:lnTo>
                      <a:pt x="12409" y="4401"/>
                    </a:lnTo>
                    <a:lnTo>
                      <a:pt x="12666" y="4352"/>
                    </a:lnTo>
                    <a:lnTo>
                      <a:pt x="12347" y="4822"/>
                    </a:lnTo>
                    <a:lnTo>
                      <a:pt x="12447" y="4955"/>
                    </a:lnTo>
                    <a:lnTo>
                      <a:pt x="12278" y="4955"/>
                    </a:lnTo>
                    <a:lnTo>
                      <a:pt x="12278" y="5293"/>
                    </a:lnTo>
                    <a:lnTo>
                      <a:pt x="12347" y="5078"/>
                    </a:lnTo>
                    <a:lnTo>
                      <a:pt x="12509" y="5078"/>
                    </a:lnTo>
                    <a:lnTo>
                      <a:pt x="12603" y="4608"/>
                    </a:lnTo>
                    <a:lnTo>
                      <a:pt x="12703" y="4401"/>
                    </a:lnTo>
                    <a:lnTo>
                      <a:pt x="12866" y="4484"/>
                    </a:lnTo>
                    <a:lnTo>
                      <a:pt x="13279" y="4269"/>
                    </a:lnTo>
                    <a:lnTo>
                      <a:pt x="13354" y="4013"/>
                    </a:lnTo>
                    <a:lnTo>
                      <a:pt x="13091" y="4145"/>
                    </a:lnTo>
                    <a:lnTo>
                      <a:pt x="13185" y="3931"/>
                    </a:lnTo>
                    <a:lnTo>
                      <a:pt x="13354" y="3799"/>
                    </a:lnTo>
                    <a:lnTo>
                      <a:pt x="13448" y="3716"/>
                    </a:lnTo>
                    <a:lnTo>
                      <a:pt x="13379" y="3840"/>
                    </a:lnTo>
                    <a:lnTo>
                      <a:pt x="13479" y="3799"/>
                    </a:lnTo>
                    <a:lnTo>
                      <a:pt x="13548" y="3625"/>
                    </a:lnTo>
                    <a:lnTo>
                      <a:pt x="13379" y="3716"/>
                    </a:lnTo>
                    <a:lnTo>
                      <a:pt x="13354" y="3501"/>
                    </a:lnTo>
                    <a:lnTo>
                      <a:pt x="13217" y="3501"/>
                    </a:lnTo>
                    <a:lnTo>
                      <a:pt x="13023" y="3287"/>
                    </a:lnTo>
                    <a:lnTo>
                      <a:pt x="13023" y="3154"/>
                    </a:lnTo>
                    <a:lnTo>
                      <a:pt x="13217" y="2898"/>
                    </a:lnTo>
                    <a:lnTo>
                      <a:pt x="13354" y="2898"/>
                    </a:lnTo>
                    <a:lnTo>
                      <a:pt x="13279" y="2601"/>
                    </a:lnTo>
                    <a:lnTo>
                      <a:pt x="13448" y="2477"/>
                    </a:lnTo>
                    <a:lnTo>
                      <a:pt x="13611" y="2345"/>
                    </a:lnTo>
                    <a:lnTo>
                      <a:pt x="13642" y="2477"/>
                    </a:lnTo>
                    <a:lnTo>
                      <a:pt x="13773" y="2263"/>
                    </a:lnTo>
                    <a:lnTo>
                      <a:pt x="13642" y="2221"/>
                    </a:lnTo>
                    <a:lnTo>
                      <a:pt x="13905" y="2139"/>
                    </a:lnTo>
                    <a:lnTo>
                      <a:pt x="14161" y="2263"/>
                    </a:lnTo>
                    <a:lnTo>
                      <a:pt x="14161" y="2601"/>
                    </a:lnTo>
                    <a:lnTo>
                      <a:pt x="14061" y="3031"/>
                    </a:lnTo>
                    <a:lnTo>
                      <a:pt x="14124" y="3369"/>
                    </a:lnTo>
                    <a:lnTo>
                      <a:pt x="13967" y="3287"/>
                    </a:lnTo>
                    <a:lnTo>
                      <a:pt x="14030" y="3460"/>
                    </a:lnTo>
                    <a:lnTo>
                      <a:pt x="13805" y="3592"/>
                    </a:lnTo>
                    <a:lnTo>
                      <a:pt x="13905" y="3799"/>
                    </a:lnTo>
                    <a:lnTo>
                      <a:pt x="14030" y="3716"/>
                    </a:lnTo>
                    <a:lnTo>
                      <a:pt x="14161" y="3840"/>
                    </a:lnTo>
                    <a:lnTo>
                      <a:pt x="14030" y="3931"/>
                    </a:lnTo>
                    <a:lnTo>
                      <a:pt x="13905" y="4608"/>
                    </a:lnTo>
                    <a:lnTo>
                      <a:pt x="14456" y="4063"/>
                    </a:lnTo>
                    <a:lnTo>
                      <a:pt x="14581" y="4484"/>
                    </a:lnTo>
                    <a:lnTo>
                      <a:pt x="14481" y="4740"/>
                    </a:lnTo>
                    <a:lnTo>
                      <a:pt x="14324" y="4905"/>
                    </a:lnTo>
                    <a:lnTo>
                      <a:pt x="14324" y="5417"/>
                    </a:lnTo>
                    <a:lnTo>
                      <a:pt x="14837" y="5037"/>
                    </a:lnTo>
                    <a:lnTo>
                      <a:pt x="15131" y="4525"/>
                    </a:lnTo>
                    <a:lnTo>
                      <a:pt x="15325" y="4484"/>
                    </a:lnTo>
                    <a:lnTo>
                      <a:pt x="15263" y="4352"/>
                    </a:lnTo>
                    <a:lnTo>
                      <a:pt x="15388" y="4013"/>
                    </a:lnTo>
                    <a:lnTo>
                      <a:pt x="16008" y="4269"/>
                    </a:lnTo>
                    <a:lnTo>
                      <a:pt x="15914" y="4352"/>
                    </a:lnTo>
                    <a:lnTo>
                      <a:pt x="16108" y="4608"/>
                    </a:lnTo>
                    <a:lnTo>
                      <a:pt x="15939" y="4690"/>
                    </a:lnTo>
                    <a:lnTo>
                      <a:pt x="16070" y="4740"/>
                    </a:lnTo>
                    <a:lnTo>
                      <a:pt x="16008" y="4955"/>
                    </a:lnTo>
                    <a:lnTo>
                      <a:pt x="15682" y="4955"/>
                    </a:lnTo>
                    <a:lnTo>
                      <a:pt x="15745" y="5599"/>
                    </a:lnTo>
                    <a:lnTo>
                      <a:pt x="15657" y="5855"/>
                    </a:lnTo>
                    <a:lnTo>
                      <a:pt x="15006" y="6152"/>
                    </a:lnTo>
                    <a:lnTo>
                      <a:pt x="15006" y="5805"/>
                    </a:lnTo>
                    <a:lnTo>
                      <a:pt x="14906" y="5632"/>
                    </a:lnTo>
                    <a:lnTo>
                      <a:pt x="14812" y="5723"/>
                    </a:lnTo>
                    <a:lnTo>
                      <a:pt x="14906" y="6193"/>
                    </a:lnTo>
                    <a:lnTo>
                      <a:pt x="14287" y="5855"/>
                    </a:lnTo>
                    <a:lnTo>
                      <a:pt x="14456" y="6152"/>
                    </a:lnTo>
                    <a:lnTo>
                      <a:pt x="13967" y="6614"/>
                    </a:lnTo>
                    <a:lnTo>
                      <a:pt x="13805" y="6532"/>
                    </a:lnTo>
                    <a:lnTo>
                      <a:pt x="13479" y="6069"/>
                    </a:lnTo>
                    <a:lnTo>
                      <a:pt x="13379" y="6069"/>
                    </a:lnTo>
                    <a:lnTo>
                      <a:pt x="13548" y="6491"/>
                    </a:lnTo>
                    <a:lnTo>
                      <a:pt x="13967" y="6697"/>
                    </a:lnTo>
                    <a:lnTo>
                      <a:pt x="13611" y="7300"/>
                    </a:lnTo>
                    <a:lnTo>
                      <a:pt x="13379" y="7424"/>
                    </a:lnTo>
                    <a:lnTo>
                      <a:pt x="13185" y="7391"/>
                    </a:lnTo>
                    <a:lnTo>
                      <a:pt x="13123" y="7217"/>
                    </a:lnTo>
                    <a:lnTo>
                      <a:pt x="12929" y="7647"/>
                    </a:lnTo>
                    <a:lnTo>
                      <a:pt x="12703" y="7647"/>
                    </a:lnTo>
                    <a:lnTo>
                      <a:pt x="12178" y="7176"/>
                    </a:lnTo>
                    <a:lnTo>
                      <a:pt x="12178" y="7300"/>
                    </a:lnTo>
                    <a:lnTo>
                      <a:pt x="12447" y="7424"/>
                    </a:lnTo>
                    <a:lnTo>
                      <a:pt x="12766" y="7861"/>
                    </a:lnTo>
                    <a:lnTo>
                      <a:pt x="12666" y="8068"/>
                    </a:lnTo>
                    <a:lnTo>
                      <a:pt x="12253" y="8068"/>
                    </a:lnTo>
                    <a:lnTo>
                      <a:pt x="12278" y="8200"/>
                    </a:lnTo>
                    <a:lnTo>
                      <a:pt x="11602" y="8885"/>
                    </a:lnTo>
                    <a:lnTo>
                      <a:pt x="11176" y="9447"/>
                    </a:lnTo>
                    <a:lnTo>
                      <a:pt x="10920" y="10421"/>
                    </a:lnTo>
                    <a:lnTo>
                      <a:pt x="11051" y="10545"/>
                    </a:lnTo>
                    <a:lnTo>
                      <a:pt x="11308" y="10636"/>
                    </a:lnTo>
                    <a:lnTo>
                      <a:pt x="11245" y="11536"/>
                    </a:lnTo>
                    <a:lnTo>
                      <a:pt x="11145" y="11709"/>
                    </a:lnTo>
                    <a:lnTo>
                      <a:pt x="11665" y="11660"/>
                    </a:lnTo>
                    <a:lnTo>
                      <a:pt x="12115" y="11998"/>
                    </a:lnTo>
                    <a:lnTo>
                      <a:pt x="12253" y="12345"/>
                    </a:lnTo>
                    <a:lnTo>
                      <a:pt x="12253" y="12552"/>
                    </a:lnTo>
                    <a:lnTo>
                      <a:pt x="12603" y="12775"/>
                    </a:lnTo>
                    <a:lnTo>
                      <a:pt x="12804" y="13022"/>
                    </a:lnTo>
                    <a:lnTo>
                      <a:pt x="13479" y="13245"/>
                    </a:lnTo>
                    <a:lnTo>
                      <a:pt x="13217" y="14393"/>
                    </a:lnTo>
                    <a:lnTo>
                      <a:pt x="13279" y="14781"/>
                    </a:lnTo>
                    <a:lnTo>
                      <a:pt x="13185" y="14913"/>
                    </a:lnTo>
                    <a:lnTo>
                      <a:pt x="13479" y="15120"/>
                    </a:lnTo>
                    <a:lnTo>
                      <a:pt x="13548" y="15376"/>
                    </a:lnTo>
                    <a:lnTo>
                      <a:pt x="13642" y="15508"/>
                    </a:lnTo>
                    <a:lnTo>
                      <a:pt x="13805" y="15334"/>
                    </a:lnTo>
                    <a:lnTo>
                      <a:pt x="13867" y="15467"/>
                    </a:lnTo>
                    <a:lnTo>
                      <a:pt x="14061" y="14814"/>
                    </a:lnTo>
                    <a:lnTo>
                      <a:pt x="14030" y="13584"/>
                    </a:lnTo>
                    <a:lnTo>
                      <a:pt x="14969" y="12989"/>
                    </a:lnTo>
                    <a:lnTo>
                      <a:pt x="15131" y="12436"/>
                    </a:lnTo>
                    <a:lnTo>
                      <a:pt x="15069" y="11792"/>
                    </a:lnTo>
                    <a:lnTo>
                      <a:pt x="14812" y="11321"/>
                    </a:lnTo>
                    <a:lnTo>
                      <a:pt x="15325" y="10545"/>
                    </a:lnTo>
                    <a:lnTo>
                      <a:pt x="15263" y="9909"/>
                    </a:lnTo>
                    <a:lnTo>
                      <a:pt x="15519" y="9529"/>
                    </a:lnTo>
                    <a:lnTo>
                      <a:pt x="15488" y="9092"/>
                    </a:lnTo>
                    <a:lnTo>
                      <a:pt x="15745" y="8885"/>
                    </a:lnTo>
                    <a:lnTo>
                      <a:pt x="16333" y="9315"/>
                    </a:lnTo>
                    <a:lnTo>
                      <a:pt x="16621" y="9182"/>
                    </a:lnTo>
                    <a:lnTo>
                      <a:pt x="16946" y="9785"/>
                    </a:lnTo>
                    <a:lnTo>
                      <a:pt x="16915" y="9992"/>
                    </a:lnTo>
                    <a:lnTo>
                      <a:pt x="17434" y="10206"/>
                    </a:lnTo>
                    <a:lnTo>
                      <a:pt x="17209" y="11107"/>
                    </a:lnTo>
                    <a:lnTo>
                      <a:pt x="17040" y="11321"/>
                    </a:lnTo>
                    <a:lnTo>
                      <a:pt x="17209" y="11321"/>
                    </a:lnTo>
                    <a:lnTo>
                      <a:pt x="17209" y="11453"/>
                    </a:lnTo>
                    <a:lnTo>
                      <a:pt x="16946" y="11536"/>
                    </a:lnTo>
                    <a:lnTo>
                      <a:pt x="17015" y="11660"/>
                    </a:lnTo>
                    <a:lnTo>
                      <a:pt x="17372" y="11536"/>
                    </a:lnTo>
                    <a:lnTo>
                      <a:pt x="17466" y="11998"/>
                    </a:lnTo>
                    <a:lnTo>
                      <a:pt x="17947" y="11660"/>
                    </a:lnTo>
                    <a:lnTo>
                      <a:pt x="18473" y="10677"/>
                    </a:lnTo>
                    <a:lnTo>
                      <a:pt x="18536" y="10760"/>
                    </a:lnTo>
                    <a:lnTo>
                      <a:pt x="18892" y="12816"/>
                    </a:lnTo>
                    <a:lnTo>
                      <a:pt x="18730" y="13154"/>
                    </a:lnTo>
                    <a:lnTo>
                      <a:pt x="18986" y="13584"/>
                    </a:lnTo>
                    <a:lnTo>
                      <a:pt x="18986" y="13881"/>
                    </a:lnTo>
                    <a:lnTo>
                      <a:pt x="19318" y="13881"/>
                    </a:lnTo>
                    <a:lnTo>
                      <a:pt x="19675" y="14269"/>
                    </a:lnTo>
                    <a:lnTo>
                      <a:pt x="19086" y="14566"/>
                    </a:lnTo>
                    <a:lnTo>
                      <a:pt x="18830" y="14781"/>
                    </a:lnTo>
                    <a:lnTo>
                      <a:pt x="18830" y="14946"/>
                    </a:lnTo>
                    <a:lnTo>
                      <a:pt x="19506" y="14566"/>
                    </a:lnTo>
                    <a:lnTo>
                      <a:pt x="19675" y="14699"/>
                    </a:lnTo>
                    <a:lnTo>
                      <a:pt x="19637" y="14913"/>
                    </a:lnTo>
                    <a:lnTo>
                      <a:pt x="19831" y="14781"/>
                    </a:lnTo>
                    <a:lnTo>
                      <a:pt x="19994" y="14946"/>
                    </a:lnTo>
                    <a:lnTo>
                      <a:pt x="19931" y="15376"/>
                    </a:lnTo>
                    <a:lnTo>
                      <a:pt x="19768" y="15723"/>
                    </a:lnTo>
                    <a:lnTo>
                      <a:pt x="19218" y="16012"/>
                    </a:lnTo>
                    <a:lnTo>
                      <a:pt x="18667" y="16491"/>
                    </a:lnTo>
                    <a:lnTo>
                      <a:pt x="17303" y="16367"/>
                    </a:lnTo>
                    <a:lnTo>
                      <a:pt x="16946" y="16400"/>
                    </a:lnTo>
                    <a:lnTo>
                      <a:pt x="16070" y="17258"/>
                    </a:lnTo>
                    <a:lnTo>
                      <a:pt x="15582" y="17853"/>
                    </a:lnTo>
                    <a:lnTo>
                      <a:pt x="16208" y="17258"/>
                    </a:lnTo>
                    <a:lnTo>
                      <a:pt x="16915" y="16837"/>
                    </a:lnTo>
                    <a:lnTo>
                      <a:pt x="17209" y="16920"/>
                    </a:lnTo>
                    <a:lnTo>
                      <a:pt x="17466" y="17126"/>
                    </a:lnTo>
                    <a:lnTo>
                      <a:pt x="17372" y="17300"/>
                    </a:lnTo>
                    <a:lnTo>
                      <a:pt x="17109" y="17514"/>
                    </a:lnTo>
                    <a:lnTo>
                      <a:pt x="16846" y="17465"/>
                    </a:lnTo>
                    <a:lnTo>
                      <a:pt x="17040" y="17647"/>
                    </a:lnTo>
                    <a:lnTo>
                      <a:pt x="17209" y="17647"/>
                    </a:lnTo>
                    <a:lnTo>
                      <a:pt x="17040" y="17936"/>
                    </a:lnTo>
                    <a:lnTo>
                      <a:pt x="17303" y="18406"/>
                    </a:lnTo>
                    <a:lnTo>
                      <a:pt x="18048" y="18927"/>
                    </a:lnTo>
                    <a:lnTo>
                      <a:pt x="17178" y="19182"/>
                    </a:lnTo>
                    <a:lnTo>
                      <a:pt x="17109" y="19306"/>
                    </a:lnTo>
                    <a:lnTo>
                      <a:pt x="16758" y="19653"/>
                    </a:lnTo>
                    <a:lnTo>
                      <a:pt x="16621" y="19521"/>
                    </a:lnTo>
                    <a:lnTo>
                      <a:pt x="16683" y="19265"/>
                    </a:lnTo>
                    <a:lnTo>
                      <a:pt x="16915" y="18968"/>
                    </a:lnTo>
                    <a:lnTo>
                      <a:pt x="17372" y="18761"/>
                    </a:lnTo>
                    <a:lnTo>
                      <a:pt x="17109" y="18761"/>
                    </a:lnTo>
                    <a:lnTo>
                      <a:pt x="17209" y="18538"/>
                    </a:lnTo>
                    <a:lnTo>
                      <a:pt x="16427" y="18844"/>
                    </a:lnTo>
                    <a:lnTo>
                      <a:pt x="16270" y="18497"/>
                    </a:lnTo>
                    <a:lnTo>
                      <a:pt x="16427" y="17853"/>
                    </a:lnTo>
                    <a:lnTo>
                      <a:pt x="16333" y="17729"/>
                    </a:lnTo>
                    <a:lnTo>
                      <a:pt x="16108" y="17812"/>
                    </a:lnTo>
                    <a:lnTo>
                      <a:pt x="16070" y="17647"/>
                    </a:lnTo>
                    <a:lnTo>
                      <a:pt x="15426" y="18712"/>
                    </a:lnTo>
                    <a:lnTo>
                      <a:pt x="15263" y="18761"/>
                    </a:lnTo>
                    <a:lnTo>
                      <a:pt x="14387" y="18761"/>
                    </a:lnTo>
                    <a:lnTo>
                      <a:pt x="13967" y="19050"/>
                    </a:lnTo>
                    <a:lnTo>
                      <a:pt x="13642" y="19100"/>
                    </a:lnTo>
                    <a:lnTo>
                      <a:pt x="13773" y="19265"/>
                    </a:lnTo>
                    <a:lnTo>
                      <a:pt x="13548" y="19182"/>
                    </a:lnTo>
                    <a:lnTo>
                      <a:pt x="13185" y="19265"/>
                    </a:lnTo>
                    <a:lnTo>
                      <a:pt x="13023" y="19438"/>
                    </a:lnTo>
                    <a:lnTo>
                      <a:pt x="13123" y="19521"/>
                    </a:lnTo>
                    <a:lnTo>
                      <a:pt x="13185" y="19653"/>
                    </a:lnTo>
                    <a:lnTo>
                      <a:pt x="12766" y="19827"/>
                    </a:lnTo>
                    <a:lnTo>
                      <a:pt x="12509" y="19860"/>
                    </a:lnTo>
                    <a:lnTo>
                      <a:pt x="11990" y="19992"/>
                    </a:lnTo>
                    <a:lnTo>
                      <a:pt x="12090" y="19827"/>
                    </a:lnTo>
                    <a:lnTo>
                      <a:pt x="12253" y="19521"/>
                    </a:lnTo>
                    <a:lnTo>
                      <a:pt x="12509" y="19306"/>
                    </a:lnTo>
                    <a:lnTo>
                      <a:pt x="12703" y="18761"/>
                    </a:lnTo>
                    <a:lnTo>
                      <a:pt x="12666" y="18497"/>
                    </a:lnTo>
                    <a:lnTo>
                      <a:pt x="12703" y="18497"/>
                    </a:lnTo>
                    <a:lnTo>
                      <a:pt x="12766" y="18761"/>
                    </a:lnTo>
                    <a:lnTo>
                      <a:pt x="13023" y="18844"/>
                    </a:lnTo>
                    <a:lnTo>
                      <a:pt x="13091" y="18629"/>
                    </a:lnTo>
                    <a:lnTo>
                      <a:pt x="12960" y="18200"/>
                    </a:lnTo>
                    <a:lnTo>
                      <a:pt x="12666" y="18068"/>
                    </a:lnTo>
                    <a:lnTo>
                      <a:pt x="12115" y="17812"/>
                    </a:lnTo>
                    <a:lnTo>
                      <a:pt x="11990" y="17597"/>
                    </a:lnTo>
                    <a:lnTo>
                      <a:pt x="12021" y="16961"/>
                    </a:lnTo>
                    <a:lnTo>
                      <a:pt x="11859" y="17044"/>
                    </a:lnTo>
                    <a:lnTo>
                      <a:pt x="11665" y="16573"/>
                    </a:lnTo>
                    <a:lnTo>
                      <a:pt x="11245" y="16400"/>
                    </a:lnTo>
                    <a:lnTo>
                      <a:pt x="10920" y="16837"/>
                    </a:lnTo>
                    <a:lnTo>
                      <a:pt x="10626" y="16738"/>
                    </a:lnTo>
                    <a:lnTo>
                      <a:pt x="10238" y="16705"/>
                    </a:lnTo>
                    <a:lnTo>
                      <a:pt x="10144" y="16573"/>
                    </a:lnTo>
                    <a:lnTo>
                      <a:pt x="9950" y="16235"/>
                    </a:lnTo>
                    <a:lnTo>
                      <a:pt x="9950" y="16400"/>
                    </a:lnTo>
                    <a:lnTo>
                      <a:pt x="9556" y="16235"/>
                    </a:lnTo>
                    <a:lnTo>
                      <a:pt x="9787" y="16235"/>
                    </a:lnTo>
                    <a:lnTo>
                      <a:pt x="9787" y="15846"/>
                    </a:lnTo>
                    <a:lnTo>
                      <a:pt x="9618" y="15723"/>
                    </a:lnTo>
                    <a:lnTo>
                      <a:pt x="9399" y="16061"/>
                    </a:lnTo>
                    <a:lnTo>
                      <a:pt x="2234" y="15120"/>
                    </a:lnTo>
                    <a:lnTo>
                      <a:pt x="2040" y="14781"/>
                    </a:lnTo>
                    <a:lnTo>
                      <a:pt x="1909" y="14220"/>
                    </a:lnTo>
                    <a:lnTo>
                      <a:pt x="1389" y="13716"/>
                    </a:lnTo>
                    <a:lnTo>
                      <a:pt x="1358" y="13501"/>
                    </a:lnTo>
                    <a:lnTo>
                      <a:pt x="1458" y="12130"/>
                    </a:lnTo>
                    <a:lnTo>
                      <a:pt x="1621" y="11874"/>
                    </a:lnTo>
                    <a:lnTo>
                      <a:pt x="1289" y="12130"/>
                    </a:lnTo>
                    <a:lnTo>
                      <a:pt x="1202" y="11453"/>
                    </a:lnTo>
                    <a:lnTo>
                      <a:pt x="1458" y="11016"/>
                    </a:lnTo>
                    <a:lnTo>
                      <a:pt x="1621" y="10462"/>
                    </a:lnTo>
                    <a:lnTo>
                      <a:pt x="1458" y="10124"/>
                    </a:lnTo>
                    <a:lnTo>
                      <a:pt x="1289" y="9736"/>
                    </a:lnTo>
                    <a:lnTo>
                      <a:pt x="1202" y="8117"/>
                    </a:lnTo>
                    <a:lnTo>
                      <a:pt x="1202" y="7647"/>
                    </a:lnTo>
                    <a:lnTo>
                      <a:pt x="1070" y="7523"/>
                    </a:lnTo>
                    <a:lnTo>
                      <a:pt x="870" y="7605"/>
                    </a:lnTo>
                    <a:lnTo>
                      <a:pt x="513" y="7944"/>
                    </a:lnTo>
                    <a:lnTo>
                      <a:pt x="357" y="6961"/>
                    </a:lnTo>
                    <a:lnTo>
                      <a:pt x="382" y="6829"/>
                    </a:lnTo>
                    <a:lnTo>
                      <a:pt x="0" y="6746"/>
                    </a:lnTo>
                    <a:lnTo>
                      <a:pt x="870" y="4484"/>
                    </a:lnTo>
                    <a:lnTo>
                      <a:pt x="1909" y="213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0" name="Freeform 66"/>
              <p:cNvSpPr>
                <a:spLocks/>
              </p:cNvSpPr>
              <p:nvPr/>
            </p:nvSpPr>
            <p:spPr bwMode="auto">
              <a:xfrm>
                <a:off x="3062288" y="1674813"/>
                <a:ext cx="539750" cy="654050"/>
              </a:xfrm>
              <a:custGeom>
                <a:avLst/>
                <a:gdLst>
                  <a:gd name="T0" fmla="*/ 11694 w 20000"/>
                  <a:gd name="T1" fmla="*/ 19670 h 20000"/>
                  <a:gd name="T2" fmla="*/ 8776 w 20000"/>
                  <a:gd name="T3" fmla="*/ 17245 h 20000"/>
                  <a:gd name="T4" fmla="*/ 8282 w 20000"/>
                  <a:gd name="T5" fmla="*/ 16256 h 20000"/>
                  <a:gd name="T6" fmla="*/ 7200 w 20000"/>
                  <a:gd name="T7" fmla="*/ 15461 h 20000"/>
                  <a:gd name="T8" fmla="*/ 5129 w 20000"/>
                  <a:gd name="T9" fmla="*/ 15461 h 20000"/>
                  <a:gd name="T10" fmla="*/ 5129 w 20000"/>
                  <a:gd name="T11" fmla="*/ 13560 h 20000"/>
                  <a:gd name="T12" fmla="*/ 7906 w 20000"/>
                  <a:gd name="T13" fmla="*/ 13637 h 20000"/>
                  <a:gd name="T14" fmla="*/ 8282 w 20000"/>
                  <a:gd name="T15" fmla="*/ 12726 h 20000"/>
                  <a:gd name="T16" fmla="*/ 10729 w 20000"/>
                  <a:gd name="T17" fmla="*/ 11445 h 20000"/>
                  <a:gd name="T18" fmla="*/ 10118 w 20000"/>
                  <a:gd name="T19" fmla="*/ 9350 h 20000"/>
                  <a:gd name="T20" fmla="*/ 8776 w 20000"/>
                  <a:gd name="T21" fmla="*/ 8516 h 20000"/>
                  <a:gd name="T22" fmla="*/ 8776 w 20000"/>
                  <a:gd name="T23" fmla="*/ 6731 h 20000"/>
                  <a:gd name="T24" fmla="*/ 7812 w 20000"/>
                  <a:gd name="T25" fmla="*/ 6421 h 20000"/>
                  <a:gd name="T26" fmla="*/ 5600 w 20000"/>
                  <a:gd name="T27" fmla="*/ 6421 h 20000"/>
                  <a:gd name="T28" fmla="*/ 4047 w 20000"/>
                  <a:gd name="T29" fmla="*/ 6421 h 20000"/>
                  <a:gd name="T30" fmla="*/ 494 w 20000"/>
                  <a:gd name="T31" fmla="*/ 5218 h 20000"/>
                  <a:gd name="T32" fmla="*/ 1459 w 20000"/>
                  <a:gd name="T33" fmla="*/ 3802 h 20000"/>
                  <a:gd name="T34" fmla="*/ 1224 w 20000"/>
                  <a:gd name="T35" fmla="*/ 2211 h 20000"/>
                  <a:gd name="T36" fmla="*/ 3176 w 20000"/>
                  <a:gd name="T37" fmla="*/ 698 h 20000"/>
                  <a:gd name="T38" fmla="*/ 6212 w 20000"/>
                  <a:gd name="T39" fmla="*/ 504 h 20000"/>
                  <a:gd name="T40" fmla="*/ 4047 w 20000"/>
                  <a:gd name="T41" fmla="*/ 2308 h 20000"/>
                  <a:gd name="T42" fmla="*/ 2447 w 20000"/>
                  <a:gd name="T43" fmla="*/ 4597 h 20000"/>
                  <a:gd name="T44" fmla="*/ 4141 w 20000"/>
                  <a:gd name="T45" fmla="*/ 3608 h 20000"/>
                  <a:gd name="T46" fmla="*/ 5365 w 20000"/>
                  <a:gd name="T47" fmla="*/ 2017 h 20000"/>
                  <a:gd name="T48" fmla="*/ 9506 w 20000"/>
                  <a:gd name="T49" fmla="*/ 912 h 20000"/>
                  <a:gd name="T50" fmla="*/ 9153 w 20000"/>
                  <a:gd name="T51" fmla="*/ 2619 h 20000"/>
                  <a:gd name="T52" fmla="*/ 9506 w 20000"/>
                  <a:gd name="T53" fmla="*/ 3414 h 20000"/>
                  <a:gd name="T54" fmla="*/ 11082 w 20000"/>
                  <a:gd name="T55" fmla="*/ 3007 h 20000"/>
                  <a:gd name="T56" fmla="*/ 13294 w 20000"/>
                  <a:gd name="T57" fmla="*/ 3919 h 20000"/>
                  <a:gd name="T58" fmla="*/ 12329 w 20000"/>
                  <a:gd name="T59" fmla="*/ 4714 h 20000"/>
                  <a:gd name="T60" fmla="*/ 14400 w 20000"/>
                  <a:gd name="T61" fmla="*/ 5121 h 20000"/>
                  <a:gd name="T62" fmla="*/ 15224 w 20000"/>
                  <a:gd name="T63" fmla="*/ 6421 h 20000"/>
                  <a:gd name="T64" fmla="*/ 15953 w 20000"/>
                  <a:gd name="T65" fmla="*/ 7818 h 20000"/>
                  <a:gd name="T66" fmla="*/ 15835 w 20000"/>
                  <a:gd name="T67" fmla="*/ 8632 h 20000"/>
                  <a:gd name="T68" fmla="*/ 15600 w 20000"/>
                  <a:gd name="T69" fmla="*/ 9641 h 20000"/>
                  <a:gd name="T70" fmla="*/ 18024 w 20000"/>
                  <a:gd name="T71" fmla="*/ 11445 h 20000"/>
                  <a:gd name="T72" fmla="*/ 19976 w 20000"/>
                  <a:gd name="T73" fmla="*/ 13036 h 20000"/>
                  <a:gd name="T74" fmla="*/ 17529 w 20000"/>
                  <a:gd name="T75" fmla="*/ 14665 h 20000"/>
                  <a:gd name="T76" fmla="*/ 15600 w 20000"/>
                  <a:gd name="T77" fmla="*/ 13851 h 20000"/>
                  <a:gd name="T78" fmla="*/ 14635 w 20000"/>
                  <a:gd name="T79" fmla="*/ 13637 h 20000"/>
                  <a:gd name="T80" fmla="*/ 14635 w 20000"/>
                  <a:gd name="T81" fmla="*/ 15655 h 20000"/>
                  <a:gd name="T82" fmla="*/ 14988 w 20000"/>
                  <a:gd name="T83" fmla="*/ 18661 h 20000"/>
                  <a:gd name="T84" fmla="*/ 13059 w 20000"/>
                  <a:gd name="T85" fmla="*/ 17866 h 20000"/>
                  <a:gd name="T86" fmla="*/ 13294 w 20000"/>
                  <a:gd name="T87" fmla="*/ 1937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13294" y="19981"/>
                    </a:moveTo>
                    <a:lnTo>
                      <a:pt x="12424" y="19981"/>
                    </a:lnTo>
                    <a:lnTo>
                      <a:pt x="11694" y="19670"/>
                    </a:lnTo>
                    <a:lnTo>
                      <a:pt x="10353" y="18565"/>
                    </a:lnTo>
                    <a:lnTo>
                      <a:pt x="9247" y="18060"/>
                    </a:lnTo>
                    <a:lnTo>
                      <a:pt x="8776" y="17245"/>
                    </a:lnTo>
                    <a:lnTo>
                      <a:pt x="8918" y="17051"/>
                    </a:lnTo>
                    <a:lnTo>
                      <a:pt x="9153" y="16760"/>
                    </a:lnTo>
                    <a:lnTo>
                      <a:pt x="8282" y="16256"/>
                    </a:lnTo>
                    <a:lnTo>
                      <a:pt x="7812" y="15461"/>
                    </a:lnTo>
                    <a:lnTo>
                      <a:pt x="7318" y="15150"/>
                    </a:lnTo>
                    <a:lnTo>
                      <a:pt x="7200" y="15461"/>
                    </a:lnTo>
                    <a:lnTo>
                      <a:pt x="6353" y="15267"/>
                    </a:lnTo>
                    <a:lnTo>
                      <a:pt x="5976" y="15267"/>
                    </a:lnTo>
                    <a:lnTo>
                      <a:pt x="5129" y="15461"/>
                    </a:lnTo>
                    <a:lnTo>
                      <a:pt x="4141" y="14956"/>
                    </a:lnTo>
                    <a:lnTo>
                      <a:pt x="4400" y="14142"/>
                    </a:lnTo>
                    <a:lnTo>
                      <a:pt x="5129" y="13560"/>
                    </a:lnTo>
                    <a:lnTo>
                      <a:pt x="5600" y="13637"/>
                    </a:lnTo>
                    <a:lnTo>
                      <a:pt x="6941" y="13948"/>
                    </a:lnTo>
                    <a:lnTo>
                      <a:pt x="7906" y="13637"/>
                    </a:lnTo>
                    <a:lnTo>
                      <a:pt x="8541" y="13851"/>
                    </a:lnTo>
                    <a:lnTo>
                      <a:pt x="8776" y="13346"/>
                    </a:lnTo>
                    <a:lnTo>
                      <a:pt x="8282" y="12726"/>
                    </a:lnTo>
                    <a:lnTo>
                      <a:pt x="8918" y="12532"/>
                    </a:lnTo>
                    <a:lnTo>
                      <a:pt x="9882" y="12047"/>
                    </a:lnTo>
                    <a:lnTo>
                      <a:pt x="10729" y="11445"/>
                    </a:lnTo>
                    <a:lnTo>
                      <a:pt x="10729" y="10747"/>
                    </a:lnTo>
                    <a:lnTo>
                      <a:pt x="10729" y="9932"/>
                    </a:lnTo>
                    <a:lnTo>
                      <a:pt x="10118" y="9350"/>
                    </a:lnTo>
                    <a:lnTo>
                      <a:pt x="9882" y="8826"/>
                    </a:lnTo>
                    <a:lnTo>
                      <a:pt x="8541" y="8923"/>
                    </a:lnTo>
                    <a:lnTo>
                      <a:pt x="8776" y="8516"/>
                    </a:lnTo>
                    <a:lnTo>
                      <a:pt x="9506" y="8516"/>
                    </a:lnTo>
                    <a:lnTo>
                      <a:pt x="8776" y="7624"/>
                    </a:lnTo>
                    <a:lnTo>
                      <a:pt x="8776" y="6731"/>
                    </a:lnTo>
                    <a:lnTo>
                      <a:pt x="8188" y="6014"/>
                    </a:lnTo>
                    <a:lnTo>
                      <a:pt x="7318" y="6014"/>
                    </a:lnTo>
                    <a:lnTo>
                      <a:pt x="7812" y="6421"/>
                    </a:lnTo>
                    <a:lnTo>
                      <a:pt x="7553" y="7022"/>
                    </a:lnTo>
                    <a:lnTo>
                      <a:pt x="6941" y="7022"/>
                    </a:lnTo>
                    <a:lnTo>
                      <a:pt x="5600" y="6421"/>
                    </a:lnTo>
                    <a:lnTo>
                      <a:pt x="5741" y="7022"/>
                    </a:lnTo>
                    <a:lnTo>
                      <a:pt x="5129" y="6731"/>
                    </a:lnTo>
                    <a:lnTo>
                      <a:pt x="4047" y="6421"/>
                    </a:lnTo>
                    <a:lnTo>
                      <a:pt x="2565" y="6014"/>
                    </a:lnTo>
                    <a:lnTo>
                      <a:pt x="1600" y="5432"/>
                    </a:lnTo>
                    <a:lnTo>
                      <a:pt x="494" y="5218"/>
                    </a:lnTo>
                    <a:lnTo>
                      <a:pt x="0" y="4113"/>
                    </a:lnTo>
                    <a:lnTo>
                      <a:pt x="1459" y="4326"/>
                    </a:lnTo>
                    <a:lnTo>
                      <a:pt x="1459" y="3802"/>
                    </a:lnTo>
                    <a:lnTo>
                      <a:pt x="0" y="3414"/>
                    </a:lnTo>
                    <a:lnTo>
                      <a:pt x="635" y="2308"/>
                    </a:lnTo>
                    <a:lnTo>
                      <a:pt x="1224" y="2211"/>
                    </a:lnTo>
                    <a:lnTo>
                      <a:pt x="1106" y="2017"/>
                    </a:lnTo>
                    <a:lnTo>
                      <a:pt x="2212" y="1203"/>
                    </a:lnTo>
                    <a:lnTo>
                      <a:pt x="3176" y="698"/>
                    </a:lnTo>
                    <a:lnTo>
                      <a:pt x="4635" y="0"/>
                    </a:lnTo>
                    <a:lnTo>
                      <a:pt x="6941" y="194"/>
                    </a:lnTo>
                    <a:lnTo>
                      <a:pt x="6212" y="504"/>
                    </a:lnTo>
                    <a:lnTo>
                      <a:pt x="5129" y="989"/>
                    </a:lnTo>
                    <a:lnTo>
                      <a:pt x="4047" y="1707"/>
                    </a:lnTo>
                    <a:lnTo>
                      <a:pt x="4047" y="2308"/>
                    </a:lnTo>
                    <a:lnTo>
                      <a:pt x="3412" y="3123"/>
                    </a:lnTo>
                    <a:lnTo>
                      <a:pt x="3765" y="3919"/>
                    </a:lnTo>
                    <a:lnTo>
                      <a:pt x="2447" y="4597"/>
                    </a:lnTo>
                    <a:lnTo>
                      <a:pt x="3671" y="4714"/>
                    </a:lnTo>
                    <a:lnTo>
                      <a:pt x="4635" y="3802"/>
                    </a:lnTo>
                    <a:lnTo>
                      <a:pt x="4141" y="3608"/>
                    </a:lnTo>
                    <a:lnTo>
                      <a:pt x="4635" y="2813"/>
                    </a:lnTo>
                    <a:lnTo>
                      <a:pt x="5129" y="2619"/>
                    </a:lnTo>
                    <a:lnTo>
                      <a:pt x="5365" y="2017"/>
                    </a:lnTo>
                    <a:lnTo>
                      <a:pt x="6212" y="1513"/>
                    </a:lnTo>
                    <a:lnTo>
                      <a:pt x="7318" y="989"/>
                    </a:lnTo>
                    <a:lnTo>
                      <a:pt x="9506" y="912"/>
                    </a:lnTo>
                    <a:lnTo>
                      <a:pt x="9247" y="1513"/>
                    </a:lnTo>
                    <a:lnTo>
                      <a:pt x="9506" y="1804"/>
                    </a:lnTo>
                    <a:lnTo>
                      <a:pt x="9153" y="2619"/>
                    </a:lnTo>
                    <a:lnTo>
                      <a:pt x="8188" y="3802"/>
                    </a:lnTo>
                    <a:lnTo>
                      <a:pt x="9153" y="3317"/>
                    </a:lnTo>
                    <a:lnTo>
                      <a:pt x="9506" y="3414"/>
                    </a:lnTo>
                    <a:lnTo>
                      <a:pt x="10494" y="3802"/>
                    </a:lnTo>
                    <a:lnTo>
                      <a:pt x="10353" y="3317"/>
                    </a:lnTo>
                    <a:lnTo>
                      <a:pt x="11082" y="3007"/>
                    </a:lnTo>
                    <a:lnTo>
                      <a:pt x="11812" y="3123"/>
                    </a:lnTo>
                    <a:lnTo>
                      <a:pt x="13059" y="3414"/>
                    </a:lnTo>
                    <a:lnTo>
                      <a:pt x="13294" y="3919"/>
                    </a:lnTo>
                    <a:lnTo>
                      <a:pt x="12329" y="4113"/>
                    </a:lnTo>
                    <a:lnTo>
                      <a:pt x="13059" y="4403"/>
                    </a:lnTo>
                    <a:lnTo>
                      <a:pt x="12329" y="4714"/>
                    </a:lnTo>
                    <a:lnTo>
                      <a:pt x="13388" y="4908"/>
                    </a:lnTo>
                    <a:lnTo>
                      <a:pt x="13647" y="5723"/>
                    </a:lnTo>
                    <a:lnTo>
                      <a:pt x="14400" y="5121"/>
                    </a:lnTo>
                    <a:lnTo>
                      <a:pt x="14988" y="5432"/>
                    </a:lnTo>
                    <a:lnTo>
                      <a:pt x="15224" y="5917"/>
                    </a:lnTo>
                    <a:lnTo>
                      <a:pt x="15224" y="6421"/>
                    </a:lnTo>
                    <a:lnTo>
                      <a:pt x="15953" y="6828"/>
                    </a:lnTo>
                    <a:lnTo>
                      <a:pt x="16565" y="7333"/>
                    </a:lnTo>
                    <a:lnTo>
                      <a:pt x="15953" y="7818"/>
                    </a:lnTo>
                    <a:lnTo>
                      <a:pt x="16824" y="7818"/>
                    </a:lnTo>
                    <a:lnTo>
                      <a:pt x="17176" y="8516"/>
                    </a:lnTo>
                    <a:lnTo>
                      <a:pt x="15835" y="8632"/>
                    </a:lnTo>
                    <a:lnTo>
                      <a:pt x="17435" y="9350"/>
                    </a:lnTo>
                    <a:lnTo>
                      <a:pt x="16565" y="9350"/>
                    </a:lnTo>
                    <a:lnTo>
                      <a:pt x="15600" y="9641"/>
                    </a:lnTo>
                    <a:lnTo>
                      <a:pt x="16188" y="10223"/>
                    </a:lnTo>
                    <a:lnTo>
                      <a:pt x="16824" y="11057"/>
                    </a:lnTo>
                    <a:lnTo>
                      <a:pt x="18024" y="11445"/>
                    </a:lnTo>
                    <a:lnTo>
                      <a:pt x="18400" y="12726"/>
                    </a:lnTo>
                    <a:lnTo>
                      <a:pt x="19365" y="12726"/>
                    </a:lnTo>
                    <a:lnTo>
                      <a:pt x="19976" y="13036"/>
                    </a:lnTo>
                    <a:lnTo>
                      <a:pt x="19741" y="13560"/>
                    </a:lnTo>
                    <a:lnTo>
                      <a:pt x="18541" y="14355"/>
                    </a:lnTo>
                    <a:lnTo>
                      <a:pt x="17529" y="14665"/>
                    </a:lnTo>
                    <a:lnTo>
                      <a:pt x="16941" y="15655"/>
                    </a:lnTo>
                    <a:lnTo>
                      <a:pt x="16188" y="14956"/>
                    </a:lnTo>
                    <a:lnTo>
                      <a:pt x="15600" y="13851"/>
                    </a:lnTo>
                    <a:lnTo>
                      <a:pt x="15224" y="13036"/>
                    </a:lnTo>
                    <a:lnTo>
                      <a:pt x="14400" y="13036"/>
                    </a:lnTo>
                    <a:lnTo>
                      <a:pt x="14635" y="13637"/>
                    </a:lnTo>
                    <a:lnTo>
                      <a:pt x="13647" y="13851"/>
                    </a:lnTo>
                    <a:lnTo>
                      <a:pt x="14024" y="14859"/>
                    </a:lnTo>
                    <a:lnTo>
                      <a:pt x="14635" y="15655"/>
                    </a:lnTo>
                    <a:lnTo>
                      <a:pt x="15459" y="16450"/>
                    </a:lnTo>
                    <a:lnTo>
                      <a:pt x="15600" y="17769"/>
                    </a:lnTo>
                    <a:lnTo>
                      <a:pt x="14988" y="18661"/>
                    </a:lnTo>
                    <a:lnTo>
                      <a:pt x="14635" y="19069"/>
                    </a:lnTo>
                    <a:lnTo>
                      <a:pt x="14024" y="18661"/>
                    </a:lnTo>
                    <a:lnTo>
                      <a:pt x="13059" y="17866"/>
                    </a:lnTo>
                    <a:lnTo>
                      <a:pt x="11694" y="16954"/>
                    </a:lnTo>
                    <a:lnTo>
                      <a:pt x="12424" y="18351"/>
                    </a:lnTo>
                    <a:lnTo>
                      <a:pt x="13294" y="19379"/>
                    </a:lnTo>
                    <a:lnTo>
                      <a:pt x="13294" y="199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1" name="Freeform 65"/>
              <p:cNvSpPr>
                <a:spLocks/>
              </p:cNvSpPr>
              <p:nvPr/>
            </p:nvSpPr>
            <p:spPr bwMode="auto">
              <a:xfrm>
                <a:off x="3257550" y="1119188"/>
                <a:ext cx="769938" cy="457200"/>
              </a:xfrm>
              <a:custGeom>
                <a:avLst/>
                <a:gdLst>
                  <a:gd name="T0" fmla="*/ 4106 w 20000"/>
                  <a:gd name="T1" fmla="*/ 19667 h 20000"/>
                  <a:gd name="T2" fmla="*/ 4270 w 20000"/>
                  <a:gd name="T3" fmla="*/ 18835 h 20000"/>
                  <a:gd name="T4" fmla="*/ 3397 w 20000"/>
                  <a:gd name="T5" fmla="*/ 18946 h 20000"/>
                  <a:gd name="T6" fmla="*/ 758 w 20000"/>
                  <a:gd name="T7" fmla="*/ 18086 h 20000"/>
                  <a:gd name="T8" fmla="*/ 66 w 20000"/>
                  <a:gd name="T9" fmla="*/ 16949 h 20000"/>
                  <a:gd name="T10" fmla="*/ 1105 w 20000"/>
                  <a:gd name="T11" fmla="*/ 15506 h 20000"/>
                  <a:gd name="T12" fmla="*/ 2045 w 20000"/>
                  <a:gd name="T13" fmla="*/ 15090 h 20000"/>
                  <a:gd name="T14" fmla="*/ 2885 w 20000"/>
                  <a:gd name="T15" fmla="*/ 14064 h 20000"/>
                  <a:gd name="T16" fmla="*/ 3149 w 20000"/>
                  <a:gd name="T17" fmla="*/ 16227 h 20000"/>
                  <a:gd name="T18" fmla="*/ 4946 w 20000"/>
                  <a:gd name="T19" fmla="*/ 15090 h 20000"/>
                  <a:gd name="T20" fmla="*/ 3842 w 20000"/>
                  <a:gd name="T21" fmla="*/ 15201 h 20000"/>
                  <a:gd name="T22" fmla="*/ 5375 w 20000"/>
                  <a:gd name="T23" fmla="*/ 12067 h 20000"/>
                  <a:gd name="T24" fmla="*/ 6134 w 20000"/>
                  <a:gd name="T25" fmla="*/ 12483 h 20000"/>
                  <a:gd name="T26" fmla="*/ 6051 w 20000"/>
                  <a:gd name="T27" fmla="*/ 11623 h 20000"/>
                  <a:gd name="T28" fmla="*/ 5622 w 20000"/>
                  <a:gd name="T29" fmla="*/ 9071 h 20000"/>
                  <a:gd name="T30" fmla="*/ 6562 w 20000"/>
                  <a:gd name="T31" fmla="*/ 7490 h 20000"/>
                  <a:gd name="T32" fmla="*/ 7420 w 20000"/>
                  <a:gd name="T33" fmla="*/ 9487 h 20000"/>
                  <a:gd name="T34" fmla="*/ 8359 w 20000"/>
                  <a:gd name="T35" fmla="*/ 10208 h 20000"/>
                  <a:gd name="T36" fmla="*/ 7683 w 20000"/>
                  <a:gd name="T37" fmla="*/ 8044 h 20000"/>
                  <a:gd name="T38" fmla="*/ 9728 w 20000"/>
                  <a:gd name="T39" fmla="*/ 7906 h 20000"/>
                  <a:gd name="T40" fmla="*/ 10585 w 20000"/>
                  <a:gd name="T41" fmla="*/ 6907 h 20000"/>
                  <a:gd name="T42" fmla="*/ 10404 w 20000"/>
                  <a:gd name="T43" fmla="*/ 6186 h 20000"/>
                  <a:gd name="T44" fmla="*/ 7585 w 20000"/>
                  <a:gd name="T45" fmla="*/ 7184 h 20000"/>
                  <a:gd name="T46" fmla="*/ 7585 w 20000"/>
                  <a:gd name="T47" fmla="*/ 5603 h 20000"/>
                  <a:gd name="T48" fmla="*/ 7848 w 20000"/>
                  <a:gd name="T49" fmla="*/ 5049 h 20000"/>
                  <a:gd name="T50" fmla="*/ 5622 w 20000"/>
                  <a:gd name="T51" fmla="*/ 4882 h 20000"/>
                  <a:gd name="T52" fmla="*/ 5375 w 20000"/>
                  <a:gd name="T53" fmla="*/ 4161 h 20000"/>
                  <a:gd name="T54" fmla="*/ 5787 w 20000"/>
                  <a:gd name="T55" fmla="*/ 2746 h 20000"/>
                  <a:gd name="T56" fmla="*/ 7238 w 20000"/>
                  <a:gd name="T57" fmla="*/ 1886 h 20000"/>
                  <a:gd name="T58" fmla="*/ 8524 w 20000"/>
                  <a:gd name="T59" fmla="*/ 1886 h 20000"/>
                  <a:gd name="T60" fmla="*/ 9052 w 20000"/>
                  <a:gd name="T61" fmla="*/ 1165 h 20000"/>
                  <a:gd name="T62" fmla="*/ 10585 w 20000"/>
                  <a:gd name="T63" fmla="*/ 1165 h 20000"/>
                  <a:gd name="T64" fmla="*/ 11261 w 20000"/>
                  <a:gd name="T65" fmla="*/ 3024 h 20000"/>
                  <a:gd name="T66" fmla="*/ 12119 w 20000"/>
                  <a:gd name="T67" fmla="*/ 444 h 20000"/>
                  <a:gd name="T68" fmla="*/ 13916 w 20000"/>
                  <a:gd name="T69" fmla="*/ 2330 h 20000"/>
                  <a:gd name="T70" fmla="*/ 15268 w 20000"/>
                  <a:gd name="T71" fmla="*/ 749 h 20000"/>
                  <a:gd name="T72" fmla="*/ 15878 w 20000"/>
                  <a:gd name="T73" fmla="*/ 860 h 20000"/>
                  <a:gd name="T74" fmla="*/ 16373 w 20000"/>
                  <a:gd name="T75" fmla="*/ 1581 h 20000"/>
                  <a:gd name="T76" fmla="*/ 17246 w 20000"/>
                  <a:gd name="T77" fmla="*/ 860 h 20000"/>
                  <a:gd name="T78" fmla="*/ 18434 w 20000"/>
                  <a:gd name="T79" fmla="*/ 2330 h 20000"/>
                  <a:gd name="T80" fmla="*/ 18434 w 20000"/>
                  <a:gd name="T81" fmla="*/ 3024 h 20000"/>
                  <a:gd name="T82" fmla="*/ 19984 w 20000"/>
                  <a:gd name="T83" fmla="*/ 5049 h 20000"/>
                  <a:gd name="T84" fmla="*/ 18434 w 20000"/>
                  <a:gd name="T85" fmla="*/ 6463 h 20000"/>
                  <a:gd name="T86" fmla="*/ 15697 w 20000"/>
                  <a:gd name="T87" fmla="*/ 6768 h 20000"/>
                  <a:gd name="T88" fmla="*/ 17659 w 20000"/>
                  <a:gd name="T89" fmla="*/ 7184 h 20000"/>
                  <a:gd name="T90" fmla="*/ 15268 w 20000"/>
                  <a:gd name="T91" fmla="*/ 8766 h 20000"/>
                  <a:gd name="T92" fmla="*/ 13735 w 20000"/>
                  <a:gd name="T93" fmla="*/ 10208 h 20000"/>
                  <a:gd name="T94" fmla="*/ 11954 w 20000"/>
                  <a:gd name="T95" fmla="*/ 11789 h 20000"/>
                  <a:gd name="T96" fmla="*/ 9893 w 20000"/>
                  <a:gd name="T97" fmla="*/ 12067 h 20000"/>
                  <a:gd name="T98" fmla="*/ 8112 w 20000"/>
                  <a:gd name="T99" fmla="*/ 12926 h 20000"/>
                  <a:gd name="T100" fmla="*/ 9629 w 20000"/>
                  <a:gd name="T101" fmla="*/ 13953 h 20000"/>
                  <a:gd name="T102" fmla="*/ 8524 w 20000"/>
                  <a:gd name="T103" fmla="*/ 15784 h 20000"/>
                  <a:gd name="T104" fmla="*/ 6991 w 20000"/>
                  <a:gd name="T105" fmla="*/ 16505 h 20000"/>
                  <a:gd name="T106" fmla="*/ 5458 w 20000"/>
                  <a:gd name="T107" fmla="*/ 16949 h 20000"/>
                  <a:gd name="T108" fmla="*/ 4683 w 20000"/>
                  <a:gd name="T109" fmla="*/ 16949 h 20000"/>
                  <a:gd name="T110" fmla="*/ 6298 w 20000"/>
                  <a:gd name="T111" fmla="*/ 18086 h 20000"/>
                  <a:gd name="T112" fmla="*/ 5029 w 20000"/>
                  <a:gd name="T113" fmla="*/ 199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00" h="20000">
                    <a:moveTo>
                      <a:pt x="5029" y="19972"/>
                    </a:moveTo>
                    <a:lnTo>
                      <a:pt x="4106" y="19667"/>
                    </a:lnTo>
                    <a:lnTo>
                      <a:pt x="4336" y="19223"/>
                    </a:lnTo>
                    <a:lnTo>
                      <a:pt x="4270" y="18835"/>
                    </a:lnTo>
                    <a:lnTo>
                      <a:pt x="3842" y="18086"/>
                    </a:lnTo>
                    <a:lnTo>
                      <a:pt x="3397" y="18946"/>
                    </a:lnTo>
                    <a:lnTo>
                      <a:pt x="1880" y="18835"/>
                    </a:lnTo>
                    <a:lnTo>
                      <a:pt x="758" y="18086"/>
                    </a:lnTo>
                    <a:lnTo>
                      <a:pt x="0" y="17365"/>
                    </a:lnTo>
                    <a:lnTo>
                      <a:pt x="66" y="16949"/>
                    </a:lnTo>
                    <a:lnTo>
                      <a:pt x="495" y="16227"/>
                    </a:lnTo>
                    <a:lnTo>
                      <a:pt x="1105" y="15506"/>
                    </a:lnTo>
                    <a:lnTo>
                      <a:pt x="2045" y="16227"/>
                    </a:lnTo>
                    <a:lnTo>
                      <a:pt x="2045" y="15090"/>
                    </a:lnTo>
                    <a:lnTo>
                      <a:pt x="2209" y="14064"/>
                    </a:lnTo>
                    <a:lnTo>
                      <a:pt x="2885" y="14064"/>
                    </a:lnTo>
                    <a:lnTo>
                      <a:pt x="2984" y="15201"/>
                    </a:lnTo>
                    <a:lnTo>
                      <a:pt x="3149" y="16227"/>
                    </a:lnTo>
                    <a:lnTo>
                      <a:pt x="3842" y="16227"/>
                    </a:lnTo>
                    <a:lnTo>
                      <a:pt x="4946" y="15090"/>
                    </a:lnTo>
                    <a:lnTo>
                      <a:pt x="4518" y="15090"/>
                    </a:lnTo>
                    <a:lnTo>
                      <a:pt x="3842" y="15201"/>
                    </a:lnTo>
                    <a:lnTo>
                      <a:pt x="4782" y="11623"/>
                    </a:lnTo>
                    <a:lnTo>
                      <a:pt x="5375" y="12067"/>
                    </a:lnTo>
                    <a:lnTo>
                      <a:pt x="5886" y="13204"/>
                    </a:lnTo>
                    <a:lnTo>
                      <a:pt x="6134" y="12483"/>
                    </a:lnTo>
                    <a:lnTo>
                      <a:pt x="6744" y="11789"/>
                    </a:lnTo>
                    <a:lnTo>
                      <a:pt x="6051" y="11623"/>
                    </a:lnTo>
                    <a:lnTo>
                      <a:pt x="5787" y="10624"/>
                    </a:lnTo>
                    <a:lnTo>
                      <a:pt x="5622" y="9071"/>
                    </a:lnTo>
                    <a:lnTo>
                      <a:pt x="5886" y="7601"/>
                    </a:lnTo>
                    <a:lnTo>
                      <a:pt x="6562" y="7490"/>
                    </a:lnTo>
                    <a:lnTo>
                      <a:pt x="7172" y="7906"/>
                    </a:lnTo>
                    <a:lnTo>
                      <a:pt x="7420" y="9487"/>
                    </a:lnTo>
                    <a:lnTo>
                      <a:pt x="7585" y="10902"/>
                    </a:lnTo>
                    <a:lnTo>
                      <a:pt x="8359" y="10208"/>
                    </a:lnTo>
                    <a:lnTo>
                      <a:pt x="7848" y="9182"/>
                    </a:lnTo>
                    <a:lnTo>
                      <a:pt x="7683" y="8044"/>
                    </a:lnTo>
                    <a:lnTo>
                      <a:pt x="8359" y="8044"/>
                    </a:lnTo>
                    <a:lnTo>
                      <a:pt x="9728" y="7906"/>
                    </a:lnTo>
                    <a:lnTo>
                      <a:pt x="11261" y="7184"/>
                    </a:lnTo>
                    <a:lnTo>
                      <a:pt x="10585" y="6907"/>
                    </a:lnTo>
                    <a:lnTo>
                      <a:pt x="11954" y="5326"/>
                    </a:lnTo>
                    <a:lnTo>
                      <a:pt x="10404" y="6186"/>
                    </a:lnTo>
                    <a:lnTo>
                      <a:pt x="9052" y="7490"/>
                    </a:lnTo>
                    <a:lnTo>
                      <a:pt x="7585" y="7184"/>
                    </a:lnTo>
                    <a:lnTo>
                      <a:pt x="6744" y="6463"/>
                    </a:lnTo>
                    <a:lnTo>
                      <a:pt x="7585" y="5603"/>
                    </a:lnTo>
                    <a:lnTo>
                      <a:pt x="9464" y="5049"/>
                    </a:lnTo>
                    <a:lnTo>
                      <a:pt x="7848" y="5049"/>
                    </a:lnTo>
                    <a:lnTo>
                      <a:pt x="6496" y="6019"/>
                    </a:lnTo>
                    <a:lnTo>
                      <a:pt x="5622" y="4882"/>
                    </a:lnTo>
                    <a:lnTo>
                      <a:pt x="8524" y="4438"/>
                    </a:lnTo>
                    <a:lnTo>
                      <a:pt x="5375" y="4161"/>
                    </a:lnTo>
                    <a:lnTo>
                      <a:pt x="7420" y="3190"/>
                    </a:lnTo>
                    <a:lnTo>
                      <a:pt x="5787" y="2746"/>
                    </a:lnTo>
                    <a:lnTo>
                      <a:pt x="5787" y="1997"/>
                    </a:lnTo>
                    <a:lnTo>
                      <a:pt x="7238" y="1886"/>
                    </a:lnTo>
                    <a:lnTo>
                      <a:pt x="8277" y="1442"/>
                    </a:lnTo>
                    <a:lnTo>
                      <a:pt x="8524" y="1886"/>
                    </a:lnTo>
                    <a:lnTo>
                      <a:pt x="9629" y="2330"/>
                    </a:lnTo>
                    <a:lnTo>
                      <a:pt x="9052" y="1165"/>
                    </a:lnTo>
                    <a:lnTo>
                      <a:pt x="9893" y="444"/>
                    </a:lnTo>
                    <a:lnTo>
                      <a:pt x="10585" y="1165"/>
                    </a:lnTo>
                    <a:lnTo>
                      <a:pt x="10404" y="2330"/>
                    </a:lnTo>
                    <a:lnTo>
                      <a:pt x="11261" y="3024"/>
                    </a:lnTo>
                    <a:lnTo>
                      <a:pt x="11179" y="1442"/>
                    </a:lnTo>
                    <a:lnTo>
                      <a:pt x="12119" y="444"/>
                    </a:lnTo>
                    <a:lnTo>
                      <a:pt x="13306" y="166"/>
                    </a:lnTo>
                    <a:lnTo>
                      <a:pt x="13916" y="2330"/>
                    </a:lnTo>
                    <a:lnTo>
                      <a:pt x="13982" y="0"/>
                    </a:lnTo>
                    <a:lnTo>
                      <a:pt x="15268" y="749"/>
                    </a:lnTo>
                    <a:lnTo>
                      <a:pt x="15449" y="2330"/>
                    </a:lnTo>
                    <a:lnTo>
                      <a:pt x="15878" y="860"/>
                    </a:lnTo>
                    <a:lnTo>
                      <a:pt x="16208" y="749"/>
                    </a:lnTo>
                    <a:lnTo>
                      <a:pt x="16373" y="1581"/>
                    </a:lnTo>
                    <a:lnTo>
                      <a:pt x="16636" y="860"/>
                    </a:lnTo>
                    <a:lnTo>
                      <a:pt x="17246" y="860"/>
                    </a:lnTo>
                    <a:lnTo>
                      <a:pt x="17246" y="1886"/>
                    </a:lnTo>
                    <a:lnTo>
                      <a:pt x="18434" y="2330"/>
                    </a:lnTo>
                    <a:lnTo>
                      <a:pt x="17082" y="3190"/>
                    </a:lnTo>
                    <a:lnTo>
                      <a:pt x="18434" y="3024"/>
                    </a:lnTo>
                    <a:lnTo>
                      <a:pt x="19472" y="3024"/>
                    </a:lnTo>
                    <a:lnTo>
                      <a:pt x="19984" y="5049"/>
                    </a:lnTo>
                    <a:lnTo>
                      <a:pt x="19472" y="5742"/>
                    </a:lnTo>
                    <a:lnTo>
                      <a:pt x="18434" y="6463"/>
                    </a:lnTo>
                    <a:lnTo>
                      <a:pt x="17246" y="6768"/>
                    </a:lnTo>
                    <a:lnTo>
                      <a:pt x="15697" y="6768"/>
                    </a:lnTo>
                    <a:lnTo>
                      <a:pt x="16208" y="7490"/>
                    </a:lnTo>
                    <a:lnTo>
                      <a:pt x="17659" y="7184"/>
                    </a:lnTo>
                    <a:lnTo>
                      <a:pt x="16142" y="8350"/>
                    </a:lnTo>
                    <a:lnTo>
                      <a:pt x="15268" y="8766"/>
                    </a:lnTo>
                    <a:lnTo>
                      <a:pt x="14427" y="9487"/>
                    </a:lnTo>
                    <a:lnTo>
                      <a:pt x="13735" y="10208"/>
                    </a:lnTo>
                    <a:lnTo>
                      <a:pt x="12976" y="11345"/>
                    </a:lnTo>
                    <a:lnTo>
                      <a:pt x="11954" y="11789"/>
                    </a:lnTo>
                    <a:lnTo>
                      <a:pt x="10849" y="12205"/>
                    </a:lnTo>
                    <a:lnTo>
                      <a:pt x="9893" y="12067"/>
                    </a:lnTo>
                    <a:lnTo>
                      <a:pt x="9052" y="11789"/>
                    </a:lnTo>
                    <a:lnTo>
                      <a:pt x="8112" y="12926"/>
                    </a:lnTo>
                    <a:lnTo>
                      <a:pt x="9052" y="12926"/>
                    </a:lnTo>
                    <a:lnTo>
                      <a:pt x="9629" y="13953"/>
                    </a:lnTo>
                    <a:lnTo>
                      <a:pt x="8953" y="15090"/>
                    </a:lnTo>
                    <a:lnTo>
                      <a:pt x="8524" y="15784"/>
                    </a:lnTo>
                    <a:lnTo>
                      <a:pt x="7238" y="15784"/>
                    </a:lnTo>
                    <a:lnTo>
                      <a:pt x="6991" y="16505"/>
                    </a:lnTo>
                    <a:lnTo>
                      <a:pt x="6496" y="16949"/>
                    </a:lnTo>
                    <a:lnTo>
                      <a:pt x="5458" y="16949"/>
                    </a:lnTo>
                    <a:lnTo>
                      <a:pt x="5029" y="15784"/>
                    </a:lnTo>
                    <a:lnTo>
                      <a:pt x="4683" y="16949"/>
                    </a:lnTo>
                    <a:lnTo>
                      <a:pt x="5622" y="18086"/>
                    </a:lnTo>
                    <a:lnTo>
                      <a:pt x="6298" y="18086"/>
                    </a:lnTo>
                    <a:lnTo>
                      <a:pt x="5622" y="19528"/>
                    </a:lnTo>
                    <a:lnTo>
                      <a:pt x="5029" y="1997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2" name="Freeform 64"/>
              <p:cNvSpPr>
                <a:spLocks/>
              </p:cNvSpPr>
              <p:nvPr/>
            </p:nvSpPr>
            <p:spPr bwMode="auto">
              <a:xfrm>
                <a:off x="2411413" y="1552575"/>
                <a:ext cx="374650" cy="290513"/>
              </a:xfrm>
              <a:custGeom>
                <a:avLst/>
                <a:gdLst>
                  <a:gd name="T0" fmla="*/ 14721 w 20000"/>
                  <a:gd name="T1" fmla="*/ 19956 h 20000"/>
                  <a:gd name="T2" fmla="*/ 12081 w 20000"/>
                  <a:gd name="T3" fmla="*/ 18162 h 20000"/>
                  <a:gd name="T4" fmla="*/ 10694 w 20000"/>
                  <a:gd name="T5" fmla="*/ 17637 h 20000"/>
                  <a:gd name="T6" fmla="*/ 6633 w 20000"/>
                  <a:gd name="T7" fmla="*/ 18337 h 20000"/>
                  <a:gd name="T8" fmla="*/ 2437 w 20000"/>
                  <a:gd name="T9" fmla="*/ 17199 h 20000"/>
                  <a:gd name="T10" fmla="*/ 2809 w 20000"/>
                  <a:gd name="T11" fmla="*/ 15186 h 20000"/>
                  <a:gd name="T12" fmla="*/ 135 w 20000"/>
                  <a:gd name="T13" fmla="*/ 13348 h 20000"/>
                  <a:gd name="T14" fmla="*/ 135 w 20000"/>
                  <a:gd name="T15" fmla="*/ 10635 h 20000"/>
                  <a:gd name="T16" fmla="*/ 4535 w 20000"/>
                  <a:gd name="T17" fmla="*/ 11116 h 20000"/>
                  <a:gd name="T18" fmla="*/ 7885 w 20000"/>
                  <a:gd name="T19" fmla="*/ 12254 h 20000"/>
                  <a:gd name="T20" fmla="*/ 5245 w 20000"/>
                  <a:gd name="T21" fmla="*/ 9497 h 20000"/>
                  <a:gd name="T22" fmla="*/ 1015 w 20000"/>
                  <a:gd name="T23" fmla="*/ 8840 h 20000"/>
                  <a:gd name="T24" fmla="*/ 1387 w 20000"/>
                  <a:gd name="T25" fmla="*/ 6565 h 20000"/>
                  <a:gd name="T26" fmla="*/ 5956 w 20000"/>
                  <a:gd name="T27" fmla="*/ 6565 h 20000"/>
                  <a:gd name="T28" fmla="*/ 2809 w 20000"/>
                  <a:gd name="T29" fmla="*/ 5208 h 20000"/>
                  <a:gd name="T30" fmla="*/ 2267 w 20000"/>
                  <a:gd name="T31" fmla="*/ 3414 h 20000"/>
                  <a:gd name="T32" fmla="*/ 4196 w 20000"/>
                  <a:gd name="T33" fmla="*/ 2713 h 20000"/>
                  <a:gd name="T34" fmla="*/ 4535 w 20000"/>
                  <a:gd name="T35" fmla="*/ 1619 h 20000"/>
                  <a:gd name="T36" fmla="*/ 6971 w 20000"/>
                  <a:gd name="T37" fmla="*/ 919 h 20000"/>
                  <a:gd name="T38" fmla="*/ 10694 w 20000"/>
                  <a:gd name="T39" fmla="*/ 0 h 20000"/>
                  <a:gd name="T40" fmla="*/ 8900 w 20000"/>
                  <a:gd name="T41" fmla="*/ 2932 h 20000"/>
                  <a:gd name="T42" fmla="*/ 11540 w 20000"/>
                  <a:gd name="T43" fmla="*/ 2713 h 20000"/>
                  <a:gd name="T44" fmla="*/ 12420 w 20000"/>
                  <a:gd name="T45" fmla="*/ 4551 h 20000"/>
                  <a:gd name="T46" fmla="*/ 12589 w 20000"/>
                  <a:gd name="T47" fmla="*/ 5208 h 20000"/>
                  <a:gd name="T48" fmla="*/ 14349 w 20000"/>
                  <a:gd name="T49" fmla="*/ 4551 h 20000"/>
                  <a:gd name="T50" fmla="*/ 14856 w 20000"/>
                  <a:gd name="T51" fmla="*/ 3414 h 20000"/>
                  <a:gd name="T52" fmla="*/ 14856 w 20000"/>
                  <a:gd name="T53" fmla="*/ 6565 h 20000"/>
                  <a:gd name="T54" fmla="*/ 14856 w 20000"/>
                  <a:gd name="T55" fmla="*/ 8840 h 20000"/>
                  <a:gd name="T56" fmla="*/ 16311 w 20000"/>
                  <a:gd name="T57" fmla="*/ 6346 h 20000"/>
                  <a:gd name="T58" fmla="*/ 18037 w 20000"/>
                  <a:gd name="T59" fmla="*/ 2932 h 20000"/>
                  <a:gd name="T60" fmla="*/ 19425 w 20000"/>
                  <a:gd name="T61" fmla="*/ 4770 h 20000"/>
                  <a:gd name="T62" fmla="*/ 19289 w 20000"/>
                  <a:gd name="T63" fmla="*/ 7484 h 20000"/>
                  <a:gd name="T64" fmla="*/ 18037 w 20000"/>
                  <a:gd name="T65" fmla="*/ 10635 h 20000"/>
                  <a:gd name="T66" fmla="*/ 17834 w 20000"/>
                  <a:gd name="T67" fmla="*/ 12910 h 20000"/>
                  <a:gd name="T68" fmla="*/ 18579 w 20000"/>
                  <a:gd name="T69" fmla="*/ 14048 h 20000"/>
                  <a:gd name="T70" fmla="*/ 19966 w 20000"/>
                  <a:gd name="T71" fmla="*/ 16543 h 20000"/>
                  <a:gd name="T72" fmla="*/ 18376 w 20000"/>
                  <a:gd name="T73" fmla="*/ 17199 h 20000"/>
                  <a:gd name="T74" fmla="*/ 16311 w 20000"/>
                  <a:gd name="T75" fmla="*/ 17199 h 20000"/>
                  <a:gd name="T76" fmla="*/ 17157 w 20000"/>
                  <a:gd name="T77" fmla="*/ 18337 h 20000"/>
                  <a:gd name="T78" fmla="*/ 16108 w 20000"/>
                  <a:gd name="T79" fmla="*/ 199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16108" y="19956"/>
                    </a:moveTo>
                    <a:lnTo>
                      <a:pt x="14721" y="19956"/>
                    </a:lnTo>
                    <a:lnTo>
                      <a:pt x="12927" y="19037"/>
                    </a:lnTo>
                    <a:lnTo>
                      <a:pt x="12081" y="18162"/>
                    </a:lnTo>
                    <a:lnTo>
                      <a:pt x="12081" y="16543"/>
                    </a:lnTo>
                    <a:lnTo>
                      <a:pt x="10694" y="17637"/>
                    </a:lnTo>
                    <a:lnTo>
                      <a:pt x="8900" y="18162"/>
                    </a:lnTo>
                    <a:lnTo>
                      <a:pt x="6633" y="18337"/>
                    </a:lnTo>
                    <a:lnTo>
                      <a:pt x="4196" y="17637"/>
                    </a:lnTo>
                    <a:lnTo>
                      <a:pt x="2437" y="17199"/>
                    </a:lnTo>
                    <a:lnTo>
                      <a:pt x="2437" y="16105"/>
                    </a:lnTo>
                    <a:lnTo>
                      <a:pt x="2809" y="15186"/>
                    </a:lnTo>
                    <a:lnTo>
                      <a:pt x="1557" y="14048"/>
                    </a:lnTo>
                    <a:lnTo>
                      <a:pt x="135" y="13348"/>
                    </a:lnTo>
                    <a:lnTo>
                      <a:pt x="0" y="11816"/>
                    </a:lnTo>
                    <a:lnTo>
                      <a:pt x="135" y="10635"/>
                    </a:lnTo>
                    <a:lnTo>
                      <a:pt x="2437" y="10635"/>
                    </a:lnTo>
                    <a:lnTo>
                      <a:pt x="4535" y="11116"/>
                    </a:lnTo>
                    <a:lnTo>
                      <a:pt x="5956" y="11816"/>
                    </a:lnTo>
                    <a:lnTo>
                      <a:pt x="7885" y="12254"/>
                    </a:lnTo>
                    <a:lnTo>
                      <a:pt x="7343" y="11335"/>
                    </a:lnTo>
                    <a:lnTo>
                      <a:pt x="5245" y="9497"/>
                    </a:lnTo>
                    <a:lnTo>
                      <a:pt x="3316" y="9497"/>
                    </a:lnTo>
                    <a:lnTo>
                      <a:pt x="1015" y="8840"/>
                    </a:lnTo>
                    <a:lnTo>
                      <a:pt x="880" y="7484"/>
                    </a:lnTo>
                    <a:lnTo>
                      <a:pt x="1387" y="6565"/>
                    </a:lnTo>
                    <a:lnTo>
                      <a:pt x="2978" y="6565"/>
                    </a:lnTo>
                    <a:lnTo>
                      <a:pt x="5956" y="6565"/>
                    </a:lnTo>
                    <a:lnTo>
                      <a:pt x="2267" y="5646"/>
                    </a:lnTo>
                    <a:lnTo>
                      <a:pt x="2809" y="5208"/>
                    </a:lnTo>
                    <a:lnTo>
                      <a:pt x="1557" y="4551"/>
                    </a:lnTo>
                    <a:lnTo>
                      <a:pt x="2267" y="3414"/>
                    </a:lnTo>
                    <a:lnTo>
                      <a:pt x="3316" y="2932"/>
                    </a:lnTo>
                    <a:lnTo>
                      <a:pt x="4196" y="2713"/>
                    </a:lnTo>
                    <a:lnTo>
                      <a:pt x="3858" y="1794"/>
                    </a:lnTo>
                    <a:lnTo>
                      <a:pt x="4535" y="1619"/>
                    </a:lnTo>
                    <a:lnTo>
                      <a:pt x="5584" y="1619"/>
                    </a:lnTo>
                    <a:lnTo>
                      <a:pt x="6971" y="919"/>
                    </a:lnTo>
                    <a:lnTo>
                      <a:pt x="8426" y="438"/>
                    </a:lnTo>
                    <a:lnTo>
                      <a:pt x="10694" y="0"/>
                    </a:lnTo>
                    <a:lnTo>
                      <a:pt x="10355" y="1794"/>
                    </a:lnTo>
                    <a:lnTo>
                      <a:pt x="8900" y="2932"/>
                    </a:lnTo>
                    <a:lnTo>
                      <a:pt x="10694" y="2932"/>
                    </a:lnTo>
                    <a:lnTo>
                      <a:pt x="11540" y="2713"/>
                    </a:lnTo>
                    <a:lnTo>
                      <a:pt x="12589" y="3589"/>
                    </a:lnTo>
                    <a:lnTo>
                      <a:pt x="12420" y="4551"/>
                    </a:lnTo>
                    <a:lnTo>
                      <a:pt x="11201" y="5208"/>
                    </a:lnTo>
                    <a:lnTo>
                      <a:pt x="12589" y="5208"/>
                    </a:lnTo>
                    <a:lnTo>
                      <a:pt x="13841" y="5646"/>
                    </a:lnTo>
                    <a:lnTo>
                      <a:pt x="14349" y="4551"/>
                    </a:lnTo>
                    <a:lnTo>
                      <a:pt x="14349" y="2932"/>
                    </a:lnTo>
                    <a:lnTo>
                      <a:pt x="14856" y="3414"/>
                    </a:lnTo>
                    <a:lnTo>
                      <a:pt x="15601" y="4770"/>
                    </a:lnTo>
                    <a:lnTo>
                      <a:pt x="14856" y="6565"/>
                    </a:lnTo>
                    <a:lnTo>
                      <a:pt x="14349" y="8403"/>
                    </a:lnTo>
                    <a:lnTo>
                      <a:pt x="14856" y="8840"/>
                    </a:lnTo>
                    <a:lnTo>
                      <a:pt x="15770" y="8140"/>
                    </a:lnTo>
                    <a:lnTo>
                      <a:pt x="16311" y="6346"/>
                    </a:lnTo>
                    <a:lnTo>
                      <a:pt x="16988" y="4551"/>
                    </a:lnTo>
                    <a:lnTo>
                      <a:pt x="18037" y="2932"/>
                    </a:lnTo>
                    <a:lnTo>
                      <a:pt x="18917" y="3414"/>
                    </a:lnTo>
                    <a:lnTo>
                      <a:pt x="19425" y="4770"/>
                    </a:lnTo>
                    <a:lnTo>
                      <a:pt x="19797" y="5908"/>
                    </a:lnTo>
                    <a:lnTo>
                      <a:pt x="19289" y="7484"/>
                    </a:lnTo>
                    <a:lnTo>
                      <a:pt x="18579" y="9278"/>
                    </a:lnTo>
                    <a:lnTo>
                      <a:pt x="18037" y="10635"/>
                    </a:lnTo>
                    <a:lnTo>
                      <a:pt x="17496" y="11816"/>
                    </a:lnTo>
                    <a:lnTo>
                      <a:pt x="17834" y="12910"/>
                    </a:lnTo>
                    <a:lnTo>
                      <a:pt x="18376" y="14311"/>
                    </a:lnTo>
                    <a:lnTo>
                      <a:pt x="18579" y="14048"/>
                    </a:lnTo>
                    <a:lnTo>
                      <a:pt x="19289" y="15405"/>
                    </a:lnTo>
                    <a:lnTo>
                      <a:pt x="19966" y="16543"/>
                    </a:lnTo>
                    <a:lnTo>
                      <a:pt x="19289" y="18162"/>
                    </a:lnTo>
                    <a:lnTo>
                      <a:pt x="18376" y="17199"/>
                    </a:lnTo>
                    <a:lnTo>
                      <a:pt x="17157" y="17199"/>
                    </a:lnTo>
                    <a:lnTo>
                      <a:pt x="16311" y="17199"/>
                    </a:lnTo>
                    <a:lnTo>
                      <a:pt x="15770" y="19037"/>
                    </a:lnTo>
                    <a:lnTo>
                      <a:pt x="17157" y="18337"/>
                    </a:lnTo>
                    <a:lnTo>
                      <a:pt x="17157" y="19475"/>
                    </a:lnTo>
                    <a:lnTo>
                      <a:pt x="16108" y="1995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3" name="Freeform 63"/>
              <p:cNvSpPr>
                <a:spLocks/>
              </p:cNvSpPr>
              <p:nvPr/>
            </p:nvSpPr>
            <p:spPr bwMode="auto">
              <a:xfrm>
                <a:off x="3273425" y="1171575"/>
                <a:ext cx="195263" cy="242888"/>
              </a:xfrm>
              <a:custGeom>
                <a:avLst/>
                <a:gdLst>
                  <a:gd name="T0" fmla="*/ 7036 w 20000"/>
                  <a:gd name="T1" fmla="*/ 19948 h 20000"/>
                  <a:gd name="T2" fmla="*/ 3974 w 20000"/>
                  <a:gd name="T3" fmla="*/ 19687 h 20000"/>
                  <a:gd name="T4" fmla="*/ 2671 w 20000"/>
                  <a:gd name="T5" fmla="*/ 19112 h 20000"/>
                  <a:gd name="T6" fmla="*/ 0 w 20000"/>
                  <a:gd name="T7" fmla="*/ 17807 h 20000"/>
                  <a:gd name="T8" fmla="*/ 0 w 20000"/>
                  <a:gd name="T9" fmla="*/ 15352 h 20000"/>
                  <a:gd name="T10" fmla="*/ 2671 w 20000"/>
                  <a:gd name="T11" fmla="*/ 13473 h 20000"/>
                  <a:gd name="T12" fmla="*/ 8404 w 20000"/>
                  <a:gd name="T13" fmla="*/ 14308 h 20000"/>
                  <a:gd name="T14" fmla="*/ 8078 w 20000"/>
                  <a:gd name="T15" fmla="*/ 12167 h 20000"/>
                  <a:gd name="T16" fmla="*/ 3062 w 20000"/>
                  <a:gd name="T17" fmla="*/ 11854 h 20000"/>
                  <a:gd name="T18" fmla="*/ 261 w 20000"/>
                  <a:gd name="T19" fmla="*/ 11332 h 20000"/>
                  <a:gd name="T20" fmla="*/ 3974 w 20000"/>
                  <a:gd name="T21" fmla="*/ 9713 h 20000"/>
                  <a:gd name="T22" fmla="*/ 261 w 20000"/>
                  <a:gd name="T23" fmla="*/ 9713 h 20000"/>
                  <a:gd name="T24" fmla="*/ 2671 w 20000"/>
                  <a:gd name="T25" fmla="*/ 6475 h 20000"/>
                  <a:gd name="T26" fmla="*/ 5407 w 20000"/>
                  <a:gd name="T27" fmla="*/ 7781 h 20000"/>
                  <a:gd name="T28" fmla="*/ 8078 w 20000"/>
                  <a:gd name="T29" fmla="*/ 6475 h 20000"/>
                  <a:gd name="T30" fmla="*/ 5407 w 20000"/>
                  <a:gd name="T31" fmla="*/ 6475 h 20000"/>
                  <a:gd name="T32" fmla="*/ 3974 w 20000"/>
                  <a:gd name="T33" fmla="*/ 5117 h 20000"/>
                  <a:gd name="T34" fmla="*/ 6384 w 20000"/>
                  <a:gd name="T35" fmla="*/ 4021 h 20000"/>
                  <a:gd name="T36" fmla="*/ 9772 w 20000"/>
                  <a:gd name="T37" fmla="*/ 4804 h 20000"/>
                  <a:gd name="T38" fmla="*/ 10749 w 20000"/>
                  <a:gd name="T39" fmla="*/ 4021 h 20000"/>
                  <a:gd name="T40" fmla="*/ 9772 w 20000"/>
                  <a:gd name="T41" fmla="*/ 2977 h 20000"/>
                  <a:gd name="T42" fmla="*/ 11792 w 20000"/>
                  <a:gd name="T43" fmla="*/ 2141 h 20000"/>
                  <a:gd name="T44" fmla="*/ 15505 w 20000"/>
                  <a:gd name="T45" fmla="*/ 0 h 20000"/>
                  <a:gd name="T46" fmla="*/ 17915 w 20000"/>
                  <a:gd name="T47" fmla="*/ 1619 h 20000"/>
                  <a:gd name="T48" fmla="*/ 16873 w 20000"/>
                  <a:gd name="T49" fmla="*/ 3499 h 20000"/>
                  <a:gd name="T50" fmla="*/ 16873 w 20000"/>
                  <a:gd name="T51" fmla="*/ 6162 h 20000"/>
                  <a:gd name="T52" fmla="*/ 17915 w 20000"/>
                  <a:gd name="T53" fmla="*/ 6997 h 20000"/>
                  <a:gd name="T54" fmla="*/ 17264 w 20000"/>
                  <a:gd name="T55" fmla="*/ 9138 h 20000"/>
                  <a:gd name="T56" fmla="*/ 18893 w 20000"/>
                  <a:gd name="T57" fmla="*/ 10548 h 20000"/>
                  <a:gd name="T58" fmla="*/ 16873 w 20000"/>
                  <a:gd name="T59" fmla="*/ 13473 h 20000"/>
                  <a:gd name="T60" fmla="*/ 18893 w 20000"/>
                  <a:gd name="T61" fmla="*/ 12898 h 20000"/>
                  <a:gd name="T62" fmla="*/ 19935 w 20000"/>
                  <a:gd name="T63" fmla="*/ 15614 h 20000"/>
                  <a:gd name="T64" fmla="*/ 18241 w 20000"/>
                  <a:gd name="T65" fmla="*/ 15614 h 20000"/>
                  <a:gd name="T66" fmla="*/ 15505 w 20000"/>
                  <a:gd name="T67" fmla="*/ 16449 h 20000"/>
                  <a:gd name="T68" fmla="*/ 12508 w 20000"/>
                  <a:gd name="T69" fmla="*/ 17493 h 20000"/>
                  <a:gd name="T70" fmla="*/ 13550 w 20000"/>
                  <a:gd name="T71" fmla="*/ 15352 h 20000"/>
                  <a:gd name="T72" fmla="*/ 11140 w 20000"/>
                  <a:gd name="T73" fmla="*/ 16449 h 20000"/>
                  <a:gd name="T74" fmla="*/ 10749 w 20000"/>
                  <a:gd name="T75" fmla="*/ 18329 h 20000"/>
                  <a:gd name="T76" fmla="*/ 9121 w 20000"/>
                  <a:gd name="T77" fmla="*/ 18590 h 20000"/>
                  <a:gd name="T78" fmla="*/ 7036 w 20000"/>
                  <a:gd name="T79" fmla="*/ 1994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7036" y="19948"/>
                    </a:moveTo>
                    <a:lnTo>
                      <a:pt x="3974" y="19687"/>
                    </a:lnTo>
                    <a:lnTo>
                      <a:pt x="2671" y="19112"/>
                    </a:lnTo>
                    <a:lnTo>
                      <a:pt x="0" y="17807"/>
                    </a:lnTo>
                    <a:lnTo>
                      <a:pt x="0" y="15352"/>
                    </a:lnTo>
                    <a:lnTo>
                      <a:pt x="2671" y="13473"/>
                    </a:lnTo>
                    <a:lnTo>
                      <a:pt x="8404" y="14308"/>
                    </a:lnTo>
                    <a:lnTo>
                      <a:pt x="8078" y="12167"/>
                    </a:lnTo>
                    <a:lnTo>
                      <a:pt x="3062" y="11854"/>
                    </a:lnTo>
                    <a:lnTo>
                      <a:pt x="261" y="11332"/>
                    </a:lnTo>
                    <a:lnTo>
                      <a:pt x="3974" y="9713"/>
                    </a:lnTo>
                    <a:lnTo>
                      <a:pt x="261" y="9713"/>
                    </a:lnTo>
                    <a:lnTo>
                      <a:pt x="2671" y="6475"/>
                    </a:lnTo>
                    <a:lnTo>
                      <a:pt x="5407" y="7781"/>
                    </a:lnTo>
                    <a:lnTo>
                      <a:pt x="8078" y="6475"/>
                    </a:lnTo>
                    <a:lnTo>
                      <a:pt x="5407" y="6475"/>
                    </a:lnTo>
                    <a:lnTo>
                      <a:pt x="3974" y="5117"/>
                    </a:lnTo>
                    <a:lnTo>
                      <a:pt x="6384" y="4021"/>
                    </a:lnTo>
                    <a:lnTo>
                      <a:pt x="9772" y="4804"/>
                    </a:lnTo>
                    <a:lnTo>
                      <a:pt x="10749" y="4021"/>
                    </a:lnTo>
                    <a:lnTo>
                      <a:pt x="9772" y="2977"/>
                    </a:lnTo>
                    <a:lnTo>
                      <a:pt x="11792" y="2141"/>
                    </a:lnTo>
                    <a:lnTo>
                      <a:pt x="15505" y="0"/>
                    </a:lnTo>
                    <a:lnTo>
                      <a:pt x="17915" y="1619"/>
                    </a:lnTo>
                    <a:lnTo>
                      <a:pt x="16873" y="3499"/>
                    </a:lnTo>
                    <a:lnTo>
                      <a:pt x="16873" y="6162"/>
                    </a:lnTo>
                    <a:lnTo>
                      <a:pt x="17915" y="6997"/>
                    </a:lnTo>
                    <a:lnTo>
                      <a:pt x="17264" y="9138"/>
                    </a:lnTo>
                    <a:lnTo>
                      <a:pt x="18893" y="10548"/>
                    </a:lnTo>
                    <a:lnTo>
                      <a:pt x="16873" y="13473"/>
                    </a:lnTo>
                    <a:lnTo>
                      <a:pt x="18893" y="12898"/>
                    </a:lnTo>
                    <a:lnTo>
                      <a:pt x="19935" y="15614"/>
                    </a:lnTo>
                    <a:lnTo>
                      <a:pt x="18241" y="15614"/>
                    </a:lnTo>
                    <a:lnTo>
                      <a:pt x="15505" y="16449"/>
                    </a:lnTo>
                    <a:lnTo>
                      <a:pt x="12508" y="17493"/>
                    </a:lnTo>
                    <a:lnTo>
                      <a:pt x="13550" y="15352"/>
                    </a:lnTo>
                    <a:lnTo>
                      <a:pt x="11140" y="16449"/>
                    </a:lnTo>
                    <a:lnTo>
                      <a:pt x="10749" y="18329"/>
                    </a:lnTo>
                    <a:lnTo>
                      <a:pt x="9121" y="18590"/>
                    </a:lnTo>
                    <a:lnTo>
                      <a:pt x="7036" y="199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4" name="Freeform 62"/>
              <p:cNvSpPr>
                <a:spLocks/>
              </p:cNvSpPr>
              <p:nvPr/>
            </p:nvSpPr>
            <p:spPr bwMode="auto">
              <a:xfrm>
                <a:off x="2316163" y="1438275"/>
                <a:ext cx="290512" cy="184150"/>
              </a:xfrm>
              <a:custGeom>
                <a:avLst/>
                <a:gdLst>
                  <a:gd name="T0" fmla="*/ 2495 w 20000"/>
                  <a:gd name="T1" fmla="*/ 19931 h 20000"/>
                  <a:gd name="T2" fmla="*/ 1357 w 20000"/>
                  <a:gd name="T3" fmla="*/ 19931 h 20000"/>
                  <a:gd name="T4" fmla="*/ 1794 w 20000"/>
                  <a:gd name="T5" fmla="*/ 17801 h 20000"/>
                  <a:gd name="T6" fmla="*/ 1794 w 20000"/>
                  <a:gd name="T7" fmla="*/ 16014 h 20000"/>
                  <a:gd name="T8" fmla="*/ 875 w 20000"/>
                  <a:gd name="T9" fmla="*/ 14914 h 20000"/>
                  <a:gd name="T10" fmla="*/ 0 w 20000"/>
                  <a:gd name="T11" fmla="*/ 13127 h 20000"/>
                  <a:gd name="T12" fmla="*/ 2057 w 20000"/>
                  <a:gd name="T13" fmla="*/ 11340 h 20000"/>
                  <a:gd name="T14" fmla="*/ 3151 w 20000"/>
                  <a:gd name="T15" fmla="*/ 9210 h 20000"/>
                  <a:gd name="T16" fmla="*/ 4726 w 20000"/>
                  <a:gd name="T17" fmla="*/ 9210 h 20000"/>
                  <a:gd name="T18" fmla="*/ 4989 w 20000"/>
                  <a:gd name="T19" fmla="*/ 8522 h 20000"/>
                  <a:gd name="T20" fmla="*/ 4726 w 20000"/>
                  <a:gd name="T21" fmla="*/ 7423 h 20000"/>
                  <a:gd name="T22" fmla="*/ 4989 w 20000"/>
                  <a:gd name="T23" fmla="*/ 7423 h 20000"/>
                  <a:gd name="T24" fmla="*/ 5427 w 20000"/>
                  <a:gd name="T25" fmla="*/ 7423 h 20000"/>
                  <a:gd name="T26" fmla="*/ 8403 w 20000"/>
                  <a:gd name="T27" fmla="*/ 4605 h 20000"/>
                  <a:gd name="T28" fmla="*/ 7921 w 20000"/>
                  <a:gd name="T29" fmla="*/ 3162 h 20000"/>
                  <a:gd name="T30" fmla="*/ 9059 w 20000"/>
                  <a:gd name="T31" fmla="*/ 0 h 20000"/>
                  <a:gd name="T32" fmla="*/ 11554 w 20000"/>
                  <a:gd name="T33" fmla="*/ 275 h 20000"/>
                  <a:gd name="T34" fmla="*/ 11991 w 20000"/>
                  <a:gd name="T35" fmla="*/ 1100 h 20000"/>
                  <a:gd name="T36" fmla="*/ 14923 w 20000"/>
                  <a:gd name="T37" fmla="*/ 1787 h 20000"/>
                  <a:gd name="T38" fmla="*/ 14923 w 20000"/>
                  <a:gd name="T39" fmla="*/ 2818 h 20000"/>
                  <a:gd name="T40" fmla="*/ 15624 w 20000"/>
                  <a:gd name="T41" fmla="*/ 3918 h 20000"/>
                  <a:gd name="T42" fmla="*/ 14486 w 20000"/>
                  <a:gd name="T43" fmla="*/ 4948 h 20000"/>
                  <a:gd name="T44" fmla="*/ 16105 w 20000"/>
                  <a:gd name="T45" fmla="*/ 4605 h 20000"/>
                  <a:gd name="T46" fmla="*/ 16280 w 20000"/>
                  <a:gd name="T47" fmla="*/ 4605 h 20000"/>
                  <a:gd name="T48" fmla="*/ 16105 w 20000"/>
                  <a:gd name="T49" fmla="*/ 6392 h 20000"/>
                  <a:gd name="T50" fmla="*/ 17199 w 20000"/>
                  <a:gd name="T51" fmla="*/ 4948 h 20000"/>
                  <a:gd name="T52" fmla="*/ 17199 w 20000"/>
                  <a:gd name="T53" fmla="*/ 4605 h 20000"/>
                  <a:gd name="T54" fmla="*/ 18600 w 20000"/>
                  <a:gd name="T55" fmla="*/ 4948 h 20000"/>
                  <a:gd name="T56" fmla="*/ 19256 w 20000"/>
                  <a:gd name="T57" fmla="*/ 5704 h 20000"/>
                  <a:gd name="T58" fmla="*/ 19256 w 20000"/>
                  <a:gd name="T59" fmla="*/ 9210 h 20000"/>
                  <a:gd name="T60" fmla="*/ 19956 w 20000"/>
                  <a:gd name="T61" fmla="*/ 11340 h 20000"/>
                  <a:gd name="T62" fmla="*/ 18118 w 20000"/>
                  <a:gd name="T63" fmla="*/ 12096 h 20000"/>
                  <a:gd name="T64" fmla="*/ 16105 w 20000"/>
                  <a:gd name="T65" fmla="*/ 12440 h 20000"/>
                  <a:gd name="T66" fmla="*/ 13348 w 20000"/>
                  <a:gd name="T67" fmla="*/ 13127 h 20000"/>
                  <a:gd name="T68" fmla="*/ 11991 w 20000"/>
                  <a:gd name="T69" fmla="*/ 13883 h 20000"/>
                  <a:gd name="T70" fmla="*/ 10460 w 20000"/>
                  <a:gd name="T71" fmla="*/ 15258 h 20000"/>
                  <a:gd name="T72" fmla="*/ 9059 w 20000"/>
                  <a:gd name="T73" fmla="*/ 15258 h 20000"/>
                  <a:gd name="T74" fmla="*/ 8578 w 20000"/>
                  <a:gd name="T75" fmla="*/ 14914 h 20000"/>
                  <a:gd name="T76" fmla="*/ 7221 w 20000"/>
                  <a:gd name="T77" fmla="*/ 17045 h 20000"/>
                  <a:gd name="T78" fmla="*/ 6083 w 20000"/>
                  <a:gd name="T79" fmla="*/ 19519 h 20000"/>
                  <a:gd name="T80" fmla="*/ 4726 w 20000"/>
                  <a:gd name="T81" fmla="*/ 18832 h 20000"/>
                  <a:gd name="T82" fmla="*/ 2495 w 20000"/>
                  <a:gd name="T83" fmla="*/ 199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2495" y="19931"/>
                    </a:moveTo>
                    <a:lnTo>
                      <a:pt x="1357" y="19931"/>
                    </a:lnTo>
                    <a:lnTo>
                      <a:pt x="1794" y="17801"/>
                    </a:lnTo>
                    <a:lnTo>
                      <a:pt x="1794" y="16014"/>
                    </a:lnTo>
                    <a:lnTo>
                      <a:pt x="875" y="14914"/>
                    </a:lnTo>
                    <a:lnTo>
                      <a:pt x="0" y="13127"/>
                    </a:lnTo>
                    <a:lnTo>
                      <a:pt x="2057" y="11340"/>
                    </a:lnTo>
                    <a:lnTo>
                      <a:pt x="3151" y="9210"/>
                    </a:lnTo>
                    <a:lnTo>
                      <a:pt x="4726" y="9210"/>
                    </a:lnTo>
                    <a:lnTo>
                      <a:pt x="4989" y="8522"/>
                    </a:lnTo>
                    <a:lnTo>
                      <a:pt x="4726" y="7423"/>
                    </a:lnTo>
                    <a:lnTo>
                      <a:pt x="4989" y="7423"/>
                    </a:lnTo>
                    <a:lnTo>
                      <a:pt x="5427" y="7423"/>
                    </a:lnTo>
                    <a:lnTo>
                      <a:pt x="8403" y="4605"/>
                    </a:lnTo>
                    <a:lnTo>
                      <a:pt x="7921" y="3162"/>
                    </a:lnTo>
                    <a:lnTo>
                      <a:pt x="9059" y="0"/>
                    </a:lnTo>
                    <a:lnTo>
                      <a:pt x="11554" y="275"/>
                    </a:lnTo>
                    <a:lnTo>
                      <a:pt x="11991" y="1100"/>
                    </a:lnTo>
                    <a:lnTo>
                      <a:pt x="14923" y="1787"/>
                    </a:lnTo>
                    <a:lnTo>
                      <a:pt x="14923" y="2818"/>
                    </a:lnTo>
                    <a:lnTo>
                      <a:pt x="15624" y="3918"/>
                    </a:lnTo>
                    <a:lnTo>
                      <a:pt x="14486" y="4948"/>
                    </a:lnTo>
                    <a:lnTo>
                      <a:pt x="16105" y="4605"/>
                    </a:lnTo>
                    <a:lnTo>
                      <a:pt x="16280" y="4605"/>
                    </a:lnTo>
                    <a:lnTo>
                      <a:pt x="16105" y="6392"/>
                    </a:lnTo>
                    <a:lnTo>
                      <a:pt x="17199" y="4948"/>
                    </a:lnTo>
                    <a:lnTo>
                      <a:pt x="17199" y="4605"/>
                    </a:lnTo>
                    <a:lnTo>
                      <a:pt x="18600" y="4948"/>
                    </a:lnTo>
                    <a:lnTo>
                      <a:pt x="19256" y="5704"/>
                    </a:lnTo>
                    <a:lnTo>
                      <a:pt x="19256" y="9210"/>
                    </a:lnTo>
                    <a:lnTo>
                      <a:pt x="19956" y="11340"/>
                    </a:lnTo>
                    <a:lnTo>
                      <a:pt x="18118" y="12096"/>
                    </a:lnTo>
                    <a:lnTo>
                      <a:pt x="16105" y="12440"/>
                    </a:lnTo>
                    <a:lnTo>
                      <a:pt x="13348" y="13127"/>
                    </a:lnTo>
                    <a:lnTo>
                      <a:pt x="11991" y="13883"/>
                    </a:lnTo>
                    <a:lnTo>
                      <a:pt x="10460" y="15258"/>
                    </a:lnTo>
                    <a:lnTo>
                      <a:pt x="9059" y="15258"/>
                    </a:lnTo>
                    <a:lnTo>
                      <a:pt x="8578" y="14914"/>
                    </a:lnTo>
                    <a:lnTo>
                      <a:pt x="7221" y="17045"/>
                    </a:lnTo>
                    <a:lnTo>
                      <a:pt x="6083" y="19519"/>
                    </a:lnTo>
                    <a:lnTo>
                      <a:pt x="4726" y="18832"/>
                    </a:lnTo>
                    <a:lnTo>
                      <a:pt x="2495" y="1993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5" name="Freeform 61"/>
              <p:cNvSpPr>
                <a:spLocks/>
              </p:cNvSpPr>
              <p:nvPr/>
            </p:nvSpPr>
            <p:spPr bwMode="auto">
              <a:xfrm>
                <a:off x="3121025" y="1457325"/>
                <a:ext cx="293688" cy="196850"/>
              </a:xfrm>
              <a:custGeom>
                <a:avLst/>
                <a:gdLst>
                  <a:gd name="T0" fmla="*/ 16760 w 20000"/>
                  <a:gd name="T1" fmla="*/ 19936 h 20000"/>
                  <a:gd name="T2" fmla="*/ 14125 w 20000"/>
                  <a:gd name="T3" fmla="*/ 19936 h 20000"/>
                  <a:gd name="T4" fmla="*/ 12095 w 20000"/>
                  <a:gd name="T5" fmla="*/ 18907 h 20000"/>
                  <a:gd name="T6" fmla="*/ 9201 w 20000"/>
                  <a:gd name="T7" fmla="*/ 18264 h 20000"/>
                  <a:gd name="T8" fmla="*/ 5832 w 20000"/>
                  <a:gd name="T9" fmla="*/ 17299 h 20000"/>
                  <a:gd name="T10" fmla="*/ 2894 w 20000"/>
                  <a:gd name="T11" fmla="*/ 16270 h 20000"/>
                  <a:gd name="T12" fmla="*/ 1123 w 20000"/>
                  <a:gd name="T13" fmla="*/ 13891 h 20000"/>
                  <a:gd name="T14" fmla="*/ 1771 w 20000"/>
                  <a:gd name="T15" fmla="*/ 11961 h 20000"/>
                  <a:gd name="T16" fmla="*/ 2678 w 20000"/>
                  <a:gd name="T17" fmla="*/ 9582 h 20000"/>
                  <a:gd name="T18" fmla="*/ 2894 w 20000"/>
                  <a:gd name="T19" fmla="*/ 6945 h 20000"/>
                  <a:gd name="T20" fmla="*/ 2678 w 20000"/>
                  <a:gd name="T21" fmla="*/ 5273 h 20000"/>
                  <a:gd name="T22" fmla="*/ 691 w 20000"/>
                  <a:gd name="T23" fmla="*/ 4309 h 20000"/>
                  <a:gd name="T24" fmla="*/ 0 w 20000"/>
                  <a:gd name="T25" fmla="*/ 2315 h 20000"/>
                  <a:gd name="T26" fmla="*/ 432 w 20000"/>
                  <a:gd name="T27" fmla="*/ 0 h 20000"/>
                  <a:gd name="T28" fmla="*/ 2203 w 20000"/>
                  <a:gd name="T29" fmla="*/ 0 h 20000"/>
                  <a:gd name="T30" fmla="*/ 4492 w 20000"/>
                  <a:gd name="T31" fmla="*/ 2315 h 20000"/>
                  <a:gd name="T32" fmla="*/ 5400 w 20000"/>
                  <a:gd name="T33" fmla="*/ 3280 h 20000"/>
                  <a:gd name="T34" fmla="*/ 7387 w 20000"/>
                  <a:gd name="T35" fmla="*/ 5273 h 20000"/>
                  <a:gd name="T36" fmla="*/ 8035 w 20000"/>
                  <a:gd name="T37" fmla="*/ 7588 h 20000"/>
                  <a:gd name="T38" fmla="*/ 6955 w 20000"/>
                  <a:gd name="T39" fmla="*/ 7588 h 20000"/>
                  <a:gd name="T40" fmla="*/ 6523 w 20000"/>
                  <a:gd name="T41" fmla="*/ 8617 h 20000"/>
                  <a:gd name="T42" fmla="*/ 6523 w 20000"/>
                  <a:gd name="T43" fmla="*/ 9582 h 20000"/>
                  <a:gd name="T44" fmla="*/ 7387 w 20000"/>
                  <a:gd name="T45" fmla="*/ 11961 h 20000"/>
                  <a:gd name="T46" fmla="*/ 9201 w 20000"/>
                  <a:gd name="T47" fmla="*/ 12283 h 20000"/>
                  <a:gd name="T48" fmla="*/ 10972 w 20000"/>
                  <a:gd name="T49" fmla="*/ 13633 h 20000"/>
                  <a:gd name="T50" fmla="*/ 13866 w 20000"/>
                  <a:gd name="T51" fmla="*/ 13633 h 20000"/>
                  <a:gd name="T52" fmla="*/ 15896 w 20000"/>
                  <a:gd name="T53" fmla="*/ 12990 h 20000"/>
                  <a:gd name="T54" fmla="*/ 18618 w 20000"/>
                  <a:gd name="T55" fmla="*/ 13891 h 20000"/>
                  <a:gd name="T56" fmla="*/ 19957 w 20000"/>
                  <a:gd name="T57" fmla="*/ 15627 h 20000"/>
                  <a:gd name="T58" fmla="*/ 19957 w 20000"/>
                  <a:gd name="T59" fmla="*/ 16656 h 20000"/>
                  <a:gd name="T60" fmla="*/ 18618 w 20000"/>
                  <a:gd name="T61" fmla="*/ 17942 h 20000"/>
                  <a:gd name="T62" fmla="*/ 17667 w 20000"/>
                  <a:gd name="T63" fmla="*/ 19293 h 20000"/>
                  <a:gd name="T64" fmla="*/ 16760 w 20000"/>
                  <a:gd name="T65" fmla="*/ 199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6760" y="19936"/>
                    </a:moveTo>
                    <a:lnTo>
                      <a:pt x="14125" y="19936"/>
                    </a:lnTo>
                    <a:lnTo>
                      <a:pt x="12095" y="18907"/>
                    </a:lnTo>
                    <a:lnTo>
                      <a:pt x="9201" y="18264"/>
                    </a:lnTo>
                    <a:lnTo>
                      <a:pt x="5832" y="17299"/>
                    </a:lnTo>
                    <a:lnTo>
                      <a:pt x="2894" y="16270"/>
                    </a:lnTo>
                    <a:lnTo>
                      <a:pt x="1123" y="13891"/>
                    </a:lnTo>
                    <a:lnTo>
                      <a:pt x="1771" y="11961"/>
                    </a:lnTo>
                    <a:lnTo>
                      <a:pt x="2678" y="9582"/>
                    </a:lnTo>
                    <a:lnTo>
                      <a:pt x="2894" y="6945"/>
                    </a:lnTo>
                    <a:lnTo>
                      <a:pt x="2678" y="5273"/>
                    </a:lnTo>
                    <a:lnTo>
                      <a:pt x="691" y="4309"/>
                    </a:lnTo>
                    <a:lnTo>
                      <a:pt x="0" y="2315"/>
                    </a:lnTo>
                    <a:lnTo>
                      <a:pt x="432" y="0"/>
                    </a:lnTo>
                    <a:lnTo>
                      <a:pt x="2203" y="0"/>
                    </a:lnTo>
                    <a:lnTo>
                      <a:pt x="4492" y="2315"/>
                    </a:lnTo>
                    <a:lnTo>
                      <a:pt x="5400" y="3280"/>
                    </a:lnTo>
                    <a:lnTo>
                      <a:pt x="7387" y="5273"/>
                    </a:lnTo>
                    <a:lnTo>
                      <a:pt x="8035" y="7588"/>
                    </a:lnTo>
                    <a:lnTo>
                      <a:pt x="6955" y="7588"/>
                    </a:lnTo>
                    <a:lnTo>
                      <a:pt x="6523" y="8617"/>
                    </a:lnTo>
                    <a:lnTo>
                      <a:pt x="6523" y="9582"/>
                    </a:lnTo>
                    <a:lnTo>
                      <a:pt x="7387" y="11961"/>
                    </a:lnTo>
                    <a:lnTo>
                      <a:pt x="9201" y="12283"/>
                    </a:lnTo>
                    <a:lnTo>
                      <a:pt x="10972" y="13633"/>
                    </a:lnTo>
                    <a:lnTo>
                      <a:pt x="13866" y="13633"/>
                    </a:lnTo>
                    <a:lnTo>
                      <a:pt x="15896" y="12990"/>
                    </a:lnTo>
                    <a:lnTo>
                      <a:pt x="18618" y="13891"/>
                    </a:lnTo>
                    <a:lnTo>
                      <a:pt x="19957" y="15627"/>
                    </a:lnTo>
                    <a:lnTo>
                      <a:pt x="19957" y="16656"/>
                    </a:lnTo>
                    <a:lnTo>
                      <a:pt x="18618" y="17942"/>
                    </a:lnTo>
                    <a:lnTo>
                      <a:pt x="17667" y="19293"/>
                    </a:lnTo>
                    <a:lnTo>
                      <a:pt x="16760" y="199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6" name="Freeform 60"/>
              <p:cNvSpPr>
                <a:spLocks/>
              </p:cNvSpPr>
              <p:nvPr/>
            </p:nvSpPr>
            <p:spPr bwMode="auto">
              <a:xfrm>
                <a:off x="2644775" y="1371600"/>
                <a:ext cx="260350" cy="146050"/>
              </a:xfrm>
              <a:custGeom>
                <a:avLst/>
                <a:gdLst>
                  <a:gd name="T0" fmla="*/ 16195 w 20000"/>
                  <a:gd name="T1" fmla="*/ 19913 h 20000"/>
                  <a:gd name="T2" fmla="*/ 12098 w 20000"/>
                  <a:gd name="T3" fmla="*/ 18515 h 20000"/>
                  <a:gd name="T4" fmla="*/ 12683 w 20000"/>
                  <a:gd name="T5" fmla="*/ 17205 h 20000"/>
                  <a:gd name="T6" fmla="*/ 3512 w 20000"/>
                  <a:gd name="T7" fmla="*/ 19039 h 20000"/>
                  <a:gd name="T8" fmla="*/ 2537 w 20000"/>
                  <a:gd name="T9" fmla="*/ 16332 h 20000"/>
                  <a:gd name="T10" fmla="*/ 4829 w 20000"/>
                  <a:gd name="T11" fmla="*/ 15371 h 20000"/>
                  <a:gd name="T12" fmla="*/ 8098 w 20000"/>
                  <a:gd name="T13" fmla="*/ 15371 h 20000"/>
                  <a:gd name="T14" fmla="*/ 9902 w 20000"/>
                  <a:gd name="T15" fmla="*/ 13100 h 20000"/>
                  <a:gd name="T16" fmla="*/ 5317 w 20000"/>
                  <a:gd name="T17" fmla="*/ 12664 h 20000"/>
                  <a:gd name="T18" fmla="*/ 6829 w 20000"/>
                  <a:gd name="T19" fmla="*/ 10480 h 20000"/>
                  <a:gd name="T20" fmla="*/ 6585 w 20000"/>
                  <a:gd name="T21" fmla="*/ 9432 h 20000"/>
                  <a:gd name="T22" fmla="*/ 3317 w 20000"/>
                  <a:gd name="T23" fmla="*/ 12664 h 20000"/>
                  <a:gd name="T24" fmla="*/ 1317 w 20000"/>
                  <a:gd name="T25" fmla="*/ 11790 h 20000"/>
                  <a:gd name="T26" fmla="*/ 0 w 20000"/>
                  <a:gd name="T27" fmla="*/ 8122 h 20000"/>
                  <a:gd name="T28" fmla="*/ 2780 w 20000"/>
                  <a:gd name="T29" fmla="*/ 5852 h 20000"/>
                  <a:gd name="T30" fmla="*/ 4585 w 20000"/>
                  <a:gd name="T31" fmla="*/ 3144 h 20000"/>
                  <a:gd name="T32" fmla="*/ 6829 w 20000"/>
                  <a:gd name="T33" fmla="*/ 873 h 20000"/>
                  <a:gd name="T34" fmla="*/ 9366 w 20000"/>
                  <a:gd name="T35" fmla="*/ 0 h 20000"/>
                  <a:gd name="T36" fmla="*/ 9366 w 20000"/>
                  <a:gd name="T37" fmla="*/ 3581 h 20000"/>
                  <a:gd name="T38" fmla="*/ 10634 w 20000"/>
                  <a:gd name="T39" fmla="*/ 3581 h 20000"/>
                  <a:gd name="T40" fmla="*/ 11366 w 20000"/>
                  <a:gd name="T41" fmla="*/ 5502 h 20000"/>
                  <a:gd name="T42" fmla="*/ 10878 w 20000"/>
                  <a:gd name="T43" fmla="*/ 8122 h 20000"/>
                  <a:gd name="T44" fmla="*/ 10634 w 20000"/>
                  <a:gd name="T45" fmla="*/ 11354 h 20000"/>
                  <a:gd name="T46" fmla="*/ 11902 w 20000"/>
                  <a:gd name="T47" fmla="*/ 11790 h 20000"/>
                  <a:gd name="T48" fmla="*/ 13415 w 20000"/>
                  <a:gd name="T49" fmla="*/ 13100 h 20000"/>
                  <a:gd name="T50" fmla="*/ 14683 w 20000"/>
                  <a:gd name="T51" fmla="*/ 11354 h 20000"/>
                  <a:gd name="T52" fmla="*/ 15415 w 20000"/>
                  <a:gd name="T53" fmla="*/ 8122 h 20000"/>
                  <a:gd name="T54" fmla="*/ 16683 w 20000"/>
                  <a:gd name="T55" fmla="*/ 4454 h 20000"/>
                  <a:gd name="T56" fmla="*/ 19171 w 20000"/>
                  <a:gd name="T57" fmla="*/ 2271 h 20000"/>
                  <a:gd name="T58" fmla="*/ 18488 w 20000"/>
                  <a:gd name="T59" fmla="*/ 5852 h 20000"/>
                  <a:gd name="T60" fmla="*/ 17463 w 20000"/>
                  <a:gd name="T61" fmla="*/ 10480 h 20000"/>
                  <a:gd name="T62" fmla="*/ 17951 w 20000"/>
                  <a:gd name="T63" fmla="*/ 12664 h 20000"/>
                  <a:gd name="T64" fmla="*/ 19463 w 20000"/>
                  <a:gd name="T65" fmla="*/ 11354 h 20000"/>
                  <a:gd name="T66" fmla="*/ 19951 w 20000"/>
                  <a:gd name="T67" fmla="*/ 13100 h 20000"/>
                  <a:gd name="T68" fmla="*/ 18488 w 20000"/>
                  <a:gd name="T69" fmla="*/ 17642 h 20000"/>
                  <a:gd name="T70" fmla="*/ 16195 w 20000"/>
                  <a:gd name="T71" fmla="*/ 1991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16195" y="19913"/>
                    </a:moveTo>
                    <a:lnTo>
                      <a:pt x="12098" y="18515"/>
                    </a:lnTo>
                    <a:lnTo>
                      <a:pt x="12683" y="17205"/>
                    </a:lnTo>
                    <a:lnTo>
                      <a:pt x="3512" y="19039"/>
                    </a:lnTo>
                    <a:lnTo>
                      <a:pt x="2537" y="16332"/>
                    </a:lnTo>
                    <a:lnTo>
                      <a:pt x="4829" y="15371"/>
                    </a:lnTo>
                    <a:lnTo>
                      <a:pt x="8098" y="15371"/>
                    </a:lnTo>
                    <a:lnTo>
                      <a:pt x="9902" y="13100"/>
                    </a:lnTo>
                    <a:lnTo>
                      <a:pt x="5317" y="12664"/>
                    </a:lnTo>
                    <a:lnTo>
                      <a:pt x="6829" y="10480"/>
                    </a:lnTo>
                    <a:lnTo>
                      <a:pt x="6585" y="9432"/>
                    </a:lnTo>
                    <a:lnTo>
                      <a:pt x="3317" y="12664"/>
                    </a:lnTo>
                    <a:lnTo>
                      <a:pt x="1317" y="11790"/>
                    </a:lnTo>
                    <a:lnTo>
                      <a:pt x="0" y="8122"/>
                    </a:lnTo>
                    <a:lnTo>
                      <a:pt x="2780" y="5852"/>
                    </a:lnTo>
                    <a:lnTo>
                      <a:pt x="4585" y="3144"/>
                    </a:lnTo>
                    <a:lnTo>
                      <a:pt x="6829" y="873"/>
                    </a:lnTo>
                    <a:lnTo>
                      <a:pt x="9366" y="0"/>
                    </a:lnTo>
                    <a:lnTo>
                      <a:pt x="9366" y="3581"/>
                    </a:lnTo>
                    <a:lnTo>
                      <a:pt x="10634" y="3581"/>
                    </a:lnTo>
                    <a:lnTo>
                      <a:pt x="11366" y="5502"/>
                    </a:lnTo>
                    <a:lnTo>
                      <a:pt x="10878" y="8122"/>
                    </a:lnTo>
                    <a:lnTo>
                      <a:pt x="10634" y="11354"/>
                    </a:lnTo>
                    <a:lnTo>
                      <a:pt x="11902" y="11790"/>
                    </a:lnTo>
                    <a:lnTo>
                      <a:pt x="13415" y="13100"/>
                    </a:lnTo>
                    <a:lnTo>
                      <a:pt x="14683" y="11354"/>
                    </a:lnTo>
                    <a:lnTo>
                      <a:pt x="15415" y="8122"/>
                    </a:lnTo>
                    <a:lnTo>
                      <a:pt x="16683" y="4454"/>
                    </a:lnTo>
                    <a:lnTo>
                      <a:pt x="19171" y="2271"/>
                    </a:lnTo>
                    <a:lnTo>
                      <a:pt x="18488" y="5852"/>
                    </a:lnTo>
                    <a:lnTo>
                      <a:pt x="17463" y="10480"/>
                    </a:lnTo>
                    <a:lnTo>
                      <a:pt x="17951" y="12664"/>
                    </a:lnTo>
                    <a:lnTo>
                      <a:pt x="19463" y="11354"/>
                    </a:lnTo>
                    <a:lnTo>
                      <a:pt x="19951" y="13100"/>
                    </a:lnTo>
                    <a:lnTo>
                      <a:pt x="18488" y="17642"/>
                    </a:lnTo>
                    <a:lnTo>
                      <a:pt x="16195" y="1991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7" name="Freeform 59"/>
              <p:cNvSpPr>
                <a:spLocks/>
              </p:cNvSpPr>
              <p:nvPr/>
            </p:nvSpPr>
            <p:spPr bwMode="auto">
              <a:xfrm>
                <a:off x="3451225" y="2794000"/>
                <a:ext cx="171450" cy="196850"/>
              </a:xfrm>
              <a:custGeom>
                <a:avLst/>
                <a:gdLst>
                  <a:gd name="T0" fmla="*/ 17630 w 20000"/>
                  <a:gd name="T1" fmla="*/ 19936 h 20000"/>
                  <a:gd name="T2" fmla="*/ 14963 w 20000"/>
                  <a:gd name="T3" fmla="*/ 18907 h 20000"/>
                  <a:gd name="T4" fmla="*/ 16148 w 20000"/>
                  <a:gd name="T5" fmla="*/ 16270 h 20000"/>
                  <a:gd name="T6" fmla="*/ 15704 w 20000"/>
                  <a:gd name="T7" fmla="*/ 15627 h 20000"/>
                  <a:gd name="T8" fmla="*/ 13778 w 20000"/>
                  <a:gd name="T9" fmla="*/ 17299 h 20000"/>
                  <a:gd name="T10" fmla="*/ 9556 w 20000"/>
                  <a:gd name="T11" fmla="*/ 18264 h 20000"/>
                  <a:gd name="T12" fmla="*/ 12667 w 20000"/>
                  <a:gd name="T13" fmla="*/ 16270 h 20000"/>
                  <a:gd name="T14" fmla="*/ 9556 w 20000"/>
                  <a:gd name="T15" fmla="*/ 16270 h 20000"/>
                  <a:gd name="T16" fmla="*/ 0 w 20000"/>
                  <a:gd name="T17" fmla="*/ 15627 h 20000"/>
                  <a:gd name="T18" fmla="*/ 0 w 20000"/>
                  <a:gd name="T19" fmla="*/ 13955 h 20000"/>
                  <a:gd name="T20" fmla="*/ 2667 w 20000"/>
                  <a:gd name="T21" fmla="*/ 12605 h 20000"/>
                  <a:gd name="T22" fmla="*/ 741 w 20000"/>
                  <a:gd name="T23" fmla="*/ 11961 h 20000"/>
                  <a:gd name="T24" fmla="*/ 4519 w 20000"/>
                  <a:gd name="T25" fmla="*/ 9968 h 20000"/>
                  <a:gd name="T26" fmla="*/ 4519 w 20000"/>
                  <a:gd name="T27" fmla="*/ 8682 h 20000"/>
                  <a:gd name="T28" fmla="*/ 7704 w 20000"/>
                  <a:gd name="T29" fmla="*/ 5659 h 20000"/>
                  <a:gd name="T30" fmla="*/ 9926 w 20000"/>
                  <a:gd name="T31" fmla="*/ 1672 h 20000"/>
                  <a:gd name="T32" fmla="*/ 13778 w 20000"/>
                  <a:gd name="T33" fmla="*/ 643 h 20000"/>
                  <a:gd name="T34" fmla="*/ 15704 w 20000"/>
                  <a:gd name="T35" fmla="*/ 0 h 20000"/>
                  <a:gd name="T36" fmla="*/ 13778 w 20000"/>
                  <a:gd name="T37" fmla="*/ 3023 h 20000"/>
                  <a:gd name="T38" fmla="*/ 8741 w 20000"/>
                  <a:gd name="T39" fmla="*/ 7653 h 20000"/>
                  <a:gd name="T40" fmla="*/ 11481 w 20000"/>
                  <a:gd name="T41" fmla="*/ 6688 h 20000"/>
                  <a:gd name="T42" fmla="*/ 12667 w 20000"/>
                  <a:gd name="T43" fmla="*/ 6945 h 20000"/>
                  <a:gd name="T44" fmla="*/ 11481 w 20000"/>
                  <a:gd name="T45" fmla="*/ 8682 h 20000"/>
                  <a:gd name="T46" fmla="*/ 14963 w 20000"/>
                  <a:gd name="T47" fmla="*/ 8682 h 20000"/>
                  <a:gd name="T48" fmla="*/ 18741 w 20000"/>
                  <a:gd name="T49" fmla="*/ 9968 h 20000"/>
                  <a:gd name="T50" fmla="*/ 17630 w 20000"/>
                  <a:gd name="T51" fmla="*/ 11318 h 20000"/>
                  <a:gd name="T52" fmla="*/ 17630 w 20000"/>
                  <a:gd name="T53" fmla="*/ 12990 h 20000"/>
                  <a:gd name="T54" fmla="*/ 19556 w 20000"/>
                  <a:gd name="T55" fmla="*/ 12605 h 20000"/>
                  <a:gd name="T56" fmla="*/ 19926 w 20000"/>
                  <a:gd name="T57" fmla="*/ 13955 h 20000"/>
                  <a:gd name="T58" fmla="*/ 19926 w 20000"/>
                  <a:gd name="T59" fmla="*/ 15627 h 20000"/>
                  <a:gd name="T60" fmla="*/ 19556 w 20000"/>
                  <a:gd name="T61" fmla="*/ 17299 h 20000"/>
                  <a:gd name="T62" fmla="*/ 17630 w 20000"/>
                  <a:gd name="T63" fmla="*/ 199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630" y="19936"/>
                    </a:moveTo>
                    <a:lnTo>
                      <a:pt x="14963" y="18907"/>
                    </a:lnTo>
                    <a:lnTo>
                      <a:pt x="16148" y="16270"/>
                    </a:lnTo>
                    <a:lnTo>
                      <a:pt x="15704" y="15627"/>
                    </a:lnTo>
                    <a:lnTo>
                      <a:pt x="13778" y="17299"/>
                    </a:lnTo>
                    <a:lnTo>
                      <a:pt x="9556" y="18264"/>
                    </a:lnTo>
                    <a:lnTo>
                      <a:pt x="12667" y="16270"/>
                    </a:lnTo>
                    <a:lnTo>
                      <a:pt x="9556" y="16270"/>
                    </a:lnTo>
                    <a:lnTo>
                      <a:pt x="0" y="15627"/>
                    </a:lnTo>
                    <a:lnTo>
                      <a:pt x="0" y="13955"/>
                    </a:lnTo>
                    <a:lnTo>
                      <a:pt x="2667" y="12605"/>
                    </a:lnTo>
                    <a:lnTo>
                      <a:pt x="741" y="11961"/>
                    </a:lnTo>
                    <a:lnTo>
                      <a:pt x="4519" y="9968"/>
                    </a:lnTo>
                    <a:lnTo>
                      <a:pt x="4519" y="8682"/>
                    </a:lnTo>
                    <a:lnTo>
                      <a:pt x="7704" y="5659"/>
                    </a:lnTo>
                    <a:lnTo>
                      <a:pt x="9926" y="1672"/>
                    </a:lnTo>
                    <a:lnTo>
                      <a:pt x="13778" y="643"/>
                    </a:lnTo>
                    <a:lnTo>
                      <a:pt x="15704" y="0"/>
                    </a:lnTo>
                    <a:lnTo>
                      <a:pt x="13778" y="3023"/>
                    </a:lnTo>
                    <a:lnTo>
                      <a:pt x="8741" y="7653"/>
                    </a:lnTo>
                    <a:lnTo>
                      <a:pt x="11481" y="6688"/>
                    </a:lnTo>
                    <a:lnTo>
                      <a:pt x="12667" y="6945"/>
                    </a:lnTo>
                    <a:lnTo>
                      <a:pt x="11481" y="8682"/>
                    </a:lnTo>
                    <a:lnTo>
                      <a:pt x="14963" y="8682"/>
                    </a:lnTo>
                    <a:lnTo>
                      <a:pt x="18741" y="9968"/>
                    </a:lnTo>
                    <a:lnTo>
                      <a:pt x="17630" y="11318"/>
                    </a:lnTo>
                    <a:lnTo>
                      <a:pt x="17630" y="12990"/>
                    </a:lnTo>
                    <a:lnTo>
                      <a:pt x="19556" y="12605"/>
                    </a:lnTo>
                    <a:lnTo>
                      <a:pt x="19926" y="13955"/>
                    </a:lnTo>
                    <a:lnTo>
                      <a:pt x="19926" y="15627"/>
                    </a:lnTo>
                    <a:lnTo>
                      <a:pt x="19556" y="17299"/>
                    </a:lnTo>
                    <a:lnTo>
                      <a:pt x="17630" y="199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8" name="Freeform 58"/>
              <p:cNvSpPr>
                <a:spLocks/>
              </p:cNvSpPr>
              <p:nvPr/>
            </p:nvSpPr>
            <p:spPr bwMode="auto">
              <a:xfrm>
                <a:off x="2841625" y="1612900"/>
                <a:ext cx="152400" cy="146050"/>
              </a:xfrm>
              <a:custGeom>
                <a:avLst/>
                <a:gdLst>
                  <a:gd name="T0" fmla="*/ 3917 w 20000"/>
                  <a:gd name="T1" fmla="*/ 19913 h 20000"/>
                  <a:gd name="T2" fmla="*/ 2583 w 20000"/>
                  <a:gd name="T3" fmla="*/ 19039 h 20000"/>
                  <a:gd name="T4" fmla="*/ 3417 w 20000"/>
                  <a:gd name="T5" fmla="*/ 16332 h 20000"/>
                  <a:gd name="T6" fmla="*/ 2583 w 20000"/>
                  <a:gd name="T7" fmla="*/ 13100 h 20000"/>
                  <a:gd name="T8" fmla="*/ 1750 w 20000"/>
                  <a:gd name="T9" fmla="*/ 10830 h 20000"/>
                  <a:gd name="T10" fmla="*/ 0 w 20000"/>
                  <a:gd name="T11" fmla="*/ 8559 h 20000"/>
                  <a:gd name="T12" fmla="*/ 0 w 20000"/>
                  <a:gd name="T13" fmla="*/ 4978 h 20000"/>
                  <a:gd name="T14" fmla="*/ 2583 w 20000"/>
                  <a:gd name="T15" fmla="*/ 3581 h 20000"/>
                  <a:gd name="T16" fmla="*/ 2583 w 20000"/>
                  <a:gd name="T17" fmla="*/ 7249 h 20000"/>
                  <a:gd name="T18" fmla="*/ 3917 w 20000"/>
                  <a:gd name="T19" fmla="*/ 8559 h 20000"/>
                  <a:gd name="T20" fmla="*/ 6083 w 20000"/>
                  <a:gd name="T21" fmla="*/ 6725 h 20000"/>
                  <a:gd name="T22" fmla="*/ 7333 w 20000"/>
                  <a:gd name="T23" fmla="*/ 4454 h 20000"/>
                  <a:gd name="T24" fmla="*/ 9500 w 20000"/>
                  <a:gd name="T25" fmla="*/ 4454 h 20000"/>
                  <a:gd name="T26" fmla="*/ 9500 w 20000"/>
                  <a:gd name="T27" fmla="*/ 3144 h 20000"/>
                  <a:gd name="T28" fmla="*/ 7333 w 20000"/>
                  <a:gd name="T29" fmla="*/ 1397 h 20000"/>
                  <a:gd name="T30" fmla="*/ 9500 w 20000"/>
                  <a:gd name="T31" fmla="*/ 0 h 20000"/>
                  <a:gd name="T32" fmla="*/ 11750 w 20000"/>
                  <a:gd name="T33" fmla="*/ 0 h 20000"/>
                  <a:gd name="T34" fmla="*/ 13833 w 20000"/>
                  <a:gd name="T35" fmla="*/ 2271 h 20000"/>
                  <a:gd name="T36" fmla="*/ 18167 w 20000"/>
                  <a:gd name="T37" fmla="*/ 1397 h 20000"/>
                  <a:gd name="T38" fmla="*/ 19917 w 20000"/>
                  <a:gd name="T39" fmla="*/ 3144 h 20000"/>
                  <a:gd name="T40" fmla="*/ 18583 w 20000"/>
                  <a:gd name="T41" fmla="*/ 3581 h 20000"/>
                  <a:gd name="T42" fmla="*/ 16500 w 20000"/>
                  <a:gd name="T43" fmla="*/ 3581 h 20000"/>
                  <a:gd name="T44" fmla="*/ 17333 w 20000"/>
                  <a:gd name="T45" fmla="*/ 4454 h 20000"/>
                  <a:gd name="T46" fmla="*/ 16000 w 20000"/>
                  <a:gd name="T47" fmla="*/ 4454 h 20000"/>
                  <a:gd name="T48" fmla="*/ 12583 w 20000"/>
                  <a:gd name="T49" fmla="*/ 5852 h 20000"/>
                  <a:gd name="T50" fmla="*/ 12583 w 20000"/>
                  <a:gd name="T51" fmla="*/ 7249 h 20000"/>
                  <a:gd name="T52" fmla="*/ 13833 w 20000"/>
                  <a:gd name="T53" fmla="*/ 7249 h 20000"/>
                  <a:gd name="T54" fmla="*/ 15167 w 20000"/>
                  <a:gd name="T55" fmla="*/ 7249 h 20000"/>
                  <a:gd name="T56" fmla="*/ 16000 w 20000"/>
                  <a:gd name="T57" fmla="*/ 11703 h 20000"/>
                  <a:gd name="T58" fmla="*/ 13000 w 20000"/>
                  <a:gd name="T59" fmla="*/ 15371 h 20000"/>
                  <a:gd name="T60" fmla="*/ 10417 w 20000"/>
                  <a:gd name="T61" fmla="*/ 17642 h 20000"/>
                  <a:gd name="T62" fmla="*/ 7333 w 20000"/>
                  <a:gd name="T63" fmla="*/ 16681 h 20000"/>
                  <a:gd name="T64" fmla="*/ 8167 w 20000"/>
                  <a:gd name="T65" fmla="*/ 15371 h 20000"/>
                  <a:gd name="T66" fmla="*/ 6083 w 20000"/>
                  <a:gd name="T67" fmla="*/ 16681 h 20000"/>
                  <a:gd name="T68" fmla="*/ 6083 w 20000"/>
                  <a:gd name="T69" fmla="*/ 18515 h 20000"/>
                  <a:gd name="T70" fmla="*/ 3917 w 20000"/>
                  <a:gd name="T71" fmla="*/ 1991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3917" y="19913"/>
                    </a:moveTo>
                    <a:lnTo>
                      <a:pt x="2583" y="19039"/>
                    </a:lnTo>
                    <a:lnTo>
                      <a:pt x="3417" y="16332"/>
                    </a:lnTo>
                    <a:lnTo>
                      <a:pt x="2583" y="13100"/>
                    </a:lnTo>
                    <a:lnTo>
                      <a:pt x="1750" y="10830"/>
                    </a:lnTo>
                    <a:lnTo>
                      <a:pt x="0" y="8559"/>
                    </a:lnTo>
                    <a:lnTo>
                      <a:pt x="0" y="4978"/>
                    </a:lnTo>
                    <a:lnTo>
                      <a:pt x="2583" y="3581"/>
                    </a:lnTo>
                    <a:lnTo>
                      <a:pt x="2583" y="7249"/>
                    </a:lnTo>
                    <a:lnTo>
                      <a:pt x="3917" y="8559"/>
                    </a:lnTo>
                    <a:lnTo>
                      <a:pt x="6083" y="6725"/>
                    </a:lnTo>
                    <a:lnTo>
                      <a:pt x="7333" y="4454"/>
                    </a:lnTo>
                    <a:lnTo>
                      <a:pt x="9500" y="4454"/>
                    </a:lnTo>
                    <a:lnTo>
                      <a:pt x="9500" y="3144"/>
                    </a:lnTo>
                    <a:lnTo>
                      <a:pt x="7333" y="1397"/>
                    </a:lnTo>
                    <a:lnTo>
                      <a:pt x="9500" y="0"/>
                    </a:lnTo>
                    <a:lnTo>
                      <a:pt x="11750" y="0"/>
                    </a:lnTo>
                    <a:lnTo>
                      <a:pt x="13833" y="2271"/>
                    </a:lnTo>
                    <a:lnTo>
                      <a:pt x="18167" y="1397"/>
                    </a:lnTo>
                    <a:lnTo>
                      <a:pt x="19917" y="3144"/>
                    </a:lnTo>
                    <a:lnTo>
                      <a:pt x="18583" y="3581"/>
                    </a:lnTo>
                    <a:lnTo>
                      <a:pt x="16500" y="3581"/>
                    </a:lnTo>
                    <a:lnTo>
                      <a:pt x="17333" y="4454"/>
                    </a:lnTo>
                    <a:lnTo>
                      <a:pt x="16000" y="4454"/>
                    </a:lnTo>
                    <a:lnTo>
                      <a:pt x="12583" y="5852"/>
                    </a:lnTo>
                    <a:lnTo>
                      <a:pt x="12583" y="7249"/>
                    </a:lnTo>
                    <a:lnTo>
                      <a:pt x="13833" y="7249"/>
                    </a:lnTo>
                    <a:lnTo>
                      <a:pt x="15167" y="7249"/>
                    </a:lnTo>
                    <a:lnTo>
                      <a:pt x="16000" y="11703"/>
                    </a:lnTo>
                    <a:lnTo>
                      <a:pt x="13000" y="15371"/>
                    </a:lnTo>
                    <a:lnTo>
                      <a:pt x="10417" y="17642"/>
                    </a:lnTo>
                    <a:lnTo>
                      <a:pt x="7333" y="16681"/>
                    </a:lnTo>
                    <a:lnTo>
                      <a:pt x="8167" y="15371"/>
                    </a:lnTo>
                    <a:lnTo>
                      <a:pt x="6083" y="16681"/>
                    </a:lnTo>
                    <a:lnTo>
                      <a:pt x="6083" y="18515"/>
                    </a:lnTo>
                    <a:lnTo>
                      <a:pt x="3917" y="1991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79" name="Freeform 57"/>
              <p:cNvSpPr>
                <a:spLocks/>
              </p:cNvSpPr>
              <p:nvPr/>
            </p:nvSpPr>
            <p:spPr bwMode="auto">
              <a:xfrm>
                <a:off x="2930525" y="2062163"/>
                <a:ext cx="174625" cy="138112"/>
              </a:xfrm>
              <a:custGeom>
                <a:avLst/>
                <a:gdLst>
                  <a:gd name="T0" fmla="*/ 17673 w 20000"/>
                  <a:gd name="T1" fmla="*/ 19908 h 20000"/>
                  <a:gd name="T2" fmla="*/ 13527 w 20000"/>
                  <a:gd name="T3" fmla="*/ 17982 h 20000"/>
                  <a:gd name="T4" fmla="*/ 13527 w 20000"/>
                  <a:gd name="T5" fmla="*/ 14220 h 20000"/>
                  <a:gd name="T6" fmla="*/ 11636 w 20000"/>
                  <a:gd name="T7" fmla="*/ 14679 h 20000"/>
                  <a:gd name="T8" fmla="*/ 8582 w 20000"/>
                  <a:gd name="T9" fmla="*/ 17982 h 20000"/>
                  <a:gd name="T10" fmla="*/ 5964 w 20000"/>
                  <a:gd name="T11" fmla="*/ 19908 h 20000"/>
                  <a:gd name="T12" fmla="*/ 3709 w 20000"/>
                  <a:gd name="T13" fmla="*/ 19908 h 20000"/>
                  <a:gd name="T14" fmla="*/ 2982 w 20000"/>
                  <a:gd name="T15" fmla="*/ 18440 h 20000"/>
                  <a:gd name="T16" fmla="*/ 0 w 20000"/>
                  <a:gd name="T17" fmla="*/ 18440 h 20000"/>
                  <a:gd name="T18" fmla="*/ 727 w 20000"/>
                  <a:gd name="T19" fmla="*/ 17064 h 20000"/>
                  <a:gd name="T20" fmla="*/ 3709 w 20000"/>
                  <a:gd name="T21" fmla="*/ 14679 h 20000"/>
                  <a:gd name="T22" fmla="*/ 5964 w 20000"/>
                  <a:gd name="T23" fmla="*/ 7064 h 20000"/>
                  <a:gd name="T24" fmla="*/ 8582 w 20000"/>
                  <a:gd name="T25" fmla="*/ 3303 h 20000"/>
                  <a:gd name="T26" fmla="*/ 10836 w 20000"/>
                  <a:gd name="T27" fmla="*/ 0 h 20000"/>
                  <a:gd name="T28" fmla="*/ 10836 w 20000"/>
                  <a:gd name="T29" fmla="*/ 4679 h 20000"/>
                  <a:gd name="T30" fmla="*/ 12800 w 20000"/>
                  <a:gd name="T31" fmla="*/ 4220 h 20000"/>
                  <a:gd name="T32" fmla="*/ 16509 w 20000"/>
                  <a:gd name="T33" fmla="*/ 9908 h 20000"/>
                  <a:gd name="T34" fmla="*/ 16945 w 20000"/>
                  <a:gd name="T35" fmla="*/ 14679 h 20000"/>
                  <a:gd name="T36" fmla="*/ 19491 w 20000"/>
                  <a:gd name="T37" fmla="*/ 16147 h 20000"/>
                  <a:gd name="T38" fmla="*/ 19927 w 20000"/>
                  <a:gd name="T39" fmla="*/ 18440 h 20000"/>
                  <a:gd name="T40" fmla="*/ 17673 w 20000"/>
                  <a:gd name="T41" fmla="*/ 199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17673" y="19908"/>
                    </a:moveTo>
                    <a:lnTo>
                      <a:pt x="13527" y="17982"/>
                    </a:lnTo>
                    <a:lnTo>
                      <a:pt x="13527" y="14220"/>
                    </a:lnTo>
                    <a:lnTo>
                      <a:pt x="11636" y="14679"/>
                    </a:lnTo>
                    <a:lnTo>
                      <a:pt x="8582" y="17982"/>
                    </a:lnTo>
                    <a:lnTo>
                      <a:pt x="5964" y="19908"/>
                    </a:lnTo>
                    <a:lnTo>
                      <a:pt x="3709" y="19908"/>
                    </a:lnTo>
                    <a:lnTo>
                      <a:pt x="2982" y="18440"/>
                    </a:lnTo>
                    <a:lnTo>
                      <a:pt x="0" y="18440"/>
                    </a:lnTo>
                    <a:lnTo>
                      <a:pt x="727" y="17064"/>
                    </a:lnTo>
                    <a:lnTo>
                      <a:pt x="3709" y="14679"/>
                    </a:lnTo>
                    <a:lnTo>
                      <a:pt x="5964" y="7064"/>
                    </a:lnTo>
                    <a:lnTo>
                      <a:pt x="8582" y="3303"/>
                    </a:lnTo>
                    <a:lnTo>
                      <a:pt x="10836" y="0"/>
                    </a:lnTo>
                    <a:lnTo>
                      <a:pt x="10836" y="4679"/>
                    </a:lnTo>
                    <a:lnTo>
                      <a:pt x="12800" y="4220"/>
                    </a:lnTo>
                    <a:lnTo>
                      <a:pt x="16509" y="9908"/>
                    </a:lnTo>
                    <a:lnTo>
                      <a:pt x="16945" y="14679"/>
                    </a:lnTo>
                    <a:lnTo>
                      <a:pt x="19491" y="16147"/>
                    </a:lnTo>
                    <a:lnTo>
                      <a:pt x="19927" y="18440"/>
                    </a:lnTo>
                    <a:lnTo>
                      <a:pt x="17673" y="199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0" name="Freeform 56"/>
              <p:cNvSpPr>
                <a:spLocks/>
              </p:cNvSpPr>
              <p:nvPr/>
            </p:nvSpPr>
            <p:spPr bwMode="auto">
              <a:xfrm>
                <a:off x="2954338" y="1428750"/>
                <a:ext cx="125412" cy="125413"/>
              </a:xfrm>
              <a:custGeom>
                <a:avLst/>
                <a:gdLst>
                  <a:gd name="T0" fmla="*/ 11010 w 20000"/>
                  <a:gd name="T1" fmla="*/ 19898 h 20000"/>
                  <a:gd name="T2" fmla="*/ 4141 w 20000"/>
                  <a:gd name="T3" fmla="*/ 19391 h 20000"/>
                  <a:gd name="T4" fmla="*/ 8889 w 20000"/>
                  <a:gd name="T5" fmla="*/ 13096 h 20000"/>
                  <a:gd name="T6" fmla="*/ 606 w 20000"/>
                  <a:gd name="T7" fmla="*/ 12589 h 20000"/>
                  <a:gd name="T8" fmla="*/ 0 w 20000"/>
                  <a:gd name="T9" fmla="*/ 9949 h 20000"/>
                  <a:gd name="T10" fmla="*/ 606 w 20000"/>
                  <a:gd name="T11" fmla="*/ 4772 h 20000"/>
                  <a:gd name="T12" fmla="*/ 2121 w 20000"/>
                  <a:gd name="T13" fmla="*/ 0 h 20000"/>
                  <a:gd name="T14" fmla="*/ 4141 w 20000"/>
                  <a:gd name="T15" fmla="*/ 1624 h 20000"/>
                  <a:gd name="T16" fmla="*/ 4747 w 20000"/>
                  <a:gd name="T17" fmla="*/ 4772 h 20000"/>
                  <a:gd name="T18" fmla="*/ 6263 w 20000"/>
                  <a:gd name="T19" fmla="*/ 10964 h 20000"/>
                  <a:gd name="T20" fmla="*/ 8889 w 20000"/>
                  <a:gd name="T21" fmla="*/ 4772 h 20000"/>
                  <a:gd name="T22" fmla="*/ 11010 w 20000"/>
                  <a:gd name="T23" fmla="*/ 10964 h 20000"/>
                  <a:gd name="T24" fmla="*/ 11414 w 20000"/>
                  <a:gd name="T25" fmla="*/ 4772 h 20000"/>
                  <a:gd name="T26" fmla="*/ 15152 w 20000"/>
                  <a:gd name="T27" fmla="*/ 4772 h 20000"/>
                  <a:gd name="T28" fmla="*/ 19899 w 20000"/>
                  <a:gd name="T29" fmla="*/ 6193 h 20000"/>
                  <a:gd name="T30" fmla="*/ 19293 w 20000"/>
                  <a:gd name="T31" fmla="*/ 11574 h 20000"/>
                  <a:gd name="T32" fmla="*/ 15657 w 20000"/>
                  <a:gd name="T33" fmla="*/ 16751 h 20000"/>
                  <a:gd name="T34" fmla="*/ 11010 w 20000"/>
                  <a:gd name="T35" fmla="*/ 198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11010" y="19898"/>
                    </a:moveTo>
                    <a:lnTo>
                      <a:pt x="4141" y="19391"/>
                    </a:lnTo>
                    <a:lnTo>
                      <a:pt x="8889" y="13096"/>
                    </a:lnTo>
                    <a:lnTo>
                      <a:pt x="606" y="12589"/>
                    </a:lnTo>
                    <a:lnTo>
                      <a:pt x="0" y="9949"/>
                    </a:lnTo>
                    <a:lnTo>
                      <a:pt x="606" y="4772"/>
                    </a:lnTo>
                    <a:lnTo>
                      <a:pt x="2121" y="0"/>
                    </a:lnTo>
                    <a:lnTo>
                      <a:pt x="4141" y="1624"/>
                    </a:lnTo>
                    <a:lnTo>
                      <a:pt x="4747" y="4772"/>
                    </a:lnTo>
                    <a:lnTo>
                      <a:pt x="6263" y="10964"/>
                    </a:lnTo>
                    <a:lnTo>
                      <a:pt x="8889" y="4772"/>
                    </a:lnTo>
                    <a:lnTo>
                      <a:pt x="11010" y="10964"/>
                    </a:lnTo>
                    <a:lnTo>
                      <a:pt x="11414" y="4772"/>
                    </a:lnTo>
                    <a:lnTo>
                      <a:pt x="15152" y="4772"/>
                    </a:lnTo>
                    <a:lnTo>
                      <a:pt x="19899" y="6193"/>
                    </a:lnTo>
                    <a:lnTo>
                      <a:pt x="19293" y="11574"/>
                    </a:lnTo>
                    <a:lnTo>
                      <a:pt x="15657" y="16751"/>
                    </a:lnTo>
                    <a:lnTo>
                      <a:pt x="11010" y="1989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1" name="Freeform 55"/>
              <p:cNvSpPr>
                <a:spLocks/>
              </p:cNvSpPr>
              <p:nvPr/>
            </p:nvSpPr>
            <p:spPr bwMode="auto">
              <a:xfrm>
                <a:off x="2592388" y="1300163"/>
                <a:ext cx="207962" cy="85725"/>
              </a:xfrm>
              <a:custGeom>
                <a:avLst/>
                <a:gdLst>
                  <a:gd name="T0" fmla="*/ 2866 w 20000"/>
                  <a:gd name="T1" fmla="*/ 19852 h 20000"/>
                  <a:gd name="T2" fmla="*/ 4451 w 20000"/>
                  <a:gd name="T3" fmla="*/ 12296 h 20000"/>
                  <a:gd name="T4" fmla="*/ 1890 w 20000"/>
                  <a:gd name="T5" fmla="*/ 16000 h 20000"/>
                  <a:gd name="T6" fmla="*/ 0 w 20000"/>
                  <a:gd name="T7" fmla="*/ 14519 h 20000"/>
                  <a:gd name="T8" fmla="*/ 366 w 20000"/>
                  <a:gd name="T9" fmla="*/ 9926 h 20000"/>
                  <a:gd name="T10" fmla="*/ 4085 w 20000"/>
                  <a:gd name="T11" fmla="*/ 8444 h 20000"/>
                  <a:gd name="T12" fmla="*/ 6646 w 20000"/>
                  <a:gd name="T13" fmla="*/ 6074 h 20000"/>
                  <a:gd name="T14" fmla="*/ 10732 w 20000"/>
                  <a:gd name="T15" fmla="*/ 2370 h 20000"/>
                  <a:gd name="T16" fmla="*/ 14207 w 20000"/>
                  <a:gd name="T17" fmla="*/ 0 h 20000"/>
                  <a:gd name="T18" fmla="*/ 17439 w 20000"/>
                  <a:gd name="T19" fmla="*/ 2370 h 20000"/>
                  <a:gd name="T20" fmla="*/ 17439 w 20000"/>
                  <a:gd name="T21" fmla="*/ 0 h 20000"/>
                  <a:gd name="T22" fmla="*/ 18659 w 20000"/>
                  <a:gd name="T23" fmla="*/ 593 h 20000"/>
                  <a:gd name="T24" fmla="*/ 19939 w 20000"/>
                  <a:gd name="T25" fmla="*/ 4593 h 20000"/>
                  <a:gd name="T26" fmla="*/ 17439 w 20000"/>
                  <a:gd name="T27" fmla="*/ 6815 h 20000"/>
                  <a:gd name="T28" fmla="*/ 16707 w 20000"/>
                  <a:gd name="T29" fmla="*/ 10815 h 20000"/>
                  <a:gd name="T30" fmla="*/ 15793 w 20000"/>
                  <a:gd name="T31" fmla="*/ 10815 h 20000"/>
                  <a:gd name="T32" fmla="*/ 15793 w 20000"/>
                  <a:gd name="T33" fmla="*/ 13778 h 20000"/>
                  <a:gd name="T34" fmla="*/ 12683 w 20000"/>
                  <a:gd name="T35" fmla="*/ 14519 h 20000"/>
                  <a:gd name="T36" fmla="*/ 11707 w 20000"/>
                  <a:gd name="T37" fmla="*/ 16889 h 20000"/>
                  <a:gd name="T38" fmla="*/ 10122 w 20000"/>
                  <a:gd name="T39" fmla="*/ 14519 h 20000"/>
                  <a:gd name="T40" fmla="*/ 12683 w 20000"/>
                  <a:gd name="T41" fmla="*/ 6815 h 20000"/>
                  <a:gd name="T42" fmla="*/ 9207 w 20000"/>
                  <a:gd name="T43" fmla="*/ 10815 h 20000"/>
                  <a:gd name="T44" fmla="*/ 8476 w 20000"/>
                  <a:gd name="T45" fmla="*/ 13778 h 20000"/>
                  <a:gd name="T46" fmla="*/ 6951 w 20000"/>
                  <a:gd name="T47" fmla="*/ 16000 h 20000"/>
                  <a:gd name="T48" fmla="*/ 7622 w 20000"/>
                  <a:gd name="T49" fmla="*/ 13778 h 20000"/>
                  <a:gd name="T50" fmla="*/ 5061 w 20000"/>
                  <a:gd name="T51" fmla="*/ 16889 h 20000"/>
                  <a:gd name="T52" fmla="*/ 2866 w 20000"/>
                  <a:gd name="T53" fmla="*/ 198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2866" y="19852"/>
                    </a:moveTo>
                    <a:lnTo>
                      <a:pt x="4451" y="12296"/>
                    </a:lnTo>
                    <a:lnTo>
                      <a:pt x="1890" y="16000"/>
                    </a:lnTo>
                    <a:lnTo>
                      <a:pt x="0" y="14519"/>
                    </a:lnTo>
                    <a:lnTo>
                      <a:pt x="366" y="9926"/>
                    </a:lnTo>
                    <a:lnTo>
                      <a:pt x="4085" y="8444"/>
                    </a:lnTo>
                    <a:lnTo>
                      <a:pt x="6646" y="6074"/>
                    </a:lnTo>
                    <a:lnTo>
                      <a:pt x="10732" y="2370"/>
                    </a:lnTo>
                    <a:lnTo>
                      <a:pt x="14207" y="0"/>
                    </a:lnTo>
                    <a:lnTo>
                      <a:pt x="17439" y="2370"/>
                    </a:lnTo>
                    <a:lnTo>
                      <a:pt x="17439" y="0"/>
                    </a:lnTo>
                    <a:lnTo>
                      <a:pt x="18659" y="593"/>
                    </a:lnTo>
                    <a:lnTo>
                      <a:pt x="19939" y="4593"/>
                    </a:lnTo>
                    <a:lnTo>
                      <a:pt x="17439" y="6815"/>
                    </a:lnTo>
                    <a:lnTo>
                      <a:pt x="16707" y="10815"/>
                    </a:lnTo>
                    <a:lnTo>
                      <a:pt x="15793" y="10815"/>
                    </a:lnTo>
                    <a:lnTo>
                      <a:pt x="15793" y="13778"/>
                    </a:lnTo>
                    <a:lnTo>
                      <a:pt x="12683" y="14519"/>
                    </a:lnTo>
                    <a:lnTo>
                      <a:pt x="11707" y="16889"/>
                    </a:lnTo>
                    <a:lnTo>
                      <a:pt x="10122" y="14519"/>
                    </a:lnTo>
                    <a:lnTo>
                      <a:pt x="12683" y="6815"/>
                    </a:lnTo>
                    <a:lnTo>
                      <a:pt x="9207" y="10815"/>
                    </a:lnTo>
                    <a:lnTo>
                      <a:pt x="8476" y="13778"/>
                    </a:lnTo>
                    <a:lnTo>
                      <a:pt x="6951" y="16000"/>
                    </a:lnTo>
                    <a:lnTo>
                      <a:pt x="7622" y="13778"/>
                    </a:lnTo>
                    <a:lnTo>
                      <a:pt x="5061" y="16889"/>
                    </a:lnTo>
                    <a:lnTo>
                      <a:pt x="2866" y="1985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2" name="Freeform 54"/>
              <p:cNvSpPr>
                <a:spLocks/>
              </p:cNvSpPr>
              <p:nvPr/>
            </p:nvSpPr>
            <p:spPr bwMode="auto">
              <a:xfrm>
                <a:off x="2973388" y="1635125"/>
                <a:ext cx="165100" cy="98425"/>
              </a:xfrm>
              <a:custGeom>
                <a:avLst/>
                <a:gdLst>
                  <a:gd name="T0" fmla="*/ 2385 w 20000"/>
                  <a:gd name="T1" fmla="*/ 19872 h 20000"/>
                  <a:gd name="T2" fmla="*/ 0 w 20000"/>
                  <a:gd name="T3" fmla="*/ 17949 h 20000"/>
                  <a:gd name="T4" fmla="*/ 1231 w 20000"/>
                  <a:gd name="T5" fmla="*/ 12564 h 20000"/>
                  <a:gd name="T6" fmla="*/ 3923 w 20000"/>
                  <a:gd name="T7" fmla="*/ 5256 h 20000"/>
                  <a:gd name="T8" fmla="*/ 7538 w 20000"/>
                  <a:gd name="T9" fmla="*/ 0 h 20000"/>
                  <a:gd name="T10" fmla="*/ 13538 w 20000"/>
                  <a:gd name="T11" fmla="*/ 0 h 20000"/>
                  <a:gd name="T12" fmla="*/ 19923 w 20000"/>
                  <a:gd name="T13" fmla="*/ 5256 h 20000"/>
                  <a:gd name="T14" fmla="*/ 14769 w 20000"/>
                  <a:gd name="T15" fmla="*/ 9231 h 20000"/>
                  <a:gd name="T16" fmla="*/ 10385 w 20000"/>
                  <a:gd name="T17" fmla="*/ 16026 h 20000"/>
                  <a:gd name="T18" fmla="*/ 3923 w 20000"/>
                  <a:gd name="T19" fmla="*/ 10513 h 20000"/>
                  <a:gd name="T20" fmla="*/ 3154 w 20000"/>
                  <a:gd name="T21" fmla="*/ 13974 h 20000"/>
                  <a:gd name="T22" fmla="*/ 6385 w 20000"/>
                  <a:gd name="T23" fmla="*/ 14615 h 20000"/>
                  <a:gd name="T24" fmla="*/ 2385 w 20000"/>
                  <a:gd name="T25" fmla="*/ 198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2385" y="19872"/>
                    </a:moveTo>
                    <a:lnTo>
                      <a:pt x="0" y="17949"/>
                    </a:lnTo>
                    <a:lnTo>
                      <a:pt x="1231" y="12564"/>
                    </a:lnTo>
                    <a:lnTo>
                      <a:pt x="3923" y="5256"/>
                    </a:lnTo>
                    <a:lnTo>
                      <a:pt x="7538" y="0"/>
                    </a:lnTo>
                    <a:lnTo>
                      <a:pt x="13538" y="0"/>
                    </a:lnTo>
                    <a:lnTo>
                      <a:pt x="19923" y="5256"/>
                    </a:lnTo>
                    <a:lnTo>
                      <a:pt x="14769" y="9231"/>
                    </a:lnTo>
                    <a:lnTo>
                      <a:pt x="10385" y="16026"/>
                    </a:lnTo>
                    <a:lnTo>
                      <a:pt x="3923" y="10513"/>
                    </a:lnTo>
                    <a:lnTo>
                      <a:pt x="3154" y="13974"/>
                    </a:lnTo>
                    <a:lnTo>
                      <a:pt x="6385" y="14615"/>
                    </a:lnTo>
                    <a:lnTo>
                      <a:pt x="2385" y="1987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3" name="Freeform 53"/>
              <p:cNvSpPr>
                <a:spLocks/>
              </p:cNvSpPr>
              <p:nvPr/>
            </p:nvSpPr>
            <p:spPr bwMode="auto">
              <a:xfrm>
                <a:off x="1665288" y="2636838"/>
                <a:ext cx="98425" cy="122237"/>
              </a:xfrm>
              <a:custGeom>
                <a:avLst/>
                <a:gdLst>
                  <a:gd name="T0" fmla="*/ 19872 w 20000"/>
                  <a:gd name="T1" fmla="*/ 19896 h 20000"/>
                  <a:gd name="T2" fmla="*/ 13333 w 20000"/>
                  <a:gd name="T3" fmla="*/ 18238 h 20000"/>
                  <a:gd name="T4" fmla="*/ 10000 w 20000"/>
                  <a:gd name="T5" fmla="*/ 14404 h 20000"/>
                  <a:gd name="T6" fmla="*/ 6026 w 20000"/>
                  <a:gd name="T7" fmla="*/ 12332 h 20000"/>
                  <a:gd name="T8" fmla="*/ 0 w 20000"/>
                  <a:gd name="T9" fmla="*/ 5907 h 20000"/>
                  <a:gd name="T10" fmla="*/ 0 w 20000"/>
                  <a:gd name="T11" fmla="*/ 1036 h 20000"/>
                  <a:gd name="T12" fmla="*/ 2692 w 20000"/>
                  <a:gd name="T13" fmla="*/ 0 h 20000"/>
                  <a:gd name="T14" fmla="*/ 13333 w 20000"/>
                  <a:gd name="T15" fmla="*/ 5285 h 20000"/>
                  <a:gd name="T16" fmla="*/ 13974 w 20000"/>
                  <a:gd name="T17" fmla="*/ 10155 h 20000"/>
                  <a:gd name="T18" fmla="*/ 16538 w 20000"/>
                  <a:gd name="T19" fmla="*/ 13990 h 20000"/>
                  <a:gd name="T20" fmla="*/ 19872 w 20000"/>
                  <a:gd name="T21" fmla="*/ 1989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9872" y="19896"/>
                    </a:moveTo>
                    <a:lnTo>
                      <a:pt x="13333" y="18238"/>
                    </a:lnTo>
                    <a:lnTo>
                      <a:pt x="10000" y="14404"/>
                    </a:lnTo>
                    <a:lnTo>
                      <a:pt x="6026" y="12332"/>
                    </a:lnTo>
                    <a:lnTo>
                      <a:pt x="0" y="5907"/>
                    </a:lnTo>
                    <a:lnTo>
                      <a:pt x="0" y="1036"/>
                    </a:lnTo>
                    <a:lnTo>
                      <a:pt x="2692" y="0"/>
                    </a:lnTo>
                    <a:lnTo>
                      <a:pt x="13333" y="5285"/>
                    </a:lnTo>
                    <a:lnTo>
                      <a:pt x="13974" y="10155"/>
                    </a:lnTo>
                    <a:lnTo>
                      <a:pt x="16538" y="13990"/>
                    </a:lnTo>
                    <a:lnTo>
                      <a:pt x="19872" y="1989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4" name="Freeform 52"/>
              <p:cNvSpPr>
                <a:spLocks/>
              </p:cNvSpPr>
              <p:nvPr/>
            </p:nvSpPr>
            <p:spPr bwMode="auto">
              <a:xfrm>
                <a:off x="2852738" y="1292225"/>
                <a:ext cx="96837" cy="53975"/>
              </a:xfrm>
              <a:custGeom>
                <a:avLst/>
                <a:gdLst>
                  <a:gd name="T0" fmla="*/ 7500 w 20000"/>
                  <a:gd name="T1" fmla="*/ 19765 h 20000"/>
                  <a:gd name="T2" fmla="*/ 0 w 20000"/>
                  <a:gd name="T3" fmla="*/ 19765 h 20000"/>
                  <a:gd name="T4" fmla="*/ 0 w 20000"/>
                  <a:gd name="T5" fmla="*/ 13412 h 20000"/>
                  <a:gd name="T6" fmla="*/ 789 w 20000"/>
                  <a:gd name="T7" fmla="*/ 8706 h 20000"/>
                  <a:gd name="T8" fmla="*/ 5395 w 20000"/>
                  <a:gd name="T9" fmla="*/ 0 h 20000"/>
                  <a:gd name="T10" fmla="*/ 12368 w 20000"/>
                  <a:gd name="T11" fmla="*/ 0 h 20000"/>
                  <a:gd name="T12" fmla="*/ 19868 w 20000"/>
                  <a:gd name="T13" fmla="*/ 6353 h 20000"/>
                  <a:gd name="T14" fmla="*/ 17763 w 20000"/>
                  <a:gd name="T15" fmla="*/ 10118 h 20000"/>
                  <a:gd name="T16" fmla="*/ 12895 w 20000"/>
                  <a:gd name="T17" fmla="*/ 8706 h 20000"/>
                  <a:gd name="T18" fmla="*/ 12895 w 20000"/>
                  <a:gd name="T19" fmla="*/ 12471 h 20000"/>
                  <a:gd name="T20" fmla="*/ 14474 w 20000"/>
                  <a:gd name="T21" fmla="*/ 13412 h 20000"/>
                  <a:gd name="T22" fmla="*/ 12895 w 20000"/>
                  <a:gd name="T23" fmla="*/ 18353 h 20000"/>
                  <a:gd name="T24" fmla="*/ 7500 w 20000"/>
                  <a:gd name="T25" fmla="*/ 19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7500" y="19765"/>
                    </a:moveTo>
                    <a:lnTo>
                      <a:pt x="0" y="19765"/>
                    </a:lnTo>
                    <a:lnTo>
                      <a:pt x="0" y="13412"/>
                    </a:lnTo>
                    <a:lnTo>
                      <a:pt x="789" y="8706"/>
                    </a:lnTo>
                    <a:lnTo>
                      <a:pt x="5395" y="0"/>
                    </a:lnTo>
                    <a:lnTo>
                      <a:pt x="12368" y="0"/>
                    </a:lnTo>
                    <a:lnTo>
                      <a:pt x="19868" y="6353"/>
                    </a:lnTo>
                    <a:lnTo>
                      <a:pt x="17763" y="10118"/>
                    </a:lnTo>
                    <a:lnTo>
                      <a:pt x="12895" y="8706"/>
                    </a:lnTo>
                    <a:lnTo>
                      <a:pt x="12895" y="12471"/>
                    </a:lnTo>
                    <a:lnTo>
                      <a:pt x="14474" y="13412"/>
                    </a:lnTo>
                    <a:lnTo>
                      <a:pt x="12895" y="18353"/>
                    </a:lnTo>
                    <a:lnTo>
                      <a:pt x="7500" y="19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5" name="Freeform 51"/>
              <p:cNvSpPr>
                <a:spLocks/>
              </p:cNvSpPr>
              <p:nvPr/>
            </p:nvSpPr>
            <p:spPr bwMode="auto">
              <a:xfrm>
                <a:off x="2782888" y="1819275"/>
                <a:ext cx="85725" cy="69850"/>
              </a:xfrm>
              <a:custGeom>
                <a:avLst/>
                <a:gdLst>
                  <a:gd name="T0" fmla="*/ 16889 w 20000"/>
                  <a:gd name="T1" fmla="*/ 19818 h 20000"/>
                  <a:gd name="T2" fmla="*/ 10815 w 20000"/>
                  <a:gd name="T3" fmla="*/ 19818 h 20000"/>
                  <a:gd name="T4" fmla="*/ 6074 w 20000"/>
                  <a:gd name="T5" fmla="*/ 16909 h 20000"/>
                  <a:gd name="T6" fmla="*/ 0 w 20000"/>
                  <a:gd name="T7" fmla="*/ 10364 h 20000"/>
                  <a:gd name="T8" fmla="*/ 4444 w 20000"/>
                  <a:gd name="T9" fmla="*/ 9455 h 20000"/>
                  <a:gd name="T10" fmla="*/ 8444 w 20000"/>
                  <a:gd name="T11" fmla="*/ 4727 h 20000"/>
                  <a:gd name="T12" fmla="*/ 14519 w 20000"/>
                  <a:gd name="T13" fmla="*/ 0 h 20000"/>
                  <a:gd name="T14" fmla="*/ 18370 w 20000"/>
                  <a:gd name="T15" fmla="*/ 9455 h 20000"/>
                  <a:gd name="T16" fmla="*/ 19852 w 20000"/>
                  <a:gd name="T17" fmla="*/ 16909 h 20000"/>
                  <a:gd name="T18" fmla="*/ 16889 w 20000"/>
                  <a:gd name="T19" fmla="*/ 198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16889" y="19818"/>
                    </a:moveTo>
                    <a:lnTo>
                      <a:pt x="10815" y="19818"/>
                    </a:lnTo>
                    <a:lnTo>
                      <a:pt x="6074" y="16909"/>
                    </a:lnTo>
                    <a:lnTo>
                      <a:pt x="0" y="10364"/>
                    </a:lnTo>
                    <a:lnTo>
                      <a:pt x="4444" y="9455"/>
                    </a:lnTo>
                    <a:lnTo>
                      <a:pt x="8444" y="4727"/>
                    </a:lnTo>
                    <a:lnTo>
                      <a:pt x="14519" y="0"/>
                    </a:lnTo>
                    <a:lnTo>
                      <a:pt x="18370" y="9455"/>
                    </a:lnTo>
                    <a:lnTo>
                      <a:pt x="19852" y="16909"/>
                    </a:lnTo>
                    <a:lnTo>
                      <a:pt x="16889" y="1981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6" name="Freeform 50"/>
              <p:cNvSpPr>
                <a:spLocks/>
              </p:cNvSpPr>
              <p:nvPr/>
            </p:nvSpPr>
            <p:spPr bwMode="auto">
              <a:xfrm>
                <a:off x="3325813" y="1706563"/>
                <a:ext cx="85725" cy="66675"/>
              </a:xfrm>
              <a:custGeom>
                <a:avLst/>
                <a:gdLst>
                  <a:gd name="T0" fmla="*/ 19853 w 20000"/>
                  <a:gd name="T1" fmla="*/ 19810 h 20000"/>
                  <a:gd name="T2" fmla="*/ 12941 w 20000"/>
                  <a:gd name="T3" fmla="*/ 16000 h 20000"/>
                  <a:gd name="T4" fmla="*/ 8382 w 20000"/>
                  <a:gd name="T5" fmla="*/ 16000 h 20000"/>
                  <a:gd name="T6" fmla="*/ 2353 w 20000"/>
                  <a:gd name="T7" fmla="*/ 16000 h 20000"/>
                  <a:gd name="T8" fmla="*/ 0 w 20000"/>
                  <a:gd name="T9" fmla="*/ 12952 h 20000"/>
                  <a:gd name="T10" fmla="*/ 2353 w 20000"/>
                  <a:gd name="T11" fmla="*/ 7810 h 20000"/>
                  <a:gd name="T12" fmla="*/ 882 w 20000"/>
                  <a:gd name="T13" fmla="*/ 5143 h 20000"/>
                  <a:gd name="T14" fmla="*/ 3824 w 20000"/>
                  <a:gd name="T15" fmla="*/ 0 h 20000"/>
                  <a:gd name="T16" fmla="*/ 6912 w 20000"/>
                  <a:gd name="T17" fmla="*/ 3048 h 20000"/>
                  <a:gd name="T18" fmla="*/ 16765 w 20000"/>
                  <a:gd name="T19" fmla="*/ 7048 h 20000"/>
                  <a:gd name="T20" fmla="*/ 19853 w 20000"/>
                  <a:gd name="T21" fmla="*/ 1981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9853" y="19810"/>
                    </a:moveTo>
                    <a:lnTo>
                      <a:pt x="12941" y="16000"/>
                    </a:lnTo>
                    <a:lnTo>
                      <a:pt x="8382" y="16000"/>
                    </a:lnTo>
                    <a:lnTo>
                      <a:pt x="2353" y="16000"/>
                    </a:lnTo>
                    <a:lnTo>
                      <a:pt x="0" y="12952"/>
                    </a:lnTo>
                    <a:lnTo>
                      <a:pt x="2353" y="7810"/>
                    </a:lnTo>
                    <a:lnTo>
                      <a:pt x="882" y="5143"/>
                    </a:lnTo>
                    <a:lnTo>
                      <a:pt x="3824" y="0"/>
                    </a:lnTo>
                    <a:lnTo>
                      <a:pt x="6912" y="3048"/>
                    </a:lnTo>
                    <a:lnTo>
                      <a:pt x="16765" y="7048"/>
                    </a:lnTo>
                    <a:lnTo>
                      <a:pt x="19853" y="198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7" name="Freeform 49"/>
              <p:cNvSpPr>
                <a:spLocks/>
              </p:cNvSpPr>
              <p:nvPr/>
            </p:nvSpPr>
            <p:spPr bwMode="auto">
              <a:xfrm>
                <a:off x="3049588" y="1536700"/>
                <a:ext cx="73025" cy="60325"/>
              </a:xfrm>
              <a:custGeom>
                <a:avLst/>
                <a:gdLst>
                  <a:gd name="T0" fmla="*/ 12696 w 20000"/>
                  <a:gd name="T1" fmla="*/ 19787 h 20000"/>
                  <a:gd name="T2" fmla="*/ 3478 w 20000"/>
                  <a:gd name="T3" fmla="*/ 16596 h 20000"/>
                  <a:gd name="T4" fmla="*/ 0 w 20000"/>
                  <a:gd name="T5" fmla="*/ 10000 h 20000"/>
                  <a:gd name="T6" fmla="*/ 8174 w 20000"/>
                  <a:gd name="T7" fmla="*/ 4468 h 20000"/>
                  <a:gd name="T8" fmla="*/ 18783 w 20000"/>
                  <a:gd name="T9" fmla="*/ 0 h 20000"/>
                  <a:gd name="T10" fmla="*/ 19826 w 20000"/>
                  <a:gd name="T11" fmla="*/ 4468 h 20000"/>
                  <a:gd name="T12" fmla="*/ 19826 w 20000"/>
                  <a:gd name="T13" fmla="*/ 10000 h 20000"/>
                  <a:gd name="T14" fmla="*/ 12696 w 20000"/>
                  <a:gd name="T15" fmla="*/ 19787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2696" y="19787"/>
                    </a:moveTo>
                    <a:lnTo>
                      <a:pt x="3478" y="16596"/>
                    </a:lnTo>
                    <a:lnTo>
                      <a:pt x="0" y="10000"/>
                    </a:lnTo>
                    <a:lnTo>
                      <a:pt x="8174" y="4468"/>
                    </a:lnTo>
                    <a:lnTo>
                      <a:pt x="18783" y="0"/>
                    </a:lnTo>
                    <a:lnTo>
                      <a:pt x="19826" y="4468"/>
                    </a:lnTo>
                    <a:lnTo>
                      <a:pt x="19826" y="10000"/>
                    </a:lnTo>
                    <a:lnTo>
                      <a:pt x="12696" y="197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8" name="Freeform 48"/>
              <p:cNvSpPr>
                <a:spLocks/>
              </p:cNvSpPr>
              <p:nvPr/>
            </p:nvSpPr>
            <p:spPr bwMode="auto">
              <a:xfrm>
                <a:off x="3243263" y="1990725"/>
                <a:ext cx="66675" cy="42863"/>
              </a:xfrm>
              <a:custGeom>
                <a:avLst/>
                <a:gdLst>
                  <a:gd name="T0" fmla="*/ 8952 w 20000"/>
                  <a:gd name="T1" fmla="*/ 19706 h 20000"/>
                  <a:gd name="T2" fmla="*/ 0 w 20000"/>
                  <a:gd name="T3" fmla="*/ 16765 h 20000"/>
                  <a:gd name="T4" fmla="*/ 1905 w 20000"/>
                  <a:gd name="T5" fmla="*/ 8824 h 20000"/>
                  <a:gd name="T6" fmla="*/ 6857 w 20000"/>
                  <a:gd name="T7" fmla="*/ 1176 h 20000"/>
                  <a:gd name="T8" fmla="*/ 14857 w 20000"/>
                  <a:gd name="T9" fmla="*/ 0 h 20000"/>
                  <a:gd name="T10" fmla="*/ 19810 w 20000"/>
                  <a:gd name="T11" fmla="*/ 4118 h 20000"/>
                  <a:gd name="T12" fmla="*/ 16762 w 20000"/>
                  <a:gd name="T13" fmla="*/ 16765 h 20000"/>
                  <a:gd name="T14" fmla="*/ 8952 w 20000"/>
                  <a:gd name="T15" fmla="*/ 19706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8952" y="19706"/>
                    </a:moveTo>
                    <a:lnTo>
                      <a:pt x="0" y="16765"/>
                    </a:lnTo>
                    <a:lnTo>
                      <a:pt x="1905" y="8824"/>
                    </a:lnTo>
                    <a:lnTo>
                      <a:pt x="6857" y="1176"/>
                    </a:lnTo>
                    <a:lnTo>
                      <a:pt x="14857" y="0"/>
                    </a:lnTo>
                    <a:lnTo>
                      <a:pt x="19810" y="4118"/>
                    </a:lnTo>
                    <a:lnTo>
                      <a:pt x="16762" y="16765"/>
                    </a:lnTo>
                    <a:lnTo>
                      <a:pt x="8952"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89" name="Freeform 47"/>
              <p:cNvSpPr>
                <a:spLocks/>
              </p:cNvSpPr>
              <p:nvPr/>
            </p:nvSpPr>
            <p:spPr bwMode="auto">
              <a:xfrm>
                <a:off x="2776538" y="1579563"/>
                <a:ext cx="53975" cy="57150"/>
              </a:xfrm>
              <a:custGeom>
                <a:avLst/>
                <a:gdLst>
                  <a:gd name="T0" fmla="*/ 6118 w 20000"/>
                  <a:gd name="T1" fmla="*/ 19775 h 20000"/>
                  <a:gd name="T2" fmla="*/ 3765 w 20000"/>
                  <a:gd name="T3" fmla="*/ 8315 h 20000"/>
                  <a:gd name="T4" fmla="*/ 0 w 20000"/>
                  <a:gd name="T5" fmla="*/ 4719 h 20000"/>
                  <a:gd name="T6" fmla="*/ 8706 w 20000"/>
                  <a:gd name="T7" fmla="*/ 0 h 20000"/>
                  <a:gd name="T8" fmla="*/ 16000 w 20000"/>
                  <a:gd name="T9" fmla="*/ 2472 h 20000"/>
                  <a:gd name="T10" fmla="*/ 19765 w 20000"/>
                  <a:gd name="T11" fmla="*/ 8315 h 20000"/>
                  <a:gd name="T12" fmla="*/ 18353 w 20000"/>
                  <a:gd name="T13" fmla="*/ 13933 h 20000"/>
                  <a:gd name="T14" fmla="*/ 12471 w 20000"/>
                  <a:gd name="T15" fmla="*/ 17528 h 20000"/>
                  <a:gd name="T16" fmla="*/ 6118 w 20000"/>
                  <a:gd name="T17" fmla="*/ 197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6118" y="19775"/>
                    </a:moveTo>
                    <a:lnTo>
                      <a:pt x="3765" y="8315"/>
                    </a:lnTo>
                    <a:lnTo>
                      <a:pt x="0" y="4719"/>
                    </a:lnTo>
                    <a:lnTo>
                      <a:pt x="8706" y="0"/>
                    </a:lnTo>
                    <a:lnTo>
                      <a:pt x="16000" y="2472"/>
                    </a:lnTo>
                    <a:lnTo>
                      <a:pt x="19765" y="8315"/>
                    </a:lnTo>
                    <a:lnTo>
                      <a:pt x="18353" y="13933"/>
                    </a:lnTo>
                    <a:lnTo>
                      <a:pt x="12471" y="17528"/>
                    </a:lnTo>
                    <a:lnTo>
                      <a:pt x="6118" y="197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0" name="Freeform 46"/>
              <p:cNvSpPr>
                <a:spLocks/>
              </p:cNvSpPr>
              <p:nvPr/>
            </p:nvSpPr>
            <p:spPr bwMode="auto">
              <a:xfrm>
                <a:off x="2898775" y="1260475"/>
                <a:ext cx="82550" cy="33338"/>
              </a:xfrm>
              <a:custGeom>
                <a:avLst/>
                <a:gdLst>
                  <a:gd name="T0" fmla="*/ 14308 w 20000"/>
                  <a:gd name="T1" fmla="*/ 19615 h 20000"/>
                  <a:gd name="T2" fmla="*/ 6308 w 20000"/>
                  <a:gd name="T3" fmla="*/ 13462 h 20000"/>
                  <a:gd name="T4" fmla="*/ 0 w 20000"/>
                  <a:gd name="T5" fmla="*/ 8077 h 20000"/>
                  <a:gd name="T6" fmla="*/ 8000 w 20000"/>
                  <a:gd name="T7" fmla="*/ 0 h 20000"/>
                  <a:gd name="T8" fmla="*/ 19846 w 20000"/>
                  <a:gd name="T9" fmla="*/ 0 h 20000"/>
                  <a:gd name="T10" fmla="*/ 19846 w 20000"/>
                  <a:gd name="T11" fmla="*/ 13462 h 20000"/>
                  <a:gd name="T12" fmla="*/ 14308 w 20000"/>
                  <a:gd name="T13" fmla="*/ 1961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4308" y="19615"/>
                    </a:moveTo>
                    <a:lnTo>
                      <a:pt x="6308" y="13462"/>
                    </a:lnTo>
                    <a:lnTo>
                      <a:pt x="0" y="8077"/>
                    </a:lnTo>
                    <a:lnTo>
                      <a:pt x="8000" y="0"/>
                    </a:lnTo>
                    <a:lnTo>
                      <a:pt x="19846" y="0"/>
                    </a:lnTo>
                    <a:lnTo>
                      <a:pt x="19846" y="13462"/>
                    </a:lnTo>
                    <a:lnTo>
                      <a:pt x="14308"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1" name="Freeform 45"/>
              <p:cNvSpPr>
                <a:spLocks/>
              </p:cNvSpPr>
              <p:nvPr/>
            </p:nvSpPr>
            <p:spPr bwMode="auto">
              <a:xfrm>
                <a:off x="2994025" y="2222500"/>
                <a:ext cx="60325" cy="36513"/>
              </a:xfrm>
              <a:custGeom>
                <a:avLst/>
                <a:gdLst>
                  <a:gd name="T0" fmla="*/ 5532 w 20000"/>
                  <a:gd name="T1" fmla="*/ 19655 h 20000"/>
                  <a:gd name="T2" fmla="*/ 0 w 20000"/>
                  <a:gd name="T3" fmla="*/ 17931 h 20000"/>
                  <a:gd name="T4" fmla="*/ 0 w 20000"/>
                  <a:gd name="T5" fmla="*/ 10690 h 20000"/>
                  <a:gd name="T6" fmla="*/ 7660 w 20000"/>
                  <a:gd name="T7" fmla="*/ 0 h 20000"/>
                  <a:gd name="T8" fmla="*/ 19787 w 20000"/>
                  <a:gd name="T9" fmla="*/ 5517 h 20000"/>
                  <a:gd name="T10" fmla="*/ 16596 w 20000"/>
                  <a:gd name="T11" fmla="*/ 10690 h 20000"/>
                  <a:gd name="T12" fmla="*/ 5532 w 20000"/>
                  <a:gd name="T13" fmla="*/ 1965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532" y="19655"/>
                    </a:moveTo>
                    <a:lnTo>
                      <a:pt x="0" y="17931"/>
                    </a:lnTo>
                    <a:lnTo>
                      <a:pt x="0" y="10690"/>
                    </a:lnTo>
                    <a:lnTo>
                      <a:pt x="7660" y="0"/>
                    </a:lnTo>
                    <a:lnTo>
                      <a:pt x="19787" y="5517"/>
                    </a:lnTo>
                    <a:lnTo>
                      <a:pt x="16596" y="10690"/>
                    </a:lnTo>
                    <a:lnTo>
                      <a:pt x="5532" y="1965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2" name="Freeform 44"/>
              <p:cNvSpPr>
                <a:spLocks/>
              </p:cNvSpPr>
              <p:nvPr/>
            </p:nvSpPr>
            <p:spPr bwMode="auto">
              <a:xfrm>
                <a:off x="3335338" y="2851150"/>
                <a:ext cx="63500" cy="36513"/>
              </a:xfrm>
              <a:custGeom>
                <a:avLst/>
                <a:gdLst>
                  <a:gd name="T0" fmla="*/ 19798 w 20000"/>
                  <a:gd name="T1" fmla="*/ 19655 h 20000"/>
                  <a:gd name="T2" fmla="*/ 11515 w 20000"/>
                  <a:gd name="T3" fmla="*/ 19655 h 20000"/>
                  <a:gd name="T4" fmla="*/ 5253 w 20000"/>
                  <a:gd name="T5" fmla="*/ 10690 h 20000"/>
                  <a:gd name="T6" fmla="*/ 0 w 20000"/>
                  <a:gd name="T7" fmla="*/ 0 h 20000"/>
                  <a:gd name="T8" fmla="*/ 3232 w 20000"/>
                  <a:gd name="T9" fmla="*/ 0 h 20000"/>
                  <a:gd name="T10" fmla="*/ 13535 w 20000"/>
                  <a:gd name="T11" fmla="*/ 6897 h 20000"/>
                  <a:gd name="T12" fmla="*/ 18788 w 20000"/>
                  <a:gd name="T13" fmla="*/ 14138 h 20000"/>
                  <a:gd name="T14" fmla="*/ 19798 w 20000"/>
                  <a:gd name="T15" fmla="*/ 19655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798" y="19655"/>
                    </a:moveTo>
                    <a:lnTo>
                      <a:pt x="11515" y="19655"/>
                    </a:lnTo>
                    <a:lnTo>
                      <a:pt x="5253" y="10690"/>
                    </a:lnTo>
                    <a:lnTo>
                      <a:pt x="0" y="0"/>
                    </a:lnTo>
                    <a:lnTo>
                      <a:pt x="3232" y="0"/>
                    </a:lnTo>
                    <a:lnTo>
                      <a:pt x="13535" y="6897"/>
                    </a:lnTo>
                    <a:lnTo>
                      <a:pt x="18788" y="14138"/>
                    </a:lnTo>
                    <a:lnTo>
                      <a:pt x="19798" y="1965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3" name="Freeform 43"/>
              <p:cNvSpPr>
                <a:spLocks/>
              </p:cNvSpPr>
              <p:nvPr/>
            </p:nvSpPr>
            <p:spPr bwMode="auto">
              <a:xfrm>
                <a:off x="3070225" y="2259013"/>
                <a:ext cx="33338" cy="44450"/>
              </a:xfrm>
              <a:custGeom>
                <a:avLst/>
                <a:gdLst>
                  <a:gd name="T0" fmla="*/ 5769 w 20000"/>
                  <a:gd name="T1" fmla="*/ 19710 h 20000"/>
                  <a:gd name="T2" fmla="*/ 0 w 20000"/>
                  <a:gd name="T3" fmla="*/ 15072 h 20000"/>
                  <a:gd name="T4" fmla="*/ 9615 w 20000"/>
                  <a:gd name="T5" fmla="*/ 2899 h 20000"/>
                  <a:gd name="T6" fmla="*/ 19615 w 20000"/>
                  <a:gd name="T7" fmla="*/ 0 h 20000"/>
                  <a:gd name="T8" fmla="*/ 19615 w 20000"/>
                  <a:gd name="T9" fmla="*/ 7536 h 20000"/>
                  <a:gd name="T10" fmla="*/ 5769 w 20000"/>
                  <a:gd name="T11" fmla="*/ 19710 h 20000"/>
                </a:gdLst>
                <a:ahLst/>
                <a:cxnLst>
                  <a:cxn ang="0">
                    <a:pos x="T0" y="T1"/>
                  </a:cxn>
                  <a:cxn ang="0">
                    <a:pos x="T2" y="T3"/>
                  </a:cxn>
                  <a:cxn ang="0">
                    <a:pos x="T4" y="T5"/>
                  </a:cxn>
                  <a:cxn ang="0">
                    <a:pos x="T6" y="T7"/>
                  </a:cxn>
                  <a:cxn ang="0">
                    <a:pos x="T8" y="T9"/>
                  </a:cxn>
                  <a:cxn ang="0">
                    <a:pos x="T10" y="T11"/>
                  </a:cxn>
                </a:cxnLst>
                <a:rect l="0" t="0" r="r" b="b"/>
                <a:pathLst>
                  <a:path w="20000" h="20000">
                    <a:moveTo>
                      <a:pt x="5769" y="19710"/>
                    </a:moveTo>
                    <a:lnTo>
                      <a:pt x="0" y="15072"/>
                    </a:lnTo>
                    <a:lnTo>
                      <a:pt x="9615" y="2899"/>
                    </a:lnTo>
                    <a:lnTo>
                      <a:pt x="19615" y="0"/>
                    </a:lnTo>
                    <a:lnTo>
                      <a:pt x="19615" y="7536"/>
                    </a:lnTo>
                    <a:lnTo>
                      <a:pt x="5769" y="197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4" name="Freeform 42"/>
              <p:cNvSpPr>
                <a:spLocks/>
              </p:cNvSpPr>
              <p:nvPr/>
            </p:nvSpPr>
            <p:spPr bwMode="auto">
              <a:xfrm>
                <a:off x="3144838" y="2212975"/>
                <a:ext cx="17462" cy="20638"/>
              </a:xfrm>
              <a:custGeom>
                <a:avLst/>
                <a:gdLst>
                  <a:gd name="T0" fmla="*/ 3704 w 20000"/>
                  <a:gd name="T1" fmla="*/ 19375 h 20000"/>
                  <a:gd name="T2" fmla="*/ 0 w 20000"/>
                  <a:gd name="T3" fmla="*/ 0 h 20000"/>
                  <a:gd name="T4" fmla="*/ 19259 w 20000"/>
                  <a:gd name="T5" fmla="*/ 3750 h 20000"/>
                  <a:gd name="T6" fmla="*/ 19259 w 20000"/>
                  <a:gd name="T7" fmla="*/ 15625 h 20000"/>
                  <a:gd name="T8" fmla="*/ 3704 w 20000"/>
                  <a:gd name="T9" fmla="*/ 19375 h 20000"/>
                </a:gdLst>
                <a:ahLst/>
                <a:cxnLst>
                  <a:cxn ang="0">
                    <a:pos x="T0" y="T1"/>
                  </a:cxn>
                  <a:cxn ang="0">
                    <a:pos x="T2" y="T3"/>
                  </a:cxn>
                  <a:cxn ang="0">
                    <a:pos x="T4" y="T5"/>
                  </a:cxn>
                  <a:cxn ang="0">
                    <a:pos x="T6" y="T7"/>
                  </a:cxn>
                  <a:cxn ang="0">
                    <a:pos x="T8" y="T9"/>
                  </a:cxn>
                </a:cxnLst>
                <a:rect l="0" t="0" r="r" b="b"/>
                <a:pathLst>
                  <a:path w="20000" h="20000">
                    <a:moveTo>
                      <a:pt x="3704" y="19375"/>
                    </a:moveTo>
                    <a:lnTo>
                      <a:pt x="0" y="0"/>
                    </a:lnTo>
                    <a:lnTo>
                      <a:pt x="19259" y="3750"/>
                    </a:lnTo>
                    <a:lnTo>
                      <a:pt x="19259" y="15625"/>
                    </a:lnTo>
                    <a:lnTo>
                      <a:pt x="3704"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5" name="Freeform 41"/>
              <p:cNvSpPr>
                <a:spLocks/>
              </p:cNvSpPr>
              <p:nvPr/>
            </p:nvSpPr>
            <p:spPr bwMode="auto">
              <a:xfrm>
                <a:off x="3171825" y="2206625"/>
                <a:ext cx="17463" cy="17463"/>
              </a:xfrm>
              <a:custGeom>
                <a:avLst/>
                <a:gdLst>
                  <a:gd name="T0" fmla="*/ 3704 w 20000"/>
                  <a:gd name="T1" fmla="*/ 19259 h 20000"/>
                  <a:gd name="T2" fmla="*/ 0 w 20000"/>
                  <a:gd name="T3" fmla="*/ 0 h 20000"/>
                  <a:gd name="T4" fmla="*/ 11852 w 20000"/>
                  <a:gd name="T5" fmla="*/ 0 h 20000"/>
                  <a:gd name="T6" fmla="*/ 19259 w 20000"/>
                  <a:gd name="T7" fmla="*/ 11852 h 20000"/>
                  <a:gd name="T8" fmla="*/ 3704 w 20000"/>
                  <a:gd name="T9" fmla="*/ 19259 h 20000"/>
                </a:gdLst>
                <a:ahLst/>
                <a:cxnLst>
                  <a:cxn ang="0">
                    <a:pos x="T0" y="T1"/>
                  </a:cxn>
                  <a:cxn ang="0">
                    <a:pos x="T2" y="T3"/>
                  </a:cxn>
                  <a:cxn ang="0">
                    <a:pos x="T4" y="T5"/>
                  </a:cxn>
                  <a:cxn ang="0">
                    <a:pos x="T6" y="T7"/>
                  </a:cxn>
                  <a:cxn ang="0">
                    <a:pos x="T8" y="T9"/>
                  </a:cxn>
                </a:cxnLst>
                <a:rect l="0" t="0" r="r" b="b"/>
                <a:pathLst>
                  <a:path w="20000" h="20000">
                    <a:moveTo>
                      <a:pt x="3704" y="19259"/>
                    </a:moveTo>
                    <a:lnTo>
                      <a:pt x="0" y="0"/>
                    </a:lnTo>
                    <a:lnTo>
                      <a:pt x="11852" y="0"/>
                    </a:lnTo>
                    <a:lnTo>
                      <a:pt x="19259" y="11852"/>
                    </a:lnTo>
                    <a:lnTo>
                      <a:pt x="3704"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6" name="Freeform 40"/>
              <p:cNvSpPr>
                <a:spLocks/>
              </p:cNvSpPr>
              <p:nvPr/>
            </p:nvSpPr>
            <p:spPr bwMode="auto">
              <a:xfrm>
                <a:off x="2755900" y="4076700"/>
                <a:ext cx="339725" cy="476250"/>
              </a:xfrm>
              <a:custGeom>
                <a:avLst/>
                <a:gdLst>
                  <a:gd name="T0" fmla="*/ 3701 w 20000"/>
                  <a:gd name="T1" fmla="*/ 5513 h 20000"/>
                  <a:gd name="T2" fmla="*/ 5047 w 20000"/>
                  <a:gd name="T3" fmla="*/ 3728 h 20000"/>
                  <a:gd name="T4" fmla="*/ 6206 w 20000"/>
                  <a:gd name="T5" fmla="*/ 2503 h 20000"/>
                  <a:gd name="T6" fmla="*/ 8112 w 20000"/>
                  <a:gd name="T7" fmla="*/ 1917 h 20000"/>
                  <a:gd name="T8" fmla="*/ 10879 w 20000"/>
                  <a:gd name="T9" fmla="*/ 1092 h 20000"/>
                  <a:gd name="T10" fmla="*/ 11850 w 20000"/>
                  <a:gd name="T11" fmla="*/ 426 h 20000"/>
                  <a:gd name="T12" fmla="*/ 13383 w 20000"/>
                  <a:gd name="T13" fmla="*/ 426 h 20000"/>
                  <a:gd name="T14" fmla="*/ 11850 w 20000"/>
                  <a:gd name="T15" fmla="*/ 826 h 20000"/>
                  <a:gd name="T16" fmla="*/ 10654 w 20000"/>
                  <a:gd name="T17" fmla="*/ 2237 h 20000"/>
                  <a:gd name="T18" fmla="*/ 9869 w 20000"/>
                  <a:gd name="T19" fmla="*/ 3329 h 20000"/>
                  <a:gd name="T20" fmla="*/ 10280 w 20000"/>
                  <a:gd name="T21" fmla="*/ 3995 h 20000"/>
                  <a:gd name="T22" fmla="*/ 11252 w 20000"/>
                  <a:gd name="T23" fmla="*/ 6205 h 20000"/>
                  <a:gd name="T24" fmla="*/ 14916 w 20000"/>
                  <a:gd name="T25" fmla="*/ 6897 h 20000"/>
                  <a:gd name="T26" fmla="*/ 19364 w 20000"/>
                  <a:gd name="T27" fmla="*/ 7723 h 20000"/>
                  <a:gd name="T28" fmla="*/ 18804 w 20000"/>
                  <a:gd name="T29" fmla="*/ 10200 h 20000"/>
                  <a:gd name="T30" fmla="*/ 18991 w 20000"/>
                  <a:gd name="T31" fmla="*/ 11585 h 20000"/>
                  <a:gd name="T32" fmla="*/ 19963 w 20000"/>
                  <a:gd name="T33" fmla="*/ 13795 h 20000"/>
                  <a:gd name="T34" fmla="*/ 18991 w 20000"/>
                  <a:gd name="T35" fmla="*/ 12676 h 20000"/>
                  <a:gd name="T36" fmla="*/ 17832 w 20000"/>
                  <a:gd name="T37" fmla="*/ 13076 h 20000"/>
                  <a:gd name="T38" fmla="*/ 14916 w 20000"/>
                  <a:gd name="T39" fmla="*/ 13076 h 20000"/>
                  <a:gd name="T40" fmla="*/ 15888 w 20000"/>
                  <a:gd name="T41" fmla="*/ 14061 h 20000"/>
                  <a:gd name="T42" fmla="*/ 14916 w 20000"/>
                  <a:gd name="T43" fmla="*/ 14487 h 20000"/>
                  <a:gd name="T44" fmla="*/ 15701 w 20000"/>
                  <a:gd name="T45" fmla="*/ 15579 h 20000"/>
                  <a:gd name="T46" fmla="*/ 14916 w 20000"/>
                  <a:gd name="T47" fmla="*/ 19973 h 20000"/>
                  <a:gd name="T48" fmla="*/ 13944 w 20000"/>
                  <a:gd name="T49" fmla="*/ 19281 h 20000"/>
                  <a:gd name="T50" fmla="*/ 13159 w 20000"/>
                  <a:gd name="T51" fmla="*/ 17763 h 20000"/>
                  <a:gd name="T52" fmla="*/ 10879 w 20000"/>
                  <a:gd name="T53" fmla="*/ 18029 h 20000"/>
                  <a:gd name="T54" fmla="*/ 9308 w 20000"/>
                  <a:gd name="T55" fmla="*/ 17097 h 20000"/>
                  <a:gd name="T56" fmla="*/ 6804 w 20000"/>
                  <a:gd name="T57" fmla="*/ 15313 h 20000"/>
                  <a:gd name="T58" fmla="*/ 5234 w 20000"/>
                  <a:gd name="T59" fmla="*/ 14887 h 20000"/>
                  <a:gd name="T60" fmla="*/ 3140 w 20000"/>
                  <a:gd name="T61" fmla="*/ 14594 h 20000"/>
                  <a:gd name="T62" fmla="*/ 224 w 20000"/>
                  <a:gd name="T63" fmla="*/ 13395 h 20000"/>
                  <a:gd name="T64" fmla="*/ 598 w 20000"/>
                  <a:gd name="T65" fmla="*/ 11984 h 20000"/>
                  <a:gd name="T66" fmla="*/ 2692 w 20000"/>
                  <a:gd name="T67" fmla="*/ 10466 h 20000"/>
                  <a:gd name="T68" fmla="*/ 2692 w 20000"/>
                  <a:gd name="T69" fmla="*/ 9374 h 20000"/>
                  <a:gd name="T70" fmla="*/ 2692 w 20000"/>
                  <a:gd name="T71" fmla="*/ 7590 h 20000"/>
                  <a:gd name="T72" fmla="*/ 1757 w 20000"/>
                  <a:gd name="T73" fmla="*/ 6471 h 20000"/>
                  <a:gd name="T74" fmla="*/ 2542 w 20000"/>
                  <a:gd name="T75" fmla="*/ 6205 h 20000"/>
                  <a:gd name="T76" fmla="*/ 3140 w 20000"/>
                  <a:gd name="T77" fmla="*/ 46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3140" y="4687"/>
                    </a:moveTo>
                    <a:lnTo>
                      <a:pt x="3701" y="5513"/>
                    </a:lnTo>
                    <a:lnTo>
                      <a:pt x="3701" y="4687"/>
                    </a:lnTo>
                    <a:lnTo>
                      <a:pt x="5047" y="3728"/>
                    </a:lnTo>
                    <a:lnTo>
                      <a:pt x="5832" y="3595"/>
                    </a:lnTo>
                    <a:lnTo>
                      <a:pt x="6206" y="2503"/>
                    </a:lnTo>
                    <a:lnTo>
                      <a:pt x="7589" y="1811"/>
                    </a:lnTo>
                    <a:lnTo>
                      <a:pt x="8112" y="1917"/>
                    </a:lnTo>
                    <a:lnTo>
                      <a:pt x="8336" y="1518"/>
                    </a:lnTo>
                    <a:lnTo>
                      <a:pt x="10879" y="1092"/>
                    </a:lnTo>
                    <a:lnTo>
                      <a:pt x="11626" y="826"/>
                    </a:lnTo>
                    <a:lnTo>
                      <a:pt x="11850" y="426"/>
                    </a:lnTo>
                    <a:lnTo>
                      <a:pt x="12785" y="0"/>
                    </a:lnTo>
                    <a:lnTo>
                      <a:pt x="13383" y="426"/>
                    </a:lnTo>
                    <a:lnTo>
                      <a:pt x="12785" y="719"/>
                    </a:lnTo>
                    <a:lnTo>
                      <a:pt x="11850" y="826"/>
                    </a:lnTo>
                    <a:lnTo>
                      <a:pt x="11626" y="1518"/>
                    </a:lnTo>
                    <a:lnTo>
                      <a:pt x="10654" y="2237"/>
                    </a:lnTo>
                    <a:lnTo>
                      <a:pt x="9869" y="2903"/>
                    </a:lnTo>
                    <a:lnTo>
                      <a:pt x="9869" y="3329"/>
                    </a:lnTo>
                    <a:lnTo>
                      <a:pt x="9869" y="3995"/>
                    </a:lnTo>
                    <a:lnTo>
                      <a:pt x="10280" y="3995"/>
                    </a:lnTo>
                    <a:lnTo>
                      <a:pt x="11252" y="5379"/>
                    </a:lnTo>
                    <a:lnTo>
                      <a:pt x="11252" y="6205"/>
                    </a:lnTo>
                    <a:lnTo>
                      <a:pt x="12411" y="6897"/>
                    </a:lnTo>
                    <a:lnTo>
                      <a:pt x="14916" y="6897"/>
                    </a:lnTo>
                    <a:lnTo>
                      <a:pt x="15888" y="7723"/>
                    </a:lnTo>
                    <a:lnTo>
                      <a:pt x="19364" y="7723"/>
                    </a:lnTo>
                    <a:lnTo>
                      <a:pt x="18430" y="8815"/>
                    </a:lnTo>
                    <a:lnTo>
                      <a:pt x="18804" y="10200"/>
                    </a:lnTo>
                    <a:lnTo>
                      <a:pt x="19364" y="10892"/>
                    </a:lnTo>
                    <a:lnTo>
                      <a:pt x="18991" y="11585"/>
                    </a:lnTo>
                    <a:lnTo>
                      <a:pt x="19364" y="12410"/>
                    </a:lnTo>
                    <a:lnTo>
                      <a:pt x="19963" y="13795"/>
                    </a:lnTo>
                    <a:lnTo>
                      <a:pt x="19738" y="13502"/>
                    </a:lnTo>
                    <a:lnTo>
                      <a:pt x="18991" y="12676"/>
                    </a:lnTo>
                    <a:lnTo>
                      <a:pt x="17832" y="12676"/>
                    </a:lnTo>
                    <a:lnTo>
                      <a:pt x="17832" y="13076"/>
                    </a:lnTo>
                    <a:lnTo>
                      <a:pt x="15701" y="12969"/>
                    </a:lnTo>
                    <a:lnTo>
                      <a:pt x="14916" y="13076"/>
                    </a:lnTo>
                    <a:lnTo>
                      <a:pt x="14916" y="13795"/>
                    </a:lnTo>
                    <a:lnTo>
                      <a:pt x="15888" y="14061"/>
                    </a:lnTo>
                    <a:lnTo>
                      <a:pt x="15888" y="14487"/>
                    </a:lnTo>
                    <a:lnTo>
                      <a:pt x="14916" y="14487"/>
                    </a:lnTo>
                    <a:lnTo>
                      <a:pt x="14692" y="15153"/>
                    </a:lnTo>
                    <a:lnTo>
                      <a:pt x="15701" y="15579"/>
                    </a:lnTo>
                    <a:lnTo>
                      <a:pt x="15888" y="16405"/>
                    </a:lnTo>
                    <a:lnTo>
                      <a:pt x="14916" y="19973"/>
                    </a:lnTo>
                    <a:lnTo>
                      <a:pt x="14692" y="19973"/>
                    </a:lnTo>
                    <a:lnTo>
                      <a:pt x="13944" y="19281"/>
                    </a:lnTo>
                    <a:lnTo>
                      <a:pt x="14318" y="18189"/>
                    </a:lnTo>
                    <a:lnTo>
                      <a:pt x="13159" y="17763"/>
                    </a:lnTo>
                    <a:lnTo>
                      <a:pt x="11850" y="17497"/>
                    </a:lnTo>
                    <a:lnTo>
                      <a:pt x="10879" y="18029"/>
                    </a:lnTo>
                    <a:lnTo>
                      <a:pt x="9869" y="18029"/>
                    </a:lnTo>
                    <a:lnTo>
                      <a:pt x="9308" y="17097"/>
                    </a:lnTo>
                    <a:lnTo>
                      <a:pt x="7738" y="16272"/>
                    </a:lnTo>
                    <a:lnTo>
                      <a:pt x="6804" y="15313"/>
                    </a:lnTo>
                    <a:lnTo>
                      <a:pt x="5832" y="15153"/>
                    </a:lnTo>
                    <a:lnTo>
                      <a:pt x="5234" y="14887"/>
                    </a:lnTo>
                    <a:lnTo>
                      <a:pt x="4299" y="14594"/>
                    </a:lnTo>
                    <a:lnTo>
                      <a:pt x="3140" y="14594"/>
                    </a:lnTo>
                    <a:lnTo>
                      <a:pt x="2131" y="14061"/>
                    </a:lnTo>
                    <a:lnTo>
                      <a:pt x="224" y="13395"/>
                    </a:lnTo>
                    <a:lnTo>
                      <a:pt x="0" y="12969"/>
                    </a:lnTo>
                    <a:lnTo>
                      <a:pt x="598" y="11984"/>
                    </a:lnTo>
                    <a:lnTo>
                      <a:pt x="2542" y="11158"/>
                    </a:lnTo>
                    <a:lnTo>
                      <a:pt x="2692" y="10466"/>
                    </a:lnTo>
                    <a:lnTo>
                      <a:pt x="2542" y="10067"/>
                    </a:lnTo>
                    <a:lnTo>
                      <a:pt x="2692" y="9374"/>
                    </a:lnTo>
                    <a:lnTo>
                      <a:pt x="2542" y="8389"/>
                    </a:lnTo>
                    <a:lnTo>
                      <a:pt x="2692" y="7590"/>
                    </a:lnTo>
                    <a:lnTo>
                      <a:pt x="2542" y="7190"/>
                    </a:lnTo>
                    <a:lnTo>
                      <a:pt x="1757" y="6471"/>
                    </a:lnTo>
                    <a:lnTo>
                      <a:pt x="2131" y="5939"/>
                    </a:lnTo>
                    <a:lnTo>
                      <a:pt x="2542" y="6205"/>
                    </a:lnTo>
                    <a:lnTo>
                      <a:pt x="3140" y="5513"/>
                    </a:lnTo>
                    <a:lnTo>
                      <a:pt x="3140" y="46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7" name="Freeform 39"/>
              <p:cNvSpPr>
                <a:spLocks/>
              </p:cNvSpPr>
              <p:nvPr/>
            </p:nvSpPr>
            <p:spPr bwMode="auto">
              <a:xfrm>
                <a:off x="2619375" y="3751263"/>
                <a:ext cx="303213" cy="109537"/>
              </a:xfrm>
              <a:custGeom>
                <a:avLst/>
                <a:gdLst>
                  <a:gd name="T0" fmla="*/ 13222 w 20000"/>
                  <a:gd name="T1" fmla="*/ 19884 h 20000"/>
                  <a:gd name="T2" fmla="*/ 14310 w 20000"/>
                  <a:gd name="T3" fmla="*/ 15581 h 20000"/>
                  <a:gd name="T4" fmla="*/ 12134 w 20000"/>
                  <a:gd name="T5" fmla="*/ 13953 h 20000"/>
                  <a:gd name="T6" fmla="*/ 11464 w 20000"/>
                  <a:gd name="T7" fmla="*/ 8953 h 20000"/>
                  <a:gd name="T8" fmla="*/ 9079 w 20000"/>
                  <a:gd name="T9" fmla="*/ 8953 h 20000"/>
                  <a:gd name="T10" fmla="*/ 5649 w 20000"/>
                  <a:gd name="T11" fmla="*/ 4767 h 20000"/>
                  <a:gd name="T12" fmla="*/ 6276 w 20000"/>
                  <a:gd name="T13" fmla="*/ 4186 h 20000"/>
                  <a:gd name="T14" fmla="*/ 4100 w 20000"/>
                  <a:gd name="T15" fmla="*/ 3023 h 20000"/>
                  <a:gd name="T16" fmla="*/ 2385 w 20000"/>
                  <a:gd name="T17" fmla="*/ 7093 h 20000"/>
                  <a:gd name="T18" fmla="*/ 0 w 20000"/>
                  <a:gd name="T19" fmla="*/ 7093 h 20000"/>
                  <a:gd name="T20" fmla="*/ 1297 w 20000"/>
                  <a:gd name="T21" fmla="*/ 4767 h 20000"/>
                  <a:gd name="T22" fmla="*/ 2845 w 20000"/>
                  <a:gd name="T23" fmla="*/ 2326 h 20000"/>
                  <a:gd name="T24" fmla="*/ 5230 w 20000"/>
                  <a:gd name="T25" fmla="*/ 0 h 20000"/>
                  <a:gd name="T26" fmla="*/ 7364 w 20000"/>
                  <a:gd name="T27" fmla="*/ 0 h 20000"/>
                  <a:gd name="T28" fmla="*/ 9749 w 20000"/>
                  <a:gd name="T29" fmla="*/ 2326 h 20000"/>
                  <a:gd name="T30" fmla="*/ 12134 w 20000"/>
                  <a:gd name="T31" fmla="*/ 5930 h 20000"/>
                  <a:gd name="T32" fmla="*/ 14310 w 20000"/>
                  <a:gd name="T33" fmla="*/ 8953 h 20000"/>
                  <a:gd name="T34" fmla="*/ 17113 w 20000"/>
                  <a:gd name="T35" fmla="*/ 12558 h 20000"/>
                  <a:gd name="T36" fmla="*/ 16695 w 20000"/>
                  <a:gd name="T37" fmla="*/ 15116 h 20000"/>
                  <a:gd name="T38" fmla="*/ 18410 w 20000"/>
                  <a:gd name="T39" fmla="*/ 15581 h 20000"/>
                  <a:gd name="T40" fmla="*/ 19958 w 20000"/>
                  <a:gd name="T41" fmla="*/ 17442 h 20000"/>
                  <a:gd name="T42" fmla="*/ 13222 w 20000"/>
                  <a:gd name="T43" fmla="*/ 198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13222" y="19884"/>
                    </a:moveTo>
                    <a:lnTo>
                      <a:pt x="14310" y="15581"/>
                    </a:lnTo>
                    <a:lnTo>
                      <a:pt x="12134" y="13953"/>
                    </a:lnTo>
                    <a:lnTo>
                      <a:pt x="11464" y="8953"/>
                    </a:lnTo>
                    <a:lnTo>
                      <a:pt x="9079" y="8953"/>
                    </a:lnTo>
                    <a:lnTo>
                      <a:pt x="5649" y="4767"/>
                    </a:lnTo>
                    <a:lnTo>
                      <a:pt x="6276" y="4186"/>
                    </a:lnTo>
                    <a:lnTo>
                      <a:pt x="4100" y="3023"/>
                    </a:lnTo>
                    <a:lnTo>
                      <a:pt x="2385" y="7093"/>
                    </a:lnTo>
                    <a:lnTo>
                      <a:pt x="0" y="7093"/>
                    </a:lnTo>
                    <a:lnTo>
                      <a:pt x="1297" y="4767"/>
                    </a:lnTo>
                    <a:lnTo>
                      <a:pt x="2845" y="2326"/>
                    </a:lnTo>
                    <a:lnTo>
                      <a:pt x="5230" y="0"/>
                    </a:lnTo>
                    <a:lnTo>
                      <a:pt x="7364" y="0"/>
                    </a:lnTo>
                    <a:lnTo>
                      <a:pt x="9749" y="2326"/>
                    </a:lnTo>
                    <a:lnTo>
                      <a:pt x="12134" y="5930"/>
                    </a:lnTo>
                    <a:lnTo>
                      <a:pt x="14310" y="8953"/>
                    </a:lnTo>
                    <a:lnTo>
                      <a:pt x="17113" y="12558"/>
                    </a:lnTo>
                    <a:lnTo>
                      <a:pt x="16695" y="15116"/>
                    </a:lnTo>
                    <a:lnTo>
                      <a:pt x="18410" y="15581"/>
                    </a:lnTo>
                    <a:lnTo>
                      <a:pt x="19958" y="17442"/>
                    </a:lnTo>
                    <a:lnTo>
                      <a:pt x="13222" y="198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8" name="Freeform 38"/>
              <p:cNvSpPr>
                <a:spLocks/>
              </p:cNvSpPr>
              <p:nvPr/>
            </p:nvSpPr>
            <p:spPr bwMode="auto">
              <a:xfrm>
                <a:off x="1773238" y="3403600"/>
                <a:ext cx="793750" cy="604838"/>
              </a:xfrm>
              <a:custGeom>
                <a:avLst/>
                <a:gdLst>
                  <a:gd name="T0" fmla="*/ 1584 w 20000"/>
                  <a:gd name="T1" fmla="*/ 0 h 20000"/>
                  <a:gd name="T2" fmla="*/ 4160 w 20000"/>
                  <a:gd name="T3" fmla="*/ 1721 h 20000"/>
                  <a:gd name="T4" fmla="*/ 6144 w 20000"/>
                  <a:gd name="T5" fmla="*/ 1406 h 20000"/>
                  <a:gd name="T6" fmla="*/ 8304 w 20000"/>
                  <a:gd name="T7" fmla="*/ 2917 h 20000"/>
                  <a:gd name="T8" fmla="*/ 9360 w 20000"/>
                  <a:gd name="T9" fmla="*/ 4659 h 20000"/>
                  <a:gd name="T10" fmla="*/ 10704 w 20000"/>
                  <a:gd name="T11" fmla="*/ 4113 h 20000"/>
                  <a:gd name="T12" fmla="*/ 11616 w 20000"/>
                  <a:gd name="T13" fmla="*/ 6401 h 20000"/>
                  <a:gd name="T14" fmla="*/ 12848 w 20000"/>
                  <a:gd name="T15" fmla="*/ 8227 h 20000"/>
                  <a:gd name="T16" fmla="*/ 13024 w 20000"/>
                  <a:gd name="T17" fmla="*/ 8688 h 20000"/>
                  <a:gd name="T18" fmla="*/ 12592 w 20000"/>
                  <a:gd name="T19" fmla="*/ 9759 h 20000"/>
                  <a:gd name="T20" fmla="*/ 12272 w 20000"/>
                  <a:gd name="T21" fmla="*/ 12046 h 20000"/>
                  <a:gd name="T22" fmla="*/ 12272 w 20000"/>
                  <a:gd name="T23" fmla="*/ 12802 h 20000"/>
                  <a:gd name="T24" fmla="*/ 13024 w 20000"/>
                  <a:gd name="T25" fmla="*/ 14648 h 20000"/>
                  <a:gd name="T26" fmla="*/ 13936 w 20000"/>
                  <a:gd name="T27" fmla="*/ 16076 h 20000"/>
                  <a:gd name="T28" fmla="*/ 15408 w 20000"/>
                  <a:gd name="T29" fmla="*/ 16285 h 20000"/>
                  <a:gd name="T30" fmla="*/ 17008 w 20000"/>
                  <a:gd name="T31" fmla="*/ 15425 h 20000"/>
                  <a:gd name="T32" fmla="*/ 17504 w 20000"/>
                  <a:gd name="T33" fmla="*/ 13788 h 20000"/>
                  <a:gd name="T34" fmla="*/ 18576 w 20000"/>
                  <a:gd name="T35" fmla="*/ 13116 h 20000"/>
                  <a:gd name="T36" fmla="*/ 19984 w 20000"/>
                  <a:gd name="T37" fmla="*/ 13116 h 20000"/>
                  <a:gd name="T38" fmla="*/ 19568 w 20000"/>
                  <a:gd name="T39" fmla="*/ 14544 h 20000"/>
                  <a:gd name="T40" fmla="*/ 19392 w 20000"/>
                  <a:gd name="T41" fmla="*/ 15215 h 20000"/>
                  <a:gd name="T42" fmla="*/ 18912 w 20000"/>
                  <a:gd name="T43" fmla="*/ 15950 h 20000"/>
                  <a:gd name="T44" fmla="*/ 18480 w 20000"/>
                  <a:gd name="T45" fmla="*/ 16285 h 20000"/>
                  <a:gd name="T46" fmla="*/ 16832 w 20000"/>
                  <a:gd name="T47" fmla="*/ 16810 h 20000"/>
                  <a:gd name="T48" fmla="*/ 17168 w 20000"/>
                  <a:gd name="T49" fmla="*/ 18237 h 20000"/>
                  <a:gd name="T50" fmla="*/ 16160 w 20000"/>
                  <a:gd name="T51" fmla="*/ 18552 h 20000"/>
                  <a:gd name="T52" fmla="*/ 15920 w 20000"/>
                  <a:gd name="T53" fmla="*/ 19643 h 20000"/>
                  <a:gd name="T54" fmla="*/ 15248 w 20000"/>
                  <a:gd name="T55" fmla="*/ 19203 h 20000"/>
                  <a:gd name="T56" fmla="*/ 13760 w 20000"/>
                  <a:gd name="T57" fmla="*/ 18552 h 20000"/>
                  <a:gd name="T58" fmla="*/ 11280 w 20000"/>
                  <a:gd name="T59" fmla="*/ 18006 h 20000"/>
                  <a:gd name="T60" fmla="*/ 8960 w 20000"/>
                  <a:gd name="T61" fmla="*/ 16600 h 20000"/>
                  <a:gd name="T62" fmla="*/ 7040 w 20000"/>
                  <a:gd name="T63" fmla="*/ 15425 h 20000"/>
                  <a:gd name="T64" fmla="*/ 6800 w 20000"/>
                  <a:gd name="T65" fmla="*/ 14019 h 20000"/>
                  <a:gd name="T66" fmla="*/ 6976 w 20000"/>
                  <a:gd name="T67" fmla="*/ 13116 h 20000"/>
                  <a:gd name="T68" fmla="*/ 6304 w 20000"/>
                  <a:gd name="T69" fmla="*/ 10850 h 20000"/>
                  <a:gd name="T70" fmla="*/ 4384 w 20000"/>
                  <a:gd name="T71" fmla="*/ 8017 h 20000"/>
                  <a:gd name="T72" fmla="*/ 4560 w 20000"/>
                  <a:gd name="T73" fmla="*/ 6946 h 20000"/>
                  <a:gd name="T74" fmla="*/ 3904 w 20000"/>
                  <a:gd name="T75" fmla="*/ 5750 h 20000"/>
                  <a:gd name="T76" fmla="*/ 3232 w 20000"/>
                  <a:gd name="T77" fmla="*/ 4890 h 20000"/>
                  <a:gd name="T78" fmla="*/ 2656 w 20000"/>
                  <a:gd name="T79" fmla="*/ 2057 h 20000"/>
                  <a:gd name="T80" fmla="*/ 1344 w 20000"/>
                  <a:gd name="T81" fmla="*/ 2917 h 20000"/>
                  <a:gd name="T82" fmla="*/ 2240 w 20000"/>
                  <a:gd name="T83" fmla="*/ 4974 h 20000"/>
                  <a:gd name="T84" fmla="*/ 2496 w 20000"/>
                  <a:gd name="T85" fmla="*/ 5960 h 20000"/>
                  <a:gd name="T86" fmla="*/ 2912 w 20000"/>
                  <a:gd name="T87" fmla="*/ 6611 h 20000"/>
                  <a:gd name="T88" fmla="*/ 3728 w 20000"/>
                  <a:gd name="T89" fmla="*/ 9654 h 20000"/>
                  <a:gd name="T90" fmla="*/ 3984 w 20000"/>
                  <a:gd name="T91" fmla="*/ 10976 h 20000"/>
                  <a:gd name="T92" fmla="*/ 3472 w 20000"/>
                  <a:gd name="T93" fmla="*/ 10640 h 20000"/>
                  <a:gd name="T94" fmla="*/ 2416 w 20000"/>
                  <a:gd name="T95" fmla="*/ 7492 h 20000"/>
                  <a:gd name="T96" fmla="*/ 1584 w 20000"/>
                  <a:gd name="T97" fmla="*/ 6821 h 20000"/>
                  <a:gd name="T98" fmla="*/ 1344 w 20000"/>
                  <a:gd name="T99" fmla="*/ 5750 h 20000"/>
                  <a:gd name="T100" fmla="*/ 912 w 20000"/>
                  <a:gd name="T101" fmla="*/ 3799 h 20000"/>
                  <a:gd name="T102" fmla="*/ 256 w 20000"/>
                  <a:gd name="T103" fmla="*/ 14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00" h="20000">
                    <a:moveTo>
                      <a:pt x="0" y="84"/>
                    </a:moveTo>
                    <a:lnTo>
                      <a:pt x="1584" y="0"/>
                    </a:lnTo>
                    <a:lnTo>
                      <a:pt x="1584" y="336"/>
                    </a:lnTo>
                    <a:lnTo>
                      <a:pt x="4160" y="1721"/>
                    </a:lnTo>
                    <a:lnTo>
                      <a:pt x="6144" y="1847"/>
                    </a:lnTo>
                    <a:lnTo>
                      <a:pt x="6144" y="1406"/>
                    </a:lnTo>
                    <a:lnTo>
                      <a:pt x="7392" y="1406"/>
                    </a:lnTo>
                    <a:lnTo>
                      <a:pt x="8304" y="2917"/>
                    </a:lnTo>
                    <a:lnTo>
                      <a:pt x="8464" y="4008"/>
                    </a:lnTo>
                    <a:lnTo>
                      <a:pt x="9360" y="4659"/>
                    </a:lnTo>
                    <a:lnTo>
                      <a:pt x="10032" y="3799"/>
                    </a:lnTo>
                    <a:lnTo>
                      <a:pt x="10704" y="4113"/>
                    </a:lnTo>
                    <a:lnTo>
                      <a:pt x="11280" y="5750"/>
                    </a:lnTo>
                    <a:lnTo>
                      <a:pt x="11616" y="6401"/>
                    </a:lnTo>
                    <a:lnTo>
                      <a:pt x="11776" y="7492"/>
                    </a:lnTo>
                    <a:lnTo>
                      <a:pt x="12848" y="8227"/>
                    </a:lnTo>
                    <a:lnTo>
                      <a:pt x="13088" y="8017"/>
                    </a:lnTo>
                    <a:lnTo>
                      <a:pt x="13024" y="8688"/>
                    </a:lnTo>
                    <a:lnTo>
                      <a:pt x="12688" y="8898"/>
                    </a:lnTo>
                    <a:lnTo>
                      <a:pt x="12592" y="9759"/>
                    </a:lnTo>
                    <a:lnTo>
                      <a:pt x="12432" y="10850"/>
                    </a:lnTo>
                    <a:lnTo>
                      <a:pt x="12272" y="12046"/>
                    </a:lnTo>
                    <a:lnTo>
                      <a:pt x="12592" y="12907"/>
                    </a:lnTo>
                    <a:lnTo>
                      <a:pt x="12272" y="12802"/>
                    </a:lnTo>
                    <a:lnTo>
                      <a:pt x="12592" y="13683"/>
                    </a:lnTo>
                    <a:lnTo>
                      <a:pt x="13024" y="14648"/>
                    </a:lnTo>
                    <a:lnTo>
                      <a:pt x="13280" y="15740"/>
                    </a:lnTo>
                    <a:lnTo>
                      <a:pt x="13936" y="16076"/>
                    </a:lnTo>
                    <a:lnTo>
                      <a:pt x="14352" y="16495"/>
                    </a:lnTo>
                    <a:lnTo>
                      <a:pt x="15408" y="16285"/>
                    </a:lnTo>
                    <a:lnTo>
                      <a:pt x="16096" y="15950"/>
                    </a:lnTo>
                    <a:lnTo>
                      <a:pt x="17008" y="15425"/>
                    </a:lnTo>
                    <a:lnTo>
                      <a:pt x="17248" y="14879"/>
                    </a:lnTo>
                    <a:lnTo>
                      <a:pt x="17504" y="13788"/>
                    </a:lnTo>
                    <a:lnTo>
                      <a:pt x="17824" y="13452"/>
                    </a:lnTo>
                    <a:lnTo>
                      <a:pt x="18576" y="13116"/>
                    </a:lnTo>
                    <a:lnTo>
                      <a:pt x="19136" y="12907"/>
                    </a:lnTo>
                    <a:lnTo>
                      <a:pt x="19984" y="13116"/>
                    </a:lnTo>
                    <a:lnTo>
                      <a:pt x="19984" y="13788"/>
                    </a:lnTo>
                    <a:lnTo>
                      <a:pt x="19568" y="14544"/>
                    </a:lnTo>
                    <a:lnTo>
                      <a:pt x="19136" y="15089"/>
                    </a:lnTo>
                    <a:lnTo>
                      <a:pt x="19392" y="15215"/>
                    </a:lnTo>
                    <a:lnTo>
                      <a:pt x="19136" y="16285"/>
                    </a:lnTo>
                    <a:lnTo>
                      <a:pt x="18912" y="15950"/>
                    </a:lnTo>
                    <a:lnTo>
                      <a:pt x="18736" y="16285"/>
                    </a:lnTo>
                    <a:lnTo>
                      <a:pt x="18480" y="16285"/>
                    </a:lnTo>
                    <a:lnTo>
                      <a:pt x="18080" y="16810"/>
                    </a:lnTo>
                    <a:lnTo>
                      <a:pt x="16832" y="16810"/>
                    </a:lnTo>
                    <a:lnTo>
                      <a:pt x="16576" y="17482"/>
                    </a:lnTo>
                    <a:lnTo>
                      <a:pt x="17168" y="18237"/>
                    </a:lnTo>
                    <a:lnTo>
                      <a:pt x="17008" y="18552"/>
                    </a:lnTo>
                    <a:lnTo>
                      <a:pt x="16160" y="18552"/>
                    </a:lnTo>
                    <a:lnTo>
                      <a:pt x="15760" y="19203"/>
                    </a:lnTo>
                    <a:lnTo>
                      <a:pt x="15920" y="19643"/>
                    </a:lnTo>
                    <a:lnTo>
                      <a:pt x="15664" y="19979"/>
                    </a:lnTo>
                    <a:lnTo>
                      <a:pt x="15248" y="19203"/>
                    </a:lnTo>
                    <a:lnTo>
                      <a:pt x="14352" y="18552"/>
                    </a:lnTo>
                    <a:lnTo>
                      <a:pt x="13760" y="18552"/>
                    </a:lnTo>
                    <a:lnTo>
                      <a:pt x="12688" y="19119"/>
                    </a:lnTo>
                    <a:lnTo>
                      <a:pt x="11280" y="18006"/>
                    </a:lnTo>
                    <a:lnTo>
                      <a:pt x="10032" y="17482"/>
                    </a:lnTo>
                    <a:lnTo>
                      <a:pt x="8960" y="16600"/>
                    </a:lnTo>
                    <a:lnTo>
                      <a:pt x="8048" y="16285"/>
                    </a:lnTo>
                    <a:lnTo>
                      <a:pt x="7040" y="15425"/>
                    </a:lnTo>
                    <a:lnTo>
                      <a:pt x="6544" y="14229"/>
                    </a:lnTo>
                    <a:lnTo>
                      <a:pt x="6800" y="14019"/>
                    </a:lnTo>
                    <a:lnTo>
                      <a:pt x="6800" y="13452"/>
                    </a:lnTo>
                    <a:lnTo>
                      <a:pt x="6976" y="13116"/>
                    </a:lnTo>
                    <a:lnTo>
                      <a:pt x="6720" y="12046"/>
                    </a:lnTo>
                    <a:lnTo>
                      <a:pt x="6304" y="10850"/>
                    </a:lnTo>
                    <a:lnTo>
                      <a:pt x="5632" y="9654"/>
                    </a:lnTo>
                    <a:lnTo>
                      <a:pt x="4384" y="8017"/>
                    </a:lnTo>
                    <a:lnTo>
                      <a:pt x="4640" y="7492"/>
                    </a:lnTo>
                    <a:lnTo>
                      <a:pt x="4560" y="6946"/>
                    </a:lnTo>
                    <a:lnTo>
                      <a:pt x="3904" y="6296"/>
                    </a:lnTo>
                    <a:lnTo>
                      <a:pt x="3904" y="5750"/>
                    </a:lnTo>
                    <a:lnTo>
                      <a:pt x="3568" y="5750"/>
                    </a:lnTo>
                    <a:lnTo>
                      <a:pt x="3232" y="4890"/>
                    </a:lnTo>
                    <a:lnTo>
                      <a:pt x="2656" y="3463"/>
                    </a:lnTo>
                    <a:lnTo>
                      <a:pt x="2656" y="2057"/>
                    </a:lnTo>
                    <a:lnTo>
                      <a:pt x="1504" y="965"/>
                    </a:lnTo>
                    <a:lnTo>
                      <a:pt x="1344" y="2917"/>
                    </a:lnTo>
                    <a:lnTo>
                      <a:pt x="1824" y="3799"/>
                    </a:lnTo>
                    <a:lnTo>
                      <a:pt x="2240" y="4974"/>
                    </a:lnTo>
                    <a:lnTo>
                      <a:pt x="2240" y="5519"/>
                    </a:lnTo>
                    <a:lnTo>
                      <a:pt x="2496" y="5960"/>
                    </a:lnTo>
                    <a:lnTo>
                      <a:pt x="2912" y="7156"/>
                    </a:lnTo>
                    <a:lnTo>
                      <a:pt x="2912" y="6611"/>
                    </a:lnTo>
                    <a:lnTo>
                      <a:pt x="3472" y="8898"/>
                    </a:lnTo>
                    <a:lnTo>
                      <a:pt x="3728" y="9654"/>
                    </a:lnTo>
                    <a:lnTo>
                      <a:pt x="3904" y="10073"/>
                    </a:lnTo>
                    <a:lnTo>
                      <a:pt x="3984" y="10976"/>
                    </a:lnTo>
                    <a:lnTo>
                      <a:pt x="3728" y="11396"/>
                    </a:lnTo>
                    <a:lnTo>
                      <a:pt x="3472" y="10640"/>
                    </a:lnTo>
                    <a:lnTo>
                      <a:pt x="2240" y="8898"/>
                    </a:lnTo>
                    <a:lnTo>
                      <a:pt x="2416" y="7492"/>
                    </a:lnTo>
                    <a:lnTo>
                      <a:pt x="1824" y="6611"/>
                    </a:lnTo>
                    <a:lnTo>
                      <a:pt x="1584" y="6821"/>
                    </a:lnTo>
                    <a:lnTo>
                      <a:pt x="752" y="5519"/>
                    </a:lnTo>
                    <a:lnTo>
                      <a:pt x="1344" y="5750"/>
                    </a:lnTo>
                    <a:lnTo>
                      <a:pt x="1504" y="4890"/>
                    </a:lnTo>
                    <a:lnTo>
                      <a:pt x="912" y="3799"/>
                    </a:lnTo>
                    <a:lnTo>
                      <a:pt x="496" y="3127"/>
                    </a:lnTo>
                    <a:lnTo>
                      <a:pt x="256" y="1406"/>
                    </a:lnTo>
                    <a:lnTo>
                      <a:pt x="0" y="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299" name="Freeform 37"/>
              <p:cNvSpPr>
                <a:spLocks/>
              </p:cNvSpPr>
              <p:nvPr/>
            </p:nvSpPr>
            <p:spPr bwMode="auto">
              <a:xfrm>
                <a:off x="2524125" y="3997325"/>
                <a:ext cx="125413" cy="125413"/>
              </a:xfrm>
              <a:custGeom>
                <a:avLst/>
                <a:gdLst>
                  <a:gd name="T0" fmla="*/ 1421 w 20000"/>
                  <a:gd name="T1" fmla="*/ 8934 h 20000"/>
                  <a:gd name="T2" fmla="*/ 3046 w 20000"/>
                  <a:gd name="T3" fmla="*/ 8934 h 20000"/>
                  <a:gd name="T4" fmla="*/ 5787 w 20000"/>
                  <a:gd name="T5" fmla="*/ 5787 h 20000"/>
                  <a:gd name="T6" fmla="*/ 8832 w 20000"/>
                  <a:gd name="T7" fmla="*/ 4772 h 20000"/>
                  <a:gd name="T8" fmla="*/ 11574 w 20000"/>
                  <a:gd name="T9" fmla="*/ 2030 h 20000"/>
                  <a:gd name="T10" fmla="*/ 12589 w 20000"/>
                  <a:gd name="T11" fmla="*/ 609 h 20000"/>
                  <a:gd name="T12" fmla="*/ 14112 w 20000"/>
                  <a:gd name="T13" fmla="*/ 2030 h 20000"/>
                  <a:gd name="T14" fmla="*/ 19898 w 20000"/>
                  <a:gd name="T15" fmla="*/ 0 h 20000"/>
                  <a:gd name="T16" fmla="*/ 19898 w 20000"/>
                  <a:gd name="T17" fmla="*/ 2030 h 20000"/>
                  <a:gd name="T18" fmla="*/ 19289 w 20000"/>
                  <a:gd name="T19" fmla="*/ 4772 h 20000"/>
                  <a:gd name="T20" fmla="*/ 18274 w 20000"/>
                  <a:gd name="T21" fmla="*/ 8325 h 20000"/>
                  <a:gd name="T22" fmla="*/ 17766 w 20000"/>
                  <a:gd name="T23" fmla="*/ 12589 h 20000"/>
                  <a:gd name="T24" fmla="*/ 17766 w 20000"/>
                  <a:gd name="T25" fmla="*/ 16751 h 20000"/>
                  <a:gd name="T26" fmla="*/ 17766 w 20000"/>
                  <a:gd name="T27" fmla="*/ 19898 h 20000"/>
                  <a:gd name="T28" fmla="*/ 15127 w 20000"/>
                  <a:gd name="T29" fmla="*/ 19898 h 20000"/>
                  <a:gd name="T30" fmla="*/ 12589 w 20000"/>
                  <a:gd name="T31" fmla="*/ 18274 h 20000"/>
                  <a:gd name="T32" fmla="*/ 9949 w 20000"/>
                  <a:gd name="T33" fmla="*/ 15228 h 20000"/>
                  <a:gd name="T34" fmla="*/ 7310 w 20000"/>
                  <a:gd name="T35" fmla="*/ 14112 h 20000"/>
                  <a:gd name="T36" fmla="*/ 8832 w 20000"/>
                  <a:gd name="T37" fmla="*/ 18274 h 20000"/>
                  <a:gd name="T38" fmla="*/ 7310 w 20000"/>
                  <a:gd name="T39" fmla="*/ 18274 h 20000"/>
                  <a:gd name="T40" fmla="*/ 5787 w 20000"/>
                  <a:gd name="T41" fmla="*/ 15736 h 20000"/>
                  <a:gd name="T42" fmla="*/ 3046 w 20000"/>
                  <a:gd name="T43" fmla="*/ 13096 h 20000"/>
                  <a:gd name="T44" fmla="*/ 0 w 20000"/>
                  <a:gd name="T45" fmla="*/ 8934 h 20000"/>
                  <a:gd name="T46" fmla="*/ 1421 w 20000"/>
                  <a:gd name="T47" fmla="*/ 893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00" h="20000">
                    <a:moveTo>
                      <a:pt x="1421" y="8934"/>
                    </a:moveTo>
                    <a:lnTo>
                      <a:pt x="3046" y="8934"/>
                    </a:lnTo>
                    <a:lnTo>
                      <a:pt x="5787" y="5787"/>
                    </a:lnTo>
                    <a:lnTo>
                      <a:pt x="8832" y="4772"/>
                    </a:lnTo>
                    <a:lnTo>
                      <a:pt x="11574" y="2030"/>
                    </a:lnTo>
                    <a:lnTo>
                      <a:pt x="12589" y="609"/>
                    </a:lnTo>
                    <a:lnTo>
                      <a:pt x="14112" y="2030"/>
                    </a:lnTo>
                    <a:lnTo>
                      <a:pt x="19898" y="0"/>
                    </a:lnTo>
                    <a:lnTo>
                      <a:pt x="19898" y="2030"/>
                    </a:lnTo>
                    <a:lnTo>
                      <a:pt x="19289" y="4772"/>
                    </a:lnTo>
                    <a:lnTo>
                      <a:pt x="18274" y="8325"/>
                    </a:lnTo>
                    <a:lnTo>
                      <a:pt x="17766" y="12589"/>
                    </a:lnTo>
                    <a:lnTo>
                      <a:pt x="17766" y="16751"/>
                    </a:lnTo>
                    <a:lnTo>
                      <a:pt x="17766" y="19898"/>
                    </a:lnTo>
                    <a:lnTo>
                      <a:pt x="15127" y="19898"/>
                    </a:lnTo>
                    <a:lnTo>
                      <a:pt x="12589" y="18274"/>
                    </a:lnTo>
                    <a:lnTo>
                      <a:pt x="9949" y="15228"/>
                    </a:lnTo>
                    <a:lnTo>
                      <a:pt x="7310" y="14112"/>
                    </a:lnTo>
                    <a:lnTo>
                      <a:pt x="8832" y="18274"/>
                    </a:lnTo>
                    <a:lnTo>
                      <a:pt x="7310" y="18274"/>
                    </a:lnTo>
                    <a:lnTo>
                      <a:pt x="5787" y="15736"/>
                    </a:lnTo>
                    <a:lnTo>
                      <a:pt x="3046" y="13096"/>
                    </a:lnTo>
                    <a:lnTo>
                      <a:pt x="0" y="8934"/>
                    </a:lnTo>
                    <a:lnTo>
                      <a:pt x="1421" y="893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0" name="Freeform 36"/>
              <p:cNvSpPr>
                <a:spLocks/>
              </p:cNvSpPr>
              <p:nvPr/>
            </p:nvSpPr>
            <p:spPr bwMode="auto">
              <a:xfrm>
                <a:off x="2647950" y="4162425"/>
                <a:ext cx="161925" cy="69850"/>
              </a:xfrm>
              <a:custGeom>
                <a:avLst/>
                <a:gdLst>
                  <a:gd name="T0" fmla="*/ 2039 w 20000"/>
                  <a:gd name="T1" fmla="*/ 0 h 20000"/>
                  <a:gd name="T2" fmla="*/ 2902 w 20000"/>
                  <a:gd name="T3" fmla="*/ 2936 h 20000"/>
                  <a:gd name="T4" fmla="*/ 4000 w 20000"/>
                  <a:gd name="T5" fmla="*/ 2936 h 20000"/>
                  <a:gd name="T6" fmla="*/ 6118 w 20000"/>
                  <a:gd name="T7" fmla="*/ 5688 h 20000"/>
                  <a:gd name="T8" fmla="*/ 9333 w 20000"/>
                  <a:gd name="T9" fmla="*/ 2936 h 20000"/>
                  <a:gd name="T10" fmla="*/ 11373 w 20000"/>
                  <a:gd name="T11" fmla="*/ 0 h 20000"/>
                  <a:gd name="T12" fmla="*/ 15451 w 20000"/>
                  <a:gd name="T13" fmla="*/ 1101 h 20000"/>
                  <a:gd name="T14" fmla="*/ 18667 w 20000"/>
                  <a:gd name="T15" fmla="*/ 5688 h 20000"/>
                  <a:gd name="T16" fmla="*/ 19922 w 20000"/>
                  <a:gd name="T17" fmla="*/ 7523 h 20000"/>
                  <a:gd name="T18" fmla="*/ 19922 w 20000"/>
                  <a:gd name="T19" fmla="*/ 13211 h 20000"/>
                  <a:gd name="T20" fmla="*/ 18667 w 20000"/>
                  <a:gd name="T21" fmla="*/ 17982 h 20000"/>
                  <a:gd name="T22" fmla="*/ 17804 w 20000"/>
                  <a:gd name="T23" fmla="*/ 16147 h 20000"/>
                  <a:gd name="T24" fmla="*/ 17020 w 20000"/>
                  <a:gd name="T25" fmla="*/ 19817 h 20000"/>
                  <a:gd name="T26" fmla="*/ 15843 w 20000"/>
                  <a:gd name="T27" fmla="*/ 12294 h 20000"/>
                  <a:gd name="T28" fmla="*/ 16706 w 20000"/>
                  <a:gd name="T29" fmla="*/ 8624 h 20000"/>
                  <a:gd name="T30" fmla="*/ 15451 w 20000"/>
                  <a:gd name="T31" fmla="*/ 8624 h 20000"/>
                  <a:gd name="T32" fmla="*/ 13804 w 20000"/>
                  <a:gd name="T33" fmla="*/ 5688 h 20000"/>
                  <a:gd name="T34" fmla="*/ 12157 w 20000"/>
                  <a:gd name="T35" fmla="*/ 5688 h 20000"/>
                  <a:gd name="T36" fmla="*/ 8549 w 20000"/>
                  <a:gd name="T37" fmla="*/ 12294 h 20000"/>
                  <a:gd name="T38" fmla="*/ 10118 w 20000"/>
                  <a:gd name="T39" fmla="*/ 17982 h 20000"/>
                  <a:gd name="T40" fmla="*/ 7373 w 20000"/>
                  <a:gd name="T41" fmla="*/ 19817 h 20000"/>
                  <a:gd name="T42" fmla="*/ 6118 w 20000"/>
                  <a:gd name="T43" fmla="*/ 15046 h 20000"/>
                  <a:gd name="T44" fmla="*/ 5255 w 20000"/>
                  <a:gd name="T45" fmla="*/ 15046 h 20000"/>
                  <a:gd name="T46" fmla="*/ 3686 w 20000"/>
                  <a:gd name="T47" fmla="*/ 12294 h 20000"/>
                  <a:gd name="T48" fmla="*/ 784 w 20000"/>
                  <a:gd name="T49" fmla="*/ 10459 h 20000"/>
                  <a:gd name="T50" fmla="*/ 0 w 20000"/>
                  <a:gd name="T51" fmla="*/ 7523 h 20000"/>
                  <a:gd name="T52" fmla="*/ 0 w 20000"/>
                  <a:gd name="T53" fmla="*/ 5688 h 20000"/>
                  <a:gd name="T54" fmla="*/ 784 w 20000"/>
                  <a:gd name="T55" fmla="*/ 0 h 20000"/>
                  <a:gd name="T56" fmla="*/ 2039 w 20000"/>
                  <a:gd name="T5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2039" y="0"/>
                    </a:moveTo>
                    <a:lnTo>
                      <a:pt x="2902" y="2936"/>
                    </a:lnTo>
                    <a:lnTo>
                      <a:pt x="4000" y="2936"/>
                    </a:lnTo>
                    <a:lnTo>
                      <a:pt x="6118" y="5688"/>
                    </a:lnTo>
                    <a:lnTo>
                      <a:pt x="9333" y="2936"/>
                    </a:lnTo>
                    <a:lnTo>
                      <a:pt x="11373" y="0"/>
                    </a:lnTo>
                    <a:lnTo>
                      <a:pt x="15451" y="1101"/>
                    </a:lnTo>
                    <a:lnTo>
                      <a:pt x="18667" y="5688"/>
                    </a:lnTo>
                    <a:lnTo>
                      <a:pt x="19922" y="7523"/>
                    </a:lnTo>
                    <a:lnTo>
                      <a:pt x="19922" y="13211"/>
                    </a:lnTo>
                    <a:lnTo>
                      <a:pt x="18667" y="17982"/>
                    </a:lnTo>
                    <a:lnTo>
                      <a:pt x="17804" y="16147"/>
                    </a:lnTo>
                    <a:lnTo>
                      <a:pt x="17020" y="19817"/>
                    </a:lnTo>
                    <a:lnTo>
                      <a:pt x="15843" y="12294"/>
                    </a:lnTo>
                    <a:lnTo>
                      <a:pt x="16706" y="8624"/>
                    </a:lnTo>
                    <a:lnTo>
                      <a:pt x="15451" y="8624"/>
                    </a:lnTo>
                    <a:lnTo>
                      <a:pt x="13804" y="5688"/>
                    </a:lnTo>
                    <a:lnTo>
                      <a:pt x="12157" y="5688"/>
                    </a:lnTo>
                    <a:lnTo>
                      <a:pt x="8549" y="12294"/>
                    </a:lnTo>
                    <a:lnTo>
                      <a:pt x="10118" y="17982"/>
                    </a:lnTo>
                    <a:lnTo>
                      <a:pt x="7373" y="19817"/>
                    </a:lnTo>
                    <a:lnTo>
                      <a:pt x="6118" y="15046"/>
                    </a:lnTo>
                    <a:lnTo>
                      <a:pt x="5255" y="15046"/>
                    </a:lnTo>
                    <a:lnTo>
                      <a:pt x="3686" y="12294"/>
                    </a:lnTo>
                    <a:lnTo>
                      <a:pt x="784" y="10459"/>
                    </a:lnTo>
                    <a:lnTo>
                      <a:pt x="0" y="7523"/>
                    </a:lnTo>
                    <a:lnTo>
                      <a:pt x="0" y="5688"/>
                    </a:lnTo>
                    <a:lnTo>
                      <a:pt x="784" y="0"/>
                    </a:lnTo>
                    <a:lnTo>
                      <a:pt x="203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1" name="Freeform 35"/>
              <p:cNvSpPr>
                <a:spLocks/>
              </p:cNvSpPr>
              <p:nvPr/>
            </p:nvSpPr>
            <p:spPr bwMode="auto">
              <a:xfrm>
                <a:off x="3233738" y="5006975"/>
                <a:ext cx="247650" cy="250825"/>
              </a:xfrm>
              <a:custGeom>
                <a:avLst/>
                <a:gdLst>
                  <a:gd name="T0" fmla="*/ 0 w 20000"/>
                  <a:gd name="T1" fmla="*/ 5772 h 20000"/>
                  <a:gd name="T2" fmla="*/ 1337 w 20000"/>
                  <a:gd name="T3" fmla="*/ 3696 h 20000"/>
                  <a:gd name="T4" fmla="*/ 823 w 20000"/>
                  <a:gd name="T5" fmla="*/ 2076 h 20000"/>
                  <a:gd name="T6" fmla="*/ 2108 w 20000"/>
                  <a:gd name="T7" fmla="*/ 810 h 20000"/>
                  <a:gd name="T8" fmla="*/ 2108 w 20000"/>
                  <a:gd name="T9" fmla="*/ 0 h 20000"/>
                  <a:gd name="T10" fmla="*/ 8792 w 20000"/>
                  <a:gd name="T11" fmla="*/ 0 h 20000"/>
                  <a:gd name="T12" fmla="*/ 10386 w 20000"/>
                  <a:gd name="T13" fmla="*/ 1570 h 20000"/>
                  <a:gd name="T14" fmla="*/ 11671 w 20000"/>
                  <a:gd name="T15" fmla="*/ 6278 h 20000"/>
                  <a:gd name="T16" fmla="*/ 16504 w 20000"/>
                  <a:gd name="T17" fmla="*/ 6532 h 20000"/>
                  <a:gd name="T18" fmla="*/ 18098 w 20000"/>
                  <a:gd name="T19" fmla="*/ 10532 h 20000"/>
                  <a:gd name="T20" fmla="*/ 18920 w 20000"/>
                  <a:gd name="T21" fmla="*/ 9924 h 20000"/>
                  <a:gd name="T22" fmla="*/ 19949 w 20000"/>
                  <a:gd name="T23" fmla="*/ 11038 h 20000"/>
                  <a:gd name="T24" fmla="*/ 19434 w 20000"/>
                  <a:gd name="T25" fmla="*/ 13114 h 20000"/>
                  <a:gd name="T26" fmla="*/ 19949 w 20000"/>
                  <a:gd name="T27" fmla="*/ 15190 h 20000"/>
                  <a:gd name="T28" fmla="*/ 19434 w 20000"/>
                  <a:gd name="T29" fmla="*/ 17266 h 20000"/>
                  <a:gd name="T30" fmla="*/ 17584 w 20000"/>
                  <a:gd name="T31" fmla="*/ 18886 h 20000"/>
                  <a:gd name="T32" fmla="*/ 15424 w 20000"/>
                  <a:gd name="T33" fmla="*/ 19949 h 20000"/>
                  <a:gd name="T34" fmla="*/ 13316 w 20000"/>
                  <a:gd name="T35" fmla="*/ 18886 h 20000"/>
                  <a:gd name="T36" fmla="*/ 10900 w 20000"/>
                  <a:gd name="T37" fmla="*/ 18633 h 20000"/>
                  <a:gd name="T38" fmla="*/ 11671 w 20000"/>
                  <a:gd name="T39" fmla="*/ 16506 h 20000"/>
                  <a:gd name="T40" fmla="*/ 12494 w 20000"/>
                  <a:gd name="T41" fmla="*/ 15190 h 20000"/>
                  <a:gd name="T42" fmla="*/ 13059 w 20000"/>
                  <a:gd name="T43" fmla="*/ 13367 h 20000"/>
                  <a:gd name="T44" fmla="*/ 11979 w 20000"/>
                  <a:gd name="T45" fmla="*/ 12608 h 20000"/>
                  <a:gd name="T46" fmla="*/ 9563 w 20000"/>
                  <a:gd name="T47" fmla="*/ 12101 h 20000"/>
                  <a:gd name="T48" fmla="*/ 7455 w 20000"/>
                  <a:gd name="T49" fmla="*/ 11038 h 20000"/>
                  <a:gd name="T50" fmla="*/ 4833 w 20000"/>
                  <a:gd name="T51" fmla="*/ 10532 h 20000"/>
                  <a:gd name="T52" fmla="*/ 2622 w 20000"/>
                  <a:gd name="T53" fmla="*/ 8405 h 20000"/>
                  <a:gd name="T54" fmla="*/ 0 w 20000"/>
                  <a:gd name="T55" fmla="*/ 57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0" y="5772"/>
                    </a:moveTo>
                    <a:lnTo>
                      <a:pt x="1337" y="3696"/>
                    </a:lnTo>
                    <a:lnTo>
                      <a:pt x="823" y="2076"/>
                    </a:lnTo>
                    <a:lnTo>
                      <a:pt x="2108" y="810"/>
                    </a:lnTo>
                    <a:lnTo>
                      <a:pt x="2108" y="0"/>
                    </a:lnTo>
                    <a:lnTo>
                      <a:pt x="8792" y="0"/>
                    </a:lnTo>
                    <a:lnTo>
                      <a:pt x="10386" y="1570"/>
                    </a:lnTo>
                    <a:lnTo>
                      <a:pt x="11671" y="6278"/>
                    </a:lnTo>
                    <a:lnTo>
                      <a:pt x="16504" y="6532"/>
                    </a:lnTo>
                    <a:lnTo>
                      <a:pt x="18098" y="10532"/>
                    </a:lnTo>
                    <a:lnTo>
                      <a:pt x="18920" y="9924"/>
                    </a:lnTo>
                    <a:lnTo>
                      <a:pt x="19949" y="11038"/>
                    </a:lnTo>
                    <a:lnTo>
                      <a:pt x="19434" y="13114"/>
                    </a:lnTo>
                    <a:lnTo>
                      <a:pt x="19949" y="15190"/>
                    </a:lnTo>
                    <a:lnTo>
                      <a:pt x="19434" y="17266"/>
                    </a:lnTo>
                    <a:lnTo>
                      <a:pt x="17584" y="18886"/>
                    </a:lnTo>
                    <a:lnTo>
                      <a:pt x="15424" y="19949"/>
                    </a:lnTo>
                    <a:lnTo>
                      <a:pt x="13316" y="18886"/>
                    </a:lnTo>
                    <a:lnTo>
                      <a:pt x="10900" y="18633"/>
                    </a:lnTo>
                    <a:lnTo>
                      <a:pt x="11671" y="16506"/>
                    </a:lnTo>
                    <a:lnTo>
                      <a:pt x="12494" y="15190"/>
                    </a:lnTo>
                    <a:lnTo>
                      <a:pt x="13059" y="13367"/>
                    </a:lnTo>
                    <a:lnTo>
                      <a:pt x="11979" y="12608"/>
                    </a:lnTo>
                    <a:lnTo>
                      <a:pt x="9563" y="12101"/>
                    </a:lnTo>
                    <a:lnTo>
                      <a:pt x="7455" y="11038"/>
                    </a:lnTo>
                    <a:lnTo>
                      <a:pt x="4833" y="10532"/>
                    </a:lnTo>
                    <a:lnTo>
                      <a:pt x="2622" y="8405"/>
                    </a:lnTo>
                    <a:lnTo>
                      <a:pt x="0" y="577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2" name="Freeform 34"/>
              <p:cNvSpPr>
                <a:spLocks/>
              </p:cNvSpPr>
              <p:nvPr/>
            </p:nvSpPr>
            <p:spPr bwMode="auto">
              <a:xfrm>
                <a:off x="2690813" y="4432300"/>
                <a:ext cx="361950" cy="542925"/>
              </a:xfrm>
              <a:custGeom>
                <a:avLst/>
                <a:gdLst>
                  <a:gd name="T0" fmla="*/ 8546 w 20000"/>
                  <a:gd name="T1" fmla="*/ 0 h 20000"/>
                  <a:gd name="T2" fmla="*/ 9107 w 20000"/>
                  <a:gd name="T3" fmla="*/ 234 h 20000"/>
                  <a:gd name="T4" fmla="*/ 10018 w 20000"/>
                  <a:gd name="T5" fmla="*/ 374 h 20000"/>
                  <a:gd name="T6" fmla="*/ 10893 w 20000"/>
                  <a:gd name="T7" fmla="*/ 1193 h 20000"/>
                  <a:gd name="T8" fmla="*/ 12329 w 20000"/>
                  <a:gd name="T9" fmla="*/ 1918 h 20000"/>
                  <a:gd name="T10" fmla="*/ 12890 w 20000"/>
                  <a:gd name="T11" fmla="*/ 2760 h 20000"/>
                  <a:gd name="T12" fmla="*/ 13835 w 20000"/>
                  <a:gd name="T13" fmla="*/ 2760 h 20000"/>
                  <a:gd name="T14" fmla="*/ 14711 w 20000"/>
                  <a:gd name="T15" fmla="*/ 2292 h 20000"/>
                  <a:gd name="T16" fmla="*/ 15972 w 20000"/>
                  <a:gd name="T17" fmla="*/ 2526 h 20000"/>
                  <a:gd name="T18" fmla="*/ 17058 w 20000"/>
                  <a:gd name="T19" fmla="*/ 2901 h 20000"/>
                  <a:gd name="T20" fmla="*/ 16708 w 20000"/>
                  <a:gd name="T21" fmla="*/ 3860 h 20000"/>
                  <a:gd name="T22" fmla="*/ 17408 w 20000"/>
                  <a:gd name="T23" fmla="*/ 4468 h 20000"/>
                  <a:gd name="T24" fmla="*/ 16182 w 20000"/>
                  <a:gd name="T25" fmla="*/ 4468 h 20000"/>
                  <a:gd name="T26" fmla="*/ 13625 w 20000"/>
                  <a:gd name="T27" fmla="*/ 5310 h 20000"/>
                  <a:gd name="T28" fmla="*/ 12890 w 20000"/>
                  <a:gd name="T29" fmla="*/ 6058 h 20000"/>
                  <a:gd name="T30" fmla="*/ 12750 w 20000"/>
                  <a:gd name="T31" fmla="*/ 7018 h 20000"/>
                  <a:gd name="T32" fmla="*/ 11804 w 20000"/>
                  <a:gd name="T33" fmla="*/ 7368 h 20000"/>
                  <a:gd name="T34" fmla="*/ 11804 w 20000"/>
                  <a:gd name="T35" fmla="*/ 8585 h 20000"/>
                  <a:gd name="T36" fmla="*/ 12750 w 20000"/>
                  <a:gd name="T37" fmla="*/ 9544 h 20000"/>
                  <a:gd name="T38" fmla="*/ 13625 w 20000"/>
                  <a:gd name="T39" fmla="*/ 10175 h 20000"/>
                  <a:gd name="T40" fmla="*/ 14711 w 20000"/>
                  <a:gd name="T41" fmla="*/ 10526 h 20000"/>
                  <a:gd name="T42" fmla="*/ 16182 w 20000"/>
                  <a:gd name="T43" fmla="*/ 10526 h 20000"/>
                  <a:gd name="T44" fmla="*/ 17058 w 20000"/>
                  <a:gd name="T45" fmla="*/ 10175 h 20000"/>
                  <a:gd name="T46" fmla="*/ 17058 w 20000"/>
                  <a:gd name="T47" fmla="*/ 11743 h 20000"/>
                  <a:gd name="T48" fmla="*/ 17618 w 20000"/>
                  <a:gd name="T49" fmla="*/ 11743 h 20000"/>
                  <a:gd name="T50" fmla="*/ 18529 w 20000"/>
                  <a:gd name="T51" fmla="*/ 11743 h 20000"/>
                  <a:gd name="T52" fmla="*/ 19965 w 20000"/>
                  <a:gd name="T53" fmla="*/ 13310 h 20000"/>
                  <a:gd name="T54" fmla="*/ 19440 w 20000"/>
                  <a:gd name="T55" fmla="*/ 14620 h 20000"/>
                  <a:gd name="T56" fmla="*/ 19440 w 20000"/>
                  <a:gd name="T57" fmla="*/ 15485 h 20000"/>
                  <a:gd name="T58" fmla="*/ 19054 w 20000"/>
                  <a:gd name="T59" fmla="*/ 16585 h 20000"/>
                  <a:gd name="T60" fmla="*/ 18354 w 20000"/>
                  <a:gd name="T61" fmla="*/ 16444 h 20000"/>
                  <a:gd name="T62" fmla="*/ 18354 w 20000"/>
                  <a:gd name="T63" fmla="*/ 17053 h 20000"/>
                  <a:gd name="T64" fmla="*/ 19440 w 20000"/>
                  <a:gd name="T65" fmla="*/ 17661 h 20000"/>
                  <a:gd name="T66" fmla="*/ 19790 w 20000"/>
                  <a:gd name="T67" fmla="*/ 17661 h 20000"/>
                  <a:gd name="T68" fmla="*/ 19440 w 20000"/>
                  <a:gd name="T69" fmla="*/ 18152 h 20000"/>
                  <a:gd name="T70" fmla="*/ 19054 w 20000"/>
                  <a:gd name="T71" fmla="*/ 18994 h 20000"/>
                  <a:gd name="T72" fmla="*/ 18529 w 20000"/>
                  <a:gd name="T73" fmla="*/ 19602 h 20000"/>
                  <a:gd name="T74" fmla="*/ 17968 w 20000"/>
                  <a:gd name="T75" fmla="*/ 19977 h 20000"/>
                  <a:gd name="T76" fmla="*/ 16532 w 20000"/>
                  <a:gd name="T77" fmla="*/ 19111 h 20000"/>
                  <a:gd name="T78" fmla="*/ 15061 w 20000"/>
                  <a:gd name="T79" fmla="*/ 18386 h 20000"/>
                  <a:gd name="T80" fmla="*/ 12329 w 20000"/>
                  <a:gd name="T81" fmla="*/ 17427 h 20000"/>
                  <a:gd name="T82" fmla="*/ 10368 w 20000"/>
                  <a:gd name="T83" fmla="*/ 16585 h 20000"/>
                  <a:gd name="T84" fmla="*/ 8371 w 20000"/>
                  <a:gd name="T85" fmla="*/ 15135 h 20000"/>
                  <a:gd name="T86" fmla="*/ 7671 w 20000"/>
                  <a:gd name="T87" fmla="*/ 13567 h 20000"/>
                  <a:gd name="T88" fmla="*/ 6550 w 20000"/>
                  <a:gd name="T89" fmla="*/ 12936 h 20000"/>
                  <a:gd name="T90" fmla="*/ 6025 w 20000"/>
                  <a:gd name="T91" fmla="*/ 11743 h 20000"/>
                  <a:gd name="T92" fmla="*/ 4729 w 20000"/>
                  <a:gd name="T93" fmla="*/ 10526 h 20000"/>
                  <a:gd name="T94" fmla="*/ 3818 w 20000"/>
                  <a:gd name="T95" fmla="*/ 9170 h 20000"/>
                  <a:gd name="T96" fmla="*/ 2382 w 20000"/>
                  <a:gd name="T97" fmla="*/ 7626 h 20000"/>
                  <a:gd name="T98" fmla="*/ 0 w 20000"/>
                  <a:gd name="T99" fmla="*/ 6292 h 20000"/>
                  <a:gd name="T100" fmla="*/ 0 w 20000"/>
                  <a:gd name="T101" fmla="*/ 4725 h 20000"/>
                  <a:gd name="T102" fmla="*/ 736 w 20000"/>
                  <a:gd name="T103" fmla="*/ 4094 h 20000"/>
                  <a:gd name="T104" fmla="*/ 1821 w 20000"/>
                  <a:gd name="T105" fmla="*/ 3766 h 20000"/>
                  <a:gd name="T106" fmla="*/ 1471 w 20000"/>
                  <a:gd name="T107" fmla="*/ 4725 h 20000"/>
                  <a:gd name="T108" fmla="*/ 2382 w 20000"/>
                  <a:gd name="T109" fmla="*/ 4819 h 20000"/>
                  <a:gd name="T110" fmla="*/ 3643 w 20000"/>
                  <a:gd name="T111" fmla="*/ 5310 h 20000"/>
                  <a:gd name="T112" fmla="*/ 4168 w 20000"/>
                  <a:gd name="T113" fmla="*/ 4351 h 20000"/>
                  <a:gd name="T114" fmla="*/ 5289 w 20000"/>
                  <a:gd name="T115" fmla="*/ 3392 h 20000"/>
                  <a:gd name="T116" fmla="*/ 7110 w 20000"/>
                  <a:gd name="T117" fmla="*/ 2901 h 20000"/>
                  <a:gd name="T118" fmla="*/ 8546 w 20000"/>
                  <a:gd name="T119" fmla="*/ 1801 h 20000"/>
                  <a:gd name="T120" fmla="*/ 9457 w 20000"/>
                  <a:gd name="T121" fmla="*/ 959 h 20000"/>
                  <a:gd name="T122" fmla="*/ 8546 w 20000"/>
                  <a:gd name="T1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00" h="20000">
                    <a:moveTo>
                      <a:pt x="8546" y="0"/>
                    </a:moveTo>
                    <a:lnTo>
                      <a:pt x="9107" y="234"/>
                    </a:lnTo>
                    <a:lnTo>
                      <a:pt x="10018" y="374"/>
                    </a:lnTo>
                    <a:lnTo>
                      <a:pt x="10893" y="1193"/>
                    </a:lnTo>
                    <a:lnTo>
                      <a:pt x="12329" y="1918"/>
                    </a:lnTo>
                    <a:lnTo>
                      <a:pt x="12890" y="2760"/>
                    </a:lnTo>
                    <a:lnTo>
                      <a:pt x="13835" y="2760"/>
                    </a:lnTo>
                    <a:lnTo>
                      <a:pt x="14711" y="2292"/>
                    </a:lnTo>
                    <a:lnTo>
                      <a:pt x="15972" y="2526"/>
                    </a:lnTo>
                    <a:lnTo>
                      <a:pt x="17058" y="2901"/>
                    </a:lnTo>
                    <a:lnTo>
                      <a:pt x="16708" y="3860"/>
                    </a:lnTo>
                    <a:lnTo>
                      <a:pt x="17408" y="4468"/>
                    </a:lnTo>
                    <a:lnTo>
                      <a:pt x="16182" y="4468"/>
                    </a:lnTo>
                    <a:lnTo>
                      <a:pt x="13625" y="5310"/>
                    </a:lnTo>
                    <a:lnTo>
                      <a:pt x="12890" y="6058"/>
                    </a:lnTo>
                    <a:lnTo>
                      <a:pt x="12750" y="7018"/>
                    </a:lnTo>
                    <a:lnTo>
                      <a:pt x="11804" y="7368"/>
                    </a:lnTo>
                    <a:lnTo>
                      <a:pt x="11804" y="8585"/>
                    </a:lnTo>
                    <a:lnTo>
                      <a:pt x="12750" y="9544"/>
                    </a:lnTo>
                    <a:lnTo>
                      <a:pt x="13625" y="10175"/>
                    </a:lnTo>
                    <a:lnTo>
                      <a:pt x="14711" y="10526"/>
                    </a:lnTo>
                    <a:lnTo>
                      <a:pt x="16182" y="10526"/>
                    </a:lnTo>
                    <a:lnTo>
                      <a:pt x="17058" y="10175"/>
                    </a:lnTo>
                    <a:lnTo>
                      <a:pt x="17058" y="11743"/>
                    </a:lnTo>
                    <a:lnTo>
                      <a:pt x="17618" y="11743"/>
                    </a:lnTo>
                    <a:lnTo>
                      <a:pt x="18529" y="11743"/>
                    </a:lnTo>
                    <a:lnTo>
                      <a:pt x="19965" y="13310"/>
                    </a:lnTo>
                    <a:lnTo>
                      <a:pt x="19440" y="14620"/>
                    </a:lnTo>
                    <a:lnTo>
                      <a:pt x="19440" y="15485"/>
                    </a:lnTo>
                    <a:lnTo>
                      <a:pt x="19054" y="16585"/>
                    </a:lnTo>
                    <a:lnTo>
                      <a:pt x="18354" y="16444"/>
                    </a:lnTo>
                    <a:lnTo>
                      <a:pt x="18354" y="17053"/>
                    </a:lnTo>
                    <a:lnTo>
                      <a:pt x="19440" y="17661"/>
                    </a:lnTo>
                    <a:lnTo>
                      <a:pt x="19790" y="17661"/>
                    </a:lnTo>
                    <a:lnTo>
                      <a:pt x="19440" y="18152"/>
                    </a:lnTo>
                    <a:lnTo>
                      <a:pt x="19054" y="18994"/>
                    </a:lnTo>
                    <a:lnTo>
                      <a:pt x="18529" y="19602"/>
                    </a:lnTo>
                    <a:lnTo>
                      <a:pt x="17968" y="19977"/>
                    </a:lnTo>
                    <a:lnTo>
                      <a:pt x="16532" y="19111"/>
                    </a:lnTo>
                    <a:lnTo>
                      <a:pt x="15061" y="18386"/>
                    </a:lnTo>
                    <a:lnTo>
                      <a:pt x="12329" y="17427"/>
                    </a:lnTo>
                    <a:lnTo>
                      <a:pt x="10368" y="16585"/>
                    </a:lnTo>
                    <a:lnTo>
                      <a:pt x="8371" y="15135"/>
                    </a:lnTo>
                    <a:lnTo>
                      <a:pt x="7671" y="13567"/>
                    </a:lnTo>
                    <a:lnTo>
                      <a:pt x="6550" y="12936"/>
                    </a:lnTo>
                    <a:lnTo>
                      <a:pt x="6025" y="11743"/>
                    </a:lnTo>
                    <a:lnTo>
                      <a:pt x="4729" y="10526"/>
                    </a:lnTo>
                    <a:lnTo>
                      <a:pt x="3818" y="9170"/>
                    </a:lnTo>
                    <a:lnTo>
                      <a:pt x="2382" y="7626"/>
                    </a:lnTo>
                    <a:lnTo>
                      <a:pt x="0" y="6292"/>
                    </a:lnTo>
                    <a:lnTo>
                      <a:pt x="0" y="4725"/>
                    </a:lnTo>
                    <a:lnTo>
                      <a:pt x="736" y="4094"/>
                    </a:lnTo>
                    <a:lnTo>
                      <a:pt x="1821" y="3766"/>
                    </a:lnTo>
                    <a:lnTo>
                      <a:pt x="1471" y="4725"/>
                    </a:lnTo>
                    <a:lnTo>
                      <a:pt x="2382" y="4819"/>
                    </a:lnTo>
                    <a:lnTo>
                      <a:pt x="3643" y="5310"/>
                    </a:lnTo>
                    <a:lnTo>
                      <a:pt x="4168" y="4351"/>
                    </a:lnTo>
                    <a:lnTo>
                      <a:pt x="5289" y="3392"/>
                    </a:lnTo>
                    <a:lnTo>
                      <a:pt x="7110" y="2901"/>
                    </a:lnTo>
                    <a:lnTo>
                      <a:pt x="8546" y="1801"/>
                    </a:lnTo>
                    <a:lnTo>
                      <a:pt x="9457" y="959"/>
                    </a:lnTo>
                    <a:lnTo>
                      <a:pt x="854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3" name="Freeform 33"/>
              <p:cNvSpPr>
                <a:spLocks/>
              </p:cNvSpPr>
              <p:nvPr/>
            </p:nvSpPr>
            <p:spPr bwMode="auto">
              <a:xfrm>
                <a:off x="3273425" y="4040188"/>
                <a:ext cx="3175" cy="11112"/>
              </a:xfrm>
              <a:custGeom>
                <a:avLst/>
                <a:gdLst>
                  <a:gd name="T0" fmla="*/ 0 w 20000"/>
                  <a:gd name="T1" fmla="*/ 18824 h 20000"/>
                  <a:gd name="T2" fmla="*/ 0 w 20000"/>
                  <a:gd name="T3" fmla="*/ 0 h 20000"/>
                  <a:gd name="T4" fmla="*/ 16667 w 20000"/>
                  <a:gd name="T5" fmla="*/ 0 h 20000"/>
                  <a:gd name="T6" fmla="*/ 16667 w 20000"/>
                  <a:gd name="T7" fmla="*/ 7059 h 20000"/>
                  <a:gd name="T8" fmla="*/ 0 w 20000"/>
                  <a:gd name="T9" fmla="*/ 18824 h 20000"/>
                </a:gdLst>
                <a:ahLst/>
                <a:cxnLst>
                  <a:cxn ang="0">
                    <a:pos x="T0" y="T1"/>
                  </a:cxn>
                  <a:cxn ang="0">
                    <a:pos x="T2" y="T3"/>
                  </a:cxn>
                  <a:cxn ang="0">
                    <a:pos x="T4" y="T5"/>
                  </a:cxn>
                  <a:cxn ang="0">
                    <a:pos x="T6" y="T7"/>
                  </a:cxn>
                  <a:cxn ang="0">
                    <a:pos x="T8" y="T9"/>
                  </a:cxn>
                </a:cxnLst>
                <a:rect l="0" t="0" r="r" b="b"/>
                <a:pathLst>
                  <a:path w="20000" h="20000">
                    <a:moveTo>
                      <a:pt x="0" y="18824"/>
                    </a:moveTo>
                    <a:lnTo>
                      <a:pt x="0" y="0"/>
                    </a:lnTo>
                    <a:lnTo>
                      <a:pt x="16667" y="0"/>
                    </a:lnTo>
                    <a:lnTo>
                      <a:pt x="16667" y="7059"/>
                    </a:lnTo>
                    <a:lnTo>
                      <a:pt x="0"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4" name="Freeform 32"/>
              <p:cNvSpPr>
                <a:spLocks/>
              </p:cNvSpPr>
              <p:nvPr/>
            </p:nvSpPr>
            <p:spPr bwMode="auto">
              <a:xfrm>
                <a:off x="3344863" y="4267200"/>
                <a:ext cx="122237" cy="122238"/>
              </a:xfrm>
              <a:custGeom>
                <a:avLst/>
                <a:gdLst>
                  <a:gd name="T0" fmla="*/ 5285 w 20000"/>
                  <a:gd name="T1" fmla="*/ 0 h 20000"/>
                  <a:gd name="T2" fmla="*/ 10777 w 20000"/>
                  <a:gd name="T3" fmla="*/ 1563 h 20000"/>
                  <a:gd name="T4" fmla="*/ 15026 w 20000"/>
                  <a:gd name="T5" fmla="*/ 0 h 20000"/>
                  <a:gd name="T6" fmla="*/ 19896 w 20000"/>
                  <a:gd name="T7" fmla="*/ 1563 h 20000"/>
                  <a:gd name="T8" fmla="*/ 17202 w 20000"/>
                  <a:gd name="T9" fmla="*/ 4271 h 20000"/>
                  <a:gd name="T10" fmla="*/ 18238 w 20000"/>
                  <a:gd name="T11" fmla="*/ 10208 h 20000"/>
                  <a:gd name="T12" fmla="*/ 19275 w 20000"/>
                  <a:gd name="T13" fmla="*/ 12917 h 20000"/>
                  <a:gd name="T14" fmla="*/ 16684 w 20000"/>
                  <a:gd name="T15" fmla="*/ 17188 h 20000"/>
                  <a:gd name="T16" fmla="*/ 15026 w 20000"/>
                  <a:gd name="T17" fmla="*/ 15625 h 20000"/>
                  <a:gd name="T18" fmla="*/ 10777 w 20000"/>
                  <a:gd name="T19" fmla="*/ 16667 h 20000"/>
                  <a:gd name="T20" fmla="*/ 9741 w 20000"/>
                  <a:gd name="T21" fmla="*/ 19896 h 20000"/>
                  <a:gd name="T22" fmla="*/ 6943 w 20000"/>
                  <a:gd name="T23" fmla="*/ 19375 h 20000"/>
                  <a:gd name="T24" fmla="*/ 4249 w 20000"/>
                  <a:gd name="T25" fmla="*/ 12292 h 20000"/>
                  <a:gd name="T26" fmla="*/ 0 w 20000"/>
                  <a:gd name="T27" fmla="*/ 9688 h 20000"/>
                  <a:gd name="T28" fmla="*/ 1036 w 20000"/>
                  <a:gd name="T29" fmla="*/ 5938 h 20000"/>
                  <a:gd name="T30" fmla="*/ 4249 w 20000"/>
                  <a:gd name="T31" fmla="*/ 4271 h 20000"/>
                  <a:gd name="T32" fmla="*/ 5285 w 20000"/>
                  <a:gd name="T3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5285" y="0"/>
                    </a:moveTo>
                    <a:lnTo>
                      <a:pt x="10777" y="1563"/>
                    </a:lnTo>
                    <a:lnTo>
                      <a:pt x="15026" y="0"/>
                    </a:lnTo>
                    <a:lnTo>
                      <a:pt x="19896" y="1563"/>
                    </a:lnTo>
                    <a:lnTo>
                      <a:pt x="17202" y="4271"/>
                    </a:lnTo>
                    <a:lnTo>
                      <a:pt x="18238" y="10208"/>
                    </a:lnTo>
                    <a:lnTo>
                      <a:pt x="19275" y="12917"/>
                    </a:lnTo>
                    <a:lnTo>
                      <a:pt x="16684" y="17188"/>
                    </a:lnTo>
                    <a:lnTo>
                      <a:pt x="15026" y="15625"/>
                    </a:lnTo>
                    <a:lnTo>
                      <a:pt x="10777" y="16667"/>
                    </a:lnTo>
                    <a:lnTo>
                      <a:pt x="9741" y="19896"/>
                    </a:lnTo>
                    <a:lnTo>
                      <a:pt x="6943" y="19375"/>
                    </a:lnTo>
                    <a:lnTo>
                      <a:pt x="4249" y="12292"/>
                    </a:lnTo>
                    <a:lnTo>
                      <a:pt x="0" y="9688"/>
                    </a:lnTo>
                    <a:lnTo>
                      <a:pt x="1036" y="5938"/>
                    </a:lnTo>
                    <a:lnTo>
                      <a:pt x="4249" y="4271"/>
                    </a:lnTo>
                    <a:lnTo>
                      <a:pt x="528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5" name="Freeform 31"/>
              <p:cNvSpPr>
                <a:spLocks/>
              </p:cNvSpPr>
              <p:nvPr/>
            </p:nvSpPr>
            <p:spPr bwMode="auto">
              <a:xfrm>
                <a:off x="3394075" y="5334000"/>
                <a:ext cx="138113" cy="158750"/>
              </a:xfrm>
              <a:custGeom>
                <a:avLst/>
                <a:gdLst>
                  <a:gd name="T0" fmla="*/ 2385 w 20000"/>
                  <a:gd name="T1" fmla="*/ 0 h 20000"/>
                  <a:gd name="T2" fmla="*/ 3761 w 20000"/>
                  <a:gd name="T3" fmla="*/ 0 h 20000"/>
                  <a:gd name="T4" fmla="*/ 8991 w 20000"/>
                  <a:gd name="T5" fmla="*/ 3280 h 20000"/>
                  <a:gd name="T6" fmla="*/ 11284 w 20000"/>
                  <a:gd name="T7" fmla="*/ 3280 h 20000"/>
                  <a:gd name="T8" fmla="*/ 15138 w 20000"/>
                  <a:gd name="T9" fmla="*/ 5840 h 20000"/>
                  <a:gd name="T10" fmla="*/ 19908 w 20000"/>
                  <a:gd name="T11" fmla="*/ 9120 h 20000"/>
                  <a:gd name="T12" fmla="*/ 18899 w 20000"/>
                  <a:gd name="T13" fmla="*/ 11280 h 20000"/>
                  <a:gd name="T14" fmla="*/ 19908 w 20000"/>
                  <a:gd name="T15" fmla="*/ 14080 h 20000"/>
                  <a:gd name="T16" fmla="*/ 17523 w 20000"/>
                  <a:gd name="T17" fmla="*/ 17440 h 20000"/>
                  <a:gd name="T18" fmla="*/ 15138 w 20000"/>
                  <a:gd name="T19" fmla="*/ 19440 h 20000"/>
                  <a:gd name="T20" fmla="*/ 9908 w 20000"/>
                  <a:gd name="T21" fmla="*/ 19920 h 20000"/>
                  <a:gd name="T22" fmla="*/ 6147 w 20000"/>
                  <a:gd name="T23" fmla="*/ 17840 h 20000"/>
                  <a:gd name="T24" fmla="*/ 2844 w 20000"/>
                  <a:gd name="T25" fmla="*/ 17440 h 20000"/>
                  <a:gd name="T26" fmla="*/ 0 w 20000"/>
                  <a:gd name="T27" fmla="*/ 16160 h 20000"/>
                  <a:gd name="T28" fmla="*/ 0 w 20000"/>
                  <a:gd name="T29" fmla="*/ 12480 h 20000"/>
                  <a:gd name="T30" fmla="*/ 0 w 20000"/>
                  <a:gd name="T31" fmla="*/ 12080 h 20000"/>
                  <a:gd name="T32" fmla="*/ 0 w 20000"/>
                  <a:gd name="T33" fmla="*/ 10000 h 20000"/>
                  <a:gd name="T34" fmla="*/ 0 w 20000"/>
                  <a:gd name="T35" fmla="*/ 6720 h 20000"/>
                  <a:gd name="T36" fmla="*/ 367 w 20000"/>
                  <a:gd name="T37" fmla="*/ 3280 h 20000"/>
                  <a:gd name="T38" fmla="*/ 367 w 20000"/>
                  <a:gd name="T39" fmla="*/ 480 h 20000"/>
                  <a:gd name="T40" fmla="*/ 2385 w 20000"/>
                  <a:gd name="T4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2385" y="0"/>
                    </a:moveTo>
                    <a:lnTo>
                      <a:pt x="3761" y="0"/>
                    </a:lnTo>
                    <a:lnTo>
                      <a:pt x="8991" y="3280"/>
                    </a:lnTo>
                    <a:lnTo>
                      <a:pt x="11284" y="3280"/>
                    </a:lnTo>
                    <a:lnTo>
                      <a:pt x="15138" y="5840"/>
                    </a:lnTo>
                    <a:lnTo>
                      <a:pt x="19908" y="9120"/>
                    </a:lnTo>
                    <a:lnTo>
                      <a:pt x="18899" y="11280"/>
                    </a:lnTo>
                    <a:lnTo>
                      <a:pt x="19908" y="14080"/>
                    </a:lnTo>
                    <a:lnTo>
                      <a:pt x="17523" y="17440"/>
                    </a:lnTo>
                    <a:lnTo>
                      <a:pt x="15138" y="19440"/>
                    </a:lnTo>
                    <a:lnTo>
                      <a:pt x="9908" y="19920"/>
                    </a:lnTo>
                    <a:lnTo>
                      <a:pt x="6147" y="17840"/>
                    </a:lnTo>
                    <a:lnTo>
                      <a:pt x="2844" y="17440"/>
                    </a:lnTo>
                    <a:lnTo>
                      <a:pt x="0" y="16160"/>
                    </a:lnTo>
                    <a:lnTo>
                      <a:pt x="0" y="12480"/>
                    </a:lnTo>
                    <a:lnTo>
                      <a:pt x="0" y="12080"/>
                    </a:lnTo>
                    <a:lnTo>
                      <a:pt x="0" y="10000"/>
                    </a:lnTo>
                    <a:lnTo>
                      <a:pt x="0" y="6720"/>
                    </a:lnTo>
                    <a:lnTo>
                      <a:pt x="367" y="3280"/>
                    </a:lnTo>
                    <a:lnTo>
                      <a:pt x="367" y="480"/>
                    </a:lnTo>
                    <a:lnTo>
                      <a:pt x="238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6" name="Freeform 30"/>
              <p:cNvSpPr>
                <a:spLocks/>
              </p:cNvSpPr>
              <p:nvPr/>
            </p:nvSpPr>
            <p:spPr bwMode="auto">
              <a:xfrm>
                <a:off x="2924175" y="4086225"/>
                <a:ext cx="379413" cy="328613"/>
              </a:xfrm>
              <a:custGeom>
                <a:avLst/>
                <a:gdLst>
                  <a:gd name="T0" fmla="*/ 2077 w 20000"/>
                  <a:gd name="T1" fmla="*/ 1429 h 20000"/>
                  <a:gd name="T2" fmla="*/ 2077 w 20000"/>
                  <a:gd name="T3" fmla="*/ 3243 h 20000"/>
                  <a:gd name="T4" fmla="*/ 2077 w 20000"/>
                  <a:gd name="T5" fmla="*/ 5598 h 20000"/>
                  <a:gd name="T6" fmla="*/ 3149 w 20000"/>
                  <a:gd name="T7" fmla="*/ 4208 h 20000"/>
                  <a:gd name="T8" fmla="*/ 3484 w 20000"/>
                  <a:gd name="T9" fmla="*/ 2008 h 20000"/>
                  <a:gd name="T10" fmla="*/ 4523 w 20000"/>
                  <a:gd name="T11" fmla="*/ 1004 h 20000"/>
                  <a:gd name="T12" fmla="*/ 5360 w 20000"/>
                  <a:gd name="T13" fmla="*/ 1429 h 20000"/>
                  <a:gd name="T14" fmla="*/ 7136 w 20000"/>
                  <a:gd name="T15" fmla="*/ 2008 h 20000"/>
                  <a:gd name="T16" fmla="*/ 9045 w 20000"/>
                  <a:gd name="T17" fmla="*/ 3012 h 20000"/>
                  <a:gd name="T18" fmla="*/ 10921 w 20000"/>
                  <a:gd name="T19" fmla="*/ 3629 h 20000"/>
                  <a:gd name="T20" fmla="*/ 14070 w 20000"/>
                  <a:gd name="T21" fmla="*/ 3243 h 20000"/>
                  <a:gd name="T22" fmla="*/ 16817 w 20000"/>
                  <a:gd name="T23" fmla="*/ 3012 h 20000"/>
                  <a:gd name="T24" fmla="*/ 16114 w 20000"/>
                  <a:gd name="T25" fmla="*/ 4208 h 20000"/>
                  <a:gd name="T26" fmla="*/ 18392 w 20000"/>
                  <a:gd name="T27" fmla="*/ 5212 h 20000"/>
                  <a:gd name="T28" fmla="*/ 19062 w 20000"/>
                  <a:gd name="T29" fmla="*/ 6409 h 20000"/>
                  <a:gd name="T30" fmla="*/ 18559 w 20000"/>
                  <a:gd name="T31" fmla="*/ 8378 h 20000"/>
                  <a:gd name="T32" fmla="*/ 18023 w 20000"/>
                  <a:gd name="T33" fmla="*/ 9807 h 20000"/>
                  <a:gd name="T34" fmla="*/ 17521 w 20000"/>
                  <a:gd name="T35" fmla="*/ 11390 h 20000"/>
                  <a:gd name="T36" fmla="*/ 17521 w 20000"/>
                  <a:gd name="T37" fmla="*/ 13591 h 20000"/>
                  <a:gd name="T38" fmla="*/ 15276 w 20000"/>
                  <a:gd name="T39" fmla="*/ 14788 h 20000"/>
                  <a:gd name="T40" fmla="*/ 12127 w 20000"/>
                  <a:gd name="T41" fmla="*/ 14208 h 20000"/>
                  <a:gd name="T42" fmla="*/ 13032 w 20000"/>
                  <a:gd name="T43" fmla="*/ 16757 h 20000"/>
                  <a:gd name="T44" fmla="*/ 14573 w 20000"/>
                  <a:gd name="T45" fmla="*/ 17761 h 20000"/>
                  <a:gd name="T46" fmla="*/ 10921 w 20000"/>
                  <a:gd name="T47" fmla="*/ 19768 h 20000"/>
                  <a:gd name="T48" fmla="*/ 9045 w 20000"/>
                  <a:gd name="T49" fmla="*/ 19382 h 20000"/>
                  <a:gd name="T50" fmla="*/ 8174 w 20000"/>
                  <a:gd name="T51" fmla="*/ 16178 h 20000"/>
                  <a:gd name="T52" fmla="*/ 7973 w 20000"/>
                  <a:gd name="T53" fmla="*/ 14208 h 20000"/>
                  <a:gd name="T54" fmla="*/ 8509 w 20000"/>
                  <a:gd name="T55" fmla="*/ 10579 h 20000"/>
                  <a:gd name="T56" fmla="*/ 4523 w 20000"/>
                  <a:gd name="T57" fmla="*/ 9382 h 20000"/>
                  <a:gd name="T58" fmla="*/ 1240 w 20000"/>
                  <a:gd name="T59" fmla="*/ 8378 h 20000"/>
                  <a:gd name="T60" fmla="*/ 369 w 20000"/>
                  <a:gd name="T61" fmla="*/ 5212 h 20000"/>
                  <a:gd name="T62" fmla="*/ 0 w 20000"/>
                  <a:gd name="T63" fmla="*/ 4208 h 20000"/>
                  <a:gd name="T64" fmla="*/ 704 w 20000"/>
                  <a:gd name="T65" fmla="*/ 2625 h 20000"/>
                  <a:gd name="T66" fmla="*/ 1742 w 20000"/>
                  <a:gd name="T67" fmla="*/ 618 h 20000"/>
                  <a:gd name="T68" fmla="*/ 3149 w 20000"/>
                  <a:gd name="T6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3149" y="0"/>
                    </a:moveTo>
                    <a:lnTo>
                      <a:pt x="2077" y="1429"/>
                    </a:lnTo>
                    <a:lnTo>
                      <a:pt x="2077" y="2008"/>
                    </a:lnTo>
                    <a:lnTo>
                      <a:pt x="2077" y="3243"/>
                    </a:lnTo>
                    <a:lnTo>
                      <a:pt x="1575" y="4208"/>
                    </a:lnTo>
                    <a:lnTo>
                      <a:pt x="2077" y="5598"/>
                    </a:lnTo>
                    <a:lnTo>
                      <a:pt x="2948" y="5598"/>
                    </a:lnTo>
                    <a:lnTo>
                      <a:pt x="3149" y="4208"/>
                    </a:lnTo>
                    <a:lnTo>
                      <a:pt x="2948" y="2625"/>
                    </a:lnTo>
                    <a:lnTo>
                      <a:pt x="3484" y="2008"/>
                    </a:lnTo>
                    <a:lnTo>
                      <a:pt x="4858" y="1583"/>
                    </a:lnTo>
                    <a:lnTo>
                      <a:pt x="4523" y="1004"/>
                    </a:lnTo>
                    <a:lnTo>
                      <a:pt x="4858" y="0"/>
                    </a:lnTo>
                    <a:lnTo>
                      <a:pt x="5360" y="1429"/>
                    </a:lnTo>
                    <a:lnTo>
                      <a:pt x="5896" y="1429"/>
                    </a:lnTo>
                    <a:lnTo>
                      <a:pt x="7136" y="2008"/>
                    </a:lnTo>
                    <a:lnTo>
                      <a:pt x="7270" y="3012"/>
                    </a:lnTo>
                    <a:lnTo>
                      <a:pt x="9045" y="3012"/>
                    </a:lnTo>
                    <a:lnTo>
                      <a:pt x="10419" y="3012"/>
                    </a:lnTo>
                    <a:lnTo>
                      <a:pt x="10921" y="3629"/>
                    </a:lnTo>
                    <a:lnTo>
                      <a:pt x="12663" y="3784"/>
                    </a:lnTo>
                    <a:lnTo>
                      <a:pt x="14070" y="3243"/>
                    </a:lnTo>
                    <a:lnTo>
                      <a:pt x="13166" y="3012"/>
                    </a:lnTo>
                    <a:lnTo>
                      <a:pt x="16817" y="3012"/>
                    </a:lnTo>
                    <a:lnTo>
                      <a:pt x="15444" y="3243"/>
                    </a:lnTo>
                    <a:lnTo>
                      <a:pt x="16114" y="4208"/>
                    </a:lnTo>
                    <a:lnTo>
                      <a:pt x="17521" y="4208"/>
                    </a:lnTo>
                    <a:lnTo>
                      <a:pt x="18392" y="5212"/>
                    </a:lnTo>
                    <a:lnTo>
                      <a:pt x="18559" y="6409"/>
                    </a:lnTo>
                    <a:lnTo>
                      <a:pt x="19062" y="6409"/>
                    </a:lnTo>
                    <a:lnTo>
                      <a:pt x="19966" y="7181"/>
                    </a:lnTo>
                    <a:lnTo>
                      <a:pt x="18559" y="8378"/>
                    </a:lnTo>
                    <a:lnTo>
                      <a:pt x="19062" y="9382"/>
                    </a:lnTo>
                    <a:lnTo>
                      <a:pt x="18023" y="9807"/>
                    </a:lnTo>
                    <a:lnTo>
                      <a:pt x="18023" y="10425"/>
                    </a:lnTo>
                    <a:lnTo>
                      <a:pt x="17521" y="11390"/>
                    </a:lnTo>
                    <a:lnTo>
                      <a:pt x="18559" y="12587"/>
                    </a:lnTo>
                    <a:lnTo>
                      <a:pt x="17521" y="13591"/>
                    </a:lnTo>
                    <a:lnTo>
                      <a:pt x="15779" y="14208"/>
                    </a:lnTo>
                    <a:lnTo>
                      <a:pt x="15276" y="14788"/>
                    </a:lnTo>
                    <a:lnTo>
                      <a:pt x="13534" y="14208"/>
                    </a:lnTo>
                    <a:lnTo>
                      <a:pt x="12127" y="14208"/>
                    </a:lnTo>
                    <a:lnTo>
                      <a:pt x="13166" y="15174"/>
                    </a:lnTo>
                    <a:lnTo>
                      <a:pt x="13032" y="16757"/>
                    </a:lnTo>
                    <a:lnTo>
                      <a:pt x="14405" y="17143"/>
                    </a:lnTo>
                    <a:lnTo>
                      <a:pt x="14573" y="17761"/>
                    </a:lnTo>
                    <a:lnTo>
                      <a:pt x="13166" y="18803"/>
                    </a:lnTo>
                    <a:lnTo>
                      <a:pt x="10921" y="19768"/>
                    </a:lnTo>
                    <a:lnTo>
                      <a:pt x="9883" y="19961"/>
                    </a:lnTo>
                    <a:lnTo>
                      <a:pt x="9045" y="19382"/>
                    </a:lnTo>
                    <a:lnTo>
                      <a:pt x="8509" y="17375"/>
                    </a:lnTo>
                    <a:lnTo>
                      <a:pt x="8174" y="16178"/>
                    </a:lnTo>
                    <a:lnTo>
                      <a:pt x="8509" y="15174"/>
                    </a:lnTo>
                    <a:lnTo>
                      <a:pt x="7973" y="14208"/>
                    </a:lnTo>
                    <a:lnTo>
                      <a:pt x="7638" y="12162"/>
                    </a:lnTo>
                    <a:lnTo>
                      <a:pt x="8509" y="10579"/>
                    </a:lnTo>
                    <a:lnTo>
                      <a:pt x="5360" y="10579"/>
                    </a:lnTo>
                    <a:lnTo>
                      <a:pt x="4523" y="9382"/>
                    </a:lnTo>
                    <a:lnTo>
                      <a:pt x="2278" y="9382"/>
                    </a:lnTo>
                    <a:lnTo>
                      <a:pt x="1240" y="8378"/>
                    </a:lnTo>
                    <a:lnTo>
                      <a:pt x="1240" y="7181"/>
                    </a:lnTo>
                    <a:lnTo>
                      <a:pt x="369" y="5212"/>
                    </a:lnTo>
                    <a:lnTo>
                      <a:pt x="0" y="5212"/>
                    </a:lnTo>
                    <a:lnTo>
                      <a:pt x="0" y="4208"/>
                    </a:lnTo>
                    <a:lnTo>
                      <a:pt x="0" y="3629"/>
                    </a:lnTo>
                    <a:lnTo>
                      <a:pt x="704" y="2625"/>
                    </a:lnTo>
                    <a:lnTo>
                      <a:pt x="1575" y="1583"/>
                    </a:lnTo>
                    <a:lnTo>
                      <a:pt x="1742" y="618"/>
                    </a:lnTo>
                    <a:lnTo>
                      <a:pt x="2613" y="425"/>
                    </a:lnTo>
                    <a:lnTo>
                      <a:pt x="314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7" name="Freeform 29"/>
              <p:cNvSpPr>
                <a:spLocks/>
              </p:cNvSpPr>
              <p:nvPr/>
            </p:nvSpPr>
            <p:spPr bwMode="auto">
              <a:xfrm>
                <a:off x="1638300" y="2738438"/>
                <a:ext cx="1585913" cy="950912"/>
              </a:xfrm>
              <a:custGeom>
                <a:avLst/>
                <a:gdLst>
                  <a:gd name="T0" fmla="*/ 11494 w 20000"/>
                  <a:gd name="T1" fmla="*/ 1176 h 20000"/>
                  <a:gd name="T2" fmla="*/ 11694 w 20000"/>
                  <a:gd name="T3" fmla="*/ 2071 h 20000"/>
                  <a:gd name="T4" fmla="*/ 12070 w 20000"/>
                  <a:gd name="T5" fmla="*/ 2565 h 20000"/>
                  <a:gd name="T6" fmla="*/ 12479 w 20000"/>
                  <a:gd name="T7" fmla="*/ 2979 h 20000"/>
                  <a:gd name="T8" fmla="*/ 11950 w 20000"/>
                  <a:gd name="T9" fmla="*/ 3794 h 20000"/>
                  <a:gd name="T10" fmla="*/ 12815 w 20000"/>
                  <a:gd name="T11" fmla="*/ 3794 h 20000"/>
                  <a:gd name="T12" fmla="*/ 13144 w 20000"/>
                  <a:gd name="T13" fmla="*/ 3527 h 20000"/>
                  <a:gd name="T14" fmla="*/ 13360 w 20000"/>
                  <a:gd name="T15" fmla="*/ 4075 h 20000"/>
                  <a:gd name="T16" fmla="*/ 14145 w 20000"/>
                  <a:gd name="T17" fmla="*/ 4008 h 20000"/>
                  <a:gd name="T18" fmla="*/ 14441 w 20000"/>
                  <a:gd name="T19" fmla="*/ 4703 h 20000"/>
                  <a:gd name="T20" fmla="*/ 13480 w 20000"/>
                  <a:gd name="T21" fmla="*/ 4770 h 20000"/>
                  <a:gd name="T22" fmla="*/ 13024 w 20000"/>
                  <a:gd name="T23" fmla="*/ 6146 h 20000"/>
                  <a:gd name="T24" fmla="*/ 12815 w 20000"/>
                  <a:gd name="T25" fmla="*/ 8016 h 20000"/>
                  <a:gd name="T26" fmla="*/ 13264 w 20000"/>
                  <a:gd name="T27" fmla="*/ 6907 h 20000"/>
                  <a:gd name="T28" fmla="*/ 13769 w 20000"/>
                  <a:gd name="T29" fmla="*/ 5464 h 20000"/>
                  <a:gd name="T30" fmla="*/ 14145 w 20000"/>
                  <a:gd name="T31" fmla="*/ 4916 h 20000"/>
                  <a:gd name="T32" fmla="*/ 14345 w 20000"/>
                  <a:gd name="T33" fmla="*/ 6226 h 20000"/>
                  <a:gd name="T34" fmla="*/ 14642 w 20000"/>
                  <a:gd name="T35" fmla="*/ 6359 h 20000"/>
                  <a:gd name="T36" fmla="*/ 14441 w 20000"/>
                  <a:gd name="T37" fmla="*/ 7615 h 20000"/>
                  <a:gd name="T38" fmla="*/ 15226 w 20000"/>
                  <a:gd name="T39" fmla="*/ 8363 h 20000"/>
                  <a:gd name="T40" fmla="*/ 15843 w 20000"/>
                  <a:gd name="T41" fmla="*/ 7321 h 20000"/>
                  <a:gd name="T42" fmla="*/ 16636 w 20000"/>
                  <a:gd name="T43" fmla="*/ 6987 h 20000"/>
                  <a:gd name="T44" fmla="*/ 18502 w 20000"/>
                  <a:gd name="T45" fmla="*/ 5878 h 20000"/>
                  <a:gd name="T46" fmla="*/ 19584 w 20000"/>
                  <a:gd name="T47" fmla="*/ 4342 h 20000"/>
                  <a:gd name="T48" fmla="*/ 19784 w 20000"/>
                  <a:gd name="T49" fmla="*/ 5464 h 20000"/>
                  <a:gd name="T50" fmla="*/ 19455 w 20000"/>
                  <a:gd name="T51" fmla="*/ 6440 h 20000"/>
                  <a:gd name="T52" fmla="*/ 18502 w 20000"/>
                  <a:gd name="T53" fmla="*/ 8016 h 20000"/>
                  <a:gd name="T54" fmla="*/ 18783 w 20000"/>
                  <a:gd name="T55" fmla="*/ 8577 h 20000"/>
                  <a:gd name="T56" fmla="*/ 17461 w 20000"/>
                  <a:gd name="T57" fmla="*/ 9058 h 20000"/>
                  <a:gd name="T58" fmla="*/ 17253 w 20000"/>
                  <a:gd name="T59" fmla="*/ 9339 h 20000"/>
                  <a:gd name="T60" fmla="*/ 16916 w 20000"/>
                  <a:gd name="T61" fmla="*/ 10514 h 20000"/>
                  <a:gd name="T62" fmla="*/ 16756 w 20000"/>
                  <a:gd name="T63" fmla="*/ 10701 h 20000"/>
                  <a:gd name="T64" fmla="*/ 16388 w 20000"/>
                  <a:gd name="T65" fmla="*/ 10514 h 20000"/>
                  <a:gd name="T66" fmla="*/ 16211 w 20000"/>
                  <a:gd name="T67" fmla="*/ 10915 h 20000"/>
                  <a:gd name="T68" fmla="*/ 16211 w 20000"/>
                  <a:gd name="T69" fmla="*/ 11476 h 20000"/>
                  <a:gd name="T70" fmla="*/ 16388 w 20000"/>
                  <a:gd name="T71" fmla="*/ 12585 h 20000"/>
                  <a:gd name="T72" fmla="*/ 16051 w 20000"/>
                  <a:gd name="T73" fmla="*/ 12585 h 20000"/>
                  <a:gd name="T74" fmla="*/ 15963 w 20000"/>
                  <a:gd name="T75" fmla="*/ 13066 h 20000"/>
                  <a:gd name="T76" fmla="*/ 14970 w 20000"/>
                  <a:gd name="T77" fmla="*/ 14522 h 20000"/>
                  <a:gd name="T78" fmla="*/ 14145 w 20000"/>
                  <a:gd name="T79" fmla="*/ 17088 h 20000"/>
                  <a:gd name="T80" fmla="*/ 14145 w 20000"/>
                  <a:gd name="T81" fmla="*/ 19987 h 20000"/>
                  <a:gd name="T82" fmla="*/ 13560 w 20000"/>
                  <a:gd name="T83" fmla="*/ 18731 h 20000"/>
                  <a:gd name="T84" fmla="*/ 13480 w 20000"/>
                  <a:gd name="T85" fmla="*/ 17635 h 20000"/>
                  <a:gd name="T86" fmla="*/ 12687 w 20000"/>
                  <a:gd name="T87" fmla="*/ 16927 h 20000"/>
                  <a:gd name="T88" fmla="*/ 11742 w 20000"/>
                  <a:gd name="T89" fmla="*/ 16326 h 20000"/>
                  <a:gd name="T90" fmla="*/ 11197 w 20000"/>
                  <a:gd name="T91" fmla="*/ 16727 h 20000"/>
                  <a:gd name="T92" fmla="*/ 10453 w 20000"/>
                  <a:gd name="T93" fmla="*/ 16874 h 20000"/>
                  <a:gd name="T94" fmla="*/ 9083 w 20000"/>
                  <a:gd name="T95" fmla="*/ 17141 h 20000"/>
                  <a:gd name="T96" fmla="*/ 8250 w 20000"/>
                  <a:gd name="T97" fmla="*/ 19078 h 20000"/>
                  <a:gd name="T98" fmla="*/ 7505 w 20000"/>
                  <a:gd name="T99" fmla="*/ 18049 h 20000"/>
                  <a:gd name="T100" fmla="*/ 6712 w 20000"/>
                  <a:gd name="T101" fmla="*/ 16379 h 20000"/>
                  <a:gd name="T102" fmla="*/ 5847 w 20000"/>
                  <a:gd name="T103" fmla="*/ 15832 h 20000"/>
                  <a:gd name="T104" fmla="*/ 4766 w 20000"/>
                  <a:gd name="T105" fmla="*/ 15150 h 20000"/>
                  <a:gd name="T106" fmla="*/ 2491 w 20000"/>
                  <a:gd name="T107" fmla="*/ 13975 h 20000"/>
                  <a:gd name="T108" fmla="*/ 1370 w 20000"/>
                  <a:gd name="T109" fmla="*/ 12933 h 20000"/>
                  <a:gd name="T110" fmla="*/ 705 w 20000"/>
                  <a:gd name="T111" fmla="*/ 11824 h 20000"/>
                  <a:gd name="T112" fmla="*/ 328 w 20000"/>
                  <a:gd name="T113" fmla="*/ 10367 h 20000"/>
                  <a:gd name="T114" fmla="*/ 408 w 20000"/>
                  <a:gd name="T115" fmla="*/ 9472 h 20000"/>
                  <a:gd name="T116" fmla="*/ 80 w 20000"/>
                  <a:gd name="T117" fmla="*/ 8016 h 20000"/>
                  <a:gd name="T118" fmla="*/ 288 w 20000"/>
                  <a:gd name="T119" fmla="*/ 5464 h 20000"/>
                  <a:gd name="T120" fmla="*/ 1081 w 20000"/>
                  <a:gd name="T121" fmla="*/ 2004 h 20000"/>
                  <a:gd name="T122" fmla="*/ 1618 w 20000"/>
                  <a:gd name="T123" fmla="*/ 1309 h 20000"/>
                  <a:gd name="T124" fmla="*/ 1898 w 20000"/>
                  <a:gd name="T125" fmla="*/ 41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0989" y="1523"/>
                    </a:moveTo>
                    <a:lnTo>
                      <a:pt x="11278" y="962"/>
                    </a:lnTo>
                    <a:lnTo>
                      <a:pt x="11494" y="1176"/>
                    </a:lnTo>
                    <a:lnTo>
                      <a:pt x="11494" y="1804"/>
                    </a:lnTo>
                    <a:lnTo>
                      <a:pt x="11197" y="1804"/>
                    </a:lnTo>
                    <a:lnTo>
                      <a:pt x="11694" y="2071"/>
                    </a:lnTo>
                    <a:lnTo>
                      <a:pt x="11694" y="1804"/>
                    </a:lnTo>
                    <a:lnTo>
                      <a:pt x="11950" y="2351"/>
                    </a:lnTo>
                    <a:lnTo>
                      <a:pt x="12070" y="2565"/>
                    </a:lnTo>
                    <a:lnTo>
                      <a:pt x="12559" y="2619"/>
                    </a:lnTo>
                    <a:lnTo>
                      <a:pt x="12936" y="2766"/>
                    </a:lnTo>
                    <a:lnTo>
                      <a:pt x="12479" y="2979"/>
                    </a:lnTo>
                    <a:lnTo>
                      <a:pt x="12151" y="3327"/>
                    </a:lnTo>
                    <a:lnTo>
                      <a:pt x="11822" y="3794"/>
                    </a:lnTo>
                    <a:lnTo>
                      <a:pt x="11950" y="3794"/>
                    </a:lnTo>
                    <a:lnTo>
                      <a:pt x="12199" y="3661"/>
                    </a:lnTo>
                    <a:lnTo>
                      <a:pt x="12151" y="3874"/>
                    </a:lnTo>
                    <a:lnTo>
                      <a:pt x="12815" y="3794"/>
                    </a:lnTo>
                    <a:lnTo>
                      <a:pt x="13232" y="3327"/>
                    </a:lnTo>
                    <a:lnTo>
                      <a:pt x="13360" y="3327"/>
                    </a:lnTo>
                    <a:lnTo>
                      <a:pt x="13144" y="3527"/>
                    </a:lnTo>
                    <a:lnTo>
                      <a:pt x="13024" y="3874"/>
                    </a:lnTo>
                    <a:lnTo>
                      <a:pt x="13264" y="3874"/>
                    </a:lnTo>
                    <a:lnTo>
                      <a:pt x="13360" y="4075"/>
                    </a:lnTo>
                    <a:lnTo>
                      <a:pt x="13560" y="4208"/>
                    </a:lnTo>
                    <a:lnTo>
                      <a:pt x="13769" y="4075"/>
                    </a:lnTo>
                    <a:lnTo>
                      <a:pt x="14145" y="4008"/>
                    </a:lnTo>
                    <a:lnTo>
                      <a:pt x="14145" y="4342"/>
                    </a:lnTo>
                    <a:lnTo>
                      <a:pt x="14345" y="4422"/>
                    </a:lnTo>
                    <a:lnTo>
                      <a:pt x="14441" y="4703"/>
                    </a:lnTo>
                    <a:lnTo>
                      <a:pt x="14225" y="4703"/>
                    </a:lnTo>
                    <a:lnTo>
                      <a:pt x="13897" y="4556"/>
                    </a:lnTo>
                    <a:lnTo>
                      <a:pt x="13480" y="4770"/>
                    </a:lnTo>
                    <a:lnTo>
                      <a:pt x="12936" y="5678"/>
                    </a:lnTo>
                    <a:lnTo>
                      <a:pt x="13360" y="5104"/>
                    </a:lnTo>
                    <a:lnTo>
                      <a:pt x="13024" y="6146"/>
                    </a:lnTo>
                    <a:lnTo>
                      <a:pt x="12903" y="6774"/>
                    </a:lnTo>
                    <a:lnTo>
                      <a:pt x="12815" y="7455"/>
                    </a:lnTo>
                    <a:lnTo>
                      <a:pt x="12815" y="8016"/>
                    </a:lnTo>
                    <a:lnTo>
                      <a:pt x="13104" y="8016"/>
                    </a:lnTo>
                    <a:lnTo>
                      <a:pt x="13264" y="7615"/>
                    </a:lnTo>
                    <a:lnTo>
                      <a:pt x="13264" y="6907"/>
                    </a:lnTo>
                    <a:lnTo>
                      <a:pt x="13360" y="6359"/>
                    </a:lnTo>
                    <a:lnTo>
                      <a:pt x="13480" y="5812"/>
                    </a:lnTo>
                    <a:lnTo>
                      <a:pt x="13769" y="5464"/>
                    </a:lnTo>
                    <a:lnTo>
                      <a:pt x="13897" y="5317"/>
                    </a:lnTo>
                    <a:lnTo>
                      <a:pt x="14017" y="4970"/>
                    </a:lnTo>
                    <a:lnTo>
                      <a:pt x="14145" y="4916"/>
                    </a:lnTo>
                    <a:lnTo>
                      <a:pt x="14553" y="5317"/>
                    </a:lnTo>
                    <a:lnTo>
                      <a:pt x="14553" y="5812"/>
                    </a:lnTo>
                    <a:lnTo>
                      <a:pt x="14345" y="6226"/>
                    </a:lnTo>
                    <a:lnTo>
                      <a:pt x="14225" y="6707"/>
                    </a:lnTo>
                    <a:lnTo>
                      <a:pt x="14345" y="6440"/>
                    </a:lnTo>
                    <a:lnTo>
                      <a:pt x="14642" y="6359"/>
                    </a:lnTo>
                    <a:lnTo>
                      <a:pt x="14642" y="6707"/>
                    </a:lnTo>
                    <a:lnTo>
                      <a:pt x="14642" y="7121"/>
                    </a:lnTo>
                    <a:lnTo>
                      <a:pt x="14441" y="7615"/>
                    </a:lnTo>
                    <a:lnTo>
                      <a:pt x="14145" y="8163"/>
                    </a:lnTo>
                    <a:lnTo>
                      <a:pt x="14642" y="8363"/>
                    </a:lnTo>
                    <a:lnTo>
                      <a:pt x="15226" y="8363"/>
                    </a:lnTo>
                    <a:lnTo>
                      <a:pt x="15635" y="8016"/>
                    </a:lnTo>
                    <a:lnTo>
                      <a:pt x="15883" y="7669"/>
                    </a:lnTo>
                    <a:lnTo>
                      <a:pt x="15843" y="7321"/>
                    </a:lnTo>
                    <a:lnTo>
                      <a:pt x="15763" y="7121"/>
                    </a:lnTo>
                    <a:lnTo>
                      <a:pt x="16388" y="7121"/>
                    </a:lnTo>
                    <a:lnTo>
                      <a:pt x="16636" y="6987"/>
                    </a:lnTo>
                    <a:lnTo>
                      <a:pt x="17173" y="6573"/>
                    </a:lnTo>
                    <a:lnTo>
                      <a:pt x="17373" y="5878"/>
                    </a:lnTo>
                    <a:lnTo>
                      <a:pt x="18502" y="5878"/>
                    </a:lnTo>
                    <a:lnTo>
                      <a:pt x="18702" y="5812"/>
                    </a:lnTo>
                    <a:lnTo>
                      <a:pt x="19535" y="4075"/>
                    </a:lnTo>
                    <a:lnTo>
                      <a:pt x="19584" y="4342"/>
                    </a:lnTo>
                    <a:lnTo>
                      <a:pt x="19864" y="4208"/>
                    </a:lnTo>
                    <a:lnTo>
                      <a:pt x="19992" y="4422"/>
                    </a:lnTo>
                    <a:lnTo>
                      <a:pt x="19784" y="5464"/>
                    </a:lnTo>
                    <a:lnTo>
                      <a:pt x="19992" y="6012"/>
                    </a:lnTo>
                    <a:lnTo>
                      <a:pt x="19912" y="6440"/>
                    </a:lnTo>
                    <a:lnTo>
                      <a:pt x="19455" y="6440"/>
                    </a:lnTo>
                    <a:lnTo>
                      <a:pt x="19207" y="6907"/>
                    </a:lnTo>
                    <a:lnTo>
                      <a:pt x="18783" y="7321"/>
                    </a:lnTo>
                    <a:lnTo>
                      <a:pt x="18502" y="8016"/>
                    </a:lnTo>
                    <a:lnTo>
                      <a:pt x="18582" y="8363"/>
                    </a:lnTo>
                    <a:lnTo>
                      <a:pt x="18783" y="8363"/>
                    </a:lnTo>
                    <a:lnTo>
                      <a:pt x="18783" y="8577"/>
                    </a:lnTo>
                    <a:lnTo>
                      <a:pt x="18334" y="8711"/>
                    </a:lnTo>
                    <a:lnTo>
                      <a:pt x="17958" y="8791"/>
                    </a:lnTo>
                    <a:lnTo>
                      <a:pt x="17461" y="9058"/>
                    </a:lnTo>
                    <a:lnTo>
                      <a:pt x="17918" y="9058"/>
                    </a:lnTo>
                    <a:lnTo>
                      <a:pt x="17461" y="9259"/>
                    </a:lnTo>
                    <a:lnTo>
                      <a:pt x="17253" y="9339"/>
                    </a:lnTo>
                    <a:lnTo>
                      <a:pt x="17293" y="9472"/>
                    </a:lnTo>
                    <a:lnTo>
                      <a:pt x="17173" y="9886"/>
                    </a:lnTo>
                    <a:lnTo>
                      <a:pt x="16916" y="10514"/>
                    </a:lnTo>
                    <a:lnTo>
                      <a:pt x="16716" y="10154"/>
                    </a:lnTo>
                    <a:lnTo>
                      <a:pt x="16716" y="10367"/>
                    </a:lnTo>
                    <a:lnTo>
                      <a:pt x="16756" y="10701"/>
                    </a:lnTo>
                    <a:lnTo>
                      <a:pt x="16508" y="11329"/>
                    </a:lnTo>
                    <a:lnTo>
                      <a:pt x="16428" y="10782"/>
                    </a:lnTo>
                    <a:lnTo>
                      <a:pt x="16388" y="10514"/>
                    </a:lnTo>
                    <a:lnTo>
                      <a:pt x="16508" y="10020"/>
                    </a:lnTo>
                    <a:lnTo>
                      <a:pt x="16308" y="10154"/>
                    </a:lnTo>
                    <a:lnTo>
                      <a:pt x="16211" y="10915"/>
                    </a:lnTo>
                    <a:lnTo>
                      <a:pt x="15963" y="10782"/>
                    </a:lnTo>
                    <a:lnTo>
                      <a:pt x="16308" y="11276"/>
                    </a:lnTo>
                    <a:lnTo>
                      <a:pt x="16211" y="11476"/>
                    </a:lnTo>
                    <a:lnTo>
                      <a:pt x="16179" y="11957"/>
                    </a:lnTo>
                    <a:lnTo>
                      <a:pt x="16388" y="12037"/>
                    </a:lnTo>
                    <a:lnTo>
                      <a:pt x="16388" y="12585"/>
                    </a:lnTo>
                    <a:lnTo>
                      <a:pt x="16308" y="12238"/>
                    </a:lnTo>
                    <a:lnTo>
                      <a:pt x="16211" y="12505"/>
                    </a:lnTo>
                    <a:lnTo>
                      <a:pt x="16051" y="12585"/>
                    </a:lnTo>
                    <a:lnTo>
                      <a:pt x="16388" y="12719"/>
                    </a:lnTo>
                    <a:lnTo>
                      <a:pt x="16211" y="13133"/>
                    </a:lnTo>
                    <a:lnTo>
                      <a:pt x="15963" y="13066"/>
                    </a:lnTo>
                    <a:lnTo>
                      <a:pt x="16091" y="13413"/>
                    </a:lnTo>
                    <a:lnTo>
                      <a:pt x="15427" y="14028"/>
                    </a:lnTo>
                    <a:lnTo>
                      <a:pt x="14970" y="14522"/>
                    </a:lnTo>
                    <a:lnTo>
                      <a:pt x="14473" y="15070"/>
                    </a:lnTo>
                    <a:lnTo>
                      <a:pt x="14097" y="15965"/>
                    </a:lnTo>
                    <a:lnTo>
                      <a:pt x="14145" y="17088"/>
                    </a:lnTo>
                    <a:lnTo>
                      <a:pt x="14225" y="18049"/>
                    </a:lnTo>
                    <a:lnTo>
                      <a:pt x="14345" y="18864"/>
                    </a:lnTo>
                    <a:lnTo>
                      <a:pt x="14145" y="19987"/>
                    </a:lnTo>
                    <a:lnTo>
                      <a:pt x="13897" y="19987"/>
                    </a:lnTo>
                    <a:lnTo>
                      <a:pt x="13688" y="19492"/>
                    </a:lnTo>
                    <a:lnTo>
                      <a:pt x="13560" y="18731"/>
                    </a:lnTo>
                    <a:lnTo>
                      <a:pt x="13560" y="18183"/>
                    </a:lnTo>
                    <a:lnTo>
                      <a:pt x="13440" y="18049"/>
                    </a:lnTo>
                    <a:lnTo>
                      <a:pt x="13480" y="17635"/>
                    </a:lnTo>
                    <a:lnTo>
                      <a:pt x="13360" y="17088"/>
                    </a:lnTo>
                    <a:lnTo>
                      <a:pt x="13104" y="16593"/>
                    </a:lnTo>
                    <a:lnTo>
                      <a:pt x="12687" y="16927"/>
                    </a:lnTo>
                    <a:lnTo>
                      <a:pt x="12399" y="16379"/>
                    </a:lnTo>
                    <a:lnTo>
                      <a:pt x="11854" y="16379"/>
                    </a:lnTo>
                    <a:lnTo>
                      <a:pt x="11742" y="16326"/>
                    </a:lnTo>
                    <a:lnTo>
                      <a:pt x="11278" y="16379"/>
                    </a:lnTo>
                    <a:lnTo>
                      <a:pt x="10869" y="16379"/>
                    </a:lnTo>
                    <a:lnTo>
                      <a:pt x="11197" y="16727"/>
                    </a:lnTo>
                    <a:lnTo>
                      <a:pt x="11278" y="17088"/>
                    </a:lnTo>
                    <a:lnTo>
                      <a:pt x="10949" y="17141"/>
                    </a:lnTo>
                    <a:lnTo>
                      <a:pt x="10453" y="16874"/>
                    </a:lnTo>
                    <a:lnTo>
                      <a:pt x="9956" y="16727"/>
                    </a:lnTo>
                    <a:lnTo>
                      <a:pt x="9459" y="16727"/>
                    </a:lnTo>
                    <a:lnTo>
                      <a:pt x="9083" y="17141"/>
                    </a:lnTo>
                    <a:lnTo>
                      <a:pt x="8578" y="17488"/>
                    </a:lnTo>
                    <a:lnTo>
                      <a:pt x="8218" y="18183"/>
                    </a:lnTo>
                    <a:lnTo>
                      <a:pt x="8250" y="19078"/>
                    </a:lnTo>
                    <a:lnTo>
                      <a:pt x="8122" y="19212"/>
                    </a:lnTo>
                    <a:lnTo>
                      <a:pt x="7593" y="18731"/>
                    </a:lnTo>
                    <a:lnTo>
                      <a:pt x="7505" y="18049"/>
                    </a:lnTo>
                    <a:lnTo>
                      <a:pt x="7337" y="17635"/>
                    </a:lnTo>
                    <a:lnTo>
                      <a:pt x="7056" y="16593"/>
                    </a:lnTo>
                    <a:lnTo>
                      <a:pt x="6712" y="16379"/>
                    </a:lnTo>
                    <a:lnTo>
                      <a:pt x="6384" y="16927"/>
                    </a:lnTo>
                    <a:lnTo>
                      <a:pt x="5927" y="16513"/>
                    </a:lnTo>
                    <a:lnTo>
                      <a:pt x="5847" y="15832"/>
                    </a:lnTo>
                    <a:lnTo>
                      <a:pt x="5390" y="14856"/>
                    </a:lnTo>
                    <a:lnTo>
                      <a:pt x="4766" y="14856"/>
                    </a:lnTo>
                    <a:lnTo>
                      <a:pt x="4766" y="15150"/>
                    </a:lnTo>
                    <a:lnTo>
                      <a:pt x="3781" y="15070"/>
                    </a:lnTo>
                    <a:lnTo>
                      <a:pt x="2491" y="14175"/>
                    </a:lnTo>
                    <a:lnTo>
                      <a:pt x="2491" y="13975"/>
                    </a:lnTo>
                    <a:lnTo>
                      <a:pt x="1698" y="14028"/>
                    </a:lnTo>
                    <a:lnTo>
                      <a:pt x="1618" y="13413"/>
                    </a:lnTo>
                    <a:lnTo>
                      <a:pt x="1370" y="12933"/>
                    </a:lnTo>
                    <a:lnTo>
                      <a:pt x="1081" y="12585"/>
                    </a:lnTo>
                    <a:lnTo>
                      <a:pt x="705" y="12505"/>
                    </a:lnTo>
                    <a:lnTo>
                      <a:pt x="705" y="11824"/>
                    </a:lnTo>
                    <a:lnTo>
                      <a:pt x="408" y="10915"/>
                    </a:lnTo>
                    <a:lnTo>
                      <a:pt x="497" y="10568"/>
                    </a:lnTo>
                    <a:lnTo>
                      <a:pt x="328" y="10367"/>
                    </a:lnTo>
                    <a:lnTo>
                      <a:pt x="328" y="9886"/>
                    </a:lnTo>
                    <a:lnTo>
                      <a:pt x="497" y="10020"/>
                    </a:lnTo>
                    <a:lnTo>
                      <a:pt x="408" y="9472"/>
                    </a:lnTo>
                    <a:lnTo>
                      <a:pt x="208" y="9606"/>
                    </a:lnTo>
                    <a:lnTo>
                      <a:pt x="80" y="8791"/>
                    </a:lnTo>
                    <a:lnTo>
                      <a:pt x="80" y="8016"/>
                    </a:lnTo>
                    <a:lnTo>
                      <a:pt x="0" y="7669"/>
                    </a:lnTo>
                    <a:lnTo>
                      <a:pt x="208" y="6707"/>
                    </a:lnTo>
                    <a:lnTo>
                      <a:pt x="288" y="5464"/>
                    </a:lnTo>
                    <a:lnTo>
                      <a:pt x="705" y="4075"/>
                    </a:lnTo>
                    <a:lnTo>
                      <a:pt x="953" y="2899"/>
                    </a:lnTo>
                    <a:lnTo>
                      <a:pt x="1081" y="2004"/>
                    </a:lnTo>
                    <a:lnTo>
                      <a:pt x="1161" y="548"/>
                    </a:lnTo>
                    <a:lnTo>
                      <a:pt x="1618" y="895"/>
                    </a:lnTo>
                    <a:lnTo>
                      <a:pt x="1618" y="1309"/>
                    </a:lnTo>
                    <a:lnTo>
                      <a:pt x="1570" y="1804"/>
                    </a:lnTo>
                    <a:lnTo>
                      <a:pt x="1818" y="1443"/>
                    </a:lnTo>
                    <a:lnTo>
                      <a:pt x="1898" y="414"/>
                    </a:lnTo>
                    <a:lnTo>
                      <a:pt x="1818" y="0"/>
                    </a:lnTo>
                    <a:lnTo>
                      <a:pt x="10989" y="152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8" name="Freeform 28"/>
              <p:cNvSpPr>
                <a:spLocks/>
              </p:cNvSpPr>
              <p:nvPr/>
            </p:nvSpPr>
            <p:spPr bwMode="auto">
              <a:xfrm>
                <a:off x="892175" y="1371600"/>
                <a:ext cx="993775" cy="1065213"/>
              </a:xfrm>
              <a:custGeom>
                <a:avLst/>
                <a:gdLst>
                  <a:gd name="T0" fmla="*/ 14160 w 20000"/>
                  <a:gd name="T1" fmla="*/ 13683 h 20000"/>
                  <a:gd name="T2" fmla="*/ 15553 w 20000"/>
                  <a:gd name="T3" fmla="*/ 14684 h 20000"/>
                  <a:gd name="T4" fmla="*/ 16358 w 20000"/>
                  <a:gd name="T5" fmla="*/ 18451 h 20000"/>
                  <a:gd name="T6" fmla="*/ 15821 w 20000"/>
                  <a:gd name="T7" fmla="*/ 19988 h 20000"/>
                  <a:gd name="T8" fmla="*/ 15821 w 20000"/>
                  <a:gd name="T9" fmla="*/ 18868 h 20000"/>
                  <a:gd name="T10" fmla="*/ 15821 w 20000"/>
                  <a:gd name="T11" fmla="*/ 18379 h 20000"/>
                  <a:gd name="T12" fmla="*/ 15489 w 20000"/>
                  <a:gd name="T13" fmla="*/ 17461 h 20000"/>
                  <a:gd name="T14" fmla="*/ 15489 w 20000"/>
                  <a:gd name="T15" fmla="*/ 16603 h 20000"/>
                  <a:gd name="T16" fmla="*/ 15489 w 20000"/>
                  <a:gd name="T17" fmla="*/ 15292 h 20000"/>
                  <a:gd name="T18" fmla="*/ 14760 w 20000"/>
                  <a:gd name="T19" fmla="*/ 15673 h 20000"/>
                  <a:gd name="T20" fmla="*/ 14109 w 20000"/>
                  <a:gd name="T21" fmla="*/ 15852 h 20000"/>
                  <a:gd name="T22" fmla="*/ 13431 w 20000"/>
                  <a:gd name="T23" fmla="*/ 14553 h 20000"/>
                  <a:gd name="T24" fmla="*/ 13955 w 20000"/>
                  <a:gd name="T25" fmla="*/ 14243 h 20000"/>
                  <a:gd name="T26" fmla="*/ 12907 w 20000"/>
                  <a:gd name="T27" fmla="*/ 14064 h 20000"/>
                  <a:gd name="T28" fmla="*/ 11655 w 20000"/>
                  <a:gd name="T29" fmla="*/ 13564 h 20000"/>
                  <a:gd name="T30" fmla="*/ 11182 w 20000"/>
                  <a:gd name="T31" fmla="*/ 13075 h 20000"/>
                  <a:gd name="T32" fmla="*/ 11131 w 20000"/>
                  <a:gd name="T33" fmla="*/ 12217 h 20000"/>
                  <a:gd name="T34" fmla="*/ 10006 w 20000"/>
                  <a:gd name="T35" fmla="*/ 12217 h 20000"/>
                  <a:gd name="T36" fmla="*/ 8869 w 20000"/>
                  <a:gd name="T37" fmla="*/ 13075 h 20000"/>
                  <a:gd name="T38" fmla="*/ 7348 w 20000"/>
                  <a:gd name="T39" fmla="*/ 13504 h 20000"/>
                  <a:gd name="T40" fmla="*/ 7872 w 20000"/>
                  <a:gd name="T41" fmla="*/ 12765 h 20000"/>
                  <a:gd name="T42" fmla="*/ 9406 w 20000"/>
                  <a:gd name="T43" fmla="*/ 11955 h 20000"/>
                  <a:gd name="T44" fmla="*/ 9278 w 20000"/>
                  <a:gd name="T45" fmla="*/ 11418 h 20000"/>
                  <a:gd name="T46" fmla="*/ 7348 w 20000"/>
                  <a:gd name="T47" fmla="*/ 12467 h 20000"/>
                  <a:gd name="T48" fmla="*/ 5955 w 20000"/>
                  <a:gd name="T49" fmla="*/ 13564 h 20000"/>
                  <a:gd name="T50" fmla="*/ 4575 w 20000"/>
                  <a:gd name="T51" fmla="*/ 14875 h 20000"/>
                  <a:gd name="T52" fmla="*/ 1917 w 20000"/>
                  <a:gd name="T53" fmla="*/ 16460 h 20000"/>
                  <a:gd name="T54" fmla="*/ 204 w 20000"/>
                  <a:gd name="T55" fmla="*/ 16841 h 20000"/>
                  <a:gd name="T56" fmla="*/ 0 w 20000"/>
                  <a:gd name="T57" fmla="*/ 16651 h 20000"/>
                  <a:gd name="T58" fmla="*/ 728 w 20000"/>
                  <a:gd name="T59" fmla="*/ 16341 h 20000"/>
                  <a:gd name="T60" fmla="*/ 1073 w 20000"/>
                  <a:gd name="T61" fmla="*/ 16162 h 20000"/>
                  <a:gd name="T62" fmla="*/ 2645 w 20000"/>
                  <a:gd name="T63" fmla="*/ 15173 h 20000"/>
                  <a:gd name="T64" fmla="*/ 3706 w 20000"/>
                  <a:gd name="T65" fmla="*/ 14195 h 20000"/>
                  <a:gd name="T66" fmla="*/ 3847 w 20000"/>
                  <a:gd name="T67" fmla="*/ 13075 h 20000"/>
                  <a:gd name="T68" fmla="*/ 2850 w 20000"/>
                  <a:gd name="T69" fmla="*/ 12956 h 20000"/>
                  <a:gd name="T70" fmla="*/ 2121 w 20000"/>
                  <a:gd name="T71" fmla="*/ 12706 h 20000"/>
                  <a:gd name="T72" fmla="*/ 1994 w 20000"/>
                  <a:gd name="T73" fmla="*/ 11776 h 20000"/>
                  <a:gd name="T74" fmla="*/ 1789 w 20000"/>
                  <a:gd name="T75" fmla="*/ 10489 h 20000"/>
                  <a:gd name="T76" fmla="*/ 2645 w 20000"/>
                  <a:gd name="T77" fmla="*/ 10179 h 20000"/>
                  <a:gd name="T78" fmla="*/ 1649 w 20000"/>
                  <a:gd name="T79" fmla="*/ 9809 h 20000"/>
                  <a:gd name="T80" fmla="*/ 2326 w 20000"/>
                  <a:gd name="T81" fmla="*/ 8880 h 20000"/>
                  <a:gd name="T82" fmla="*/ 3578 w 20000"/>
                  <a:gd name="T83" fmla="*/ 7890 h 20000"/>
                  <a:gd name="T84" fmla="*/ 4971 w 20000"/>
                  <a:gd name="T85" fmla="*/ 7712 h 20000"/>
                  <a:gd name="T86" fmla="*/ 6160 w 20000"/>
                  <a:gd name="T87" fmla="*/ 6722 h 20000"/>
                  <a:gd name="T88" fmla="*/ 5559 w 20000"/>
                  <a:gd name="T89" fmla="*/ 6603 h 20000"/>
                  <a:gd name="T90" fmla="*/ 4051 w 20000"/>
                  <a:gd name="T91" fmla="*/ 5793 h 20000"/>
                  <a:gd name="T92" fmla="*/ 4703 w 20000"/>
                  <a:gd name="T93" fmla="*/ 5304 h 20000"/>
                  <a:gd name="T94" fmla="*/ 4051 w 20000"/>
                  <a:gd name="T95" fmla="*/ 4505 h 20000"/>
                  <a:gd name="T96" fmla="*/ 5431 w 20000"/>
                  <a:gd name="T97" fmla="*/ 4017 h 20000"/>
                  <a:gd name="T98" fmla="*/ 6952 w 20000"/>
                  <a:gd name="T99" fmla="*/ 3695 h 20000"/>
                  <a:gd name="T100" fmla="*/ 7744 w 20000"/>
                  <a:gd name="T101" fmla="*/ 4505 h 20000"/>
                  <a:gd name="T102" fmla="*/ 7553 w 20000"/>
                  <a:gd name="T103" fmla="*/ 4315 h 20000"/>
                  <a:gd name="T104" fmla="*/ 8077 w 20000"/>
                  <a:gd name="T105" fmla="*/ 4374 h 20000"/>
                  <a:gd name="T106" fmla="*/ 8000 w 20000"/>
                  <a:gd name="T107" fmla="*/ 3886 h 20000"/>
                  <a:gd name="T108" fmla="*/ 7348 w 20000"/>
                  <a:gd name="T109" fmla="*/ 1538 h 20000"/>
                  <a:gd name="T110" fmla="*/ 9137 w 20000"/>
                  <a:gd name="T111" fmla="*/ 1287 h 20000"/>
                  <a:gd name="T112" fmla="*/ 12575 w 20000"/>
                  <a:gd name="T113" fmla="*/ 238 h 20000"/>
                  <a:gd name="T114" fmla="*/ 13380 w 20000"/>
                  <a:gd name="T115" fmla="*/ 0 h 20000"/>
                  <a:gd name="T116" fmla="*/ 14505 w 20000"/>
                  <a:gd name="T117" fmla="*/ 608 h 20000"/>
                  <a:gd name="T118" fmla="*/ 15885 w 20000"/>
                  <a:gd name="T119" fmla="*/ 918 h 20000"/>
                  <a:gd name="T120" fmla="*/ 15885 w 20000"/>
                  <a:gd name="T121" fmla="*/ 1538 h 20000"/>
                  <a:gd name="T122" fmla="*/ 17214 w 20000"/>
                  <a:gd name="T123" fmla="*/ 1776 h 20000"/>
                  <a:gd name="T124" fmla="*/ 18134 w 20000"/>
                  <a:gd name="T125" fmla="*/ 25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9987" y="3826"/>
                    </a:moveTo>
                    <a:lnTo>
                      <a:pt x="15157" y="10298"/>
                    </a:lnTo>
                    <a:lnTo>
                      <a:pt x="13380" y="13564"/>
                    </a:lnTo>
                    <a:lnTo>
                      <a:pt x="14160" y="13683"/>
                    </a:lnTo>
                    <a:lnTo>
                      <a:pt x="14109" y="13874"/>
                    </a:lnTo>
                    <a:lnTo>
                      <a:pt x="14428" y="15292"/>
                    </a:lnTo>
                    <a:lnTo>
                      <a:pt x="15157" y="14803"/>
                    </a:lnTo>
                    <a:lnTo>
                      <a:pt x="15553" y="14684"/>
                    </a:lnTo>
                    <a:lnTo>
                      <a:pt x="15821" y="14875"/>
                    </a:lnTo>
                    <a:lnTo>
                      <a:pt x="15821" y="15542"/>
                    </a:lnTo>
                    <a:lnTo>
                      <a:pt x="16013" y="17890"/>
                    </a:lnTo>
                    <a:lnTo>
                      <a:pt x="16358" y="18451"/>
                    </a:lnTo>
                    <a:lnTo>
                      <a:pt x="16677" y="18939"/>
                    </a:lnTo>
                    <a:lnTo>
                      <a:pt x="16550" y="19190"/>
                    </a:lnTo>
                    <a:lnTo>
                      <a:pt x="16153" y="19738"/>
                    </a:lnTo>
                    <a:lnTo>
                      <a:pt x="15821" y="19988"/>
                    </a:lnTo>
                    <a:lnTo>
                      <a:pt x="15821" y="19678"/>
                    </a:lnTo>
                    <a:lnTo>
                      <a:pt x="16153" y="19237"/>
                    </a:lnTo>
                    <a:lnTo>
                      <a:pt x="16013" y="18868"/>
                    </a:lnTo>
                    <a:lnTo>
                      <a:pt x="15821" y="18868"/>
                    </a:lnTo>
                    <a:lnTo>
                      <a:pt x="15489" y="19058"/>
                    </a:lnTo>
                    <a:lnTo>
                      <a:pt x="15361" y="19058"/>
                    </a:lnTo>
                    <a:lnTo>
                      <a:pt x="15681" y="18749"/>
                    </a:lnTo>
                    <a:lnTo>
                      <a:pt x="15821" y="18379"/>
                    </a:lnTo>
                    <a:lnTo>
                      <a:pt x="15885" y="18069"/>
                    </a:lnTo>
                    <a:lnTo>
                      <a:pt x="15681" y="18069"/>
                    </a:lnTo>
                    <a:lnTo>
                      <a:pt x="15681" y="17890"/>
                    </a:lnTo>
                    <a:lnTo>
                      <a:pt x="15489" y="17461"/>
                    </a:lnTo>
                    <a:lnTo>
                      <a:pt x="15681" y="17139"/>
                    </a:lnTo>
                    <a:lnTo>
                      <a:pt x="15821" y="17271"/>
                    </a:lnTo>
                    <a:lnTo>
                      <a:pt x="15681" y="16841"/>
                    </a:lnTo>
                    <a:lnTo>
                      <a:pt x="15489" y="16603"/>
                    </a:lnTo>
                    <a:lnTo>
                      <a:pt x="15681" y="16281"/>
                    </a:lnTo>
                    <a:lnTo>
                      <a:pt x="15553" y="16341"/>
                    </a:lnTo>
                    <a:lnTo>
                      <a:pt x="15361" y="16162"/>
                    </a:lnTo>
                    <a:lnTo>
                      <a:pt x="15489" y="15292"/>
                    </a:lnTo>
                    <a:lnTo>
                      <a:pt x="15029" y="16281"/>
                    </a:lnTo>
                    <a:lnTo>
                      <a:pt x="14824" y="16091"/>
                    </a:lnTo>
                    <a:lnTo>
                      <a:pt x="14952" y="15483"/>
                    </a:lnTo>
                    <a:lnTo>
                      <a:pt x="14760" y="15673"/>
                    </a:lnTo>
                    <a:lnTo>
                      <a:pt x="14505" y="15364"/>
                    </a:lnTo>
                    <a:lnTo>
                      <a:pt x="14633" y="16091"/>
                    </a:lnTo>
                    <a:lnTo>
                      <a:pt x="14300" y="16162"/>
                    </a:lnTo>
                    <a:lnTo>
                      <a:pt x="14109" y="15852"/>
                    </a:lnTo>
                    <a:lnTo>
                      <a:pt x="13904" y="15173"/>
                    </a:lnTo>
                    <a:lnTo>
                      <a:pt x="13955" y="15054"/>
                    </a:lnTo>
                    <a:lnTo>
                      <a:pt x="13776" y="15054"/>
                    </a:lnTo>
                    <a:lnTo>
                      <a:pt x="13431" y="14553"/>
                    </a:lnTo>
                    <a:lnTo>
                      <a:pt x="13572" y="14362"/>
                    </a:lnTo>
                    <a:lnTo>
                      <a:pt x="13636" y="14195"/>
                    </a:lnTo>
                    <a:lnTo>
                      <a:pt x="13776" y="14493"/>
                    </a:lnTo>
                    <a:lnTo>
                      <a:pt x="13955" y="14243"/>
                    </a:lnTo>
                    <a:lnTo>
                      <a:pt x="13904" y="14064"/>
                    </a:lnTo>
                    <a:lnTo>
                      <a:pt x="13431" y="14243"/>
                    </a:lnTo>
                    <a:lnTo>
                      <a:pt x="13099" y="14243"/>
                    </a:lnTo>
                    <a:lnTo>
                      <a:pt x="12907" y="14064"/>
                    </a:lnTo>
                    <a:lnTo>
                      <a:pt x="13035" y="13874"/>
                    </a:lnTo>
                    <a:lnTo>
                      <a:pt x="12703" y="14005"/>
                    </a:lnTo>
                    <a:lnTo>
                      <a:pt x="12383" y="13683"/>
                    </a:lnTo>
                    <a:lnTo>
                      <a:pt x="11655" y="13564"/>
                    </a:lnTo>
                    <a:lnTo>
                      <a:pt x="11323" y="13194"/>
                    </a:lnTo>
                    <a:lnTo>
                      <a:pt x="11527" y="13075"/>
                    </a:lnTo>
                    <a:lnTo>
                      <a:pt x="11527" y="12896"/>
                    </a:lnTo>
                    <a:lnTo>
                      <a:pt x="11182" y="13075"/>
                    </a:lnTo>
                    <a:lnTo>
                      <a:pt x="10978" y="12896"/>
                    </a:lnTo>
                    <a:lnTo>
                      <a:pt x="10658" y="12586"/>
                    </a:lnTo>
                    <a:lnTo>
                      <a:pt x="10786" y="12396"/>
                    </a:lnTo>
                    <a:lnTo>
                      <a:pt x="11131" y="12217"/>
                    </a:lnTo>
                    <a:lnTo>
                      <a:pt x="10530" y="12277"/>
                    </a:lnTo>
                    <a:lnTo>
                      <a:pt x="10262" y="12277"/>
                    </a:lnTo>
                    <a:lnTo>
                      <a:pt x="10134" y="12217"/>
                    </a:lnTo>
                    <a:lnTo>
                      <a:pt x="10006" y="12217"/>
                    </a:lnTo>
                    <a:lnTo>
                      <a:pt x="9802" y="12467"/>
                    </a:lnTo>
                    <a:lnTo>
                      <a:pt x="9930" y="12706"/>
                    </a:lnTo>
                    <a:lnTo>
                      <a:pt x="9278" y="13194"/>
                    </a:lnTo>
                    <a:lnTo>
                      <a:pt x="8869" y="13075"/>
                    </a:lnTo>
                    <a:lnTo>
                      <a:pt x="8077" y="13504"/>
                    </a:lnTo>
                    <a:lnTo>
                      <a:pt x="7681" y="13683"/>
                    </a:lnTo>
                    <a:lnTo>
                      <a:pt x="7220" y="13683"/>
                    </a:lnTo>
                    <a:lnTo>
                      <a:pt x="7348" y="13504"/>
                    </a:lnTo>
                    <a:lnTo>
                      <a:pt x="8000" y="13194"/>
                    </a:lnTo>
                    <a:lnTo>
                      <a:pt x="7553" y="13194"/>
                    </a:lnTo>
                    <a:lnTo>
                      <a:pt x="7553" y="13075"/>
                    </a:lnTo>
                    <a:lnTo>
                      <a:pt x="7872" y="12765"/>
                    </a:lnTo>
                    <a:lnTo>
                      <a:pt x="8409" y="12217"/>
                    </a:lnTo>
                    <a:lnTo>
                      <a:pt x="8933" y="11955"/>
                    </a:lnTo>
                    <a:lnTo>
                      <a:pt x="9073" y="12098"/>
                    </a:lnTo>
                    <a:lnTo>
                      <a:pt x="9406" y="11955"/>
                    </a:lnTo>
                    <a:lnTo>
                      <a:pt x="9278" y="11907"/>
                    </a:lnTo>
                    <a:lnTo>
                      <a:pt x="9597" y="11657"/>
                    </a:lnTo>
                    <a:lnTo>
                      <a:pt x="9137" y="11657"/>
                    </a:lnTo>
                    <a:lnTo>
                      <a:pt x="9278" y="11418"/>
                    </a:lnTo>
                    <a:lnTo>
                      <a:pt x="8869" y="11657"/>
                    </a:lnTo>
                    <a:lnTo>
                      <a:pt x="8204" y="11955"/>
                    </a:lnTo>
                    <a:lnTo>
                      <a:pt x="7553" y="12467"/>
                    </a:lnTo>
                    <a:lnTo>
                      <a:pt x="7348" y="12467"/>
                    </a:lnTo>
                    <a:lnTo>
                      <a:pt x="7476" y="12706"/>
                    </a:lnTo>
                    <a:lnTo>
                      <a:pt x="7220" y="12765"/>
                    </a:lnTo>
                    <a:lnTo>
                      <a:pt x="6684" y="13075"/>
                    </a:lnTo>
                    <a:lnTo>
                      <a:pt x="5955" y="13564"/>
                    </a:lnTo>
                    <a:lnTo>
                      <a:pt x="6160" y="13683"/>
                    </a:lnTo>
                    <a:lnTo>
                      <a:pt x="6300" y="13874"/>
                    </a:lnTo>
                    <a:lnTo>
                      <a:pt x="5431" y="14493"/>
                    </a:lnTo>
                    <a:lnTo>
                      <a:pt x="4575" y="14875"/>
                    </a:lnTo>
                    <a:lnTo>
                      <a:pt x="3847" y="15292"/>
                    </a:lnTo>
                    <a:lnTo>
                      <a:pt x="2850" y="15852"/>
                    </a:lnTo>
                    <a:lnTo>
                      <a:pt x="2326" y="16162"/>
                    </a:lnTo>
                    <a:lnTo>
                      <a:pt x="1917" y="16460"/>
                    </a:lnTo>
                    <a:lnTo>
                      <a:pt x="1252" y="16770"/>
                    </a:lnTo>
                    <a:lnTo>
                      <a:pt x="1252" y="16603"/>
                    </a:lnTo>
                    <a:lnTo>
                      <a:pt x="920" y="16651"/>
                    </a:lnTo>
                    <a:lnTo>
                      <a:pt x="204" y="16841"/>
                    </a:lnTo>
                    <a:lnTo>
                      <a:pt x="268" y="16651"/>
                    </a:lnTo>
                    <a:lnTo>
                      <a:pt x="77" y="16770"/>
                    </a:lnTo>
                    <a:lnTo>
                      <a:pt x="0" y="16841"/>
                    </a:lnTo>
                    <a:lnTo>
                      <a:pt x="0" y="16651"/>
                    </a:lnTo>
                    <a:lnTo>
                      <a:pt x="0" y="16460"/>
                    </a:lnTo>
                    <a:lnTo>
                      <a:pt x="204" y="16281"/>
                    </a:lnTo>
                    <a:lnTo>
                      <a:pt x="792" y="16281"/>
                    </a:lnTo>
                    <a:lnTo>
                      <a:pt x="728" y="16341"/>
                    </a:lnTo>
                    <a:lnTo>
                      <a:pt x="792" y="16460"/>
                    </a:lnTo>
                    <a:lnTo>
                      <a:pt x="920" y="16341"/>
                    </a:lnTo>
                    <a:lnTo>
                      <a:pt x="1073" y="16460"/>
                    </a:lnTo>
                    <a:lnTo>
                      <a:pt x="1073" y="16162"/>
                    </a:lnTo>
                    <a:lnTo>
                      <a:pt x="1393" y="15852"/>
                    </a:lnTo>
                    <a:lnTo>
                      <a:pt x="2121" y="15483"/>
                    </a:lnTo>
                    <a:lnTo>
                      <a:pt x="2454" y="15542"/>
                    </a:lnTo>
                    <a:lnTo>
                      <a:pt x="2645" y="15173"/>
                    </a:lnTo>
                    <a:lnTo>
                      <a:pt x="3310" y="14875"/>
                    </a:lnTo>
                    <a:lnTo>
                      <a:pt x="3374" y="14875"/>
                    </a:lnTo>
                    <a:lnTo>
                      <a:pt x="3374" y="14803"/>
                    </a:lnTo>
                    <a:lnTo>
                      <a:pt x="3706" y="14195"/>
                    </a:lnTo>
                    <a:lnTo>
                      <a:pt x="3898" y="14005"/>
                    </a:lnTo>
                    <a:lnTo>
                      <a:pt x="4575" y="13385"/>
                    </a:lnTo>
                    <a:lnTo>
                      <a:pt x="3578" y="13564"/>
                    </a:lnTo>
                    <a:lnTo>
                      <a:pt x="3847" y="13075"/>
                    </a:lnTo>
                    <a:lnTo>
                      <a:pt x="3182" y="13754"/>
                    </a:lnTo>
                    <a:lnTo>
                      <a:pt x="3054" y="13194"/>
                    </a:lnTo>
                    <a:lnTo>
                      <a:pt x="2978" y="13266"/>
                    </a:lnTo>
                    <a:lnTo>
                      <a:pt x="2850" y="12956"/>
                    </a:lnTo>
                    <a:lnTo>
                      <a:pt x="2121" y="13266"/>
                    </a:lnTo>
                    <a:lnTo>
                      <a:pt x="1789" y="13194"/>
                    </a:lnTo>
                    <a:lnTo>
                      <a:pt x="1994" y="13075"/>
                    </a:lnTo>
                    <a:lnTo>
                      <a:pt x="2121" y="12706"/>
                    </a:lnTo>
                    <a:lnTo>
                      <a:pt x="2454" y="12396"/>
                    </a:lnTo>
                    <a:lnTo>
                      <a:pt x="2773" y="11287"/>
                    </a:lnTo>
                    <a:lnTo>
                      <a:pt x="2454" y="11776"/>
                    </a:lnTo>
                    <a:lnTo>
                      <a:pt x="1994" y="11776"/>
                    </a:lnTo>
                    <a:lnTo>
                      <a:pt x="1597" y="11657"/>
                    </a:lnTo>
                    <a:lnTo>
                      <a:pt x="1597" y="11168"/>
                    </a:lnTo>
                    <a:lnTo>
                      <a:pt x="1393" y="10787"/>
                    </a:lnTo>
                    <a:lnTo>
                      <a:pt x="1789" y="10489"/>
                    </a:lnTo>
                    <a:lnTo>
                      <a:pt x="2198" y="10787"/>
                    </a:lnTo>
                    <a:lnTo>
                      <a:pt x="2198" y="10977"/>
                    </a:lnTo>
                    <a:lnTo>
                      <a:pt x="2518" y="10667"/>
                    </a:lnTo>
                    <a:lnTo>
                      <a:pt x="2645" y="10179"/>
                    </a:lnTo>
                    <a:lnTo>
                      <a:pt x="2326" y="10369"/>
                    </a:lnTo>
                    <a:lnTo>
                      <a:pt x="2121" y="10489"/>
                    </a:lnTo>
                    <a:lnTo>
                      <a:pt x="1789" y="10298"/>
                    </a:lnTo>
                    <a:lnTo>
                      <a:pt x="1649" y="9809"/>
                    </a:lnTo>
                    <a:lnTo>
                      <a:pt x="1789" y="9499"/>
                    </a:lnTo>
                    <a:lnTo>
                      <a:pt x="1917" y="9321"/>
                    </a:lnTo>
                    <a:lnTo>
                      <a:pt x="2121" y="9321"/>
                    </a:lnTo>
                    <a:lnTo>
                      <a:pt x="2326" y="8880"/>
                    </a:lnTo>
                    <a:lnTo>
                      <a:pt x="2850" y="8510"/>
                    </a:lnTo>
                    <a:lnTo>
                      <a:pt x="3374" y="8331"/>
                    </a:lnTo>
                    <a:lnTo>
                      <a:pt x="3182" y="8331"/>
                    </a:lnTo>
                    <a:lnTo>
                      <a:pt x="3578" y="7890"/>
                    </a:lnTo>
                    <a:lnTo>
                      <a:pt x="4051" y="7771"/>
                    </a:lnTo>
                    <a:lnTo>
                      <a:pt x="3898" y="8081"/>
                    </a:lnTo>
                    <a:lnTo>
                      <a:pt x="4371" y="8081"/>
                    </a:lnTo>
                    <a:lnTo>
                      <a:pt x="4971" y="7712"/>
                    </a:lnTo>
                    <a:lnTo>
                      <a:pt x="5227" y="7771"/>
                    </a:lnTo>
                    <a:lnTo>
                      <a:pt x="5955" y="7521"/>
                    </a:lnTo>
                    <a:lnTo>
                      <a:pt x="6160" y="7032"/>
                    </a:lnTo>
                    <a:lnTo>
                      <a:pt x="6160" y="6722"/>
                    </a:lnTo>
                    <a:lnTo>
                      <a:pt x="6620" y="6472"/>
                    </a:lnTo>
                    <a:lnTo>
                      <a:pt x="6684" y="6234"/>
                    </a:lnTo>
                    <a:lnTo>
                      <a:pt x="6351" y="6281"/>
                    </a:lnTo>
                    <a:lnTo>
                      <a:pt x="5559" y="6603"/>
                    </a:lnTo>
                    <a:lnTo>
                      <a:pt x="5304" y="6424"/>
                    </a:lnTo>
                    <a:lnTo>
                      <a:pt x="5099" y="6234"/>
                    </a:lnTo>
                    <a:lnTo>
                      <a:pt x="4575" y="6234"/>
                    </a:lnTo>
                    <a:lnTo>
                      <a:pt x="4051" y="5793"/>
                    </a:lnTo>
                    <a:lnTo>
                      <a:pt x="4243" y="5423"/>
                    </a:lnTo>
                    <a:lnTo>
                      <a:pt x="4243" y="4934"/>
                    </a:lnTo>
                    <a:lnTo>
                      <a:pt x="4435" y="5113"/>
                    </a:lnTo>
                    <a:lnTo>
                      <a:pt x="4703" y="5304"/>
                    </a:lnTo>
                    <a:lnTo>
                      <a:pt x="4971" y="5185"/>
                    </a:lnTo>
                    <a:lnTo>
                      <a:pt x="4703" y="5113"/>
                    </a:lnTo>
                    <a:lnTo>
                      <a:pt x="4243" y="4696"/>
                    </a:lnTo>
                    <a:lnTo>
                      <a:pt x="4051" y="4505"/>
                    </a:lnTo>
                    <a:lnTo>
                      <a:pt x="4179" y="4184"/>
                    </a:lnTo>
                    <a:lnTo>
                      <a:pt x="4243" y="4184"/>
                    </a:lnTo>
                    <a:lnTo>
                      <a:pt x="5431" y="3886"/>
                    </a:lnTo>
                    <a:lnTo>
                      <a:pt x="5431" y="4017"/>
                    </a:lnTo>
                    <a:lnTo>
                      <a:pt x="5751" y="4017"/>
                    </a:lnTo>
                    <a:lnTo>
                      <a:pt x="5751" y="3886"/>
                    </a:lnTo>
                    <a:lnTo>
                      <a:pt x="6479" y="3635"/>
                    </a:lnTo>
                    <a:lnTo>
                      <a:pt x="6952" y="3695"/>
                    </a:lnTo>
                    <a:lnTo>
                      <a:pt x="6620" y="4017"/>
                    </a:lnTo>
                    <a:lnTo>
                      <a:pt x="6479" y="4315"/>
                    </a:lnTo>
                    <a:lnTo>
                      <a:pt x="7348" y="4696"/>
                    </a:lnTo>
                    <a:lnTo>
                      <a:pt x="7744" y="4505"/>
                    </a:lnTo>
                    <a:lnTo>
                      <a:pt x="7681" y="4815"/>
                    </a:lnTo>
                    <a:lnTo>
                      <a:pt x="7872" y="4505"/>
                    </a:lnTo>
                    <a:lnTo>
                      <a:pt x="7744" y="4315"/>
                    </a:lnTo>
                    <a:lnTo>
                      <a:pt x="7553" y="4315"/>
                    </a:lnTo>
                    <a:lnTo>
                      <a:pt x="7744" y="3635"/>
                    </a:lnTo>
                    <a:lnTo>
                      <a:pt x="7872" y="3635"/>
                    </a:lnTo>
                    <a:lnTo>
                      <a:pt x="7872" y="4136"/>
                    </a:lnTo>
                    <a:lnTo>
                      <a:pt x="8077" y="4374"/>
                    </a:lnTo>
                    <a:lnTo>
                      <a:pt x="8550" y="4505"/>
                    </a:lnTo>
                    <a:lnTo>
                      <a:pt x="8869" y="4184"/>
                    </a:lnTo>
                    <a:lnTo>
                      <a:pt x="8077" y="4017"/>
                    </a:lnTo>
                    <a:lnTo>
                      <a:pt x="8000" y="3886"/>
                    </a:lnTo>
                    <a:lnTo>
                      <a:pt x="8345" y="3635"/>
                    </a:lnTo>
                    <a:lnTo>
                      <a:pt x="7476" y="3206"/>
                    </a:lnTo>
                    <a:lnTo>
                      <a:pt x="7681" y="2527"/>
                    </a:lnTo>
                    <a:lnTo>
                      <a:pt x="7348" y="1538"/>
                    </a:lnTo>
                    <a:lnTo>
                      <a:pt x="7681" y="1538"/>
                    </a:lnTo>
                    <a:lnTo>
                      <a:pt x="8204" y="1049"/>
                    </a:lnTo>
                    <a:lnTo>
                      <a:pt x="8409" y="1240"/>
                    </a:lnTo>
                    <a:lnTo>
                      <a:pt x="9137" y="1287"/>
                    </a:lnTo>
                    <a:lnTo>
                      <a:pt x="9930" y="1108"/>
                    </a:lnTo>
                    <a:lnTo>
                      <a:pt x="10454" y="739"/>
                    </a:lnTo>
                    <a:lnTo>
                      <a:pt x="11527" y="310"/>
                    </a:lnTo>
                    <a:lnTo>
                      <a:pt x="12575" y="238"/>
                    </a:lnTo>
                    <a:lnTo>
                      <a:pt x="12383" y="608"/>
                    </a:lnTo>
                    <a:lnTo>
                      <a:pt x="12780" y="429"/>
                    </a:lnTo>
                    <a:lnTo>
                      <a:pt x="12780" y="238"/>
                    </a:lnTo>
                    <a:lnTo>
                      <a:pt x="13380" y="0"/>
                    </a:lnTo>
                    <a:lnTo>
                      <a:pt x="13955" y="310"/>
                    </a:lnTo>
                    <a:lnTo>
                      <a:pt x="15029" y="0"/>
                    </a:lnTo>
                    <a:lnTo>
                      <a:pt x="15157" y="310"/>
                    </a:lnTo>
                    <a:lnTo>
                      <a:pt x="14505" y="608"/>
                    </a:lnTo>
                    <a:lnTo>
                      <a:pt x="15361" y="489"/>
                    </a:lnTo>
                    <a:lnTo>
                      <a:pt x="15284" y="918"/>
                    </a:lnTo>
                    <a:lnTo>
                      <a:pt x="15553" y="799"/>
                    </a:lnTo>
                    <a:lnTo>
                      <a:pt x="15885" y="918"/>
                    </a:lnTo>
                    <a:lnTo>
                      <a:pt x="16204" y="1240"/>
                    </a:lnTo>
                    <a:lnTo>
                      <a:pt x="15885" y="1287"/>
                    </a:lnTo>
                    <a:lnTo>
                      <a:pt x="16153" y="1538"/>
                    </a:lnTo>
                    <a:lnTo>
                      <a:pt x="15885" y="1538"/>
                    </a:lnTo>
                    <a:lnTo>
                      <a:pt x="16358" y="1728"/>
                    </a:lnTo>
                    <a:lnTo>
                      <a:pt x="16013" y="2098"/>
                    </a:lnTo>
                    <a:lnTo>
                      <a:pt x="16882" y="1728"/>
                    </a:lnTo>
                    <a:lnTo>
                      <a:pt x="17214" y="1776"/>
                    </a:lnTo>
                    <a:lnTo>
                      <a:pt x="17406" y="1919"/>
                    </a:lnTo>
                    <a:lnTo>
                      <a:pt x="17610" y="2336"/>
                    </a:lnTo>
                    <a:lnTo>
                      <a:pt x="17610" y="2527"/>
                    </a:lnTo>
                    <a:lnTo>
                      <a:pt x="18134" y="2527"/>
                    </a:lnTo>
                    <a:lnTo>
                      <a:pt x="18466" y="2896"/>
                    </a:lnTo>
                    <a:lnTo>
                      <a:pt x="19182" y="3015"/>
                    </a:lnTo>
                    <a:lnTo>
                      <a:pt x="19987" y="382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09" name="Freeform 27"/>
              <p:cNvSpPr>
                <a:spLocks/>
              </p:cNvSpPr>
              <p:nvPr/>
            </p:nvSpPr>
            <p:spPr bwMode="auto">
              <a:xfrm>
                <a:off x="3463925" y="6083300"/>
                <a:ext cx="47625" cy="42863"/>
              </a:xfrm>
              <a:custGeom>
                <a:avLst/>
                <a:gdLst>
                  <a:gd name="T0" fmla="*/ 4324 w 20000"/>
                  <a:gd name="T1" fmla="*/ 19706 h 20000"/>
                  <a:gd name="T2" fmla="*/ 0 w 20000"/>
                  <a:gd name="T3" fmla="*/ 13529 h 20000"/>
                  <a:gd name="T4" fmla="*/ 4324 w 20000"/>
                  <a:gd name="T5" fmla="*/ 5882 h 20000"/>
                  <a:gd name="T6" fmla="*/ 7027 w 20000"/>
                  <a:gd name="T7" fmla="*/ 0 h 20000"/>
                  <a:gd name="T8" fmla="*/ 11081 w 20000"/>
                  <a:gd name="T9" fmla="*/ 0 h 20000"/>
                  <a:gd name="T10" fmla="*/ 15405 w 20000"/>
                  <a:gd name="T11" fmla="*/ 0 h 20000"/>
                  <a:gd name="T12" fmla="*/ 18378 w 20000"/>
                  <a:gd name="T13" fmla="*/ 4706 h 20000"/>
                  <a:gd name="T14" fmla="*/ 19730 w 20000"/>
                  <a:gd name="T15" fmla="*/ 5882 h 20000"/>
                  <a:gd name="T16" fmla="*/ 11081 w 20000"/>
                  <a:gd name="T17" fmla="*/ 12059 h 20000"/>
                  <a:gd name="T18" fmla="*/ 4324 w 20000"/>
                  <a:gd name="T19"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4324" y="19706"/>
                    </a:moveTo>
                    <a:lnTo>
                      <a:pt x="0" y="13529"/>
                    </a:lnTo>
                    <a:lnTo>
                      <a:pt x="4324" y="5882"/>
                    </a:lnTo>
                    <a:lnTo>
                      <a:pt x="7027" y="0"/>
                    </a:lnTo>
                    <a:lnTo>
                      <a:pt x="11081" y="0"/>
                    </a:lnTo>
                    <a:lnTo>
                      <a:pt x="15405" y="0"/>
                    </a:lnTo>
                    <a:lnTo>
                      <a:pt x="18378" y="4706"/>
                    </a:lnTo>
                    <a:lnTo>
                      <a:pt x="19730" y="5882"/>
                    </a:lnTo>
                    <a:lnTo>
                      <a:pt x="11081" y="12059"/>
                    </a:lnTo>
                    <a:lnTo>
                      <a:pt x="4324"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0" name="Freeform 26"/>
              <p:cNvSpPr>
                <a:spLocks/>
              </p:cNvSpPr>
              <p:nvPr/>
            </p:nvSpPr>
            <p:spPr bwMode="auto">
              <a:xfrm>
                <a:off x="3430588" y="6086475"/>
                <a:ext cx="36512" cy="34925"/>
              </a:xfrm>
              <a:custGeom>
                <a:avLst/>
                <a:gdLst>
                  <a:gd name="T0" fmla="*/ 5517 w 20000"/>
                  <a:gd name="T1" fmla="*/ 19630 h 20000"/>
                  <a:gd name="T2" fmla="*/ 0 w 20000"/>
                  <a:gd name="T3" fmla="*/ 15556 h 20000"/>
                  <a:gd name="T4" fmla="*/ 3448 w 20000"/>
                  <a:gd name="T5" fmla="*/ 0 h 20000"/>
                  <a:gd name="T6" fmla="*/ 19655 w 20000"/>
                  <a:gd name="T7" fmla="*/ 0 h 20000"/>
                  <a:gd name="T8" fmla="*/ 14138 w 20000"/>
                  <a:gd name="T9" fmla="*/ 13704 h 20000"/>
                  <a:gd name="T10" fmla="*/ 5517 w 20000"/>
                  <a:gd name="T11" fmla="*/ 19630 h 20000"/>
                </a:gdLst>
                <a:ahLst/>
                <a:cxnLst>
                  <a:cxn ang="0">
                    <a:pos x="T0" y="T1"/>
                  </a:cxn>
                  <a:cxn ang="0">
                    <a:pos x="T2" y="T3"/>
                  </a:cxn>
                  <a:cxn ang="0">
                    <a:pos x="T4" y="T5"/>
                  </a:cxn>
                  <a:cxn ang="0">
                    <a:pos x="T6" y="T7"/>
                  </a:cxn>
                  <a:cxn ang="0">
                    <a:pos x="T8" y="T9"/>
                  </a:cxn>
                  <a:cxn ang="0">
                    <a:pos x="T10" y="T11"/>
                  </a:cxn>
                </a:cxnLst>
                <a:rect l="0" t="0" r="r" b="b"/>
                <a:pathLst>
                  <a:path w="20000" h="20000">
                    <a:moveTo>
                      <a:pt x="5517" y="19630"/>
                    </a:moveTo>
                    <a:lnTo>
                      <a:pt x="0" y="15556"/>
                    </a:lnTo>
                    <a:lnTo>
                      <a:pt x="3448" y="0"/>
                    </a:lnTo>
                    <a:lnTo>
                      <a:pt x="19655" y="0"/>
                    </a:lnTo>
                    <a:lnTo>
                      <a:pt x="14138" y="13704"/>
                    </a:lnTo>
                    <a:lnTo>
                      <a:pt x="5517" y="196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1" name="Freeform 25"/>
              <p:cNvSpPr>
                <a:spLocks/>
              </p:cNvSpPr>
              <p:nvPr/>
            </p:nvSpPr>
            <p:spPr bwMode="auto">
              <a:xfrm>
                <a:off x="3448050" y="4276725"/>
                <a:ext cx="79375" cy="109538"/>
              </a:xfrm>
              <a:custGeom>
                <a:avLst/>
                <a:gdLst>
                  <a:gd name="T0" fmla="*/ 4960 w 20000"/>
                  <a:gd name="T1" fmla="*/ 0 h 20000"/>
                  <a:gd name="T2" fmla="*/ 11680 w 20000"/>
                  <a:gd name="T3" fmla="*/ 1850 h 20000"/>
                  <a:gd name="T4" fmla="*/ 18240 w 20000"/>
                  <a:gd name="T5" fmla="*/ 6012 h 20000"/>
                  <a:gd name="T6" fmla="*/ 19840 w 20000"/>
                  <a:gd name="T7" fmla="*/ 9017 h 20000"/>
                  <a:gd name="T8" fmla="*/ 17440 w 20000"/>
                  <a:gd name="T9" fmla="*/ 13757 h 20000"/>
                  <a:gd name="T10" fmla="*/ 13280 w 20000"/>
                  <a:gd name="T11" fmla="*/ 18613 h 20000"/>
                  <a:gd name="T12" fmla="*/ 4960 w 20000"/>
                  <a:gd name="T13" fmla="*/ 19884 h 20000"/>
                  <a:gd name="T14" fmla="*/ 0 w 20000"/>
                  <a:gd name="T15" fmla="*/ 17457 h 20000"/>
                  <a:gd name="T16" fmla="*/ 4160 w 20000"/>
                  <a:gd name="T17" fmla="*/ 12601 h 20000"/>
                  <a:gd name="T18" fmla="*/ 2560 w 20000"/>
                  <a:gd name="T19" fmla="*/ 9711 h 20000"/>
                  <a:gd name="T20" fmla="*/ 960 w 20000"/>
                  <a:gd name="T21" fmla="*/ 3121 h 20000"/>
                  <a:gd name="T22" fmla="*/ 4960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4960" y="0"/>
                    </a:moveTo>
                    <a:lnTo>
                      <a:pt x="11680" y="1850"/>
                    </a:lnTo>
                    <a:lnTo>
                      <a:pt x="18240" y="6012"/>
                    </a:lnTo>
                    <a:lnTo>
                      <a:pt x="19840" y="9017"/>
                    </a:lnTo>
                    <a:lnTo>
                      <a:pt x="17440" y="13757"/>
                    </a:lnTo>
                    <a:lnTo>
                      <a:pt x="13280" y="18613"/>
                    </a:lnTo>
                    <a:lnTo>
                      <a:pt x="4960" y="19884"/>
                    </a:lnTo>
                    <a:lnTo>
                      <a:pt x="0" y="17457"/>
                    </a:lnTo>
                    <a:lnTo>
                      <a:pt x="4160" y="12601"/>
                    </a:lnTo>
                    <a:lnTo>
                      <a:pt x="2560" y="9711"/>
                    </a:lnTo>
                    <a:lnTo>
                      <a:pt x="960" y="3121"/>
                    </a:lnTo>
                    <a:lnTo>
                      <a:pt x="496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2" name="Freeform 24"/>
              <p:cNvSpPr>
                <a:spLocks/>
              </p:cNvSpPr>
              <p:nvPr/>
            </p:nvSpPr>
            <p:spPr bwMode="auto">
              <a:xfrm>
                <a:off x="3105150" y="3902075"/>
                <a:ext cx="49213" cy="20638"/>
              </a:xfrm>
              <a:custGeom>
                <a:avLst/>
                <a:gdLst>
                  <a:gd name="T0" fmla="*/ 15897 w 20000"/>
                  <a:gd name="T1" fmla="*/ 19375 h 20000"/>
                  <a:gd name="T2" fmla="*/ 0 w 20000"/>
                  <a:gd name="T3" fmla="*/ 13125 h 20000"/>
                  <a:gd name="T4" fmla="*/ 2564 w 20000"/>
                  <a:gd name="T5" fmla="*/ 0 h 20000"/>
                  <a:gd name="T6" fmla="*/ 13077 w 20000"/>
                  <a:gd name="T7" fmla="*/ 3750 h 20000"/>
                  <a:gd name="T8" fmla="*/ 19744 w 20000"/>
                  <a:gd name="T9" fmla="*/ 9375 h 20000"/>
                  <a:gd name="T10" fmla="*/ 15897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15897" y="19375"/>
                    </a:moveTo>
                    <a:lnTo>
                      <a:pt x="0" y="13125"/>
                    </a:lnTo>
                    <a:lnTo>
                      <a:pt x="2564" y="0"/>
                    </a:lnTo>
                    <a:lnTo>
                      <a:pt x="13077" y="3750"/>
                    </a:lnTo>
                    <a:lnTo>
                      <a:pt x="19744" y="9375"/>
                    </a:lnTo>
                    <a:lnTo>
                      <a:pt x="15897"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3" name="Freeform 23"/>
              <p:cNvSpPr>
                <a:spLocks/>
              </p:cNvSpPr>
              <p:nvPr/>
            </p:nvSpPr>
            <p:spPr bwMode="auto">
              <a:xfrm>
                <a:off x="8132763" y="4786313"/>
                <a:ext cx="1122362" cy="1016000"/>
              </a:xfrm>
              <a:custGeom>
                <a:avLst/>
                <a:gdLst>
                  <a:gd name="T0" fmla="*/ 14420 w 20000"/>
                  <a:gd name="T1" fmla="*/ 19150 h 20000"/>
                  <a:gd name="T2" fmla="*/ 13956 w 20000"/>
                  <a:gd name="T3" fmla="*/ 19025 h 20000"/>
                  <a:gd name="T4" fmla="*/ 12779 w 20000"/>
                  <a:gd name="T5" fmla="*/ 19275 h 20000"/>
                  <a:gd name="T6" fmla="*/ 11964 w 20000"/>
                  <a:gd name="T7" fmla="*/ 18638 h 20000"/>
                  <a:gd name="T8" fmla="*/ 11851 w 20000"/>
                  <a:gd name="T9" fmla="*/ 16825 h 20000"/>
                  <a:gd name="T10" fmla="*/ 11545 w 20000"/>
                  <a:gd name="T11" fmla="*/ 16313 h 20000"/>
                  <a:gd name="T12" fmla="*/ 10730 w 20000"/>
                  <a:gd name="T13" fmla="*/ 16563 h 20000"/>
                  <a:gd name="T14" fmla="*/ 11500 w 20000"/>
                  <a:gd name="T15" fmla="*/ 15075 h 20000"/>
                  <a:gd name="T16" fmla="*/ 11081 w 20000"/>
                  <a:gd name="T17" fmla="*/ 15275 h 20000"/>
                  <a:gd name="T18" fmla="*/ 10141 w 20000"/>
                  <a:gd name="T19" fmla="*/ 16238 h 20000"/>
                  <a:gd name="T20" fmla="*/ 9859 w 20000"/>
                  <a:gd name="T21" fmla="*/ 14938 h 20000"/>
                  <a:gd name="T22" fmla="*/ 9677 w 20000"/>
                  <a:gd name="T23" fmla="*/ 14225 h 20000"/>
                  <a:gd name="T24" fmla="*/ 8444 w 20000"/>
                  <a:gd name="T25" fmla="*/ 13525 h 20000"/>
                  <a:gd name="T26" fmla="*/ 5048 w 20000"/>
                  <a:gd name="T27" fmla="*/ 14225 h 20000"/>
                  <a:gd name="T28" fmla="*/ 4097 w 20000"/>
                  <a:gd name="T29" fmla="*/ 15075 h 20000"/>
                  <a:gd name="T30" fmla="*/ 2637 w 20000"/>
                  <a:gd name="T31" fmla="*/ 14938 h 20000"/>
                  <a:gd name="T32" fmla="*/ 1177 w 20000"/>
                  <a:gd name="T33" fmla="*/ 15725 h 20000"/>
                  <a:gd name="T34" fmla="*/ 113 w 20000"/>
                  <a:gd name="T35" fmla="*/ 14688 h 20000"/>
                  <a:gd name="T36" fmla="*/ 770 w 20000"/>
                  <a:gd name="T37" fmla="*/ 13525 h 20000"/>
                  <a:gd name="T38" fmla="*/ 294 w 20000"/>
                  <a:gd name="T39" fmla="*/ 10875 h 20000"/>
                  <a:gd name="T40" fmla="*/ 181 w 20000"/>
                  <a:gd name="T41" fmla="*/ 9775 h 20000"/>
                  <a:gd name="T42" fmla="*/ 294 w 20000"/>
                  <a:gd name="T43" fmla="*/ 9450 h 20000"/>
                  <a:gd name="T44" fmla="*/ 294 w 20000"/>
                  <a:gd name="T45" fmla="*/ 8275 h 20000"/>
                  <a:gd name="T46" fmla="*/ 883 w 20000"/>
                  <a:gd name="T47" fmla="*/ 6613 h 20000"/>
                  <a:gd name="T48" fmla="*/ 1709 w 20000"/>
                  <a:gd name="T49" fmla="*/ 6275 h 20000"/>
                  <a:gd name="T50" fmla="*/ 3407 w 20000"/>
                  <a:gd name="T51" fmla="*/ 5700 h 20000"/>
                  <a:gd name="T52" fmla="*/ 5093 w 20000"/>
                  <a:gd name="T53" fmla="*/ 4338 h 20000"/>
                  <a:gd name="T54" fmla="*/ 5693 w 20000"/>
                  <a:gd name="T55" fmla="*/ 3550 h 20000"/>
                  <a:gd name="T56" fmla="*/ 5863 w 20000"/>
                  <a:gd name="T57" fmla="*/ 3238 h 20000"/>
                  <a:gd name="T58" fmla="*/ 6452 w 20000"/>
                  <a:gd name="T59" fmla="*/ 3363 h 20000"/>
                  <a:gd name="T60" fmla="*/ 6621 w 20000"/>
                  <a:gd name="T61" fmla="*/ 2838 h 20000"/>
                  <a:gd name="T62" fmla="*/ 7040 w 20000"/>
                  <a:gd name="T63" fmla="*/ 2138 h 20000"/>
                  <a:gd name="T64" fmla="*/ 7799 w 20000"/>
                  <a:gd name="T65" fmla="*/ 1688 h 20000"/>
                  <a:gd name="T66" fmla="*/ 8444 w 20000"/>
                  <a:gd name="T67" fmla="*/ 2450 h 20000"/>
                  <a:gd name="T68" fmla="*/ 9032 w 20000"/>
                  <a:gd name="T69" fmla="*/ 2525 h 20000"/>
                  <a:gd name="T70" fmla="*/ 9372 w 20000"/>
                  <a:gd name="T71" fmla="*/ 1613 h 20000"/>
                  <a:gd name="T72" fmla="*/ 9859 w 20000"/>
                  <a:gd name="T73" fmla="*/ 838 h 20000"/>
                  <a:gd name="T74" fmla="*/ 10323 w 20000"/>
                  <a:gd name="T75" fmla="*/ 263 h 20000"/>
                  <a:gd name="T76" fmla="*/ 11319 w 20000"/>
                  <a:gd name="T77" fmla="*/ 638 h 20000"/>
                  <a:gd name="T78" fmla="*/ 12315 w 20000"/>
                  <a:gd name="T79" fmla="*/ 838 h 20000"/>
                  <a:gd name="T80" fmla="*/ 12722 w 20000"/>
                  <a:gd name="T81" fmla="*/ 838 h 20000"/>
                  <a:gd name="T82" fmla="*/ 12541 w 20000"/>
                  <a:gd name="T83" fmla="*/ 1350 h 20000"/>
                  <a:gd name="T84" fmla="*/ 11964 w 20000"/>
                  <a:gd name="T85" fmla="*/ 2525 h 20000"/>
                  <a:gd name="T86" fmla="*/ 13073 w 20000"/>
                  <a:gd name="T87" fmla="*/ 3688 h 20000"/>
                  <a:gd name="T88" fmla="*/ 14488 w 20000"/>
                  <a:gd name="T89" fmla="*/ 4213 h 20000"/>
                  <a:gd name="T90" fmla="*/ 15065 w 20000"/>
                  <a:gd name="T91" fmla="*/ 1488 h 20000"/>
                  <a:gd name="T92" fmla="*/ 15484 w 20000"/>
                  <a:gd name="T93" fmla="*/ 263 h 20000"/>
                  <a:gd name="T94" fmla="*/ 15948 w 20000"/>
                  <a:gd name="T95" fmla="*/ 775 h 20000"/>
                  <a:gd name="T96" fmla="*/ 16129 w 20000"/>
                  <a:gd name="T97" fmla="*/ 1888 h 20000"/>
                  <a:gd name="T98" fmla="*/ 16887 w 20000"/>
                  <a:gd name="T99" fmla="*/ 2650 h 20000"/>
                  <a:gd name="T100" fmla="*/ 17170 w 20000"/>
                  <a:gd name="T101" fmla="*/ 4725 h 20000"/>
                  <a:gd name="T102" fmla="*/ 17816 w 20000"/>
                  <a:gd name="T103" fmla="*/ 5750 h 20000"/>
                  <a:gd name="T104" fmla="*/ 18166 w 20000"/>
                  <a:gd name="T105" fmla="*/ 6413 h 20000"/>
                  <a:gd name="T106" fmla="*/ 18766 w 20000"/>
                  <a:gd name="T107" fmla="*/ 7763 h 20000"/>
                  <a:gd name="T108" fmla="*/ 19162 w 20000"/>
                  <a:gd name="T109" fmla="*/ 8275 h 20000"/>
                  <a:gd name="T110" fmla="*/ 19638 w 20000"/>
                  <a:gd name="T111" fmla="*/ 9250 h 20000"/>
                  <a:gd name="T112" fmla="*/ 19808 w 20000"/>
                  <a:gd name="T113" fmla="*/ 11188 h 20000"/>
                  <a:gd name="T114" fmla="*/ 18879 w 20000"/>
                  <a:gd name="T115" fmla="*/ 14688 h 20000"/>
                  <a:gd name="T116" fmla="*/ 18121 w 20000"/>
                  <a:gd name="T117" fmla="*/ 16038 h 20000"/>
                  <a:gd name="T118" fmla="*/ 16299 w 20000"/>
                  <a:gd name="T119" fmla="*/ 19025 h 20000"/>
                  <a:gd name="T120" fmla="*/ 14714 w 20000"/>
                  <a:gd name="T121" fmla="*/ 1998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14714" y="19988"/>
                    </a:moveTo>
                    <a:lnTo>
                      <a:pt x="14488" y="19613"/>
                    </a:lnTo>
                    <a:lnTo>
                      <a:pt x="14420" y="19475"/>
                    </a:lnTo>
                    <a:lnTo>
                      <a:pt x="14420" y="19350"/>
                    </a:lnTo>
                    <a:lnTo>
                      <a:pt x="14420" y="19150"/>
                    </a:lnTo>
                    <a:lnTo>
                      <a:pt x="14137" y="19350"/>
                    </a:lnTo>
                    <a:lnTo>
                      <a:pt x="14024" y="19350"/>
                    </a:lnTo>
                    <a:lnTo>
                      <a:pt x="14250" y="19150"/>
                    </a:lnTo>
                    <a:lnTo>
                      <a:pt x="14250" y="18950"/>
                    </a:lnTo>
                    <a:lnTo>
                      <a:pt x="13956" y="19025"/>
                    </a:lnTo>
                    <a:lnTo>
                      <a:pt x="14024" y="19025"/>
                    </a:lnTo>
                    <a:lnTo>
                      <a:pt x="14024" y="19275"/>
                    </a:lnTo>
                    <a:lnTo>
                      <a:pt x="13367" y="19663"/>
                    </a:lnTo>
                    <a:lnTo>
                      <a:pt x="13073" y="19350"/>
                    </a:lnTo>
                    <a:lnTo>
                      <a:pt x="12779" y="19275"/>
                    </a:lnTo>
                    <a:lnTo>
                      <a:pt x="12609" y="19025"/>
                    </a:lnTo>
                    <a:lnTo>
                      <a:pt x="12541" y="19150"/>
                    </a:lnTo>
                    <a:lnTo>
                      <a:pt x="12247" y="18950"/>
                    </a:lnTo>
                    <a:lnTo>
                      <a:pt x="12020" y="18825"/>
                    </a:lnTo>
                    <a:lnTo>
                      <a:pt x="11964" y="18638"/>
                    </a:lnTo>
                    <a:lnTo>
                      <a:pt x="11783" y="18313"/>
                    </a:lnTo>
                    <a:lnTo>
                      <a:pt x="11783" y="17988"/>
                    </a:lnTo>
                    <a:lnTo>
                      <a:pt x="11964" y="17600"/>
                    </a:lnTo>
                    <a:lnTo>
                      <a:pt x="11669" y="16950"/>
                    </a:lnTo>
                    <a:lnTo>
                      <a:pt x="11851" y="16825"/>
                    </a:lnTo>
                    <a:lnTo>
                      <a:pt x="11851" y="16750"/>
                    </a:lnTo>
                    <a:lnTo>
                      <a:pt x="11545" y="16750"/>
                    </a:lnTo>
                    <a:lnTo>
                      <a:pt x="11319" y="16825"/>
                    </a:lnTo>
                    <a:lnTo>
                      <a:pt x="11500" y="16625"/>
                    </a:lnTo>
                    <a:lnTo>
                      <a:pt x="11545" y="16313"/>
                    </a:lnTo>
                    <a:lnTo>
                      <a:pt x="11500" y="15725"/>
                    </a:lnTo>
                    <a:lnTo>
                      <a:pt x="11319" y="15913"/>
                    </a:lnTo>
                    <a:lnTo>
                      <a:pt x="11081" y="16438"/>
                    </a:lnTo>
                    <a:lnTo>
                      <a:pt x="10900" y="16438"/>
                    </a:lnTo>
                    <a:lnTo>
                      <a:pt x="10730" y="16563"/>
                    </a:lnTo>
                    <a:lnTo>
                      <a:pt x="10787" y="16313"/>
                    </a:lnTo>
                    <a:lnTo>
                      <a:pt x="11024" y="16313"/>
                    </a:lnTo>
                    <a:lnTo>
                      <a:pt x="11081" y="15788"/>
                    </a:lnTo>
                    <a:lnTo>
                      <a:pt x="11364" y="15400"/>
                    </a:lnTo>
                    <a:lnTo>
                      <a:pt x="11500" y="15075"/>
                    </a:lnTo>
                    <a:lnTo>
                      <a:pt x="11545" y="14938"/>
                    </a:lnTo>
                    <a:lnTo>
                      <a:pt x="11545" y="14425"/>
                    </a:lnTo>
                    <a:lnTo>
                      <a:pt x="11500" y="14888"/>
                    </a:lnTo>
                    <a:lnTo>
                      <a:pt x="11364" y="14888"/>
                    </a:lnTo>
                    <a:lnTo>
                      <a:pt x="11081" y="15275"/>
                    </a:lnTo>
                    <a:lnTo>
                      <a:pt x="10787" y="15463"/>
                    </a:lnTo>
                    <a:lnTo>
                      <a:pt x="10436" y="15788"/>
                    </a:lnTo>
                    <a:lnTo>
                      <a:pt x="10255" y="16038"/>
                    </a:lnTo>
                    <a:lnTo>
                      <a:pt x="10323" y="16238"/>
                    </a:lnTo>
                    <a:lnTo>
                      <a:pt x="10141" y="16238"/>
                    </a:lnTo>
                    <a:lnTo>
                      <a:pt x="10085" y="16038"/>
                    </a:lnTo>
                    <a:lnTo>
                      <a:pt x="10085" y="15913"/>
                    </a:lnTo>
                    <a:lnTo>
                      <a:pt x="10085" y="15600"/>
                    </a:lnTo>
                    <a:lnTo>
                      <a:pt x="9972" y="15275"/>
                    </a:lnTo>
                    <a:lnTo>
                      <a:pt x="9859" y="14938"/>
                    </a:lnTo>
                    <a:lnTo>
                      <a:pt x="9677" y="14888"/>
                    </a:lnTo>
                    <a:lnTo>
                      <a:pt x="9677" y="14550"/>
                    </a:lnTo>
                    <a:lnTo>
                      <a:pt x="9791" y="14425"/>
                    </a:lnTo>
                    <a:lnTo>
                      <a:pt x="9553" y="14375"/>
                    </a:lnTo>
                    <a:lnTo>
                      <a:pt x="9677" y="14225"/>
                    </a:lnTo>
                    <a:lnTo>
                      <a:pt x="9496" y="14038"/>
                    </a:lnTo>
                    <a:lnTo>
                      <a:pt x="9327" y="14100"/>
                    </a:lnTo>
                    <a:lnTo>
                      <a:pt x="9089" y="13913"/>
                    </a:lnTo>
                    <a:lnTo>
                      <a:pt x="8908" y="13913"/>
                    </a:lnTo>
                    <a:lnTo>
                      <a:pt x="8444" y="13525"/>
                    </a:lnTo>
                    <a:lnTo>
                      <a:pt x="7980" y="13588"/>
                    </a:lnTo>
                    <a:lnTo>
                      <a:pt x="7097" y="13713"/>
                    </a:lnTo>
                    <a:lnTo>
                      <a:pt x="6271" y="14038"/>
                    </a:lnTo>
                    <a:lnTo>
                      <a:pt x="5806" y="13913"/>
                    </a:lnTo>
                    <a:lnTo>
                      <a:pt x="5048" y="14225"/>
                    </a:lnTo>
                    <a:lnTo>
                      <a:pt x="4743" y="14425"/>
                    </a:lnTo>
                    <a:lnTo>
                      <a:pt x="4584" y="14750"/>
                    </a:lnTo>
                    <a:lnTo>
                      <a:pt x="4460" y="14938"/>
                    </a:lnTo>
                    <a:lnTo>
                      <a:pt x="4165" y="15075"/>
                    </a:lnTo>
                    <a:lnTo>
                      <a:pt x="4097" y="15075"/>
                    </a:lnTo>
                    <a:lnTo>
                      <a:pt x="3814" y="15075"/>
                    </a:lnTo>
                    <a:lnTo>
                      <a:pt x="3633" y="15200"/>
                    </a:lnTo>
                    <a:lnTo>
                      <a:pt x="3520" y="14938"/>
                    </a:lnTo>
                    <a:lnTo>
                      <a:pt x="2932" y="14888"/>
                    </a:lnTo>
                    <a:lnTo>
                      <a:pt x="2637" y="14938"/>
                    </a:lnTo>
                    <a:lnTo>
                      <a:pt x="2173" y="15200"/>
                    </a:lnTo>
                    <a:lnTo>
                      <a:pt x="2105" y="15275"/>
                    </a:lnTo>
                    <a:lnTo>
                      <a:pt x="1822" y="15400"/>
                    </a:lnTo>
                    <a:lnTo>
                      <a:pt x="1415" y="15600"/>
                    </a:lnTo>
                    <a:lnTo>
                      <a:pt x="1177" y="15725"/>
                    </a:lnTo>
                    <a:lnTo>
                      <a:pt x="770" y="15725"/>
                    </a:lnTo>
                    <a:lnTo>
                      <a:pt x="464" y="15463"/>
                    </a:lnTo>
                    <a:lnTo>
                      <a:pt x="294" y="15200"/>
                    </a:lnTo>
                    <a:lnTo>
                      <a:pt x="0" y="15075"/>
                    </a:lnTo>
                    <a:lnTo>
                      <a:pt x="113" y="14688"/>
                    </a:lnTo>
                    <a:lnTo>
                      <a:pt x="181" y="14688"/>
                    </a:lnTo>
                    <a:lnTo>
                      <a:pt x="419" y="14550"/>
                    </a:lnTo>
                    <a:lnTo>
                      <a:pt x="464" y="14038"/>
                    </a:lnTo>
                    <a:lnTo>
                      <a:pt x="589" y="14038"/>
                    </a:lnTo>
                    <a:lnTo>
                      <a:pt x="770" y="13525"/>
                    </a:lnTo>
                    <a:lnTo>
                      <a:pt x="702" y="13075"/>
                    </a:lnTo>
                    <a:lnTo>
                      <a:pt x="464" y="12225"/>
                    </a:lnTo>
                    <a:lnTo>
                      <a:pt x="589" y="11513"/>
                    </a:lnTo>
                    <a:lnTo>
                      <a:pt x="464" y="11125"/>
                    </a:lnTo>
                    <a:lnTo>
                      <a:pt x="294" y="10875"/>
                    </a:lnTo>
                    <a:lnTo>
                      <a:pt x="419" y="10475"/>
                    </a:lnTo>
                    <a:lnTo>
                      <a:pt x="181" y="10038"/>
                    </a:lnTo>
                    <a:lnTo>
                      <a:pt x="0" y="9450"/>
                    </a:lnTo>
                    <a:lnTo>
                      <a:pt x="113" y="9450"/>
                    </a:lnTo>
                    <a:lnTo>
                      <a:pt x="181" y="9775"/>
                    </a:lnTo>
                    <a:lnTo>
                      <a:pt x="294" y="9775"/>
                    </a:lnTo>
                    <a:lnTo>
                      <a:pt x="181" y="9450"/>
                    </a:lnTo>
                    <a:lnTo>
                      <a:pt x="181" y="9125"/>
                    </a:lnTo>
                    <a:lnTo>
                      <a:pt x="294" y="9250"/>
                    </a:lnTo>
                    <a:lnTo>
                      <a:pt x="294" y="9450"/>
                    </a:lnTo>
                    <a:lnTo>
                      <a:pt x="419" y="9450"/>
                    </a:lnTo>
                    <a:lnTo>
                      <a:pt x="464" y="9650"/>
                    </a:lnTo>
                    <a:lnTo>
                      <a:pt x="464" y="9250"/>
                    </a:lnTo>
                    <a:lnTo>
                      <a:pt x="419" y="8988"/>
                    </a:lnTo>
                    <a:lnTo>
                      <a:pt x="294" y="8275"/>
                    </a:lnTo>
                    <a:lnTo>
                      <a:pt x="294" y="8088"/>
                    </a:lnTo>
                    <a:lnTo>
                      <a:pt x="464" y="7638"/>
                    </a:lnTo>
                    <a:lnTo>
                      <a:pt x="589" y="7250"/>
                    </a:lnTo>
                    <a:lnTo>
                      <a:pt x="702" y="6925"/>
                    </a:lnTo>
                    <a:lnTo>
                      <a:pt x="883" y="6613"/>
                    </a:lnTo>
                    <a:lnTo>
                      <a:pt x="770" y="7050"/>
                    </a:lnTo>
                    <a:lnTo>
                      <a:pt x="883" y="7050"/>
                    </a:lnTo>
                    <a:lnTo>
                      <a:pt x="1064" y="6613"/>
                    </a:lnTo>
                    <a:lnTo>
                      <a:pt x="1347" y="6538"/>
                    </a:lnTo>
                    <a:lnTo>
                      <a:pt x="1709" y="6275"/>
                    </a:lnTo>
                    <a:lnTo>
                      <a:pt x="2286" y="5950"/>
                    </a:lnTo>
                    <a:lnTo>
                      <a:pt x="2592" y="5950"/>
                    </a:lnTo>
                    <a:lnTo>
                      <a:pt x="2875" y="5750"/>
                    </a:lnTo>
                    <a:lnTo>
                      <a:pt x="3169" y="5750"/>
                    </a:lnTo>
                    <a:lnTo>
                      <a:pt x="3407" y="5700"/>
                    </a:lnTo>
                    <a:lnTo>
                      <a:pt x="3701" y="5563"/>
                    </a:lnTo>
                    <a:lnTo>
                      <a:pt x="4584" y="5175"/>
                    </a:lnTo>
                    <a:lnTo>
                      <a:pt x="4867" y="4600"/>
                    </a:lnTo>
                    <a:lnTo>
                      <a:pt x="5093" y="4525"/>
                    </a:lnTo>
                    <a:lnTo>
                      <a:pt x="5093" y="4338"/>
                    </a:lnTo>
                    <a:lnTo>
                      <a:pt x="5093" y="4013"/>
                    </a:lnTo>
                    <a:lnTo>
                      <a:pt x="5399" y="3550"/>
                    </a:lnTo>
                    <a:lnTo>
                      <a:pt x="5512" y="3363"/>
                    </a:lnTo>
                    <a:lnTo>
                      <a:pt x="5625" y="3363"/>
                    </a:lnTo>
                    <a:lnTo>
                      <a:pt x="5693" y="3550"/>
                    </a:lnTo>
                    <a:lnTo>
                      <a:pt x="5863" y="4013"/>
                    </a:lnTo>
                    <a:lnTo>
                      <a:pt x="5863" y="3688"/>
                    </a:lnTo>
                    <a:lnTo>
                      <a:pt x="6089" y="3825"/>
                    </a:lnTo>
                    <a:lnTo>
                      <a:pt x="5976" y="3550"/>
                    </a:lnTo>
                    <a:lnTo>
                      <a:pt x="5863" y="3238"/>
                    </a:lnTo>
                    <a:lnTo>
                      <a:pt x="5976" y="3163"/>
                    </a:lnTo>
                    <a:lnTo>
                      <a:pt x="6089" y="3363"/>
                    </a:lnTo>
                    <a:lnTo>
                      <a:pt x="6157" y="3238"/>
                    </a:lnTo>
                    <a:lnTo>
                      <a:pt x="6271" y="3363"/>
                    </a:lnTo>
                    <a:lnTo>
                      <a:pt x="6452" y="3363"/>
                    </a:lnTo>
                    <a:lnTo>
                      <a:pt x="6338" y="3363"/>
                    </a:lnTo>
                    <a:lnTo>
                      <a:pt x="6338" y="3163"/>
                    </a:lnTo>
                    <a:lnTo>
                      <a:pt x="6338" y="2988"/>
                    </a:lnTo>
                    <a:lnTo>
                      <a:pt x="6565" y="2713"/>
                    </a:lnTo>
                    <a:lnTo>
                      <a:pt x="6621" y="2838"/>
                    </a:lnTo>
                    <a:lnTo>
                      <a:pt x="6621" y="2650"/>
                    </a:lnTo>
                    <a:lnTo>
                      <a:pt x="6735" y="2525"/>
                    </a:lnTo>
                    <a:lnTo>
                      <a:pt x="6916" y="2650"/>
                    </a:lnTo>
                    <a:lnTo>
                      <a:pt x="6735" y="2325"/>
                    </a:lnTo>
                    <a:lnTo>
                      <a:pt x="7040" y="2138"/>
                    </a:lnTo>
                    <a:lnTo>
                      <a:pt x="7097" y="2325"/>
                    </a:lnTo>
                    <a:lnTo>
                      <a:pt x="7391" y="1888"/>
                    </a:lnTo>
                    <a:lnTo>
                      <a:pt x="7504" y="1813"/>
                    </a:lnTo>
                    <a:lnTo>
                      <a:pt x="7561" y="2013"/>
                    </a:lnTo>
                    <a:lnTo>
                      <a:pt x="7799" y="1688"/>
                    </a:lnTo>
                    <a:lnTo>
                      <a:pt x="7866" y="1888"/>
                    </a:lnTo>
                    <a:lnTo>
                      <a:pt x="8331" y="2325"/>
                    </a:lnTo>
                    <a:lnTo>
                      <a:pt x="8149" y="2525"/>
                    </a:lnTo>
                    <a:lnTo>
                      <a:pt x="8263" y="2713"/>
                    </a:lnTo>
                    <a:lnTo>
                      <a:pt x="8444" y="2450"/>
                    </a:lnTo>
                    <a:lnTo>
                      <a:pt x="8613" y="2525"/>
                    </a:lnTo>
                    <a:lnTo>
                      <a:pt x="8795" y="2650"/>
                    </a:lnTo>
                    <a:lnTo>
                      <a:pt x="8908" y="2525"/>
                    </a:lnTo>
                    <a:lnTo>
                      <a:pt x="9089" y="2713"/>
                    </a:lnTo>
                    <a:lnTo>
                      <a:pt x="9032" y="2525"/>
                    </a:lnTo>
                    <a:lnTo>
                      <a:pt x="9089" y="2525"/>
                    </a:lnTo>
                    <a:lnTo>
                      <a:pt x="8908" y="2138"/>
                    </a:lnTo>
                    <a:lnTo>
                      <a:pt x="9089" y="1888"/>
                    </a:lnTo>
                    <a:lnTo>
                      <a:pt x="9213" y="1613"/>
                    </a:lnTo>
                    <a:lnTo>
                      <a:pt x="9372" y="1613"/>
                    </a:lnTo>
                    <a:lnTo>
                      <a:pt x="9327" y="1300"/>
                    </a:lnTo>
                    <a:lnTo>
                      <a:pt x="9553" y="1100"/>
                    </a:lnTo>
                    <a:lnTo>
                      <a:pt x="9791" y="1100"/>
                    </a:lnTo>
                    <a:lnTo>
                      <a:pt x="9791" y="975"/>
                    </a:lnTo>
                    <a:lnTo>
                      <a:pt x="9859" y="838"/>
                    </a:lnTo>
                    <a:lnTo>
                      <a:pt x="10549" y="838"/>
                    </a:lnTo>
                    <a:lnTo>
                      <a:pt x="10617" y="838"/>
                    </a:lnTo>
                    <a:lnTo>
                      <a:pt x="10549" y="463"/>
                    </a:lnTo>
                    <a:lnTo>
                      <a:pt x="10436" y="463"/>
                    </a:lnTo>
                    <a:lnTo>
                      <a:pt x="10323" y="263"/>
                    </a:lnTo>
                    <a:lnTo>
                      <a:pt x="10549" y="263"/>
                    </a:lnTo>
                    <a:lnTo>
                      <a:pt x="10730" y="325"/>
                    </a:lnTo>
                    <a:lnTo>
                      <a:pt x="10787" y="325"/>
                    </a:lnTo>
                    <a:lnTo>
                      <a:pt x="10900" y="513"/>
                    </a:lnTo>
                    <a:lnTo>
                      <a:pt x="11319" y="638"/>
                    </a:lnTo>
                    <a:lnTo>
                      <a:pt x="11364" y="775"/>
                    </a:lnTo>
                    <a:lnTo>
                      <a:pt x="11669" y="775"/>
                    </a:lnTo>
                    <a:lnTo>
                      <a:pt x="11851" y="838"/>
                    </a:lnTo>
                    <a:lnTo>
                      <a:pt x="12134" y="775"/>
                    </a:lnTo>
                    <a:lnTo>
                      <a:pt x="12315" y="838"/>
                    </a:lnTo>
                    <a:lnTo>
                      <a:pt x="12428" y="975"/>
                    </a:lnTo>
                    <a:lnTo>
                      <a:pt x="12541" y="1100"/>
                    </a:lnTo>
                    <a:lnTo>
                      <a:pt x="12428" y="838"/>
                    </a:lnTo>
                    <a:lnTo>
                      <a:pt x="12609" y="775"/>
                    </a:lnTo>
                    <a:lnTo>
                      <a:pt x="12722" y="838"/>
                    </a:lnTo>
                    <a:lnTo>
                      <a:pt x="12779" y="975"/>
                    </a:lnTo>
                    <a:lnTo>
                      <a:pt x="12609" y="1175"/>
                    </a:lnTo>
                    <a:lnTo>
                      <a:pt x="12609" y="1300"/>
                    </a:lnTo>
                    <a:lnTo>
                      <a:pt x="12541" y="1488"/>
                    </a:lnTo>
                    <a:lnTo>
                      <a:pt x="12541" y="1350"/>
                    </a:lnTo>
                    <a:lnTo>
                      <a:pt x="12315" y="1488"/>
                    </a:lnTo>
                    <a:lnTo>
                      <a:pt x="12247" y="1688"/>
                    </a:lnTo>
                    <a:lnTo>
                      <a:pt x="12247" y="1813"/>
                    </a:lnTo>
                    <a:lnTo>
                      <a:pt x="12247" y="2013"/>
                    </a:lnTo>
                    <a:lnTo>
                      <a:pt x="11964" y="2525"/>
                    </a:lnTo>
                    <a:lnTo>
                      <a:pt x="12247" y="2838"/>
                    </a:lnTo>
                    <a:lnTo>
                      <a:pt x="12315" y="2988"/>
                    </a:lnTo>
                    <a:lnTo>
                      <a:pt x="12541" y="3038"/>
                    </a:lnTo>
                    <a:lnTo>
                      <a:pt x="12609" y="3238"/>
                    </a:lnTo>
                    <a:lnTo>
                      <a:pt x="13073" y="3688"/>
                    </a:lnTo>
                    <a:lnTo>
                      <a:pt x="13662" y="3825"/>
                    </a:lnTo>
                    <a:lnTo>
                      <a:pt x="13662" y="4075"/>
                    </a:lnTo>
                    <a:lnTo>
                      <a:pt x="14137" y="4338"/>
                    </a:lnTo>
                    <a:lnTo>
                      <a:pt x="14307" y="4338"/>
                    </a:lnTo>
                    <a:lnTo>
                      <a:pt x="14488" y="4213"/>
                    </a:lnTo>
                    <a:lnTo>
                      <a:pt x="14771" y="3550"/>
                    </a:lnTo>
                    <a:lnTo>
                      <a:pt x="15065" y="2450"/>
                    </a:lnTo>
                    <a:lnTo>
                      <a:pt x="15065" y="1888"/>
                    </a:lnTo>
                    <a:lnTo>
                      <a:pt x="15178" y="1688"/>
                    </a:lnTo>
                    <a:lnTo>
                      <a:pt x="15065" y="1488"/>
                    </a:lnTo>
                    <a:lnTo>
                      <a:pt x="15246" y="1175"/>
                    </a:lnTo>
                    <a:lnTo>
                      <a:pt x="15178" y="1100"/>
                    </a:lnTo>
                    <a:lnTo>
                      <a:pt x="15246" y="838"/>
                    </a:lnTo>
                    <a:lnTo>
                      <a:pt x="15359" y="838"/>
                    </a:lnTo>
                    <a:lnTo>
                      <a:pt x="15484" y="263"/>
                    </a:lnTo>
                    <a:lnTo>
                      <a:pt x="15710" y="0"/>
                    </a:lnTo>
                    <a:lnTo>
                      <a:pt x="15710" y="125"/>
                    </a:lnTo>
                    <a:lnTo>
                      <a:pt x="15835" y="325"/>
                    </a:lnTo>
                    <a:lnTo>
                      <a:pt x="15835" y="775"/>
                    </a:lnTo>
                    <a:lnTo>
                      <a:pt x="15948" y="775"/>
                    </a:lnTo>
                    <a:lnTo>
                      <a:pt x="15948" y="975"/>
                    </a:lnTo>
                    <a:lnTo>
                      <a:pt x="16005" y="1100"/>
                    </a:lnTo>
                    <a:lnTo>
                      <a:pt x="16005" y="1350"/>
                    </a:lnTo>
                    <a:lnTo>
                      <a:pt x="16129" y="1350"/>
                    </a:lnTo>
                    <a:lnTo>
                      <a:pt x="16129" y="1888"/>
                    </a:lnTo>
                    <a:lnTo>
                      <a:pt x="16242" y="2450"/>
                    </a:lnTo>
                    <a:lnTo>
                      <a:pt x="16299" y="2325"/>
                    </a:lnTo>
                    <a:lnTo>
                      <a:pt x="16480" y="2138"/>
                    </a:lnTo>
                    <a:lnTo>
                      <a:pt x="16593" y="2450"/>
                    </a:lnTo>
                    <a:lnTo>
                      <a:pt x="16887" y="2650"/>
                    </a:lnTo>
                    <a:lnTo>
                      <a:pt x="16887" y="3363"/>
                    </a:lnTo>
                    <a:lnTo>
                      <a:pt x="16887" y="3550"/>
                    </a:lnTo>
                    <a:lnTo>
                      <a:pt x="17057" y="3888"/>
                    </a:lnTo>
                    <a:lnTo>
                      <a:pt x="17170" y="4400"/>
                    </a:lnTo>
                    <a:lnTo>
                      <a:pt x="17170" y="4725"/>
                    </a:lnTo>
                    <a:lnTo>
                      <a:pt x="17170" y="4925"/>
                    </a:lnTo>
                    <a:lnTo>
                      <a:pt x="17238" y="5175"/>
                    </a:lnTo>
                    <a:lnTo>
                      <a:pt x="17476" y="5438"/>
                    </a:lnTo>
                    <a:lnTo>
                      <a:pt x="17702" y="5438"/>
                    </a:lnTo>
                    <a:lnTo>
                      <a:pt x="17816" y="5750"/>
                    </a:lnTo>
                    <a:lnTo>
                      <a:pt x="17940" y="5750"/>
                    </a:lnTo>
                    <a:lnTo>
                      <a:pt x="18166" y="5950"/>
                    </a:lnTo>
                    <a:lnTo>
                      <a:pt x="18291" y="6213"/>
                    </a:lnTo>
                    <a:lnTo>
                      <a:pt x="18415" y="6275"/>
                    </a:lnTo>
                    <a:lnTo>
                      <a:pt x="18166" y="6413"/>
                    </a:lnTo>
                    <a:lnTo>
                      <a:pt x="18291" y="6613"/>
                    </a:lnTo>
                    <a:lnTo>
                      <a:pt x="18472" y="6925"/>
                    </a:lnTo>
                    <a:lnTo>
                      <a:pt x="18472" y="7050"/>
                    </a:lnTo>
                    <a:lnTo>
                      <a:pt x="18698" y="7638"/>
                    </a:lnTo>
                    <a:lnTo>
                      <a:pt x="18766" y="7763"/>
                    </a:lnTo>
                    <a:lnTo>
                      <a:pt x="18766" y="7313"/>
                    </a:lnTo>
                    <a:lnTo>
                      <a:pt x="19049" y="7638"/>
                    </a:lnTo>
                    <a:lnTo>
                      <a:pt x="19049" y="7563"/>
                    </a:lnTo>
                    <a:lnTo>
                      <a:pt x="19162" y="7763"/>
                    </a:lnTo>
                    <a:lnTo>
                      <a:pt x="19162" y="8275"/>
                    </a:lnTo>
                    <a:lnTo>
                      <a:pt x="18936" y="8275"/>
                    </a:lnTo>
                    <a:lnTo>
                      <a:pt x="19049" y="8475"/>
                    </a:lnTo>
                    <a:lnTo>
                      <a:pt x="19344" y="8675"/>
                    </a:lnTo>
                    <a:lnTo>
                      <a:pt x="19525" y="8938"/>
                    </a:lnTo>
                    <a:lnTo>
                      <a:pt x="19638" y="9250"/>
                    </a:lnTo>
                    <a:lnTo>
                      <a:pt x="19808" y="9450"/>
                    </a:lnTo>
                    <a:lnTo>
                      <a:pt x="19932" y="9650"/>
                    </a:lnTo>
                    <a:lnTo>
                      <a:pt x="19808" y="9963"/>
                    </a:lnTo>
                    <a:lnTo>
                      <a:pt x="19989" y="10350"/>
                    </a:lnTo>
                    <a:lnTo>
                      <a:pt x="19808" y="11188"/>
                    </a:lnTo>
                    <a:lnTo>
                      <a:pt x="19932" y="11650"/>
                    </a:lnTo>
                    <a:lnTo>
                      <a:pt x="19808" y="12363"/>
                    </a:lnTo>
                    <a:lnTo>
                      <a:pt x="19525" y="13075"/>
                    </a:lnTo>
                    <a:lnTo>
                      <a:pt x="19344" y="13838"/>
                    </a:lnTo>
                    <a:lnTo>
                      <a:pt x="18879" y="14688"/>
                    </a:lnTo>
                    <a:lnTo>
                      <a:pt x="18879" y="14750"/>
                    </a:lnTo>
                    <a:lnTo>
                      <a:pt x="18879" y="14888"/>
                    </a:lnTo>
                    <a:lnTo>
                      <a:pt x="18291" y="15400"/>
                    </a:lnTo>
                    <a:lnTo>
                      <a:pt x="18166" y="15725"/>
                    </a:lnTo>
                    <a:lnTo>
                      <a:pt x="18121" y="16038"/>
                    </a:lnTo>
                    <a:lnTo>
                      <a:pt x="17702" y="16563"/>
                    </a:lnTo>
                    <a:lnTo>
                      <a:pt x="17521" y="16950"/>
                    </a:lnTo>
                    <a:lnTo>
                      <a:pt x="17057" y="17925"/>
                    </a:lnTo>
                    <a:lnTo>
                      <a:pt x="16774" y="18763"/>
                    </a:lnTo>
                    <a:lnTo>
                      <a:pt x="16299" y="19025"/>
                    </a:lnTo>
                    <a:lnTo>
                      <a:pt x="15529" y="19025"/>
                    </a:lnTo>
                    <a:lnTo>
                      <a:pt x="15246" y="19350"/>
                    </a:lnTo>
                    <a:lnTo>
                      <a:pt x="14714" y="19663"/>
                    </a:lnTo>
                    <a:lnTo>
                      <a:pt x="14771" y="19800"/>
                    </a:lnTo>
                    <a:lnTo>
                      <a:pt x="14714" y="1998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4" name="Freeform 22"/>
              <p:cNvSpPr>
                <a:spLocks/>
              </p:cNvSpPr>
              <p:nvPr/>
            </p:nvSpPr>
            <p:spPr bwMode="auto">
              <a:xfrm>
                <a:off x="9409113" y="5929313"/>
                <a:ext cx="244475" cy="285750"/>
              </a:xfrm>
              <a:custGeom>
                <a:avLst/>
                <a:gdLst>
                  <a:gd name="T0" fmla="*/ 4000 w 20000"/>
                  <a:gd name="T1" fmla="*/ 19512 h 20000"/>
                  <a:gd name="T2" fmla="*/ 2961 w 20000"/>
                  <a:gd name="T3" fmla="*/ 18581 h 20000"/>
                  <a:gd name="T4" fmla="*/ 1870 w 20000"/>
                  <a:gd name="T5" fmla="*/ 17694 h 20000"/>
                  <a:gd name="T6" fmla="*/ 0 w 20000"/>
                  <a:gd name="T7" fmla="*/ 17428 h 20000"/>
                  <a:gd name="T8" fmla="*/ 0 w 20000"/>
                  <a:gd name="T9" fmla="*/ 16541 h 20000"/>
                  <a:gd name="T10" fmla="*/ 831 w 20000"/>
                  <a:gd name="T11" fmla="*/ 16275 h 20000"/>
                  <a:gd name="T12" fmla="*/ 1351 w 20000"/>
                  <a:gd name="T13" fmla="*/ 14723 h 20000"/>
                  <a:gd name="T14" fmla="*/ 1870 w 20000"/>
                  <a:gd name="T15" fmla="*/ 14457 h 20000"/>
                  <a:gd name="T16" fmla="*/ 2130 w 20000"/>
                  <a:gd name="T17" fmla="*/ 14013 h 20000"/>
                  <a:gd name="T18" fmla="*/ 2961 w 20000"/>
                  <a:gd name="T19" fmla="*/ 13792 h 20000"/>
                  <a:gd name="T20" fmla="*/ 4312 w 20000"/>
                  <a:gd name="T21" fmla="*/ 12860 h 20000"/>
                  <a:gd name="T22" fmla="*/ 5091 w 20000"/>
                  <a:gd name="T23" fmla="*/ 12195 h 20000"/>
                  <a:gd name="T24" fmla="*/ 5610 w 20000"/>
                  <a:gd name="T25" fmla="*/ 11486 h 20000"/>
                  <a:gd name="T26" fmla="*/ 7792 w 20000"/>
                  <a:gd name="T27" fmla="*/ 10820 h 20000"/>
                  <a:gd name="T28" fmla="*/ 11844 w 20000"/>
                  <a:gd name="T29" fmla="*/ 8514 h 20000"/>
                  <a:gd name="T30" fmla="*/ 15377 w 20000"/>
                  <a:gd name="T31" fmla="*/ 4834 h 20000"/>
                  <a:gd name="T32" fmla="*/ 16104 w 20000"/>
                  <a:gd name="T33" fmla="*/ 3725 h 20000"/>
                  <a:gd name="T34" fmla="*/ 17506 w 20000"/>
                  <a:gd name="T35" fmla="*/ 1197 h 20000"/>
                  <a:gd name="T36" fmla="*/ 18857 w 20000"/>
                  <a:gd name="T37" fmla="*/ 266 h 20000"/>
                  <a:gd name="T38" fmla="*/ 18857 w 20000"/>
                  <a:gd name="T39" fmla="*/ 1375 h 20000"/>
                  <a:gd name="T40" fmla="*/ 18857 w 20000"/>
                  <a:gd name="T41" fmla="*/ 3016 h 20000"/>
                  <a:gd name="T42" fmla="*/ 19636 w 20000"/>
                  <a:gd name="T43" fmla="*/ 2084 h 20000"/>
                  <a:gd name="T44" fmla="*/ 19948 w 20000"/>
                  <a:gd name="T45" fmla="*/ 3016 h 20000"/>
                  <a:gd name="T46" fmla="*/ 19636 w 20000"/>
                  <a:gd name="T47" fmla="*/ 4390 h 20000"/>
                  <a:gd name="T48" fmla="*/ 18338 w 20000"/>
                  <a:gd name="T49" fmla="*/ 6918 h 20000"/>
                  <a:gd name="T50" fmla="*/ 16416 w 20000"/>
                  <a:gd name="T51" fmla="*/ 9180 h 20000"/>
                  <a:gd name="T52" fmla="*/ 16416 w 20000"/>
                  <a:gd name="T53" fmla="*/ 10998 h 20000"/>
                  <a:gd name="T54" fmla="*/ 15377 w 20000"/>
                  <a:gd name="T55" fmla="*/ 10998 h 20000"/>
                  <a:gd name="T56" fmla="*/ 14805 w 20000"/>
                  <a:gd name="T57" fmla="*/ 10998 h 20000"/>
                  <a:gd name="T58" fmla="*/ 12104 w 20000"/>
                  <a:gd name="T59" fmla="*/ 12860 h 20000"/>
                  <a:gd name="T60" fmla="*/ 10805 w 20000"/>
                  <a:gd name="T61" fmla="*/ 15166 h 20000"/>
                  <a:gd name="T62" fmla="*/ 9143 w 20000"/>
                  <a:gd name="T63" fmla="*/ 16984 h 20000"/>
                  <a:gd name="T64" fmla="*/ 9143 w 20000"/>
                  <a:gd name="T65" fmla="*/ 17428 h 20000"/>
                  <a:gd name="T66" fmla="*/ 7013 w 20000"/>
                  <a:gd name="T67" fmla="*/ 18803 h 20000"/>
                  <a:gd name="T68" fmla="*/ 4312 w 20000"/>
                  <a:gd name="T69" fmla="*/ 199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4312" y="19956"/>
                    </a:moveTo>
                    <a:lnTo>
                      <a:pt x="4000" y="19512"/>
                    </a:lnTo>
                    <a:lnTo>
                      <a:pt x="2961" y="19246"/>
                    </a:lnTo>
                    <a:lnTo>
                      <a:pt x="2961" y="18581"/>
                    </a:lnTo>
                    <a:lnTo>
                      <a:pt x="1870" y="18137"/>
                    </a:lnTo>
                    <a:lnTo>
                      <a:pt x="1870" y="17694"/>
                    </a:lnTo>
                    <a:lnTo>
                      <a:pt x="831" y="17694"/>
                    </a:lnTo>
                    <a:lnTo>
                      <a:pt x="0" y="17428"/>
                    </a:lnTo>
                    <a:lnTo>
                      <a:pt x="519" y="16541"/>
                    </a:lnTo>
                    <a:lnTo>
                      <a:pt x="0" y="16541"/>
                    </a:lnTo>
                    <a:lnTo>
                      <a:pt x="0" y="16275"/>
                    </a:lnTo>
                    <a:lnTo>
                      <a:pt x="831" y="16275"/>
                    </a:lnTo>
                    <a:lnTo>
                      <a:pt x="831" y="15610"/>
                    </a:lnTo>
                    <a:lnTo>
                      <a:pt x="1351" y="14723"/>
                    </a:lnTo>
                    <a:lnTo>
                      <a:pt x="2130" y="15166"/>
                    </a:lnTo>
                    <a:lnTo>
                      <a:pt x="1870" y="14457"/>
                    </a:lnTo>
                    <a:lnTo>
                      <a:pt x="2130" y="14457"/>
                    </a:lnTo>
                    <a:lnTo>
                      <a:pt x="2130" y="14013"/>
                    </a:lnTo>
                    <a:lnTo>
                      <a:pt x="2649" y="13792"/>
                    </a:lnTo>
                    <a:lnTo>
                      <a:pt x="2961" y="13792"/>
                    </a:lnTo>
                    <a:lnTo>
                      <a:pt x="2961" y="13348"/>
                    </a:lnTo>
                    <a:lnTo>
                      <a:pt x="4312" y="12860"/>
                    </a:lnTo>
                    <a:lnTo>
                      <a:pt x="5091" y="11707"/>
                    </a:lnTo>
                    <a:lnTo>
                      <a:pt x="5091" y="12195"/>
                    </a:lnTo>
                    <a:lnTo>
                      <a:pt x="5610" y="12195"/>
                    </a:lnTo>
                    <a:lnTo>
                      <a:pt x="5610" y="11486"/>
                    </a:lnTo>
                    <a:lnTo>
                      <a:pt x="6442" y="10820"/>
                    </a:lnTo>
                    <a:lnTo>
                      <a:pt x="7792" y="10820"/>
                    </a:lnTo>
                    <a:lnTo>
                      <a:pt x="9143" y="9889"/>
                    </a:lnTo>
                    <a:lnTo>
                      <a:pt x="11844" y="8514"/>
                    </a:lnTo>
                    <a:lnTo>
                      <a:pt x="13974" y="6918"/>
                    </a:lnTo>
                    <a:lnTo>
                      <a:pt x="15377" y="4834"/>
                    </a:lnTo>
                    <a:lnTo>
                      <a:pt x="15584" y="4169"/>
                    </a:lnTo>
                    <a:lnTo>
                      <a:pt x="16104" y="3725"/>
                    </a:lnTo>
                    <a:lnTo>
                      <a:pt x="16935" y="2572"/>
                    </a:lnTo>
                    <a:lnTo>
                      <a:pt x="17506" y="1197"/>
                    </a:lnTo>
                    <a:lnTo>
                      <a:pt x="18338" y="0"/>
                    </a:lnTo>
                    <a:lnTo>
                      <a:pt x="18857" y="266"/>
                    </a:lnTo>
                    <a:lnTo>
                      <a:pt x="18857" y="1197"/>
                    </a:lnTo>
                    <a:lnTo>
                      <a:pt x="18857" y="1375"/>
                    </a:lnTo>
                    <a:lnTo>
                      <a:pt x="18857" y="2084"/>
                    </a:lnTo>
                    <a:lnTo>
                      <a:pt x="18857" y="3016"/>
                    </a:lnTo>
                    <a:lnTo>
                      <a:pt x="18857" y="2572"/>
                    </a:lnTo>
                    <a:lnTo>
                      <a:pt x="19636" y="2084"/>
                    </a:lnTo>
                    <a:lnTo>
                      <a:pt x="19636" y="2572"/>
                    </a:lnTo>
                    <a:lnTo>
                      <a:pt x="19948" y="3016"/>
                    </a:lnTo>
                    <a:lnTo>
                      <a:pt x="19636" y="3193"/>
                    </a:lnTo>
                    <a:lnTo>
                      <a:pt x="19636" y="4390"/>
                    </a:lnTo>
                    <a:lnTo>
                      <a:pt x="19117" y="5543"/>
                    </a:lnTo>
                    <a:lnTo>
                      <a:pt x="18338" y="6918"/>
                    </a:lnTo>
                    <a:lnTo>
                      <a:pt x="17506" y="8071"/>
                    </a:lnTo>
                    <a:lnTo>
                      <a:pt x="16416" y="9180"/>
                    </a:lnTo>
                    <a:lnTo>
                      <a:pt x="16104" y="10333"/>
                    </a:lnTo>
                    <a:lnTo>
                      <a:pt x="16416" y="10998"/>
                    </a:lnTo>
                    <a:lnTo>
                      <a:pt x="15584" y="10820"/>
                    </a:lnTo>
                    <a:lnTo>
                      <a:pt x="15377" y="10998"/>
                    </a:lnTo>
                    <a:lnTo>
                      <a:pt x="14805" y="10820"/>
                    </a:lnTo>
                    <a:lnTo>
                      <a:pt x="14805" y="10998"/>
                    </a:lnTo>
                    <a:lnTo>
                      <a:pt x="13455" y="11707"/>
                    </a:lnTo>
                    <a:lnTo>
                      <a:pt x="12104" y="12860"/>
                    </a:lnTo>
                    <a:lnTo>
                      <a:pt x="11844" y="14457"/>
                    </a:lnTo>
                    <a:lnTo>
                      <a:pt x="10805" y="15166"/>
                    </a:lnTo>
                    <a:lnTo>
                      <a:pt x="9974" y="16275"/>
                    </a:lnTo>
                    <a:lnTo>
                      <a:pt x="9143" y="16984"/>
                    </a:lnTo>
                    <a:lnTo>
                      <a:pt x="9662" y="17428"/>
                    </a:lnTo>
                    <a:lnTo>
                      <a:pt x="9143" y="17428"/>
                    </a:lnTo>
                    <a:lnTo>
                      <a:pt x="8364" y="18137"/>
                    </a:lnTo>
                    <a:lnTo>
                      <a:pt x="7013" y="18803"/>
                    </a:lnTo>
                    <a:lnTo>
                      <a:pt x="6442" y="19512"/>
                    </a:lnTo>
                    <a:lnTo>
                      <a:pt x="4312" y="1995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5" name="Freeform 21"/>
              <p:cNvSpPr>
                <a:spLocks/>
              </p:cNvSpPr>
              <p:nvPr/>
            </p:nvSpPr>
            <p:spPr bwMode="auto">
              <a:xfrm>
                <a:off x="9658350" y="5662613"/>
                <a:ext cx="158750" cy="330200"/>
              </a:xfrm>
              <a:custGeom>
                <a:avLst/>
                <a:gdLst>
                  <a:gd name="T0" fmla="*/ 800 w 20000"/>
                  <a:gd name="T1" fmla="*/ 19961 h 20000"/>
                  <a:gd name="T2" fmla="*/ 800 w 20000"/>
                  <a:gd name="T3" fmla="*/ 18921 h 20000"/>
                  <a:gd name="T4" fmla="*/ 0 w 20000"/>
                  <a:gd name="T5" fmla="*/ 19345 h 20000"/>
                  <a:gd name="T6" fmla="*/ 0 w 20000"/>
                  <a:gd name="T7" fmla="*/ 18767 h 20000"/>
                  <a:gd name="T8" fmla="*/ 800 w 20000"/>
                  <a:gd name="T9" fmla="*/ 17958 h 20000"/>
                  <a:gd name="T10" fmla="*/ 2080 w 20000"/>
                  <a:gd name="T11" fmla="*/ 16339 h 20000"/>
                  <a:gd name="T12" fmla="*/ 2080 w 20000"/>
                  <a:gd name="T13" fmla="*/ 15145 h 20000"/>
                  <a:gd name="T14" fmla="*/ 1280 w 20000"/>
                  <a:gd name="T15" fmla="*/ 14566 h 20000"/>
                  <a:gd name="T16" fmla="*/ 800 w 20000"/>
                  <a:gd name="T17" fmla="*/ 13796 h 20000"/>
                  <a:gd name="T18" fmla="*/ 0 w 20000"/>
                  <a:gd name="T19" fmla="*/ 13179 h 20000"/>
                  <a:gd name="T20" fmla="*/ 800 w 20000"/>
                  <a:gd name="T21" fmla="*/ 12563 h 20000"/>
                  <a:gd name="T22" fmla="*/ 2080 w 20000"/>
                  <a:gd name="T23" fmla="*/ 12177 h 20000"/>
                  <a:gd name="T24" fmla="*/ 3280 w 20000"/>
                  <a:gd name="T25" fmla="*/ 10019 h 20000"/>
                  <a:gd name="T26" fmla="*/ 4080 w 20000"/>
                  <a:gd name="T27" fmla="*/ 10405 h 20000"/>
                  <a:gd name="T28" fmla="*/ 4080 w 20000"/>
                  <a:gd name="T29" fmla="*/ 8979 h 20000"/>
                  <a:gd name="T30" fmla="*/ 4080 w 20000"/>
                  <a:gd name="T31" fmla="*/ 7399 h 20000"/>
                  <a:gd name="T32" fmla="*/ 4560 w 20000"/>
                  <a:gd name="T33" fmla="*/ 7399 h 20000"/>
                  <a:gd name="T34" fmla="*/ 5360 w 20000"/>
                  <a:gd name="T35" fmla="*/ 6782 h 20000"/>
                  <a:gd name="T36" fmla="*/ 4080 w 20000"/>
                  <a:gd name="T37" fmla="*/ 6782 h 20000"/>
                  <a:gd name="T38" fmla="*/ 4080 w 20000"/>
                  <a:gd name="T39" fmla="*/ 5780 h 20000"/>
                  <a:gd name="T40" fmla="*/ 4080 w 20000"/>
                  <a:gd name="T41" fmla="*/ 5395 h 20000"/>
                  <a:gd name="T42" fmla="*/ 4560 w 20000"/>
                  <a:gd name="T43" fmla="*/ 5780 h 20000"/>
                  <a:gd name="T44" fmla="*/ 4560 w 20000"/>
                  <a:gd name="T45" fmla="*/ 5395 h 20000"/>
                  <a:gd name="T46" fmla="*/ 4560 w 20000"/>
                  <a:gd name="T47" fmla="*/ 4817 h 20000"/>
                  <a:gd name="T48" fmla="*/ 4080 w 20000"/>
                  <a:gd name="T49" fmla="*/ 4817 h 20000"/>
                  <a:gd name="T50" fmla="*/ 3280 w 20000"/>
                  <a:gd name="T51" fmla="*/ 5202 h 20000"/>
                  <a:gd name="T52" fmla="*/ 2480 w 20000"/>
                  <a:gd name="T53" fmla="*/ 1618 h 20000"/>
                  <a:gd name="T54" fmla="*/ 2080 w 20000"/>
                  <a:gd name="T55" fmla="*/ 0 h 20000"/>
                  <a:gd name="T56" fmla="*/ 2480 w 20000"/>
                  <a:gd name="T57" fmla="*/ 0 h 20000"/>
                  <a:gd name="T58" fmla="*/ 2480 w 20000"/>
                  <a:gd name="T59" fmla="*/ 424 h 20000"/>
                  <a:gd name="T60" fmla="*/ 2480 w 20000"/>
                  <a:gd name="T61" fmla="*/ 1040 h 20000"/>
                  <a:gd name="T62" fmla="*/ 3280 w 20000"/>
                  <a:gd name="T63" fmla="*/ 1195 h 20000"/>
                  <a:gd name="T64" fmla="*/ 4560 w 20000"/>
                  <a:gd name="T65" fmla="*/ 1618 h 20000"/>
                  <a:gd name="T66" fmla="*/ 5360 w 20000"/>
                  <a:gd name="T67" fmla="*/ 2235 h 20000"/>
                  <a:gd name="T68" fmla="*/ 6160 w 20000"/>
                  <a:gd name="T69" fmla="*/ 2235 h 20000"/>
                  <a:gd name="T70" fmla="*/ 6160 w 20000"/>
                  <a:gd name="T71" fmla="*/ 3622 h 20000"/>
                  <a:gd name="T72" fmla="*/ 5360 w 20000"/>
                  <a:gd name="T73" fmla="*/ 3815 h 20000"/>
                  <a:gd name="T74" fmla="*/ 6160 w 20000"/>
                  <a:gd name="T75" fmla="*/ 4586 h 20000"/>
                  <a:gd name="T76" fmla="*/ 6160 w 20000"/>
                  <a:gd name="T77" fmla="*/ 5395 h 20000"/>
                  <a:gd name="T78" fmla="*/ 6640 w 20000"/>
                  <a:gd name="T79" fmla="*/ 6397 h 20000"/>
                  <a:gd name="T80" fmla="*/ 7440 w 20000"/>
                  <a:gd name="T81" fmla="*/ 7399 h 20000"/>
                  <a:gd name="T82" fmla="*/ 8640 w 20000"/>
                  <a:gd name="T83" fmla="*/ 7399 h 20000"/>
                  <a:gd name="T84" fmla="*/ 9920 w 20000"/>
                  <a:gd name="T85" fmla="*/ 6166 h 20000"/>
                  <a:gd name="T86" fmla="*/ 9920 w 20000"/>
                  <a:gd name="T87" fmla="*/ 5780 h 20000"/>
                  <a:gd name="T88" fmla="*/ 9920 w 20000"/>
                  <a:gd name="T89" fmla="*/ 5202 h 20000"/>
                  <a:gd name="T90" fmla="*/ 12080 w 20000"/>
                  <a:gd name="T91" fmla="*/ 5202 h 20000"/>
                  <a:gd name="T92" fmla="*/ 12080 w 20000"/>
                  <a:gd name="T93" fmla="*/ 6166 h 20000"/>
                  <a:gd name="T94" fmla="*/ 14080 w 20000"/>
                  <a:gd name="T95" fmla="*/ 7206 h 20000"/>
                  <a:gd name="T96" fmla="*/ 16160 w 20000"/>
                  <a:gd name="T97" fmla="*/ 7206 h 20000"/>
                  <a:gd name="T98" fmla="*/ 18240 w 20000"/>
                  <a:gd name="T99" fmla="*/ 6166 h 20000"/>
                  <a:gd name="T100" fmla="*/ 19920 w 20000"/>
                  <a:gd name="T101" fmla="*/ 6166 h 20000"/>
                  <a:gd name="T102" fmla="*/ 19920 w 20000"/>
                  <a:gd name="T103" fmla="*/ 7206 h 20000"/>
                  <a:gd name="T104" fmla="*/ 18240 w 20000"/>
                  <a:gd name="T105" fmla="*/ 7977 h 20000"/>
                  <a:gd name="T106" fmla="*/ 12080 w 20000"/>
                  <a:gd name="T107" fmla="*/ 13796 h 20000"/>
                  <a:gd name="T108" fmla="*/ 7840 w 20000"/>
                  <a:gd name="T109" fmla="*/ 15761 h 20000"/>
                  <a:gd name="T110" fmla="*/ 5360 w 20000"/>
                  <a:gd name="T111" fmla="*/ 17148 h 20000"/>
                  <a:gd name="T112" fmla="*/ 3280 w 20000"/>
                  <a:gd name="T113" fmla="*/ 18382 h 20000"/>
                  <a:gd name="T114" fmla="*/ 800 w 20000"/>
                  <a:gd name="T115" fmla="*/ 1996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00" h="20000">
                    <a:moveTo>
                      <a:pt x="800" y="19961"/>
                    </a:moveTo>
                    <a:lnTo>
                      <a:pt x="800" y="18921"/>
                    </a:lnTo>
                    <a:lnTo>
                      <a:pt x="0" y="19345"/>
                    </a:lnTo>
                    <a:lnTo>
                      <a:pt x="0" y="18767"/>
                    </a:lnTo>
                    <a:lnTo>
                      <a:pt x="800" y="17958"/>
                    </a:lnTo>
                    <a:lnTo>
                      <a:pt x="2080" y="16339"/>
                    </a:lnTo>
                    <a:lnTo>
                      <a:pt x="2080" y="15145"/>
                    </a:lnTo>
                    <a:lnTo>
                      <a:pt x="1280" y="14566"/>
                    </a:lnTo>
                    <a:lnTo>
                      <a:pt x="800" y="13796"/>
                    </a:lnTo>
                    <a:lnTo>
                      <a:pt x="0" y="13179"/>
                    </a:lnTo>
                    <a:lnTo>
                      <a:pt x="800" y="12563"/>
                    </a:lnTo>
                    <a:lnTo>
                      <a:pt x="2080" y="12177"/>
                    </a:lnTo>
                    <a:lnTo>
                      <a:pt x="3280" y="10019"/>
                    </a:lnTo>
                    <a:lnTo>
                      <a:pt x="4080" y="10405"/>
                    </a:lnTo>
                    <a:lnTo>
                      <a:pt x="4080" y="8979"/>
                    </a:lnTo>
                    <a:lnTo>
                      <a:pt x="4080" y="7399"/>
                    </a:lnTo>
                    <a:lnTo>
                      <a:pt x="4560" y="7399"/>
                    </a:lnTo>
                    <a:lnTo>
                      <a:pt x="5360" y="6782"/>
                    </a:lnTo>
                    <a:lnTo>
                      <a:pt x="4080" y="6782"/>
                    </a:lnTo>
                    <a:lnTo>
                      <a:pt x="4080" y="5780"/>
                    </a:lnTo>
                    <a:lnTo>
                      <a:pt x="4080" y="5395"/>
                    </a:lnTo>
                    <a:lnTo>
                      <a:pt x="4560" y="5780"/>
                    </a:lnTo>
                    <a:lnTo>
                      <a:pt x="4560" y="5395"/>
                    </a:lnTo>
                    <a:lnTo>
                      <a:pt x="4560" y="4817"/>
                    </a:lnTo>
                    <a:lnTo>
                      <a:pt x="4080" y="4817"/>
                    </a:lnTo>
                    <a:lnTo>
                      <a:pt x="3280" y="5202"/>
                    </a:lnTo>
                    <a:lnTo>
                      <a:pt x="2480" y="1618"/>
                    </a:lnTo>
                    <a:lnTo>
                      <a:pt x="2080" y="0"/>
                    </a:lnTo>
                    <a:lnTo>
                      <a:pt x="2480" y="0"/>
                    </a:lnTo>
                    <a:lnTo>
                      <a:pt x="2480" y="424"/>
                    </a:lnTo>
                    <a:lnTo>
                      <a:pt x="2480" y="1040"/>
                    </a:lnTo>
                    <a:lnTo>
                      <a:pt x="3280" y="1195"/>
                    </a:lnTo>
                    <a:lnTo>
                      <a:pt x="4560" y="1618"/>
                    </a:lnTo>
                    <a:lnTo>
                      <a:pt x="5360" y="2235"/>
                    </a:lnTo>
                    <a:lnTo>
                      <a:pt x="6160" y="2235"/>
                    </a:lnTo>
                    <a:lnTo>
                      <a:pt x="6160" y="3622"/>
                    </a:lnTo>
                    <a:lnTo>
                      <a:pt x="5360" y="3815"/>
                    </a:lnTo>
                    <a:lnTo>
                      <a:pt x="6160" y="4586"/>
                    </a:lnTo>
                    <a:lnTo>
                      <a:pt x="6160" y="5395"/>
                    </a:lnTo>
                    <a:lnTo>
                      <a:pt x="6640" y="6397"/>
                    </a:lnTo>
                    <a:lnTo>
                      <a:pt x="7440" y="7399"/>
                    </a:lnTo>
                    <a:lnTo>
                      <a:pt x="8640" y="7399"/>
                    </a:lnTo>
                    <a:lnTo>
                      <a:pt x="9920" y="6166"/>
                    </a:lnTo>
                    <a:lnTo>
                      <a:pt x="9920" y="5780"/>
                    </a:lnTo>
                    <a:lnTo>
                      <a:pt x="9920" y="5202"/>
                    </a:lnTo>
                    <a:lnTo>
                      <a:pt x="12080" y="5202"/>
                    </a:lnTo>
                    <a:lnTo>
                      <a:pt x="12080" y="6166"/>
                    </a:lnTo>
                    <a:lnTo>
                      <a:pt x="14080" y="7206"/>
                    </a:lnTo>
                    <a:lnTo>
                      <a:pt x="16160" y="7206"/>
                    </a:lnTo>
                    <a:lnTo>
                      <a:pt x="18240" y="6166"/>
                    </a:lnTo>
                    <a:lnTo>
                      <a:pt x="19920" y="6166"/>
                    </a:lnTo>
                    <a:lnTo>
                      <a:pt x="19920" y="7206"/>
                    </a:lnTo>
                    <a:lnTo>
                      <a:pt x="18240" y="7977"/>
                    </a:lnTo>
                    <a:lnTo>
                      <a:pt x="12080" y="13796"/>
                    </a:lnTo>
                    <a:lnTo>
                      <a:pt x="7840" y="15761"/>
                    </a:lnTo>
                    <a:lnTo>
                      <a:pt x="5360" y="17148"/>
                    </a:lnTo>
                    <a:lnTo>
                      <a:pt x="3280" y="18382"/>
                    </a:lnTo>
                    <a:lnTo>
                      <a:pt x="800" y="1996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6" name="Freeform 20"/>
              <p:cNvSpPr>
                <a:spLocks/>
              </p:cNvSpPr>
              <p:nvPr/>
            </p:nvSpPr>
            <p:spPr bwMode="auto">
              <a:xfrm>
                <a:off x="8974138" y="4549775"/>
                <a:ext cx="269875" cy="236538"/>
              </a:xfrm>
              <a:custGeom>
                <a:avLst/>
                <a:gdLst>
                  <a:gd name="T0" fmla="*/ 0 w 20000"/>
                  <a:gd name="T1" fmla="*/ 16086 h 20000"/>
                  <a:gd name="T2" fmla="*/ 282 w 20000"/>
                  <a:gd name="T3" fmla="*/ 0 h 20000"/>
                  <a:gd name="T4" fmla="*/ 2207 w 20000"/>
                  <a:gd name="T5" fmla="*/ 858 h 20000"/>
                  <a:gd name="T6" fmla="*/ 5117 w 20000"/>
                  <a:gd name="T7" fmla="*/ 1662 h 20000"/>
                  <a:gd name="T8" fmla="*/ 6620 w 20000"/>
                  <a:gd name="T9" fmla="*/ 2520 h 20000"/>
                  <a:gd name="T10" fmla="*/ 7089 w 20000"/>
                  <a:gd name="T11" fmla="*/ 2520 h 20000"/>
                  <a:gd name="T12" fmla="*/ 8545 w 20000"/>
                  <a:gd name="T13" fmla="*/ 3861 h 20000"/>
                  <a:gd name="T14" fmla="*/ 9249 w 20000"/>
                  <a:gd name="T15" fmla="*/ 3861 h 20000"/>
                  <a:gd name="T16" fmla="*/ 10282 w 20000"/>
                  <a:gd name="T17" fmla="*/ 4718 h 20000"/>
                  <a:gd name="T18" fmla="*/ 10282 w 20000"/>
                  <a:gd name="T19" fmla="*/ 6649 h 20000"/>
                  <a:gd name="T20" fmla="*/ 13662 w 20000"/>
                  <a:gd name="T21" fmla="*/ 7989 h 20000"/>
                  <a:gd name="T22" fmla="*/ 14413 w 20000"/>
                  <a:gd name="T23" fmla="*/ 9651 h 20000"/>
                  <a:gd name="T24" fmla="*/ 12394 w 20000"/>
                  <a:gd name="T25" fmla="*/ 10295 h 20000"/>
                  <a:gd name="T26" fmla="*/ 13146 w 20000"/>
                  <a:gd name="T27" fmla="*/ 11903 h 20000"/>
                  <a:gd name="T28" fmla="*/ 14883 w 20000"/>
                  <a:gd name="T29" fmla="*/ 13298 h 20000"/>
                  <a:gd name="T30" fmla="*/ 15352 w 20000"/>
                  <a:gd name="T31" fmla="*/ 13834 h 20000"/>
                  <a:gd name="T32" fmla="*/ 15587 w 20000"/>
                  <a:gd name="T33" fmla="*/ 14692 h 20000"/>
                  <a:gd name="T34" fmla="*/ 15587 w 20000"/>
                  <a:gd name="T35" fmla="*/ 16086 h 20000"/>
                  <a:gd name="T36" fmla="*/ 17277 w 20000"/>
                  <a:gd name="T37" fmla="*/ 16086 h 20000"/>
                  <a:gd name="T38" fmla="*/ 17559 w 20000"/>
                  <a:gd name="T39" fmla="*/ 16354 h 20000"/>
                  <a:gd name="T40" fmla="*/ 17277 w 20000"/>
                  <a:gd name="T41" fmla="*/ 16890 h 20000"/>
                  <a:gd name="T42" fmla="*/ 18732 w 20000"/>
                  <a:gd name="T43" fmla="*/ 17426 h 20000"/>
                  <a:gd name="T44" fmla="*/ 18263 w 20000"/>
                  <a:gd name="T45" fmla="*/ 18284 h 20000"/>
                  <a:gd name="T46" fmla="*/ 19202 w 20000"/>
                  <a:gd name="T47" fmla="*/ 18820 h 20000"/>
                  <a:gd name="T48" fmla="*/ 19953 w 20000"/>
                  <a:gd name="T49" fmla="*/ 19088 h 20000"/>
                  <a:gd name="T50" fmla="*/ 19202 w 20000"/>
                  <a:gd name="T51" fmla="*/ 19625 h 20000"/>
                  <a:gd name="T52" fmla="*/ 19953 w 20000"/>
                  <a:gd name="T53" fmla="*/ 19625 h 20000"/>
                  <a:gd name="T54" fmla="*/ 19953 w 20000"/>
                  <a:gd name="T55" fmla="*/ 19946 h 20000"/>
                  <a:gd name="T56" fmla="*/ 18732 w 20000"/>
                  <a:gd name="T57" fmla="*/ 19946 h 20000"/>
                  <a:gd name="T58" fmla="*/ 18732 w 20000"/>
                  <a:gd name="T59" fmla="*/ 19625 h 20000"/>
                  <a:gd name="T60" fmla="*/ 15352 w 20000"/>
                  <a:gd name="T61" fmla="*/ 18820 h 20000"/>
                  <a:gd name="T62" fmla="*/ 14413 w 20000"/>
                  <a:gd name="T63" fmla="*/ 18820 h 20000"/>
                  <a:gd name="T64" fmla="*/ 12394 w 20000"/>
                  <a:gd name="T65" fmla="*/ 16890 h 20000"/>
                  <a:gd name="T66" fmla="*/ 12207 w 20000"/>
                  <a:gd name="T67" fmla="*/ 16086 h 20000"/>
                  <a:gd name="T68" fmla="*/ 11690 w 20000"/>
                  <a:gd name="T69" fmla="*/ 16086 h 20000"/>
                  <a:gd name="T70" fmla="*/ 11221 w 20000"/>
                  <a:gd name="T71" fmla="*/ 15228 h 20000"/>
                  <a:gd name="T72" fmla="*/ 10282 w 20000"/>
                  <a:gd name="T73" fmla="*/ 13029 h 20000"/>
                  <a:gd name="T74" fmla="*/ 9718 w 20000"/>
                  <a:gd name="T75" fmla="*/ 13029 h 20000"/>
                  <a:gd name="T76" fmla="*/ 9249 w 20000"/>
                  <a:gd name="T77" fmla="*/ 13029 h 20000"/>
                  <a:gd name="T78" fmla="*/ 8075 w 20000"/>
                  <a:gd name="T79" fmla="*/ 13029 h 20000"/>
                  <a:gd name="T80" fmla="*/ 7793 w 20000"/>
                  <a:gd name="T81" fmla="*/ 11903 h 20000"/>
                  <a:gd name="T82" fmla="*/ 7324 w 20000"/>
                  <a:gd name="T83" fmla="*/ 11903 h 20000"/>
                  <a:gd name="T84" fmla="*/ 7089 w 20000"/>
                  <a:gd name="T85" fmla="*/ 12493 h 20000"/>
                  <a:gd name="T86" fmla="*/ 6620 w 20000"/>
                  <a:gd name="T87" fmla="*/ 12493 h 20000"/>
                  <a:gd name="T88" fmla="*/ 5869 w 20000"/>
                  <a:gd name="T89" fmla="*/ 11903 h 20000"/>
                  <a:gd name="T90" fmla="*/ 6103 w 20000"/>
                  <a:gd name="T91" fmla="*/ 13298 h 20000"/>
                  <a:gd name="T92" fmla="*/ 5399 w 20000"/>
                  <a:gd name="T93" fmla="*/ 13298 h 20000"/>
                  <a:gd name="T94" fmla="*/ 5399 w 20000"/>
                  <a:gd name="T95" fmla="*/ 13834 h 20000"/>
                  <a:gd name="T96" fmla="*/ 3474 w 20000"/>
                  <a:gd name="T97" fmla="*/ 13834 h 20000"/>
                  <a:gd name="T98" fmla="*/ 4131 w 20000"/>
                  <a:gd name="T99" fmla="*/ 14155 h 20000"/>
                  <a:gd name="T100" fmla="*/ 5117 w 20000"/>
                  <a:gd name="T101" fmla="*/ 15496 h 20000"/>
                  <a:gd name="T102" fmla="*/ 3474 w 20000"/>
                  <a:gd name="T103" fmla="*/ 16354 h 20000"/>
                  <a:gd name="T104" fmla="*/ 0 w 20000"/>
                  <a:gd name="T105" fmla="*/ 1608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0" y="16086"/>
                    </a:moveTo>
                    <a:lnTo>
                      <a:pt x="282" y="0"/>
                    </a:lnTo>
                    <a:lnTo>
                      <a:pt x="2207" y="858"/>
                    </a:lnTo>
                    <a:lnTo>
                      <a:pt x="5117" y="1662"/>
                    </a:lnTo>
                    <a:lnTo>
                      <a:pt x="6620" y="2520"/>
                    </a:lnTo>
                    <a:lnTo>
                      <a:pt x="7089" y="2520"/>
                    </a:lnTo>
                    <a:lnTo>
                      <a:pt x="8545" y="3861"/>
                    </a:lnTo>
                    <a:lnTo>
                      <a:pt x="9249" y="3861"/>
                    </a:lnTo>
                    <a:lnTo>
                      <a:pt x="10282" y="4718"/>
                    </a:lnTo>
                    <a:lnTo>
                      <a:pt x="10282" y="6649"/>
                    </a:lnTo>
                    <a:lnTo>
                      <a:pt x="13662" y="7989"/>
                    </a:lnTo>
                    <a:lnTo>
                      <a:pt x="14413" y="9651"/>
                    </a:lnTo>
                    <a:lnTo>
                      <a:pt x="12394" y="10295"/>
                    </a:lnTo>
                    <a:lnTo>
                      <a:pt x="13146" y="11903"/>
                    </a:lnTo>
                    <a:lnTo>
                      <a:pt x="14883" y="13298"/>
                    </a:lnTo>
                    <a:lnTo>
                      <a:pt x="15352" y="13834"/>
                    </a:lnTo>
                    <a:lnTo>
                      <a:pt x="15587" y="14692"/>
                    </a:lnTo>
                    <a:lnTo>
                      <a:pt x="15587" y="16086"/>
                    </a:lnTo>
                    <a:lnTo>
                      <a:pt x="17277" y="16086"/>
                    </a:lnTo>
                    <a:lnTo>
                      <a:pt x="17559" y="16354"/>
                    </a:lnTo>
                    <a:lnTo>
                      <a:pt x="17277" y="16890"/>
                    </a:lnTo>
                    <a:lnTo>
                      <a:pt x="18732" y="17426"/>
                    </a:lnTo>
                    <a:lnTo>
                      <a:pt x="18263" y="18284"/>
                    </a:lnTo>
                    <a:lnTo>
                      <a:pt x="19202" y="18820"/>
                    </a:lnTo>
                    <a:lnTo>
                      <a:pt x="19953" y="19088"/>
                    </a:lnTo>
                    <a:lnTo>
                      <a:pt x="19202" y="19625"/>
                    </a:lnTo>
                    <a:lnTo>
                      <a:pt x="19953" y="19625"/>
                    </a:lnTo>
                    <a:lnTo>
                      <a:pt x="19953" y="19946"/>
                    </a:lnTo>
                    <a:lnTo>
                      <a:pt x="18732" y="19946"/>
                    </a:lnTo>
                    <a:lnTo>
                      <a:pt x="18732" y="19625"/>
                    </a:lnTo>
                    <a:lnTo>
                      <a:pt x="15352" y="18820"/>
                    </a:lnTo>
                    <a:lnTo>
                      <a:pt x="14413" y="18820"/>
                    </a:lnTo>
                    <a:lnTo>
                      <a:pt x="12394" y="16890"/>
                    </a:lnTo>
                    <a:lnTo>
                      <a:pt x="12207" y="16086"/>
                    </a:lnTo>
                    <a:lnTo>
                      <a:pt x="11690" y="16086"/>
                    </a:lnTo>
                    <a:lnTo>
                      <a:pt x="11221" y="15228"/>
                    </a:lnTo>
                    <a:lnTo>
                      <a:pt x="10282" y="13029"/>
                    </a:lnTo>
                    <a:lnTo>
                      <a:pt x="9718" y="13029"/>
                    </a:lnTo>
                    <a:lnTo>
                      <a:pt x="9249" y="13029"/>
                    </a:lnTo>
                    <a:lnTo>
                      <a:pt x="8075" y="13029"/>
                    </a:lnTo>
                    <a:lnTo>
                      <a:pt x="7793" y="11903"/>
                    </a:lnTo>
                    <a:lnTo>
                      <a:pt x="7324" y="11903"/>
                    </a:lnTo>
                    <a:lnTo>
                      <a:pt x="7089" y="12493"/>
                    </a:lnTo>
                    <a:lnTo>
                      <a:pt x="6620" y="12493"/>
                    </a:lnTo>
                    <a:lnTo>
                      <a:pt x="5869" y="11903"/>
                    </a:lnTo>
                    <a:lnTo>
                      <a:pt x="6103" y="13298"/>
                    </a:lnTo>
                    <a:lnTo>
                      <a:pt x="5399" y="13298"/>
                    </a:lnTo>
                    <a:lnTo>
                      <a:pt x="5399" y="13834"/>
                    </a:lnTo>
                    <a:lnTo>
                      <a:pt x="3474" y="13834"/>
                    </a:lnTo>
                    <a:lnTo>
                      <a:pt x="4131" y="14155"/>
                    </a:lnTo>
                    <a:lnTo>
                      <a:pt x="5117" y="15496"/>
                    </a:lnTo>
                    <a:lnTo>
                      <a:pt x="3474" y="16354"/>
                    </a:lnTo>
                    <a:lnTo>
                      <a:pt x="0" y="160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7" name="Freeform 19"/>
              <p:cNvSpPr>
                <a:spLocks/>
              </p:cNvSpPr>
              <p:nvPr/>
            </p:nvSpPr>
            <p:spPr bwMode="auto">
              <a:xfrm>
                <a:off x="9185275" y="4592638"/>
                <a:ext cx="119063" cy="63500"/>
              </a:xfrm>
              <a:custGeom>
                <a:avLst/>
                <a:gdLst>
                  <a:gd name="T0" fmla="*/ 9840 w 20000"/>
                  <a:gd name="T1" fmla="*/ 19798 h 20000"/>
                  <a:gd name="T2" fmla="*/ 6096 w 20000"/>
                  <a:gd name="T3" fmla="*/ 19798 h 20000"/>
                  <a:gd name="T4" fmla="*/ 5455 w 20000"/>
                  <a:gd name="T5" fmla="*/ 17778 h 20000"/>
                  <a:gd name="T6" fmla="*/ 3850 w 20000"/>
                  <a:gd name="T7" fmla="*/ 17778 h 20000"/>
                  <a:gd name="T8" fmla="*/ 1711 w 20000"/>
                  <a:gd name="T9" fmla="*/ 16566 h 20000"/>
                  <a:gd name="T10" fmla="*/ 0 w 20000"/>
                  <a:gd name="T11" fmla="*/ 14545 h 20000"/>
                  <a:gd name="T12" fmla="*/ 0 w 20000"/>
                  <a:gd name="T13" fmla="*/ 11515 h 20000"/>
                  <a:gd name="T14" fmla="*/ 1070 w 20000"/>
                  <a:gd name="T15" fmla="*/ 12525 h 20000"/>
                  <a:gd name="T16" fmla="*/ 2781 w 20000"/>
                  <a:gd name="T17" fmla="*/ 11515 h 20000"/>
                  <a:gd name="T18" fmla="*/ 4385 w 20000"/>
                  <a:gd name="T19" fmla="*/ 12525 h 20000"/>
                  <a:gd name="T20" fmla="*/ 7166 w 20000"/>
                  <a:gd name="T21" fmla="*/ 11515 h 20000"/>
                  <a:gd name="T22" fmla="*/ 8235 w 20000"/>
                  <a:gd name="T23" fmla="*/ 8283 h 20000"/>
                  <a:gd name="T24" fmla="*/ 8770 w 20000"/>
                  <a:gd name="T25" fmla="*/ 12525 h 20000"/>
                  <a:gd name="T26" fmla="*/ 9840 w 20000"/>
                  <a:gd name="T27" fmla="*/ 11515 h 20000"/>
                  <a:gd name="T28" fmla="*/ 11123 w 20000"/>
                  <a:gd name="T29" fmla="*/ 12525 h 20000"/>
                  <a:gd name="T30" fmla="*/ 12727 w 20000"/>
                  <a:gd name="T31" fmla="*/ 11515 h 20000"/>
                  <a:gd name="T32" fmla="*/ 13262 w 20000"/>
                  <a:gd name="T33" fmla="*/ 8283 h 20000"/>
                  <a:gd name="T34" fmla="*/ 15508 w 20000"/>
                  <a:gd name="T35" fmla="*/ 8283 h 20000"/>
                  <a:gd name="T36" fmla="*/ 16043 w 20000"/>
                  <a:gd name="T37" fmla="*/ 6263 h 20000"/>
                  <a:gd name="T38" fmla="*/ 15508 w 20000"/>
                  <a:gd name="T39" fmla="*/ 1212 h 20000"/>
                  <a:gd name="T40" fmla="*/ 18824 w 20000"/>
                  <a:gd name="T41" fmla="*/ 0 h 20000"/>
                  <a:gd name="T42" fmla="*/ 19893 w 20000"/>
                  <a:gd name="T43" fmla="*/ 1212 h 20000"/>
                  <a:gd name="T44" fmla="*/ 19893 w 20000"/>
                  <a:gd name="T45" fmla="*/ 6263 h 20000"/>
                  <a:gd name="T46" fmla="*/ 18182 w 20000"/>
                  <a:gd name="T47" fmla="*/ 8283 h 20000"/>
                  <a:gd name="T48" fmla="*/ 18182 w 20000"/>
                  <a:gd name="T49" fmla="*/ 11515 h 20000"/>
                  <a:gd name="T50" fmla="*/ 16043 w 20000"/>
                  <a:gd name="T51" fmla="*/ 12525 h 20000"/>
                  <a:gd name="T52" fmla="*/ 15508 w 20000"/>
                  <a:gd name="T53" fmla="*/ 12525 h 20000"/>
                  <a:gd name="T54" fmla="*/ 14439 w 20000"/>
                  <a:gd name="T55" fmla="*/ 14545 h 20000"/>
                  <a:gd name="T56" fmla="*/ 9840 w 20000"/>
                  <a:gd name="T57" fmla="*/ 197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9840" y="19798"/>
                    </a:moveTo>
                    <a:lnTo>
                      <a:pt x="6096" y="19798"/>
                    </a:lnTo>
                    <a:lnTo>
                      <a:pt x="5455" y="17778"/>
                    </a:lnTo>
                    <a:lnTo>
                      <a:pt x="3850" y="17778"/>
                    </a:lnTo>
                    <a:lnTo>
                      <a:pt x="1711" y="16566"/>
                    </a:lnTo>
                    <a:lnTo>
                      <a:pt x="0" y="14545"/>
                    </a:lnTo>
                    <a:lnTo>
                      <a:pt x="0" y="11515"/>
                    </a:lnTo>
                    <a:lnTo>
                      <a:pt x="1070" y="12525"/>
                    </a:lnTo>
                    <a:lnTo>
                      <a:pt x="2781" y="11515"/>
                    </a:lnTo>
                    <a:lnTo>
                      <a:pt x="4385" y="12525"/>
                    </a:lnTo>
                    <a:lnTo>
                      <a:pt x="7166" y="11515"/>
                    </a:lnTo>
                    <a:lnTo>
                      <a:pt x="8235" y="8283"/>
                    </a:lnTo>
                    <a:lnTo>
                      <a:pt x="8770" y="12525"/>
                    </a:lnTo>
                    <a:lnTo>
                      <a:pt x="9840" y="11515"/>
                    </a:lnTo>
                    <a:lnTo>
                      <a:pt x="11123" y="12525"/>
                    </a:lnTo>
                    <a:lnTo>
                      <a:pt x="12727" y="11515"/>
                    </a:lnTo>
                    <a:lnTo>
                      <a:pt x="13262" y="8283"/>
                    </a:lnTo>
                    <a:lnTo>
                      <a:pt x="15508" y="8283"/>
                    </a:lnTo>
                    <a:lnTo>
                      <a:pt x="16043" y="6263"/>
                    </a:lnTo>
                    <a:lnTo>
                      <a:pt x="15508" y="1212"/>
                    </a:lnTo>
                    <a:lnTo>
                      <a:pt x="18824" y="0"/>
                    </a:lnTo>
                    <a:lnTo>
                      <a:pt x="19893" y="1212"/>
                    </a:lnTo>
                    <a:lnTo>
                      <a:pt x="19893" y="6263"/>
                    </a:lnTo>
                    <a:lnTo>
                      <a:pt x="18182" y="8283"/>
                    </a:lnTo>
                    <a:lnTo>
                      <a:pt x="18182" y="11515"/>
                    </a:lnTo>
                    <a:lnTo>
                      <a:pt x="16043" y="12525"/>
                    </a:lnTo>
                    <a:lnTo>
                      <a:pt x="15508" y="12525"/>
                    </a:lnTo>
                    <a:lnTo>
                      <a:pt x="14439" y="14545"/>
                    </a:lnTo>
                    <a:lnTo>
                      <a:pt x="9840" y="1979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8" name="Freeform 18"/>
              <p:cNvSpPr>
                <a:spLocks/>
              </p:cNvSpPr>
              <p:nvPr/>
            </p:nvSpPr>
            <p:spPr bwMode="auto">
              <a:xfrm>
                <a:off x="9255125" y="4543425"/>
                <a:ext cx="66675" cy="69850"/>
              </a:xfrm>
              <a:custGeom>
                <a:avLst/>
                <a:gdLst>
                  <a:gd name="T0" fmla="*/ 17905 w 20000"/>
                  <a:gd name="T1" fmla="*/ 19818 h 20000"/>
                  <a:gd name="T2" fmla="*/ 17905 w 20000"/>
                  <a:gd name="T3" fmla="*/ 16909 h 20000"/>
                  <a:gd name="T4" fmla="*/ 16000 w 20000"/>
                  <a:gd name="T5" fmla="*/ 12364 h 20000"/>
                  <a:gd name="T6" fmla="*/ 12000 w 20000"/>
                  <a:gd name="T7" fmla="*/ 7636 h 20000"/>
                  <a:gd name="T8" fmla="*/ 3048 w 20000"/>
                  <a:gd name="T9" fmla="*/ 2909 h 20000"/>
                  <a:gd name="T10" fmla="*/ 0 w 20000"/>
                  <a:gd name="T11" fmla="*/ 2000 h 20000"/>
                  <a:gd name="T12" fmla="*/ 0 w 20000"/>
                  <a:gd name="T13" fmla="*/ 0 h 20000"/>
                  <a:gd name="T14" fmla="*/ 12952 w 20000"/>
                  <a:gd name="T15" fmla="*/ 5636 h 20000"/>
                  <a:gd name="T16" fmla="*/ 17905 w 20000"/>
                  <a:gd name="T17" fmla="*/ 10545 h 20000"/>
                  <a:gd name="T18" fmla="*/ 17905 w 20000"/>
                  <a:gd name="T19" fmla="*/ 12364 h 20000"/>
                  <a:gd name="T20" fmla="*/ 19810 w 20000"/>
                  <a:gd name="T21" fmla="*/ 16909 h 20000"/>
                  <a:gd name="T22" fmla="*/ 17905 w 20000"/>
                  <a:gd name="T23" fmla="*/ 198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7905" y="19818"/>
                    </a:moveTo>
                    <a:lnTo>
                      <a:pt x="17905" y="16909"/>
                    </a:lnTo>
                    <a:lnTo>
                      <a:pt x="16000" y="12364"/>
                    </a:lnTo>
                    <a:lnTo>
                      <a:pt x="12000" y="7636"/>
                    </a:lnTo>
                    <a:lnTo>
                      <a:pt x="3048" y="2909"/>
                    </a:lnTo>
                    <a:lnTo>
                      <a:pt x="0" y="2000"/>
                    </a:lnTo>
                    <a:lnTo>
                      <a:pt x="0" y="0"/>
                    </a:lnTo>
                    <a:lnTo>
                      <a:pt x="12952" y="5636"/>
                    </a:lnTo>
                    <a:lnTo>
                      <a:pt x="17905" y="10545"/>
                    </a:lnTo>
                    <a:lnTo>
                      <a:pt x="17905" y="12364"/>
                    </a:lnTo>
                    <a:lnTo>
                      <a:pt x="19810" y="16909"/>
                    </a:lnTo>
                    <a:lnTo>
                      <a:pt x="17905" y="1981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19" name="Freeform 17"/>
              <p:cNvSpPr>
                <a:spLocks/>
              </p:cNvSpPr>
              <p:nvPr/>
            </p:nvSpPr>
            <p:spPr bwMode="auto">
              <a:xfrm>
                <a:off x="9363075" y="4618038"/>
                <a:ext cx="36513" cy="53975"/>
              </a:xfrm>
              <a:custGeom>
                <a:avLst/>
                <a:gdLst>
                  <a:gd name="T0" fmla="*/ 19655 w 20000"/>
                  <a:gd name="T1" fmla="*/ 19765 h 20000"/>
                  <a:gd name="T2" fmla="*/ 10690 w 20000"/>
                  <a:gd name="T3" fmla="*/ 19765 h 20000"/>
                  <a:gd name="T4" fmla="*/ 6897 w 20000"/>
                  <a:gd name="T5" fmla="*/ 13412 h 20000"/>
                  <a:gd name="T6" fmla="*/ 1379 w 20000"/>
                  <a:gd name="T7" fmla="*/ 11059 h 20000"/>
                  <a:gd name="T8" fmla="*/ 1379 w 20000"/>
                  <a:gd name="T9" fmla="*/ 4941 h 20000"/>
                  <a:gd name="T10" fmla="*/ 0 w 20000"/>
                  <a:gd name="T11" fmla="*/ 3765 h 20000"/>
                  <a:gd name="T12" fmla="*/ 0 w 20000"/>
                  <a:gd name="T13" fmla="*/ 0 h 20000"/>
                  <a:gd name="T14" fmla="*/ 1379 w 20000"/>
                  <a:gd name="T15" fmla="*/ 3765 h 20000"/>
                  <a:gd name="T16" fmla="*/ 5517 w 20000"/>
                  <a:gd name="T17" fmla="*/ 4941 h 20000"/>
                  <a:gd name="T18" fmla="*/ 10690 w 20000"/>
                  <a:gd name="T19" fmla="*/ 7294 h 20000"/>
                  <a:gd name="T20" fmla="*/ 14138 w 20000"/>
                  <a:gd name="T21" fmla="*/ 11059 h 20000"/>
                  <a:gd name="T22" fmla="*/ 15862 w 20000"/>
                  <a:gd name="T23" fmla="*/ 13412 h 20000"/>
                  <a:gd name="T24" fmla="*/ 19655 w 20000"/>
                  <a:gd name="T25" fmla="*/ 17176 h 20000"/>
                  <a:gd name="T26" fmla="*/ 19655 w 20000"/>
                  <a:gd name="T27" fmla="*/ 19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19655" y="19765"/>
                    </a:moveTo>
                    <a:lnTo>
                      <a:pt x="10690" y="19765"/>
                    </a:lnTo>
                    <a:lnTo>
                      <a:pt x="6897" y="13412"/>
                    </a:lnTo>
                    <a:lnTo>
                      <a:pt x="1379" y="11059"/>
                    </a:lnTo>
                    <a:lnTo>
                      <a:pt x="1379" y="4941"/>
                    </a:lnTo>
                    <a:lnTo>
                      <a:pt x="0" y="3765"/>
                    </a:lnTo>
                    <a:lnTo>
                      <a:pt x="0" y="0"/>
                    </a:lnTo>
                    <a:lnTo>
                      <a:pt x="1379" y="3765"/>
                    </a:lnTo>
                    <a:lnTo>
                      <a:pt x="5517" y="4941"/>
                    </a:lnTo>
                    <a:lnTo>
                      <a:pt x="10690" y="7294"/>
                    </a:lnTo>
                    <a:lnTo>
                      <a:pt x="14138" y="11059"/>
                    </a:lnTo>
                    <a:lnTo>
                      <a:pt x="15862" y="13412"/>
                    </a:lnTo>
                    <a:lnTo>
                      <a:pt x="19655" y="17176"/>
                    </a:lnTo>
                    <a:lnTo>
                      <a:pt x="19655" y="19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0" name="Freeform 16"/>
              <p:cNvSpPr>
                <a:spLocks/>
              </p:cNvSpPr>
              <p:nvPr/>
            </p:nvSpPr>
            <p:spPr bwMode="auto">
              <a:xfrm>
                <a:off x="9531350" y="4718050"/>
                <a:ext cx="23813" cy="49213"/>
              </a:xfrm>
              <a:custGeom>
                <a:avLst/>
                <a:gdLst>
                  <a:gd name="T0" fmla="*/ 19459 w 20000"/>
                  <a:gd name="T1" fmla="*/ 19744 h 20000"/>
                  <a:gd name="T2" fmla="*/ 14054 w 20000"/>
                  <a:gd name="T3" fmla="*/ 13077 h 20000"/>
                  <a:gd name="T4" fmla="*/ 0 w 20000"/>
                  <a:gd name="T5" fmla="*/ 9231 h 20000"/>
                  <a:gd name="T6" fmla="*/ 0 w 20000"/>
                  <a:gd name="T7" fmla="*/ 0 h 20000"/>
                  <a:gd name="T8" fmla="*/ 5405 w 20000"/>
                  <a:gd name="T9" fmla="*/ 0 h 20000"/>
                  <a:gd name="T10" fmla="*/ 8649 w 20000"/>
                  <a:gd name="T11" fmla="*/ 5128 h 20000"/>
                  <a:gd name="T12" fmla="*/ 14054 w 20000"/>
                  <a:gd name="T13" fmla="*/ 6667 h 20000"/>
                  <a:gd name="T14" fmla="*/ 19459 w 20000"/>
                  <a:gd name="T15" fmla="*/ 13077 h 20000"/>
                  <a:gd name="T16" fmla="*/ 19459 w 20000"/>
                  <a:gd name="T17" fmla="*/ 1974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9459" y="19744"/>
                    </a:moveTo>
                    <a:lnTo>
                      <a:pt x="14054" y="13077"/>
                    </a:lnTo>
                    <a:lnTo>
                      <a:pt x="0" y="9231"/>
                    </a:lnTo>
                    <a:lnTo>
                      <a:pt x="0" y="0"/>
                    </a:lnTo>
                    <a:lnTo>
                      <a:pt x="5405" y="0"/>
                    </a:lnTo>
                    <a:lnTo>
                      <a:pt x="8649" y="5128"/>
                    </a:lnTo>
                    <a:lnTo>
                      <a:pt x="14054" y="6667"/>
                    </a:lnTo>
                    <a:lnTo>
                      <a:pt x="19459" y="13077"/>
                    </a:lnTo>
                    <a:lnTo>
                      <a:pt x="19459" y="1974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1" name="Freeform 15"/>
              <p:cNvSpPr>
                <a:spLocks/>
              </p:cNvSpPr>
              <p:nvPr/>
            </p:nvSpPr>
            <p:spPr bwMode="auto">
              <a:xfrm>
                <a:off x="9471025" y="4697413"/>
                <a:ext cx="41275" cy="26987"/>
              </a:xfrm>
              <a:custGeom>
                <a:avLst/>
                <a:gdLst>
                  <a:gd name="T0" fmla="*/ 19688 w 20000"/>
                  <a:gd name="T1" fmla="*/ 19524 h 20000"/>
                  <a:gd name="T2" fmla="*/ 14688 w 20000"/>
                  <a:gd name="T3" fmla="*/ 14762 h 20000"/>
                  <a:gd name="T4" fmla="*/ 6563 w 20000"/>
                  <a:gd name="T5" fmla="*/ 7143 h 20000"/>
                  <a:gd name="T6" fmla="*/ 0 w 20000"/>
                  <a:gd name="T7" fmla="*/ 0 h 20000"/>
                  <a:gd name="T8" fmla="*/ 3125 w 20000"/>
                  <a:gd name="T9" fmla="*/ 0 h 20000"/>
                  <a:gd name="T10" fmla="*/ 8125 w 20000"/>
                  <a:gd name="T11" fmla="*/ 4762 h 20000"/>
                  <a:gd name="T12" fmla="*/ 14688 w 20000"/>
                  <a:gd name="T13" fmla="*/ 4762 h 20000"/>
                  <a:gd name="T14" fmla="*/ 19688 w 20000"/>
                  <a:gd name="T15" fmla="*/ 19524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688" y="19524"/>
                    </a:moveTo>
                    <a:lnTo>
                      <a:pt x="14688" y="14762"/>
                    </a:lnTo>
                    <a:lnTo>
                      <a:pt x="6563" y="7143"/>
                    </a:lnTo>
                    <a:lnTo>
                      <a:pt x="0" y="0"/>
                    </a:lnTo>
                    <a:lnTo>
                      <a:pt x="3125" y="0"/>
                    </a:lnTo>
                    <a:lnTo>
                      <a:pt x="8125" y="4762"/>
                    </a:lnTo>
                    <a:lnTo>
                      <a:pt x="14688" y="4762"/>
                    </a:lnTo>
                    <a:lnTo>
                      <a:pt x="19688"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2" name="Freeform 14"/>
              <p:cNvSpPr>
                <a:spLocks/>
              </p:cNvSpPr>
              <p:nvPr/>
            </p:nvSpPr>
            <p:spPr bwMode="auto">
              <a:xfrm>
                <a:off x="9501188" y="4749800"/>
                <a:ext cx="30162" cy="11113"/>
              </a:xfrm>
              <a:custGeom>
                <a:avLst/>
                <a:gdLst>
                  <a:gd name="T0" fmla="*/ 19583 w 20000"/>
                  <a:gd name="T1" fmla="*/ 18824 h 20000"/>
                  <a:gd name="T2" fmla="*/ 12917 w 20000"/>
                  <a:gd name="T3" fmla="*/ 18824 h 20000"/>
                  <a:gd name="T4" fmla="*/ 1667 w 20000"/>
                  <a:gd name="T5" fmla="*/ 18824 h 20000"/>
                  <a:gd name="T6" fmla="*/ 0 w 20000"/>
                  <a:gd name="T7" fmla="*/ 0 h 20000"/>
                  <a:gd name="T8" fmla="*/ 17083 w 20000"/>
                  <a:gd name="T9" fmla="*/ 0 h 20000"/>
                  <a:gd name="T10" fmla="*/ 19583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9583" y="18824"/>
                    </a:moveTo>
                    <a:lnTo>
                      <a:pt x="12917" y="18824"/>
                    </a:lnTo>
                    <a:lnTo>
                      <a:pt x="1667" y="18824"/>
                    </a:lnTo>
                    <a:lnTo>
                      <a:pt x="0" y="0"/>
                    </a:lnTo>
                    <a:lnTo>
                      <a:pt x="17083" y="0"/>
                    </a:lnTo>
                    <a:lnTo>
                      <a:pt x="1958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3" name="Freeform 13"/>
              <p:cNvSpPr>
                <a:spLocks/>
              </p:cNvSpPr>
              <p:nvPr/>
            </p:nvSpPr>
            <p:spPr bwMode="auto">
              <a:xfrm>
                <a:off x="9415463" y="4664075"/>
                <a:ext cx="26987" cy="23813"/>
              </a:xfrm>
              <a:custGeom>
                <a:avLst/>
                <a:gdLst>
                  <a:gd name="T0" fmla="*/ 11905 w 20000"/>
                  <a:gd name="T1" fmla="*/ 19474 h 20000"/>
                  <a:gd name="T2" fmla="*/ 2857 w 20000"/>
                  <a:gd name="T3" fmla="*/ 8421 h 20000"/>
                  <a:gd name="T4" fmla="*/ 0 w 20000"/>
                  <a:gd name="T5" fmla="*/ 0 h 20000"/>
                  <a:gd name="T6" fmla="*/ 7143 w 20000"/>
                  <a:gd name="T7" fmla="*/ 5789 h 20000"/>
                  <a:gd name="T8" fmla="*/ 11905 w 20000"/>
                  <a:gd name="T9" fmla="*/ 8421 h 20000"/>
                  <a:gd name="T10" fmla="*/ 19524 w 20000"/>
                  <a:gd name="T11" fmla="*/ 19474 h 20000"/>
                  <a:gd name="T12" fmla="*/ 11905 w 20000"/>
                  <a:gd name="T13" fmla="*/ 1947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905" y="19474"/>
                    </a:moveTo>
                    <a:lnTo>
                      <a:pt x="2857" y="8421"/>
                    </a:lnTo>
                    <a:lnTo>
                      <a:pt x="0" y="0"/>
                    </a:lnTo>
                    <a:lnTo>
                      <a:pt x="7143" y="5789"/>
                    </a:lnTo>
                    <a:lnTo>
                      <a:pt x="11905" y="8421"/>
                    </a:lnTo>
                    <a:lnTo>
                      <a:pt x="19524" y="19474"/>
                    </a:lnTo>
                    <a:lnTo>
                      <a:pt x="11905" y="1947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4" name="Freeform 12"/>
              <p:cNvSpPr>
                <a:spLocks/>
              </p:cNvSpPr>
              <p:nvPr/>
            </p:nvSpPr>
            <p:spPr bwMode="auto">
              <a:xfrm>
                <a:off x="3638550" y="1198563"/>
                <a:ext cx="1155700" cy="1276350"/>
              </a:xfrm>
              <a:custGeom>
                <a:avLst/>
                <a:gdLst>
                  <a:gd name="T0" fmla="*/ 3705 w 20000"/>
                  <a:gd name="T1" fmla="*/ 19214 h 20000"/>
                  <a:gd name="T2" fmla="*/ 2397 w 20000"/>
                  <a:gd name="T3" fmla="*/ 14425 h 20000"/>
                  <a:gd name="T4" fmla="*/ 4046 w 20000"/>
                  <a:gd name="T5" fmla="*/ 12424 h 20000"/>
                  <a:gd name="T6" fmla="*/ 3024 w 20000"/>
                  <a:gd name="T7" fmla="*/ 11180 h 20000"/>
                  <a:gd name="T8" fmla="*/ 3310 w 20000"/>
                  <a:gd name="T9" fmla="*/ 7417 h 20000"/>
                  <a:gd name="T10" fmla="*/ 1198 w 20000"/>
                  <a:gd name="T11" fmla="*/ 6650 h 20000"/>
                  <a:gd name="T12" fmla="*/ 121 w 20000"/>
                  <a:gd name="T13" fmla="*/ 6341 h 20000"/>
                  <a:gd name="T14" fmla="*/ 176 w 20000"/>
                  <a:gd name="T15" fmla="*/ 5973 h 20000"/>
                  <a:gd name="T16" fmla="*/ 121 w 20000"/>
                  <a:gd name="T17" fmla="*/ 5515 h 20000"/>
                  <a:gd name="T18" fmla="*/ 1539 w 20000"/>
                  <a:gd name="T19" fmla="*/ 5406 h 20000"/>
                  <a:gd name="T20" fmla="*/ 572 w 20000"/>
                  <a:gd name="T21" fmla="*/ 5097 h 20000"/>
                  <a:gd name="T22" fmla="*/ 748 w 20000"/>
                  <a:gd name="T23" fmla="*/ 4072 h 20000"/>
                  <a:gd name="T24" fmla="*/ 2276 w 20000"/>
                  <a:gd name="T25" fmla="*/ 3803 h 20000"/>
                  <a:gd name="T26" fmla="*/ 3595 w 20000"/>
                  <a:gd name="T27" fmla="*/ 3355 h 20000"/>
                  <a:gd name="T28" fmla="*/ 4167 w 20000"/>
                  <a:gd name="T29" fmla="*/ 2927 h 20000"/>
                  <a:gd name="T30" fmla="*/ 3024 w 20000"/>
                  <a:gd name="T31" fmla="*/ 2927 h 20000"/>
                  <a:gd name="T32" fmla="*/ 4453 w 20000"/>
                  <a:gd name="T33" fmla="*/ 2011 h 20000"/>
                  <a:gd name="T34" fmla="*/ 5069 w 20000"/>
                  <a:gd name="T35" fmla="*/ 1752 h 20000"/>
                  <a:gd name="T36" fmla="*/ 6267 w 20000"/>
                  <a:gd name="T37" fmla="*/ 1185 h 20000"/>
                  <a:gd name="T38" fmla="*/ 7180 w 20000"/>
                  <a:gd name="T39" fmla="*/ 2051 h 20000"/>
                  <a:gd name="T40" fmla="*/ 9291 w 20000"/>
                  <a:gd name="T41" fmla="*/ 1752 h 20000"/>
                  <a:gd name="T42" fmla="*/ 10192 w 20000"/>
                  <a:gd name="T43" fmla="*/ 1483 h 20000"/>
                  <a:gd name="T44" fmla="*/ 11226 w 20000"/>
                  <a:gd name="T45" fmla="*/ 1444 h 20000"/>
                  <a:gd name="T46" fmla="*/ 11963 w 20000"/>
                  <a:gd name="T47" fmla="*/ 976 h 20000"/>
                  <a:gd name="T48" fmla="*/ 11402 w 20000"/>
                  <a:gd name="T49" fmla="*/ 567 h 20000"/>
                  <a:gd name="T50" fmla="*/ 14458 w 20000"/>
                  <a:gd name="T51" fmla="*/ 0 h 20000"/>
                  <a:gd name="T52" fmla="*/ 15547 w 20000"/>
                  <a:gd name="T53" fmla="*/ 767 h 20000"/>
                  <a:gd name="T54" fmla="*/ 14524 w 20000"/>
                  <a:gd name="T55" fmla="*/ 976 h 20000"/>
                  <a:gd name="T56" fmla="*/ 17020 w 20000"/>
                  <a:gd name="T57" fmla="*/ 1444 h 20000"/>
                  <a:gd name="T58" fmla="*/ 16745 w 20000"/>
                  <a:gd name="T59" fmla="*/ 2011 h 20000"/>
                  <a:gd name="T60" fmla="*/ 13612 w 20000"/>
                  <a:gd name="T61" fmla="*/ 2519 h 20000"/>
                  <a:gd name="T62" fmla="*/ 16284 w 20000"/>
                  <a:gd name="T63" fmla="*/ 2578 h 20000"/>
                  <a:gd name="T64" fmla="*/ 16570 w 20000"/>
                  <a:gd name="T65" fmla="*/ 2419 h 20000"/>
                  <a:gd name="T66" fmla="*/ 16174 w 20000"/>
                  <a:gd name="T67" fmla="*/ 4072 h 20000"/>
                  <a:gd name="T68" fmla="*/ 17768 w 20000"/>
                  <a:gd name="T69" fmla="*/ 2827 h 20000"/>
                  <a:gd name="T70" fmla="*/ 19296 w 20000"/>
                  <a:gd name="T71" fmla="*/ 2678 h 20000"/>
                  <a:gd name="T72" fmla="*/ 19296 w 20000"/>
                  <a:gd name="T73" fmla="*/ 3803 h 20000"/>
                  <a:gd name="T74" fmla="*/ 18329 w 20000"/>
                  <a:gd name="T75" fmla="*/ 4171 h 20000"/>
                  <a:gd name="T76" fmla="*/ 17317 w 20000"/>
                  <a:gd name="T77" fmla="*/ 4898 h 20000"/>
                  <a:gd name="T78" fmla="*/ 17603 w 20000"/>
                  <a:gd name="T79" fmla="*/ 5515 h 20000"/>
                  <a:gd name="T80" fmla="*/ 17020 w 20000"/>
                  <a:gd name="T81" fmla="*/ 7257 h 20000"/>
                  <a:gd name="T82" fmla="*/ 16394 w 20000"/>
                  <a:gd name="T83" fmla="*/ 8094 h 20000"/>
                  <a:gd name="T84" fmla="*/ 16394 w 20000"/>
                  <a:gd name="T85" fmla="*/ 10662 h 20000"/>
                  <a:gd name="T86" fmla="*/ 14634 w 20000"/>
                  <a:gd name="T87" fmla="*/ 11180 h 20000"/>
                  <a:gd name="T88" fmla="*/ 14975 w 20000"/>
                  <a:gd name="T89" fmla="*/ 12932 h 20000"/>
                  <a:gd name="T90" fmla="*/ 14239 w 20000"/>
                  <a:gd name="T91" fmla="*/ 12265 h 20000"/>
                  <a:gd name="T92" fmla="*/ 13612 w 20000"/>
                  <a:gd name="T93" fmla="*/ 12056 h 20000"/>
                  <a:gd name="T94" fmla="*/ 12864 w 20000"/>
                  <a:gd name="T95" fmla="*/ 12832 h 20000"/>
                  <a:gd name="T96" fmla="*/ 15206 w 20000"/>
                  <a:gd name="T97" fmla="*/ 13141 h 20000"/>
                  <a:gd name="T98" fmla="*/ 11402 w 20000"/>
                  <a:gd name="T99" fmla="*/ 14316 h 20000"/>
                  <a:gd name="T100" fmla="*/ 10027 w 20000"/>
                  <a:gd name="T101" fmla="*/ 15152 h 20000"/>
                  <a:gd name="T102" fmla="*/ 8543 w 20000"/>
                  <a:gd name="T103" fmla="*/ 15301 h 20000"/>
                  <a:gd name="T104" fmla="*/ 7290 w 20000"/>
                  <a:gd name="T105" fmla="*/ 16595 h 20000"/>
                  <a:gd name="T106" fmla="*/ 5245 w 20000"/>
                  <a:gd name="T107" fmla="*/ 199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5245" y="19990"/>
                    </a:moveTo>
                    <a:lnTo>
                      <a:pt x="4904" y="19890"/>
                    </a:lnTo>
                    <a:lnTo>
                      <a:pt x="4321" y="19214"/>
                    </a:lnTo>
                    <a:lnTo>
                      <a:pt x="3705" y="19214"/>
                    </a:lnTo>
                    <a:lnTo>
                      <a:pt x="3244" y="18646"/>
                    </a:lnTo>
                    <a:lnTo>
                      <a:pt x="2683" y="17262"/>
                    </a:lnTo>
                    <a:lnTo>
                      <a:pt x="2507" y="15660"/>
                    </a:lnTo>
                    <a:lnTo>
                      <a:pt x="2397" y="14425"/>
                    </a:lnTo>
                    <a:lnTo>
                      <a:pt x="2859" y="13499"/>
                    </a:lnTo>
                    <a:lnTo>
                      <a:pt x="3485" y="13400"/>
                    </a:lnTo>
                    <a:lnTo>
                      <a:pt x="3991" y="13141"/>
                    </a:lnTo>
                    <a:lnTo>
                      <a:pt x="4046" y="12424"/>
                    </a:lnTo>
                    <a:lnTo>
                      <a:pt x="3244" y="11747"/>
                    </a:lnTo>
                    <a:lnTo>
                      <a:pt x="4321" y="12155"/>
                    </a:lnTo>
                    <a:lnTo>
                      <a:pt x="3760" y="11329"/>
                    </a:lnTo>
                    <a:lnTo>
                      <a:pt x="3024" y="11180"/>
                    </a:lnTo>
                    <a:lnTo>
                      <a:pt x="3244" y="10662"/>
                    </a:lnTo>
                    <a:lnTo>
                      <a:pt x="3760" y="10304"/>
                    </a:lnTo>
                    <a:lnTo>
                      <a:pt x="3595" y="8133"/>
                    </a:lnTo>
                    <a:lnTo>
                      <a:pt x="3310" y="7417"/>
                    </a:lnTo>
                    <a:lnTo>
                      <a:pt x="2562" y="6999"/>
                    </a:lnTo>
                    <a:lnTo>
                      <a:pt x="1935" y="6750"/>
                    </a:lnTo>
                    <a:lnTo>
                      <a:pt x="1374" y="6899"/>
                    </a:lnTo>
                    <a:lnTo>
                      <a:pt x="1198" y="6650"/>
                    </a:lnTo>
                    <a:lnTo>
                      <a:pt x="858" y="6590"/>
                    </a:lnTo>
                    <a:lnTo>
                      <a:pt x="924" y="6999"/>
                    </a:lnTo>
                    <a:lnTo>
                      <a:pt x="341" y="6750"/>
                    </a:lnTo>
                    <a:lnTo>
                      <a:pt x="121" y="6341"/>
                    </a:lnTo>
                    <a:lnTo>
                      <a:pt x="462" y="6222"/>
                    </a:lnTo>
                    <a:lnTo>
                      <a:pt x="858" y="6083"/>
                    </a:lnTo>
                    <a:lnTo>
                      <a:pt x="572" y="6083"/>
                    </a:lnTo>
                    <a:lnTo>
                      <a:pt x="176" y="5973"/>
                    </a:lnTo>
                    <a:lnTo>
                      <a:pt x="572" y="5774"/>
                    </a:lnTo>
                    <a:lnTo>
                      <a:pt x="462" y="5665"/>
                    </a:lnTo>
                    <a:lnTo>
                      <a:pt x="0" y="5814"/>
                    </a:lnTo>
                    <a:lnTo>
                      <a:pt x="121" y="5515"/>
                    </a:lnTo>
                    <a:lnTo>
                      <a:pt x="858" y="5515"/>
                    </a:lnTo>
                    <a:lnTo>
                      <a:pt x="1649" y="5774"/>
                    </a:lnTo>
                    <a:lnTo>
                      <a:pt x="1935" y="5306"/>
                    </a:lnTo>
                    <a:lnTo>
                      <a:pt x="1539" y="5406"/>
                    </a:lnTo>
                    <a:lnTo>
                      <a:pt x="1089" y="5406"/>
                    </a:lnTo>
                    <a:lnTo>
                      <a:pt x="638" y="5246"/>
                    </a:lnTo>
                    <a:lnTo>
                      <a:pt x="924" y="5147"/>
                    </a:lnTo>
                    <a:lnTo>
                      <a:pt x="572" y="5097"/>
                    </a:lnTo>
                    <a:lnTo>
                      <a:pt x="176" y="4838"/>
                    </a:lnTo>
                    <a:lnTo>
                      <a:pt x="0" y="4579"/>
                    </a:lnTo>
                    <a:lnTo>
                      <a:pt x="176" y="4171"/>
                    </a:lnTo>
                    <a:lnTo>
                      <a:pt x="748" y="4072"/>
                    </a:lnTo>
                    <a:lnTo>
                      <a:pt x="1198" y="4072"/>
                    </a:lnTo>
                    <a:lnTo>
                      <a:pt x="1770" y="4022"/>
                    </a:lnTo>
                    <a:lnTo>
                      <a:pt x="1770" y="3922"/>
                    </a:lnTo>
                    <a:lnTo>
                      <a:pt x="2276" y="3803"/>
                    </a:lnTo>
                    <a:lnTo>
                      <a:pt x="2683" y="3803"/>
                    </a:lnTo>
                    <a:lnTo>
                      <a:pt x="2859" y="3922"/>
                    </a:lnTo>
                    <a:lnTo>
                      <a:pt x="3485" y="3604"/>
                    </a:lnTo>
                    <a:lnTo>
                      <a:pt x="3595" y="3355"/>
                    </a:lnTo>
                    <a:lnTo>
                      <a:pt x="3991" y="3245"/>
                    </a:lnTo>
                    <a:lnTo>
                      <a:pt x="3705" y="3086"/>
                    </a:lnTo>
                    <a:lnTo>
                      <a:pt x="4167" y="2987"/>
                    </a:lnTo>
                    <a:lnTo>
                      <a:pt x="4167" y="2927"/>
                    </a:lnTo>
                    <a:lnTo>
                      <a:pt x="3991" y="2987"/>
                    </a:lnTo>
                    <a:lnTo>
                      <a:pt x="3419" y="3086"/>
                    </a:lnTo>
                    <a:lnTo>
                      <a:pt x="3310" y="2927"/>
                    </a:lnTo>
                    <a:lnTo>
                      <a:pt x="3024" y="2927"/>
                    </a:lnTo>
                    <a:lnTo>
                      <a:pt x="3134" y="2728"/>
                    </a:lnTo>
                    <a:lnTo>
                      <a:pt x="3419" y="2578"/>
                    </a:lnTo>
                    <a:lnTo>
                      <a:pt x="4046" y="2260"/>
                    </a:lnTo>
                    <a:lnTo>
                      <a:pt x="4453" y="2011"/>
                    </a:lnTo>
                    <a:lnTo>
                      <a:pt x="4904" y="1911"/>
                    </a:lnTo>
                    <a:lnTo>
                      <a:pt x="4959" y="2260"/>
                    </a:lnTo>
                    <a:lnTo>
                      <a:pt x="5069" y="2260"/>
                    </a:lnTo>
                    <a:lnTo>
                      <a:pt x="5069" y="1752"/>
                    </a:lnTo>
                    <a:lnTo>
                      <a:pt x="5355" y="1752"/>
                    </a:lnTo>
                    <a:lnTo>
                      <a:pt x="5531" y="2011"/>
                    </a:lnTo>
                    <a:lnTo>
                      <a:pt x="5805" y="1911"/>
                    </a:lnTo>
                    <a:lnTo>
                      <a:pt x="6267" y="1185"/>
                    </a:lnTo>
                    <a:lnTo>
                      <a:pt x="6608" y="1234"/>
                    </a:lnTo>
                    <a:lnTo>
                      <a:pt x="6608" y="1603"/>
                    </a:lnTo>
                    <a:lnTo>
                      <a:pt x="7059" y="2051"/>
                    </a:lnTo>
                    <a:lnTo>
                      <a:pt x="7180" y="2051"/>
                    </a:lnTo>
                    <a:lnTo>
                      <a:pt x="6839" y="1075"/>
                    </a:lnTo>
                    <a:lnTo>
                      <a:pt x="8488" y="926"/>
                    </a:lnTo>
                    <a:lnTo>
                      <a:pt x="8543" y="1483"/>
                    </a:lnTo>
                    <a:lnTo>
                      <a:pt x="9291" y="1752"/>
                    </a:lnTo>
                    <a:lnTo>
                      <a:pt x="9401" y="1643"/>
                    </a:lnTo>
                    <a:lnTo>
                      <a:pt x="9291" y="1234"/>
                    </a:lnTo>
                    <a:lnTo>
                      <a:pt x="9456" y="926"/>
                    </a:lnTo>
                    <a:lnTo>
                      <a:pt x="10192" y="1483"/>
                    </a:lnTo>
                    <a:lnTo>
                      <a:pt x="10654" y="2160"/>
                    </a:lnTo>
                    <a:lnTo>
                      <a:pt x="10885" y="2011"/>
                    </a:lnTo>
                    <a:lnTo>
                      <a:pt x="10764" y="1643"/>
                    </a:lnTo>
                    <a:lnTo>
                      <a:pt x="11226" y="1444"/>
                    </a:lnTo>
                    <a:lnTo>
                      <a:pt x="11512" y="1603"/>
                    </a:lnTo>
                    <a:lnTo>
                      <a:pt x="11622" y="1603"/>
                    </a:lnTo>
                    <a:lnTo>
                      <a:pt x="11050" y="767"/>
                    </a:lnTo>
                    <a:lnTo>
                      <a:pt x="11963" y="976"/>
                    </a:lnTo>
                    <a:lnTo>
                      <a:pt x="12413" y="1444"/>
                    </a:lnTo>
                    <a:lnTo>
                      <a:pt x="12413" y="1075"/>
                    </a:lnTo>
                    <a:lnTo>
                      <a:pt x="12128" y="767"/>
                    </a:lnTo>
                    <a:lnTo>
                      <a:pt x="11402" y="567"/>
                    </a:lnTo>
                    <a:lnTo>
                      <a:pt x="11226" y="159"/>
                    </a:lnTo>
                    <a:lnTo>
                      <a:pt x="11512" y="159"/>
                    </a:lnTo>
                    <a:lnTo>
                      <a:pt x="13161" y="159"/>
                    </a:lnTo>
                    <a:lnTo>
                      <a:pt x="14458" y="0"/>
                    </a:lnTo>
                    <a:lnTo>
                      <a:pt x="15833" y="259"/>
                    </a:lnTo>
                    <a:lnTo>
                      <a:pt x="16570" y="567"/>
                    </a:lnTo>
                    <a:lnTo>
                      <a:pt x="16284" y="767"/>
                    </a:lnTo>
                    <a:lnTo>
                      <a:pt x="15547" y="767"/>
                    </a:lnTo>
                    <a:lnTo>
                      <a:pt x="14634" y="826"/>
                    </a:lnTo>
                    <a:lnTo>
                      <a:pt x="14008" y="926"/>
                    </a:lnTo>
                    <a:lnTo>
                      <a:pt x="13612" y="1185"/>
                    </a:lnTo>
                    <a:lnTo>
                      <a:pt x="14524" y="976"/>
                    </a:lnTo>
                    <a:lnTo>
                      <a:pt x="15723" y="976"/>
                    </a:lnTo>
                    <a:lnTo>
                      <a:pt x="16745" y="926"/>
                    </a:lnTo>
                    <a:lnTo>
                      <a:pt x="16745" y="1334"/>
                    </a:lnTo>
                    <a:lnTo>
                      <a:pt x="17020" y="1444"/>
                    </a:lnTo>
                    <a:lnTo>
                      <a:pt x="17768" y="1643"/>
                    </a:lnTo>
                    <a:lnTo>
                      <a:pt x="17317" y="1911"/>
                    </a:lnTo>
                    <a:lnTo>
                      <a:pt x="17141" y="2011"/>
                    </a:lnTo>
                    <a:lnTo>
                      <a:pt x="16745" y="2011"/>
                    </a:lnTo>
                    <a:lnTo>
                      <a:pt x="16460" y="2160"/>
                    </a:lnTo>
                    <a:lnTo>
                      <a:pt x="15943" y="2051"/>
                    </a:lnTo>
                    <a:lnTo>
                      <a:pt x="14975" y="2051"/>
                    </a:lnTo>
                    <a:lnTo>
                      <a:pt x="13612" y="2519"/>
                    </a:lnTo>
                    <a:lnTo>
                      <a:pt x="13722" y="2578"/>
                    </a:lnTo>
                    <a:lnTo>
                      <a:pt x="14975" y="2320"/>
                    </a:lnTo>
                    <a:lnTo>
                      <a:pt x="16174" y="2320"/>
                    </a:lnTo>
                    <a:lnTo>
                      <a:pt x="16284" y="2578"/>
                    </a:lnTo>
                    <a:lnTo>
                      <a:pt x="15547" y="2927"/>
                    </a:lnTo>
                    <a:lnTo>
                      <a:pt x="15723" y="3086"/>
                    </a:lnTo>
                    <a:lnTo>
                      <a:pt x="16460" y="2827"/>
                    </a:lnTo>
                    <a:lnTo>
                      <a:pt x="16570" y="2419"/>
                    </a:lnTo>
                    <a:lnTo>
                      <a:pt x="17196" y="2320"/>
                    </a:lnTo>
                    <a:lnTo>
                      <a:pt x="17196" y="2578"/>
                    </a:lnTo>
                    <a:lnTo>
                      <a:pt x="16910" y="3355"/>
                    </a:lnTo>
                    <a:lnTo>
                      <a:pt x="16174" y="4072"/>
                    </a:lnTo>
                    <a:lnTo>
                      <a:pt x="16690" y="3763"/>
                    </a:lnTo>
                    <a:lnTo>
                      <a:pt x="17317" y="3355"/>
                    </a:lnTo>
                    <a:lnTo>
                      <a:pt x="17603" y="2927"/>
                    </a:lnTo>
                    <a:lnTo>
                      <a:pt x="17768" y="2827"/>
                    </a:lnTo>
                    <a:lnTo>
                      <a:pt x="17768" y="3146"/>
                    </a:lnTo>
                    <a:lnTo>
                      <a:pt x="18329" y="3146"/>
                    </a:lnTo>
                    <a:lnTo>
                      <a:pt x="18571" y="2827"/>
                    </a:lnTo>
                    <a:lnTo>
                      <a:pt x="19296" y="2678"/>
                    </a:lnTo>
                    <a:lnTo>
                      <a:pt x="19989" y="2987"/>
                    </a:lnTo>
                    <a:lnTo>
                      <a:pt x="19879" y="3355"/>
                    </a:lnTo>
                    <a:lnTo>
                      <a:pt x="19252" y="3654"/>
                    </a:lnTo>
                    <a:lnTo>
                      <a:pt x="19296" y="3803"/>
                    </a:lnTo>
                    <a:lnTo>
                      <a:pt x="18802" y="4022"/>
                    </a:lnTo>
                    <a:lnTo>
                      <a:pt x="18109" y="4072"/>
                    </a:lnTo>
                    <a:lnTo>
                      <a:pt x="17603" y="4072"/>
                    </a:lnTo>
                    <a:lnTo>
                      <a:pt x="18329" y="4171"/>
                    </a:lnTo>
                    <a:lnTo>
                      <a:pt x="18802" y="4171"/>
                    </a:lnTo>
                    <a:lnTo>
                      <a:pt x="18505" y="4579"/>
                    </a:lnTo>
                    <a:lnTo>
                      <a:pt x="17603" y="4430"/>
                    </a:lnTo>
                    <a:lnTo>
                      <a:pt x="17317" y="4898"/>
                    </a:lnTo>
                    <a:lnTo>
                      <a:pt x="17317" y="4998"/>
                    </a:lnTo>
                    <a:lnTo>
                      <a:pt x="17658" y="4739"/>
                    </a:lnTo>
                    <a:lnTo>
                      <a:pt x="18329" y="4739"/>
                    </a:lnTo>
                    <a:lnTo>
                      <a:pt x="17603" y="5515"/>
                    </a:lnTo>
                    <a:lnTo>
                      <a:pt x="16910" y="6083"/>
                    </a:lnTo>
                    <a:lnTo>
                      <a:pt x="16866" y="6750"/>
                    </a:lnTo>
                    <a:lnTo>
                      <a:pt x="17317" y="7158"/>
                    </a:lnTo>
                    <a:lnTo>
                      <a:pt x="17020" y="7257"/>
                    </a:lnTo>
                    <a:lnTo>
                      <a:pt x="17361" y="7317"/>
                    </a:lnTo>
                    <a:lnTo>
                      <a:pt x="17493" y="7934"/>
                    </a:lnTo>
                    <a:lnTo>
                      <a:pt x="16690" y="7725"/>
                    </a:lnTo>
                    <a:lnTo>
                      <a:pt x="16394" y="8094"/>
                    </a:lnTo>
                    <a:lnTo>
                      <a:pt x="16866" y="8243"/>
                    </a:lnTo>
                    <a:lnTo>
                      <a:pt x="16910" y="9169"/>
                    </a:lnTo>
                    <a:lnTo>
                      <a:pt x="16866" y="9985"/>
                    </a:lnTo>
                    <a:lnTo>
                      <a:pt x="16394" y="10662"/>
                    </a:lnTo>
                    <a:lnTo>
                      <a:pt x="15657" y="10821"/>
                    </a:lnTo>
                    <a:lnTo>
                      <a:pt x="15096" y="10553"/>
                    </a:lnTo>
                    <a:lnTo>
                      <a:pt x="14458" y="10762"/>
                    </a:lnTo>
                    <a:lnTo>
                      <a:pt x="14634" y="11180"/>
                    </a:lnTo>
                    <a:lnTo>
                      <a:pt x="15206" y="11847"/>
                    </a:lnTo>
                    <a:lnTo>
                      <a:pt x="15492" y="12155"/>
                    </a:lnTo>
                    <a:lnTo>
                      <a:pt x="15492" y="12832"/>
                    </a:lnTo>
                    <a:lnTo>
                      <a:pt x="14975" y="12932"/>
                    </a:lnTo>
                    <a:lnTo>
                      <a:pt x="14931" y="12932"/>
                    </a:lnTo>
                    <a:lnTo>
                      <a:pt x="14524" y="12723"/>
                    </a:lnTo>
                    <a:lnTo>
                      <a:pt x="14524" y="12464"/>
                    </a:lnTo>
                    <a:lnTo>
                      <a:pt x="14239" y="12265"/>
                    </a:lnTo>
                    <a:lnTo>
                      <a:pt x="13788" y="11996"/>
                    </a:lnTo>
                    <a:lnTo>
                      <a:pt x="13161" y="11588"/>
                    </a:lnTo>
                    <a:lnTo>
                      <a:pt x="13040" y="11747"/>
                    </a:lnTo>
                    <a:lnTo>
                      <a:pt x="13612" y="12056"/>
                    </a:lnTo>
                    <a:lnTo>
                      <a:pt x="14074" y="12305"/>
                    </a:lnTo>
                    <a:lnTo>
                      <a:pt x="13271" y="12424"/>
                    </a:lnTo>
                    <a:lnTo>
                      <a:pt x="12985" y="12673"/>
                    </a:lnTo>
                    <a:lnTo>
                      <a:pt x="12864" y="12832"/>
                    </a:lnTo>
                    <a:lnTo>
                      <a:pt x="13612" y="12832"/>
                    </a:lnTo>
                    <a:lnTo>
                      <a:pt x="12699" y="12982"/>
                    </a:lnTo>
                    <a:lnTo>
                      <a:pt x="14008" y="12932"/>
                    </a:lnTo>
                    <a:lnTo>
                      <a:pt x="15206" y="13141"/>
                    </a:lnTo>
                    <a:lnTo>
                      <a:pt x="14755" y="13400"/>
                    </a:lnTo>
                    <a:lnTo>
                      <a:pt x="13557" y="14007"/>
                    </a:lnTo>
                    <a:lnTo>
                      <a:pt x="12413" y="14166"/>
                    </a:lnTo>
                    <a:lnTo>
                      <a:pt x="11402" y="14316"/>
                    </a:lnTo>
                    <a:lnTo>
                      <a:pt x="11050" y="14007"/>
                    </a:lnTo>
                    <a:lnTo>
                      <a:pt x="11160" y="14425"/>
                    </a:lnTo>
                    <a:lnTo>
                      <a:pt x="10764" y="14584"/>
                    </a:lnTo>
                    <a:lnTo>
                      <a:pt x="10027" y="15152"/>
                    </a:lnTo>
                    <a:lnTo>
                      <a:pt x="9115" y="15719"/>
                    </a:lnTo>
                    <a:lnTo>
                      <a:pt x="8664" y="15719"/>
                    </a:lnTo>
                    <a:lnTo>
                      <a:pt x="8840" y="15301"/>
                    </a:lnTo>
                    <a:lnTo>
                      <a:pt x="8543" y="15301"/>
                    </a:lnTo>
                    <a:lnTo>
                      <a:pt x="8488" y="15819"/>
                    </a:lnTo>
                    <a:lnTo>
                      <a:pt x="7916" y="15918"/>
                    </a:lnTo>
                    <a:lnTo>
                      <a:pt x="7631" y="16068"/>
                    </a:lnTo>
                    <a:lnTo>
                      <a:pt x="7290" y="16595"/>
                    </a:lnTo>
                    <a:lnTo>
                      <a:pt x="7059" y="17003"/>
                    </a:lnTo>
                    <a:lnTo>
                      <a:pt x="6608" y="17670"/>
                    </a:lnTo>
                    <a:lnTo>
                      <a:pt x="6267" y="18547"/>
                    </a:lnTo>
                    <a:lnTo>
                      <a:pt x="5245" y="199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5" name="Freeform 11"/>
              <p:cNvSpPr>
                <a:spLocks/>
              </p:cNvSpPr>
              <p:nvPr/>
            </p:nvSpPr>
            <p:spPr bwMode="auto">
              <a:xfrm>
                <a:off x="3243263" y="4135438"/>
                <a:ext cx="30162" cy="12700"/>
              </a:xfrm>
              <a:custGeom>
                <a:avLst/>
                <a:gdLst>
                  <a:gd name="T0" fmla="*/ 15000 w 20000"/>
                  <a:gd name="T1" fmla="*/ 19048 h 20000"/>
                  <a:gd name="T2" fmla="*/ 0 w 20000"/>
                  <a:gd name="T3" fmla="*/ 19048 h 20000"/>
                  <a:gd name="T4" fmla="*/ 8750 w 20000"/>
                  <a:gd name="T5" fmla="*/ 14286 h 20000"/>
                  <a:gd name="T6" fmla="*/ 8750 w 20000"/>
                  <a:gd name="T7" fmla="*/ 0 h 20000"/>
                  <a:gd name="T8" fmla="*/ 19583 w 20000"/>
                  <a:gd name="T9" fmla="*/ 0 h 20000"/>
                  <a:gd name="T10" fmla="*/ 15000 w 20000"/>
                  <a:gd name="T11" fmla="*/ 19048 h 20000"/>
                </a:gdLst>
                <a:ahLst/>
                <a:cxnLst>
                  <a:cxn ang="0">
                    <a:pos x="T0" y="T1"/>
                  </a:cxn>
                  <a:cxn ang="0">
                    <a:pos x="T2" y="T3"/>
                  </a:cxn>
                  <a:cxn ang="0">
                    <a:pos x="T4" y="T5"/>
                  </a:cxn>
                  <a:cxn ang="0">
                    <a:pos x="T6" y="T7"/>
                  </a:cxn>
                  <a:cxn ang="0">
                    <a:pos x="T8" y="T9"/>
                  </a:cxn>
                  <a:cxn ang="0">
                    <a:pos x="T10" y="T11"/>
                  </a:cxn>
                </a:cxnLst>
                <a:rect l="0" t="0" r="r" b="b"/>
                <a:pathLst>
                  <a:path w="20000" h="20000">
                    <a:moveTo>
                      <a:pt x="15000" y="19048"/>
                    </a:moveTo>
                    <a:lnTo>
                      <a:pt x="0" y="19048"/>
                    </a:lnTo>
                    <a:lnTo>
                      <a:pt x="8750" y="14286"/>
                    </a:lnTo>
                    <a:lnTo>
                      <a:pt x="8750" y="0"/>
                    </a:lnTo>
                    <a:lnTo>
                      <a:pt x="19583" y="0"/>
                    </a:lnTo>
                    <a:lnTo>
                      <a:pt x="15000" y="190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6" name="Freeform 10"/>
              <p:cNvSpPr>
                <a:spLocks/>
              </p:cNvSpPr>
              <p:nvPr/>
            </p:nvSpPr>
            <p:spPr bwMode="auto">
              <a:xfrm>
                <a:off x="8883650" y="5864225"/>
                <a:ext cx="103188" cy="128588"/>
              </a:xfrm>
              <a:custGeom>
                <a:avLst/>
                <a:gdLst>
                  <a:gd name="T0" fmla="*/ 5185 w 20000"/>
                  <a:gd name="T1" fmla="*/ 19901 h 20000"/>
                  <a:gd name="T2" fmla="*/ 3333 w 20000"/>
                  <a:gd name="T3" fmla="*/ 19310 h 20000"/>
                  <a:gd name="T4" fmla="*/ 1975 w 20000"/>
                  <a:gd name="T5" fmla="*/ 18325 h 20000"/>
                  <a:gd name="T6" fmla="*/ 3333 w 20000"/>
                  <a:gd name="T7" fmla="*/ 18325 h 20000"/>
                  <a:gd name="T8" fmla="*/ 3333 w 20000"/>
                  <a:gd name="T9" fmla="*/ 17241 h 20000"/>
                  <a:gd name="T10" fmla="*/ 1358 w 20000"/>
                  <a:gd name="T11" fmla="*/ 16847 h 20000"/>
                  <a:gd name="T12" fmla="*/ 0 w 20000"/>
                  <a:gd name="T13" fmla="*/ 14286 h 20000"/>
                  <a:gd name="T14" fmla="*/ 1358 w 20000"/>
                  <a:gd name="T15" fmla="*/ 10640 h 20000"/>
                  <a:gd name="T16" fmla="*/ 1975 w 20000"/>
                  <a:gd name="T17" fmla="*/ 11626 h 20000"/>
                  <a:gd name="T18" fmla="*/ 1975 w 20000"/>
                  <a:gd name="T19" fmla="*/ 10640 h 20000"/>
                  <a:gd name="T20" fmla="*/ 1358 w 20000"/>
                  <a:gd name="T21" fmla="*/ 1970 h 20000"/>
                  <a:gd name="T22" fmla="*/ 1975 w 20000"/>
                  <a:gd name="T23" fmla="*/ 0 h 20000"/>
                  <a:gd name="T24" fmla="*/ 3333 w 20000"/>
                  <a:gd name="T25" fmla="*/ 0 h 20000"/>
                  <a:gd name="T26" fmla="*/ 4568 w 20000"/>
                  <a:gd name="T27" fmla="*/ 985 h 20000"/>
                  <a:gd name="T28" fmla="*/ 7160 w 20000"/>
                  <a:gd name="T29" fmla="*/ 2562 h 20000"/>
                  <a:gd name="T30" fmla="*/ 12222 w 20000"/>
                  <a:gd name="T31" fmla="*/ 3547 h 20000"/>
                  <a:gd name="T32" fmla="*/ 15432 w 20000"/>
                  <a:gd name="T33" fmla="*/ 2562 h 20000"/>
                  <a:gd name="T34" fmla="*/ 16667 w 20000"/>
                  <a:gd name="T35" fmla="*/ 2562 h 20000"/>
                  <a:gd name="T36" fmla="*/ 19877 w 20000"/>
                  <a:gd name="T37" fmla="*/ 1970 h 20000"/>
                  <a:gd name="T38" fmla="*/ 19877 w 20000"/>
                  <a:gd name="T39" fmla="*/ 2562 h 20000"/>
                  <a:gd name="T40" fmla="*/ 17901 w 20000"/>
                  <a:gd name="T41" fmla="*/ 11626 h 20000"/>
                  <a:gd name="T42" fmla="*/ 16667 w 20000"/>
                  <a:gd name="T43" fmla="*/ 11626 h 20000"/>
                  <a:gd name="T44" fmla="*/ 16667 w 20000"/>
                  <a:gd name="T45" fmla="*/ 10640 h 20000"/>
                  <a:gd name="T46" fmla="*/ 15432 w 20000"/>
                  <a:gd name="T47" fmla="*/ 11626 h 20000"/>
                  <a:gd name="T48" fmla="*/ 15432 w 20000"/>
                  <a:gd name="T49" fmla="*/ 13202 h 20000"/>
                  <a:gd name="T50" fmla="*/ 14815 w 20000"/>
                  <a:gd name="T51" fmla="*/ 14680 h 20000"/>
                  <a:gd name="T52" fmla="*/ 13457 w 20000"/>
                  <a:gd name="T53" fmla="*/ 17241 h 20000"/>
                  <a:gd name="T54" fmla="*/ 11605 w 20000"/>
                  <a:gd name="T55" fmla="*/ 18325 h 20000"/>
                  <a:gd name="T56" fmla="*/ 11605 w 20000"/>
                  <a:gd name="T57" fmla="*/ 16847 h 20000"/>
                  <a:gd name="T58" fmla="*/ 12222 w 20000"/>
                  <a:gd name="T59" fmla="*/ 16847 h 20000"/>
                  <a:gd name="T60" fmla="*/ 12222 w 20000"/>
                  <a:gd name="T61" fmla="*/ 14680 h 20000"/>
                  <a:gd name="T62" fmla="*/ 11605 w 20000"/>
                  <a:gd name="T63" fmla="*/ 14680 h 20000"/>
                  <a:gd name="T64" fmla="*/ 9630 w 20000"/>
                  <a:gd name="T65" fmla="*/ 17241 h 20000"/>
                  <a:gd name="T66" fmla="*/ 8395 w 20000"/>
                  <a:gd name="T67" fmla="*/ 17241 h 20000"/>
                  <a:gd name="T68" fmla="*/ 7160 w 20000"/>
                  <a:gd name="T69" fmla="*/ 19901 h 20000"/>
                  <a:gd name="T70" fmla="*/ 5185 w 20000"/>
                  <a:gd name="T71" fmla="*/ 19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5185" y="19901"/>
                    </a:moveTo>
                    <a:lnTo>
                      <a:pt x="3333" y="19310"/>
                    </a:lnTo>
                    <a:lnTo>
                      <a:pt x="1975" y="18325"/>
                    </a:lnTo>
                    <a:lnTo>
                      <a:pt x="3333" y="18325"/>
                    </a:lnTo>
                    <a:lnTo>
                      <a:pt x="3333" y="17241"/>
                    </a:lnTo>
                    <a:lnTo>
                      <a:pt x="1358" y="16847"/>
                    </a:lnTo>
                    <a:lnTo>
                      <a:pt x="0" y="14286"/>
                    </a:lnTo>
                    <a:lnTo>
                      <a:pt x="1358" y="10640"/>
                    </a:lnTo>
                    <a:lnTo>
                      <a:pt x="1975" y="11626"/>
                    </a:lnTo>
                    <a:lnTo>
                      <a:pt x="1975" y="10640"/>
                    </a:lnTo>
                    <a:lnTo>
                      <a:pt x="1358" y="1970"/>
                    </a:lnTo>
                    <a:lnTo>
                      <a:pt x="1975" y="0"/>
                    </a:lnTo>
                    <a:lnTo>
                      <a:pt x="3333" y="0"/>
                    </a:lnTo>
                    <a:lnTo>
                      <a:pt x="4568" y="985"/>
                    </a:lnTo>
                    <a:lnTo>
                      <a:pt x="7160" y="2562"/>
                    </a:lnTo>
                    <a:lnTo>
                      <a:pt x="12222" y="3547"/>
                    </a:lnTo>
                    <a:lnTo>
                      <a:pt x="15432" y="2562"/>
                    </a:lnTo>
                    <a:lnTo>
                      <a:pt x="16667" y="2562"/>
                    </a:lnTo>
                    <a:lnTo>
                      <a:pt x="19877" y="1970"/>
                    </a:lnTo>
                    <a:lnTo>
                      <a:pt x="19877" y="2562"/>
                    </a:lnTo>
                    <a:lnTo>
                      <a:pt x="17901" y="11626"/>
                    </a:lnTo>
                    <a:lnTo>
                      <a:pt x="16667" y="11626"/>
                    </a:lnTo>
                    <a:lnTo>
                      <a:pt x="16667" y="10640"/>
                    </a:lnTo>
                    <a:lnTo>
                      <a:pt x="15432" y="11626"/>
                    </a:lnTo>
                    <a:lnTo>
                      <a:pt x="15432" y="13202"/>
                    </a:lnTo>
                    <a:lnTo>
                      <a:pt x="14815" y="14680"/>
                    </a:lnTo>
                    <a:lnTo>
                      <a:pt x="13457" y="17241"/>
                    </a:lnTo>
                    <a:lnTo>
                      <a:pt x="11605" y="18325"/>
                    </a:lnTo>
                    <a:lnTo>
                      <a:pt x="11605" y="16847"/>
                    </a:lnTo>
                    <a:lnTo>
                      <a:pt x="12222" y="16847"/>
                    </a:lnTo>
                    <a:lnTo>
                      <a:pt x="12222" y="14680"/>
                    </a:lnTo>
                    <a:lnTo>
                      <a:pt x="11605" y="14680"/>
                    </a:lnTo>
                    <a:lnTo>
                      <a:pt x="9630" y="17241"/>
                    </a:lnTo>
                    <a:lnTo>
                      <a:pt x="8395" y="17241"/>
                    </a:lnTo>
                    <a:lnTo>
                      <a:pt x="7160" y="19901"/>
                    </a:lnTo>
                    <a:lnTo>
                      <a:pt x="5185" y="1990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7" name="Freeform 9"/>
              <p:cNvSpPr>
                <a:spLocks/>
              </p:cNvSpPr>
              <p:nvPr/>
            </p:nvSpPr>
            <p:spPr bwMode="auto">
              <a:xfrm>
                <a:off x="6527800" y="5062538"/>
                <a:ext cx="17463" cy="17462"/>
              </a:xfrm>
              <a:custGeom>
                <a:avLst/>
                <a:gdLst>
                  <a:gd name="T0" fmla="*/ 11852 w 20000"/>
                  <a:gd name="T1" fmla="*/ 19259 h 20000"/>
                  <a:gd name="T2" fmla="*/ 0 w 20000"/>
                  <a:gd name="T3" fmla="*/ 15556 h 20000"/>
                  <a:gd name="T4" fmla="*/ 7407 w 20000"/>
                  <a:gd name="T5" fmla="*/ 0 h 20000"/>
                  <a:gd name="T6" fmla="*/ 19259 w 20000"/>
                  <a:gd name="T7" fmla="*/ 15556 h 20000"/>
                  <a:gd name="T8" fmla="*/ 11852 w 20000"/>
                  <a:gd name="T9" fmla="*/ 19259 h 20000"/>
                </a:gdLst>
                <a:ahLst/>
                <a:cxnLst>
                  <a:cxn ang="0">
                    <a:pos x="T0" y="T1"/>
                  </a:cxn>
                  <a:cxn ang="0">
                    <a:pos x="T2" y="T3"/>
                  </a:cxn>
                  <a:cxn ang="0">
                    <a:pos x="T4" y="T5"/>
                  </a:cxn>
                  <a:cxn ang="0">
                    <a:pos x="T6" y="T7"/>
                  </a:cxn>
                  <a:cxn ang="0">
                    <a:pos x="T8" y="T9"/>
                  </a:cxn>
                </a:cxnLst>
                <a:rect l="0" t="0" r="r" b="b"/>
                <a:pathLst>
                  <a:path w="20000" h="20000">
                    <a:moveTo>
                      <a:pt x="11852" y="19259"/>
                    </a:moveTo>
                    <a:lnTo>
                      <a:pt x="0" y="15556"/>
                    </a:lnTo>
                    <a:lnTo>
                      <a:pt x="7407" y="0"/>
                    </a:lnTo>
                    <a:lnTo>
                      <a:pt x="19259" y="15556"/>
                    </a:lnTo>
                    <a:lnTo>
                      <a:pt x="11852"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8" name="Freeform 8"/>
              <p:cNvSpPr>
                <a:spLocks/>
              </p:cNvSpPr>
              <p:nvPr/>
            </p:nvSpPr>
            <p:spPr bwMode="auto">
              <a:xfrm>
                <a:off x="9590088" y="5102225"/>
                <a:ext cx="50800" cy="85725"/>
              </a:xfrm>
              <a:custGeom>
                <a:avLst/>
                <a:gdLst>
                  <a:gd name="T0" fmla="*/ 19747 w 20000"/>
                  <a:gd name="T1" fmla="*/ 19852 h 20000"/>
                  <a:gd name="T2" fmla="*/ 14430 w 20000"/>
                  <a:gd name="T3" fmla="*/ 18370 h 20000"/>
                  <a:gd name="T4" fmla="*/ 14430 w 20000"/>
                  <a:gd name="T5" fmla="*/ 16000 h 20000"/>
                  <a:gd name="T6" fmla="*/ 7848 w 20000"/>
                  <a:gd name="T7" fmla="*/ 13037 h 20000"/>
                  <a:gd name="T8" fmla="*/ 2785 w 20000"/>
                  <a:gd name="T9" fmla="*/ 6074 h 20000"/>
                  <a:gd name="T10" fmla="*/ 0 w 20000"/>
                  <a:gd name="T11" fmla="*/ 0 h 20000"/>
                  <a:gd name="T12" fmla="*/ 2785 w 20000"/>
                  <a:gd name="T13" fmla="*/ 593 h 20000"/>
                  <a:gd name="T14" fmla="*/ 7848 w 20000"/>
                  <a:gd name="T15" fmla="*/ 6074 h 20000"/>
                  <a:gd name="T16" fmla="*/ 10380 w 20000"/>
                  <a:gd name="T17" fmla="*/ 6815 h 20000"/>
                  <a:gd name="T18" fmla="*/ 10380 w 20000"/>
                  <a:gd name="T19" fmla="*/ 9926 h 20000"/>
                  <a:gd name="T20" fmla="*/ 14430 w 20000"/>
                  <a:gd name="T21" fmla="*/ 12296 h 20000"/>
                  <a:gd name="T22" fmla="*/ 19747 w 20000"/>
                  <a:gd name="T23" fmla="*/ 16889 h 20000"/>
                  <a:gd name="T24" fmla="*/ 19747 w 20000"/>
                  <a:gd name="T25" fmla="*/ 198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9747" y="19852"/>
                    </a:moveTo>
                    <a:lnTo>
                      <a:pt x="14430" y="18370"/>
                    </a:lnTo>
                    <a:lnTo>
                      <a:pt x="14430" y="16000"/>
                    </a:lnTo>
                    <a:lnTo>
                      <a:pt x="7848" y="13037"/>
                    </a:lnTo>
                    <a:lnTo>
                      <a:pt x="2785" y="6074"/>
                    </a:lnTo>
                    <a:lnTo>
                      <a:pt x="0" y="0"/>
                    </a:lnTo>
                    <a:lnTo>
                      <a:pt x="2785" y="593"/>
                    </a:lnTo>
                    <a:lnTo>
                      <a:pt x="7848" y="6074"/>
                    </a:lnTo>
                    <a:lnTo>
                      <a:pt x="10380" y="6815"/>
                    </a:lnTo>
                    <a:lnTo>
                      <a:pt x="10380" y="9926"/>
                    </a:lnTo>
                    <a:lnTo>
                      <a:pt x="14430" y="12296"/>
                    </a:lnTo>
                    <a:lnTo>
                      <a:pt x="19747" y="16889"/>
                    </a:lnTo>
                    <a:lnTo>
                      <a:pt x="19747" y="1985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29" name="Freeform 7"/>
              <p:cNvSpPr>
                <a:spLocks/>
              </p:cNvSpPr>
              <p:nvPr/>
            </p:nvSpPr>
            <p:spPr bwMode="auto">
              <a:xfrm>
                <a:off x="3267075" y="4010025"/>
                <a:ext cx="11113" cy="17463"/>
              </a:xfrm>
              <a:custGeom>
                <a:avLst/>
                <a:gdLst>
                  <a:gd name="T0" fmla="*/ 18824 w 20000"/>
                  <a:gd name="T1" fmla="*/ 19286 h 20000"/>
                  <a:gd name="T2" fmla="*/ 12941 w 20000"/>
                  <a:gd name="T3" fmla="*/ 19286 h 20000"/>
                  <a:gd name="T4" fmla="*/ 0 w 20000"/>
                  <a:gd name="T5" fmla="*/ 0 h 20000"/>
                  <a:gd name="T6" fmla="*/ 18824 w 20000"/>
                  <a:gd name="T7" fmla="*/ 7857 h 20000"/>
                  <a:gd name="T8" fmla="*/ 18824 w 20000"/>
                  <a:gd name="T9" fmla="*/ 19286 h 20000"/>
                </a:gdLst>
                <a:ahLst/>
                <a:cxnLst>
                  <a:cxn ang="0">
                    <a:pos x="T0" y="T1"/>
                  </a:cxn>
                  <a:cxn ang="0">
                    <a:pos x="T2" y="T3"/>
                  </a:cxn>
                  <a:cxn ang="0">
                    <a:pos x="T4" y="T5"/>
                  </a:cxn>
                  <a:cxn ang="0">
                    <a:pos x="T6" y="T7"/>
                  </a:cxn>
                  <a:cxn ang="0">
                    <a:pos x="T8" y="T9"/>
                  </a:cxn>
                </a:cxnLst>
                <a:rect l="0" t="0" r="r" b="b"/>
                <a:pathLst>
                  <a:path w="20000" h="20000">
                    <a:moveTo>
                      <a:pt x="18824" y="19286"/>
                    </a:moveTo>
                    <a:lnTo>
                      <a:pt x="12941" y="19286"/>
                    </a:lnTo>
                    <a:lnTo>
                      <a:pt x="0" y="0"/>
                    </a:lnTo>
                    <a:lnTo>
                      <a:pt x="18824" y="7857"/>
                    </a:lnTo>
                    <a:lnTo>
                      <a:pt x="18824"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30" name="Freeform 6"/>
              <p:cNvSpPr>
                <a:spLocks/>
              </p:cNvSpPr>
              <p:nvPr/>
            </p:nvSpPr>
            <p:spPr bwMode="auto">
              <a:xfrm>
                <a:off x="4516438" y="3484563"/>
                <a:ext cx="17462" cy="6350"/>
              </a:xfrm>
              <a:custGeom>
                <a:avLst/>
                <a:gdLst>
                  <a:gd name="T0" fmla="*/ 11852 w 20000"/>
                  <a:gd name="T1" fmla="*/ 18182 h 20000"/>
                  <a:gd name="T2" fmla="*/ 0 w 20000"/>
                  <a:gd name="T3" fmla="*/ 0 h 20000"/>
                  <a:gd name="T4" fmla="*/ 3704 w 20000"/>
                  <a:gd name="T5" fmla="*/ 0 h 20000"/>
                  <a:gd name="T6" fmla="*/ 19259 w 20000"/>
                  <a:gd name="T7" fmla="*/ 18182 h 20000"/>
                  <a:gd name="T8" fmla="*/ 11852 w 20000"/>
                  <a:gd name="T9" fmla="*/ 18182 h 20000"/>
                </a:gdLst>
                <a:ahLst/>
                <a:cxnLst>
                  <a:cxn ang="0">
                    <a:pos x="T0" y="T1"/>
                  </a:cxn>
                  <a:cxn ang="0">
                    <a:pos x="T2" y="T3"/>
                  </a:cxn>
                  <a:cxn ang="0">
                    <a:pos x="T4" y="T5"/>
                  </a:cxn>
                  <a:cxn ang="0">
                    <a:pos x="T6" y="T7"/>
                  </a:cxn>
                  <a:cxn ang="0">
                    <a:pos x="T8" y="T9"/>
                  </a:cxn>
                </a:cxnLst>
                <a:rect l="0" t="0" r="r" b="b"/>
                <a:pathLst>
                  <a:path w="20000" h="20000">
                    <a:moveTo>
                      <a:pt x="11852" y="18182"/>
                    </a:moveTo>
                    <a:lnTo>
                      <a:pt x="0" y="0"/>
                    </a:lnTo>
                    <a:lnTo>
                      <a:pt x="3704" y="0"/>
                    </a:lnTo>
                    <a:lnTo>
                      <a:pt x="19259" y="18182"/>
                    </a:lnTo>
                    <a:lnTo>
                      <a:pt x="11852" y="181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31" name="Freeform 5"/>
              <p:cNvSpPr>
                <a:spLocks/>
              </p:cNvSpPr>
              <p:nvPr/>
            </p:nvSpPr>
            <p:spPr bwMode="auto">
              <a:xfrm>
                <a:off x="4519613" y="3619500"/>
                <a:ext cx="17462" cy="17463"/>
              </a:xfrm>
              <a:custGeom>
                <a:avLst/>
                <a:gdLst>
                  <a:gd name="T0" fmla="*/ 7857 w 20000"/>
                  <a:gd name="T1" fmla="*/ 19259 h 20000"/>
                  <a:gd name="T2" fmla="*/ 0 w 20000"/>
                  <a:gd name="T3" fmla="*/ 4444 h 20000"/>
                  <a:gd name="T4" fmla="*/ 19286 w 20000"/>
                  <a:gd name="T5" fmla="*/ 0 h 20000"/>
                  <a:gd name="T6" fmla="*/ 15000 w 20000"/>
                  <a:gd name="T7" fmla="*/ 11852 h 20000"/>
                  <a:gd name="T8" fmla="*/ 7857 w 20000"/>
                  <a:gd name="T9" fmla="*/ 19259 h 20000"/>
                </a:gdLst>
                <a:ahLst/>
                <a:cxnLst>
                  <a:cxn ang="0">
                    <a:pos x="T0" y="T1"/>
                  </a:cxn>
                  <a:cxn ang="0">
                    <a:pos x="T2" y="T3"/>
                  </a:cxn>
                  <a:cxn ang="0">
                    <a:pos x="T4" y="T5"/>
                  </a:cxn>
                  <a:cxn ang="0">
                    <a:pos x="T6" y="T7"/>
                  </a:cxn>
                  <a:cxn ang="0">
                    <a:pos x="T8" y="T9"/>
                  </a:cxn>
                </a:cxnLst>
                <a:rect l="0" t="0" r="r" b="b"/>
                <a:pathLst>
                  <a:path w="20000" h="20000">
                    <a:moveTo>
                      <a:pt x="7857" y="19259"/>
                    </a:moveTo>
                    <a:lnTo>
                      <a:pt x="0" y="4444"/>
                    </a:lnTo>
                    <a:lnTo>
                      <a:pt x="19286" y="0"/>
                    </a:lnTo>
                    <a:lnTo>
                      <a:pt x="15000" y="11852"/>
                    </a:lnTo>
                    <a:lnTo>
                      <a:pt x="7857"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32" name="Freeform 4"/>
              <p:cNvSpPr>
                <a:spLocks/>
              </p:cNvSpPr>
              <p:nvPr/>
            </p:nvSpPr>
            <p:spPr bwMode="auto">
              <a:xfrm>
                <a:off x="4552950" y="3622675"/>
                <a:ext cx="11113" cy="17463"/>
              </a:xfrm>
              <a:custGeom>
                <a:avLst/>
                <a:gdLst>
                  <a:gd name="T0" fmla="*/ 11765 w 20000"/>
                  <a:gd name="T1" fmla="*/ 19259 h 20000"/>
                  <a:gd name="T2" fmla="*/ 0 w 20000"/>
                  <a:gd name="T3" fmla="*/ 14815 h 20000"/>
                  <a:gd name="T4" fmla="*/ 18824 w 20000"/>
                  <a:gd name="T5" fmla="*/ 0 h 20000"/>
                  <a:gd name="T6" fmla="*/ 11765 w 20000"/>
                  <a:gd name="T7" fmla="*/ 19259 h 20000"/>
                </a:gdLst>
                <a:ahLst/>
                <a:cxnLst>
                  <a:cxn ang="0">
                    <a:pos x="T0" y="T1"/>
                  </a:cxn>
                  <a:cxn ang="0">
                    <a:pos x="T2" y="T3"/>
                  </a:cxn>
                  <a:cxn ang="0">
                    <a:pos x="T4" y="T5"/>
                  </a:cxn>
                  <a:cxn ang="0">
                    <a:pos x="T6" y="T7"/>
                  </a:cxn>
                </a:cxnLst>
                <a:rect l="0" t="0" r="r" b="b"/>
                <a:pathLst>
                  <a:path w="20000" h="20000">
                    <a:moveTo>
                      <a:pt x="11765" y="19259"/>
                    </a:moveTo>
                    <a:lnTo>
                      <a:pt x="0" y="14815"/>
                    </a:lnTo>
                    <a:lnTo>
                      <a:pt x="18824" y="0"/>
                    </a:lnTo>
                    <a:lnTo>
                      <a:pt x="11765"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33" name="Freeform 3"/>
              <p:cNvSpPr>
                <a:spLocks/>
              </p:cNvSpPr>
              <p:nvPr/>
            </p:nvSpPr>
            <p:spPr bwMode="auto">
              <a:xfrm>
                <a:off x="3257550" y="3963988"/>
                <a:ext cx="17463" cy="11112"/>
              </a:xfrm>
              <a:custGeom>
                <a:avLst/>
                <a:gdLst>
                  <a:gd name="T0" fmla="*/ 3704 w 20000"/>
                  <a:gd name="T1" fmla="*/ 18824 h 20000"/>
                  <a:gd name="T2" fmla="*/ 0 w 20000"/>
                  <a:gd name="T3" fmla="*/ 18824 h 20000"/>
                  <a:gd name="T4" fmla="*/ 0 w 20000"/>
                  <a:gd name="T5" fmla="*/ 12941 h 20000"/>
                  <a:gd name="T6" fmla="*/ 11111 w 20000"/>
                  <a:gd name="T7" fmla="*/ 0 h 20000"/>
                  <a:gd name="T8" fmla="*/ 19259 w 20000"/>
                  <a:gd name="T9" fmla="*/ 12941 h 20000"/>
                  <a:gd name="T10" fmla="*/ 3704 w 20000"/>
                  <a:gd name="T11" fmla="*/ 12941 h 20000"/>
                  <a:gd name="T12" fmla="*/ 3704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3704" y="18824"/>
                    </a:moveTo>
                    <a:lnTo>
                      <a:pt x="0" y="18824"/>
                    </a:lnTo>
                    <a:lnTo>
                      <a:pt x="0" y="12941"/>
                    </a:lnTo>
                    <a:lnTo>
                      <a:pt x="11111" y="0"/>
                    </a:lnTo>
                    <a:lnTo>
                      <a:pt x="19259" y="12941"/>
                    </a:lnTo>
                    <a:lnTo>
                      <a:pt x="3704" y="12941"/>
                    </a:lnTo>
                    <a:lnTo>
                      <a:pt x="3704"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34" name="Freeform 2"/>
              <p:cNvSpPr>
                <a:spLocks/>
              </p:cNvSpPr>
              <p:nvPr/>
            </p:nvSpPr>
            <p:spPr bwMode="auto">
              <a:xfrm>
                <a:off x="8070850" y="4352925"/>
                <a:ext cx="285750" cy="234950"/>
              </a:xfrm>
              <a:custGeom>
                <a:avLst/>
                <a:gdLst>
                  <a:gd name="T0" fmla="*/ 2262 w 20000"/>
                  <a:gd name="T1" fmla="*/ 6775 h 20000"/>
                  <a:gd name="T2" fmla="*/ 5499 w 20000"/>
                  <a:gd name="T3" fmla="*/ 7588 h 20000"/>
                  <a:gd name="T4" fmla="*/ 9889 w 20000"/>
                  <a:gd name="T5" fmla="*/ 7317 h 20000"/>
                  <a:gd name="T6" fmla="*/ 12151 w 20000"/>
                  <a:gd name="T7" fmla="*/ 3089 h 20000"/>
                  <a:gd name="T8" fmla="*/ 13969 w 20000"/>
                  <a:gd name="T9" fmla="*/ 0 h 20000"/>
                  <a:gd name="T10" fmla="*/ 17428 w 20000"/>
                  <a:gd name="T11" fmla="*/ 867 h 20000"/>
                  <a:gd name="T12" fmla="*/ 16984 w 20000"/>
                  <a:gd name="T13" fmla="*/ 1680 h 20000"/>
                  <a:gd name="T14" fmla="*/ 16763 w 20000"/>
                  <a:gd name="T15" fmla="*/ 2222 h 20000"/>
                  <a:gd name="T16" fmla="*/ 17694 w 20000"/>
                  <a:gd name="T17" fmla="*/ 3686 h 20000"/>
                  <a:gd name="T18" fmla="*/ 17428 w 20000"/>
                  <a:gd name="T19" fmla="*/ 5095 h 20000"/>
                  <a:gd name="T20" fmla="*/ 19246 w 20000"/>
                  <a:gd name="T21" fmla="*/ 6775 h 20000"/>
                  <a:gd name="T22" fmla="*/ 19512 w 20000"/>
                  <a:gd name="T23" fmla="*/ 7588 h 20000"/>
                  <a:gd name="T24" fmla="*/ 16984 w 20000"/>
                  <a:gd name="T25" fmla="*/ 8726 h 20000"/>
                  <a:gd name="T26" fmla="*/ 16984 w 20000"/>
                  <a:gd name="T27" fmla="*/ 11762 h 20000"/>
                  <a:gd name="T28" fmla="*/ 14457 w 20000"/>
                  <a:gd name="T29" fmla="*/ 14038 h 20000"/>
                  <a:gd name="T30" fmla="*/ 14457 w 20000"/>
                  <a:gd name="T31" fmla="*/ 16856 h 20000"/>
                  <a:gd name="T32" fmla="*/ 10998 w 20000"/>
                  <a:gd name="T33" fmla="*/ 19946 h 20000"/>
                  <a:gd name="T34" fmla="*/ 9889 w 20000"/>
                  <a:gd name="T35" fmla="*/ 17940 h 20000"/>
                  <a:gd name="T36" fmla="*/ 9180 w 20000"/>
                  <a:gd name="T37" fmla="*/ 17073 h 20000"/>
                  <a:gd name="T38" fmla="*/ 7982 w 20000"/>
                  <a:gd name="T39" fmla="*/ 17073 h 20000"/>
                  <a:gd name="T40" fmla="*/ 7095 w 20000"/>
                  <a:gd name="T41" fmla="*/ 17940 h 20000"/>
                  <a:gd name="T42" fmla="*/ 5987 w 20000"/>
                  <a:gd name="T43" fmla="*/ 18537 h 20000"/>
                  <a:gd name="T44" fmla="*/ 4789 w 20000"/>
                  <a:gd name="T45" fmla="*/ 16856 h 20000"/>
                  <a:gd name="T46" fmla="*/ 3193 w 20000"/>
                  <a:gd name="T47" fmla="*/ 16856 h 20000"/>
                  <a:gd name="T48" fmla="*/ 2528 w 20000"/>
                  <a:gd name="T49" fmla="*/ 15447 h 20000"/>
                  <a:gd name="T50" fmla="*/ 2262 w 20000"/>
                  <a:gd name="T51" fmla="*/ 12629 h 20000"/>
                  <a:gd name="T52" fmla="*/ 710 w 20000"/>
                  <a:gd name="T53" fmla="*/ 11762 h 20000"/>
                  <a:gd name="T54" fmla="*/ 266 w 20000"/>
                  <a:gd name="T55" fmla="*/ 10949 h 20000"/>
                  <a:gd name="T56" fmla="*/ 0 w 20000"/>
                  <a:gd name="T57" fmla="*/ 8997 h 20000"/>
                  <a:gd name="T58" fmla="*/ 266 w 20000"/>
                  <a:gd name="T59" fmla="*/ 6179 h 20000"/>
                  <a:gd name="T60" fmla="*/ 1153 w 20000"/>
                  <a:gd name="T61" fmla="*/ 5095 h 20000"/>
                  <a:gd name="T62" fmla="*/ 1818 w 20000"/>
                  <a:gd name="T63" fmla="*/ 531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818" y="5312"/>
                    </a:moveTo>
                    <a:lnTo>
                      <a:pt x="2262" y="6775"/>
                    </a:lnTo>
                    <a:lnTo>
                      <a:pt x="4346" y="7588"/>
                    </a:lnTo>
                    <a:lnTo>
                      <a:pt x="5499" y="7588"/>
                    </a:lnTo>
                    <a:lnTo>
                      <a:pt x="7982" y="8130"/>
                    </a:lnTo>
                    <a:lnTo>
                      <a:pt x="9889" y="7317"/>
                    </a:lnTo>
                    <a:lnTo>
                      <a:pt x="11885" y="5908"/>
                    </a:lnTo>
                    <a:lnTo>
                      <a:pt x="12151" y="3089"/>
                    </a:lnTo>
                    <a:lnTo>
                      <a:pt x="13304" y="2818"/>
                    </a:lnTo>
                    <a:lnTo>
                      <a:pt x="13969" y="0"/>
                    </a:lnTo>
                    <a:lnTo>
                      <a:pt x="17428" y="325"/>
                    </a:lnTo>
                    <a:lnTo>
                      <a:pt x="17428" y="867"/>
                    </a:lnTo>
                    <a:lnTo>
                      <a:pt x="16984" y="1409"/>
                    </a:lnTo>
                    <a:lnTo>
                      <a:pt x="16984" y="1680"/>
                    </a:lnTo>
                    <a:lnTo>
                      <a:pt x="16763" y="1680"/>
                    </a:lnTo>
                    <a:lnTo>
                      <a:pt x="16763" y="2222"/>
                    </a:lnTo>
                    <a:lnTo>
                      <a:pt x="17428" y="2818"/>
                    </a:lnTo>
                    <a:lnTo>
                      <a:pt x="17694" y="3686"/>
                    </a:lnTo>
                    <a:lnTo>
                      <a:pt x="17694" y="3902"/>
                    </a:lnTo>
                    <a:lnTo>
                      <a:pt x="17428" y="5095"/>
                    </a:lnTo>
                    <a:lnTo>
                      <a:pt x="18137" y="5312"/>
                    </a:lnTo>
                    <a:lnTo>
                      <a:pt x="19246" y="6775"/>
                    </a:lnTo>
                    <a:lnTo>
                      <a:pt x="19956" y="7317"/>
                    </a:lnTo>
                    <a:lnTo>
                      <a:pt x="19512" y="7588"/>
                    </a:lnTo>
                    <a:lnTo>
                      <a:pt x="17694" y="8130"/>
                    </a:lnTo>
                    <a:lnTo>
                      <a:pt x="16984" y="8726"/>
                    </a:lnTo>
                    <a:lnTo>
                      <a:pt x="16763" y="10407"/>
                    </a:lnTo>
                    <a:lnTo>
                      <a:pt x="16984" y="11762"/>
                    </a:lnTo>
                    <a:lnTo>
                      <a:pt x="15610" y="13171"/>
                    </a:lnTo>
                    <a:lnTo>
                      <a:pt x="14457" y="14038"/>
                    </a:lnTo>
                    <a:lnTo>
                      <a:pt x="14678" y="14634"/>
                    </a:lnTo>
                    <a:lnTo>
                      <a:pt x="14457" y="16856"/>
                    </a:lnTo>
                    <a:lnTo>
                      <a:pt x="13792" y="18537"/>
                    </a:lnTo>
                    <a:lnTo>
                      <a:pt x="10998" y="19946"/>
                    </a:lnTo>
                    <a:lnTo>
                      <a:pt x="10776" y="17940"/>
                    </a:lnTo>
                    <a:lnTo>
                      <a:pt x="9889" y="17940"/>
                    </a:lnTo>
                    <a:lnTo>
                      <a:pt x="9180" y="18537"/>
                    </a:lnTo>
                    <a:lnTo>
                      <a:pt x="9180" y="17073"/>
                    </a:lnTo>
                    <a:lnTo>
                      <a:pt x="8958" y="17724"/>
                    </a:lnTo>
                    <a:lnTo>
                      <a:pt x="7982" y="17073"/>
                    </a:lnTo>
                    <a:lnTo>
                      <a:pt x="7805" y="17724"/>
                    </a:lnTo>
                    <a:lnTo>
                      <a:pt x="7095" y="17940"/>
                    </a:lnTo>
                    <a:lnTo>
                      <a:pt x="6652" y="17724"/>
                    </a:lnTo>
                    <a:lnTo>
                      <a:pt x="5987" y="18537"/>
                    </a:lnTo>
                    <a:lnTo>
                      <a:pt x="5499" y="17073"/>
                    </a:lnTo>
                    <a:lnTo>
                      <a:pt x="4789" y="16856"/>
                    </a:lnTo>
                    <a:lnTo>
                      <a:pt x="3636" y="17073"/>
                    </a:lnTo>
                    <a:lnTo>
                      <a:pt x="3193" y="16856"/>
                    </a:lnTo>
                    <a:lnTo>
                      <a:pt x="2528" y="17073"/>
                    </a:lnTo>
                    <a:lnTo>
                      <a:pt x="2528" y="15447"/>
                    </a:lnTo>
                    <a:lnTo>
                      <a:pt x="2528" y="14634"/>
                    </a:lnTo>
                    <a:lnTo>
                      <a:pt x="2262" y="12629"/>
                    </a:lnTo>
                    <a:lnTo>
                      <a:pt x="1375" y="11762"/>
                    </a:lnTo>
                    <a:lnTo>
                      <a:pt x="710" y="11762"/>
                    </a:lnTo>
                    <a:lnTo>
                      <a:pt x="1153" y="11220"/>
                    </a:lnTo>
                    <a:lnTo>
                      <a:pt x="266" y="10949"/>
                    </a:lnTo>
                    <a:lnTo>
                      <a:pt x="710" y="9864"/>
                    </a:lnTo>
                    <a:lnTo>
                      <a:pt x="0" y="8997"/>
                    </a:lnTo>
                    <a:lnTo>
                      <a:pt x="0" y="7588"/>
                    </a:lnTo>
                    <a:lnTo>
                      <a:pt x="266" y="6179"/>
                    </a:lnTo>
                    <a:lnTo>
                      <a:pt x="710" y="5312"/>
                    </a:lnTo>
                    <a:lnTo>
                      <a:pt x="1153" y="5095"/>
                    </a:lnTo>
                    <a:lnTo>
                      <a:pt x="1375" y="5095"/>
                    </a:lnTo>
                    <a:lnTo>
                      <a:pt x="1818" y="531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335" name="Freeform 1"/>
              <p:cNvSpPr>
                <a:spLocks/>
              </p:cNvSpPr>
              <p:nvPr/>
            </p:nvSpPr>
            <p:spPr bwMode="auto">
              <a:xfrm>
                <a:off x="5251450" y="4378325"/>
                <a:ext cx="60325" cy="44450"/>
              </a:xfrm>
              <a:custGeom>
                <a:avLst/>
                <a:gdLst>
                  <a:gd name="T0" fmla="*/ 4421 w 20000"/>
                  <a:gd name="T1" fmla="*/ 0 h 20000"/>
                  <a:gd name="T2" fmla="*/ 7789 w 20000"/>
                  <a:gd name="T3" fmla="*/ 3188 h 20000"/>
                  <a:gd name="T4" fmla="*/ 19789 w 20000"/>
                  <a:gd name="T5" fmla="*/ 4638 h 20000"/>
                  <a:gd name="T6" fmla="*/ 19789 w 20000"/>
                  <a:gd name="T7" fmla="*/ 19710 h 20000"/>
                  <a:gd name="T8" fmla="*/ 14316 w 20000"/>
                  <a:gd name="T9" fmla="*/ 19710 h 20000"/>
                  <a:gd name="T10" fmla="*/ 8842 w 20000"/>
                  <a:gd name="T11" fmla="*/ 19710 h 20000"/>
                  <a:gd name="T12" fmla="*/ 2316 w 20000"/>
                  <a:gd name="T13" fmla="*/ 19710 h 20000"/>
                  <a:gd name="T14" fmla="*/ 0 w 20000"/>
                  <a:gd name="T15" fmla="*/ 16522 h 20000"/>
                  <a:gd name="T16" fmla="*/ 4421 w 20000"/>
                  <a:gd name="T17" fmla="*/ 7826 h 20000"/>
                  <a:gd name="T18" fmla="*/ 4421 w 20000"/>
                  <a:gd name="T1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4421" y="0"/>
                    </a:moveTo>
                    <a:lnTo>
                      <a:pt x="7789" y="3188"/>
                    </a:lnTo>
                    <a:lnTo>
                      <a:pt x="19789" y="4638"/>
                    </a:lnTo>
                    <a:lnTo>
                      <a:pt x="19789" y="19710"/>
                    </a:lnTo>
                    <a:lnTo>
                      <a:pt x="14316" y="19710"/>
                    </a:lnTo>
                    <a:lnTo>
                      <a:pt x="8842" y="19710"/>
                    </a:lnTo>
                    <a:lnTo>
                      <a:pt x="2316" y="19710"/>
                    </a:lnTo>
                    <a:lnTo>
                      <a:pt x="0" y="16522"/>
                    </a:lnTo>
                    <a:lnTo>
                      <a:pt x="4421" y="7826"/>
                    </a:lnTo>
                    <a:lnTo>
                      <a:pt x="442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grpSp>
        <p:sp>
          <p:nvSpPr>
            <p:cNvPr id="29" name="Étoile à 5 branches 3372"/>
            <p:cNvSpPr/>
            <p:nvPr/>
          </p:nvSpPr>
          <p:spPr>
            <a:xfrm>
              <a:off x="8076816" y="2839307"/>
              <a:ext cx="241611" cy="202684"/>
            </a:xfrm>
            <a:prstGeom prst="star5">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sz="975">
                <a:solidFill>
                  <a:srgbClr val="FFFFFF"/>
                </a:solidFill>
              </a:endParaRPr>
            </a:p>
          </p:txBody>
        </p:sp>
        <p:sp>
          <p:nvSpPr>
            <p:cNvPr id="941" name="Étoile à 5 branches 3372"/>
            <p:cNvSpPr/>
            <p:nvPr/>
          </p:nvSpPr>
          <p:spPr>
            <a:xfrm>
              <a:off x="8144156" y="2988131"/>
              <a:ext cx="241611" cy="202684"/>
            </a:xfrm>
            <a:prstGeom prst="star5">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sz="975">
                <a:solidFill>
                  <a:srgbClr val="FFFFFF"/>
                </a:solidFill>
              </a:endParaRPr>
            </a:p>
          </p:txBody>
        </p:sp>
      </p:grpSp>
      <p:grpSp>
        <p:nvGrpSpPr>
          <p:cNvPr id="639" name="Groupe 2162"/>
          <p:cNvGrpSpPr>
            <a:grpSpLocks noChangeAspect="1"/>
          </p:cNvGrpSpPr>
          <p:nvPr/>
        </p:nvGrpSpPr>
        <p:grpSpPr bwMode="auto">
          <a:xfrm>
            <a:off x="5663738" y="5106070"/>
            <a:ext cx="771384" cy="396745"/>
            <a:chOff x="7640754" y="2784671"/>
            <a:chExt cx="1162081" cy="668062"/>
          </a:xfrm>
          <a:solidFill>
            <a:srgbClr val="FFF5D6"/>
          </a:solidFill>
        </p:grpSpPr>
        <p:grpSp>
          <p:nvGrpSpPr>
            <p:cNvPr id="640" name="Groupe 3371"/>
            <p:cNvGrpSpPr/>
            <p:nvPr/>
          </p:nvGrpSpPr>
          <p:grpSpPr>
            <a:xfrm>
              <a:off x="7640754" y="2784671"/>
              <a:ext cx="1162081" cy="668062"/>
              <a:chOff x="892175" y="1119188"/>
              <a:chExt cx="8924925" cy="5130800"/>
            </a:xfrm>
            <a:grpFill/>
          </p:grpSpPr>
          <p:sp>
            <p:nvSpPr>
              <p:cNvPr id="643" name="Freeform 296"/>
              <p:cNvSpPr>
                <a:spLocks/>
              </p:cNvSpPr>
              <p:nvPr/>
            </p:nvSpPr>
            <p:spPr bwMode="auto">
              <a:xfrm>
                <a:off x="5499100" y="3162300"/>
                <a:ext cx="53975" cy="104775"/>
              </a:xfrm>
              <a:custGeom>
                <a:avLst/>
                <a:gdLst>
                  <a:gd name="T0" fmla="*/ 0 w 20000"/>
                  <a:gd name="T1" fmla="*/ 4940 h 20000"/>
                  <a:gd name="T2" fmla="*/ 3810 w 20000"/>
                  <a:gd name="T3" fmla="*/ 1928 h 20000"/>
                  <a:gd name="T4" fmla="*/ 7381 w 20000"/>
                  <a:gd name="T5" fmla="*/ 0 h 20000"/>
                  <a:gd name="T6" fmla="*/ 15952 w 20000"/>
                  <a:gd name="T7" fmla="*/ 3133 h 20000"/>
                  <a:gd name="T8" fmla="*/ 15952 w 20000"/>
                  <a:gd name="T9" fmla="*/ 4940 h 20000"/>
                  <a:gd name="T10" fmla="*/ 15952 w 20000"/>
                  <a:gd name="T11" fmla="*/ 6145 h 20000"/>
                  <a:gd name="T12" fmla="*/ 15952 w 20000"/>
                  <a:gd name="T13" fmla="*/ 8072 h 20000"/>
                  <a:gd name="T14" fmla="*/ 17381 w 20000"/>
                  <a:gd name="T15" fmla="*/ 9880 h 20000"/>
                  <a:gd name="T16" fmla="*/ 19762 w 20000"/>
                  <a:gd name="T17" fmla="*/ 13012 h 20000"/>
                  <a:gd name="T18" fmla="*/ 15952 w 20000"/>
                  <a:gd name="T19" fmla="*/ 17952 h 20000"/>
                  <a:gd name="T20" fmla="*/ 11190 w 20000"/>
                  <a:gd name="T21" fmla="*/ 19880 h 20000"/>
                  <a:gd name="T22" fmla="*/ 11190 w 20000"/>
                  <a:gd name="T23" fmla="*/ 19277 h 20000"/>
                  <a:gd name="T24" fmla="*/ 7381 w 20000"/>
                  <a:gd name="T25" fmla="*/ 16747 h 20000"/>
                  <a:gd name="T26" fmla="*/ 1429 w 20000"/>
                  <a:gd name="T27" fmla="*/ 14940 h 20000"/>
                  <a:gd name="T28" fmla="*/ 3810 w 20000"/>
                  <a:gd name="T29" fmla="*/ 14940 h 20000"/>
                  <a:gd name="T30" fmla="*/ 3810 w 20000"/>
                  <a:gd name="T31" fmla="*/ 11807 h 20000"/>
                  <a:gd name="T32" fmla="*/ 4762 w 20000"/>
                  <a:gd name="T33" fmla="*/ 11084 h 20000"/>
                  <a:gd name="T34" fmla="*/ 3810 w 20000"/>
                  <a:gd name="T35" fmla="*/ 9880 h 20000"/>
                  <a:gd name="T36" fmla="*/ 3810 w 20000"/>
                  <a:gd name="T37" fmla="*/ 6867 h 20000"/>
                  <a:gd name="T38" fmla="*/ 0 w 20000"/>
                  <a:gd name="T39" fmla="*/ 494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0" y="4940"/>
                    </a:moveTo>
                    <a:lnTo>
                      <a:pt x="3810" y="1928"/>
                    </a:lnTo>
                    <a:lnTo>
                      <a:pt x="7381" y="0"/>
                    </a:lnTo>
                    <a:lnTo>
                      <a:pt x="15952" y="3133"/>
                    </a:lnTo>
                    <a:lnTo>
                      <a:pt x="15952" y="4940"/>
                    </a:lnTo>
                    <a:lnTo>
                      <a:pt x="15952" y="6145"/>
                    </a:lnTo>
                    <a:lnTo>
                      <a:pt x="15952" y="8072"/>
                    </a:lnTo>
                    <a:lnTo>
                      <a:pt x="17381" y="9880"/>
                    </a:lnTo>
                    <a:lnTo>
                      <a:pt x="19762" y="13012"/>
                    </a:lnTo>
                    <a:lnTo>
                      <a:pt x="15952" y="17952"/>
                    </a:lnTo>
                    <a:lnTo>
                      <a:pt x="11190" y="19880"/>
                    </a:lnTo>
                    <a:lnTo>
                      <a:pt x="11190" y="19277"/>
                    </a:lnTo>
                    <a:lnTo>
                      <a:pt x="7381" y="16747"/>
                    </a:lnTo>
                    <a:lnTo>
                      <a:pt x="1429" y="14940"/>
                    </a:lnTo>
                    <a:lnTo>
                      <a:pt x="3810" y="14940"/>
                    </a:lnTo>
                    <a:lnTo>
                      <a:pt x="3810" y="11807"/>
                    </a:lnTo>
                    <a:lnTo>
                      <a:pt x="4762" y="11084"/>
                    </a:lnTo>
                    <a:lnTo>
                      <a:pt x="3810" y="9880"/>
                    </a:lnTo>
                    <a:lnTo>
                      <a:pt x="3810" y="6867"/>
                    </a:lnTo>
                    <a:lnTo>
                      <a:pt x="0" y="494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44" name="Freeform 295"/>
              <p:cNvSpPr>
                <a:spLocks/>
              </p:cNvSpPr>
              <p:nvPr/>
            </p:nvSpPr>
            <p:spPr bwMode="auto">
              <a:xfrm>
                <a:off x="5062538" y="2851150"/>
                <a:ext cx="96837" cy="69850"/>
              </a:xfrm>
              <a:custGeom>
                <a:avLst/>
                <a:gdLst>
                  <a:gd name="T0" fmla="*/ 0 w 20000"/>
                  <a:gd name="T1" fmla="*/ 3670 h 20000"/>
                  <a:gd name="T2" fmla="*/ 3421 w 20000"/>
                  <a:gd name="T3" fmla="*/ 734 h 20000"/>
                  <a:gd name="T4" fmla="*/ 4868 w 20000"/>
                  <a:gd name="T5" fmla="*/ 734 h 20000"/>
                  <a:gd name="T6" fmla="*/ 5395 w 20000"/>
                  <a:gd name="T7" fmla="*/ 2936 h 20000"/>
                  <a:gd name="T8" fmla="*/ 6711 w 20000"/>
                  <a:gd name="T9" fmla="*/ 734 h 20000"/>
                  <a:gd name="T10" fmla="*/ 8816 w 20000"/>
                  <a:gd name="T11" fmla="*/ 0 h 20000"/>
                  <a:gd name="T12" fmla="*/ 10921 w 20000"/>
                  <a:gd name="T13" fmla="*/ 0 h 20000"/>
                  <a:gd name="T14" fmla="*/ 13684 w 20000"/>
                  <a:gd name="T15" fmla="*/ 734 h 20000"/>
                  <a:gd name="T16" fmla="*/ 16447 w 20000"/>
                  <a:gd name="T17" fmla="*/ 2936 h 20000"/>
                  <a:gd name="T18" fmla="*/ 15789 w 20000"/>
                  <a:gd name="T19" fmla="*/ 5688 h 20000"/>
                  <a:gd name="T20" fmla="*/ 19079 w 20000"/>
                  <a:gd name="T21" fmla="*/ 7523 h 20000"/>
                  <a:gd name="T22" fmla="*/ 19868 w 20000"/>
                  <a:gd name="T23" fmla="*/ 12294 h 20000"/>
                  <a:gd name="T24" fmla="*/ 17763 w 20000"/>
                  <a:gd name="T25" fmla="*/ 13211 h 20000"/>
                  <a:gd name="T26" fmla="*/ 16447 w 20000"/>
                  <a:gd name="T27" fmla="*/ 15046 h 20000"/>
                  <a:gd name="T28" fmla="*/ 16447 w 20000"/>
                  <a:gd name="T29" fmla="*/ 19817 h 20000"/>
                  <a:gd name="T30" fmla="*/ 15789 w 20000"/>
                  <a:gd name="T31" fmla="*/ 19817 h 20000"/>
                  <a:gd name="T32" fmla="*/ 12368 w 20000"/>
                  <a:gd name="T33" fmla="*/ 17982 h 20000"/>
                  <a:gd name="T34" fmla="*/ 10921 w 20000"/>
                  <a:gd name="T35" fmla="*/ 13211 h 20000"/>
                  <a:gd name="T36" fmla="*/ 10263 w 20000"/>
                  <a:gd name="T37" fmla="*/ 16147 h 20000"/>
                  <a:gd name="T38" fmla="*/ 5395 w 20000"/>
                  <a:gd name="T39" fmla="*/ 10459 h 20000"/>
                  <a:gd name="T40" fmla="*/ 4868 w 20000"/>
                  <a:gd name="T41" fmla="*/ 8624 h 20000"/>
                  <a:gd name="T42" fmla="*/ 3421 w 20000"/>
                  <a:gd name="T43" fmla="*/ 5688 h 20000"/>
                  <a:gd name="T44" fmla="*/ 2105 w 20000"/>
                  <a:gd name="T45" fmla="*/ 7523 h 20000"/>
                  <a:gd name="T46" fmla="*/ 0 w 20000"/>
                  <a:gd name="T47" fmla="*/ 5688 h 20000"/>
                  <a:gd name="T48" fmla="*/ 0 w 20000"/>
                  <a:gd name="T49" fmla="*/ 367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0" y="3670"/>
                    </a:moveTo>
                    <a:lnTo>
                      <a:pt x="3421" y="734"/>
                    </a:lnTo>
                    <a:lnTo>
                      <a:pt x="4868" y="734"/>
                    </a:lnTo>
                    <a:lnTo>
                      <a:pt x="5395" y="2936"/>
                    </a:lnTo>
                    <a:lnTo>
                      <a:pt x="6711" y="734"/>
                    </a:lnTo>
                    <a:lnTo>
                      <a:pt x="8816" y="0"/>
                    </a:lnTo>
                    <a:lnTo>
                      <a:pt x="10921" y="0"/>
                    </a:lnTo>
                    <a:lnTo>
                      <a:pt x="13684" y="734"/>
                    </a:lnTo>
                    <a:lnTo>
                      <a:pt x="16447" y="2936"/>
                    </a:lnTo>
                    <a:lnTo>
                      <a:pt x="15789" y="5688"/>
                    </a:lnTo>
                    <a:lnTo>
                      <a:pt x="19079" y="7523"/>
                    </a:lnTo>
                    <a:lnTo>
                      <a:pt x="19868" y="12294"/>
                    </a:lnTo>
                    <a:lnTo>
                      <a:pt x="17763" y="13211"/>
                    </a:lnTo>
                    <a:lnTo>
                      <a:pt x="16447" y="15046"/>
                    </a:lnTo>
                    <a:lnTo>
                      <a:pt x="16447" y="19817"/>
                    </a:lnTo>
                    <a:lnTo>
                      <a:pt x="15789" y="19817"/>
                    </a:lnTo>
                    <a:lnTo>
                      <a:pt x="12368" y="17982"/>
                    </a:lnTo>
                    <a:lnTo>
                      <a:pt x="10921" y="13211"/>
                    </a:lnTo>
                    <a:lnTo>
                      <a:pt x="10263" y="16147"/>
                    </a:lnTo>
                    <a:lnTo>
                      <a:pt x="5395" y="10459"/>
                    </a:lnTo>
                    <a:lnTo>
                      <a:pt x="4868" y="8624"/>
                    </a:lnTo>
                    <a:lnTo>
                      <a:pt x="3421" y="5688"/>
                    </a:lnTo>
                    <a:lnTo>
                      <a:pt x="2105" y="7523"/>
                    </a:lnTo>
                    <a:lnTo>
                      <a:pt x="0" y="5688"/>
                    </a:lnTo>
                    <a:lnTo>
                      <a:pt x="0" y="367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45" name="Freeform 294"/>
              <p:cNvSpPr>
                <a:spLocks/>
              </p:cNvSpPr>
              <p:nvPr/>
            </p:nvSpPr>
            <p:spPr bwMode="auto">
              <a:xfrm>
                <a:off x="5588000" y="3111500"/>
                <a:ext cx="155575" cy="98425"/>
              </a:xfrm>
              <a:custGeom>
                <a:avLst/>
                <a:gdLst>
                  <a:gd name="T0" fmla="*/ 0 w 20000"/>
                  <a:gd name="T1" fmla="*/ 0 h 20000"/>
                  <a:gd name="T2" fmla="*/ 1306 w 20000"/>
                  <a:gd name="T3" fmla="*/ 513 h 20000"/>
                  <a:gd name="T4" fmla="*/ 898 w 20000"/>
                  <a:gd name="T5" fmla="*/ 1795 h 20000"/>
                  <a:gd name="T6" fmla="*/ 898 w 20000"/>
                  <a:gd name="T7" fmla="*/ 3333 h 20000"/>
                  <a:gd name="T8" fmla="*/ 3020 w 20000"/>
                  <a:gd name="T9" fmla="*/ 1795 h 20000"/>
                  <a:gd name="T10" fmla="*/ 4653 w 20000"/>
                  <a:gd name="T11" fmla="*/ 3333 h 20000"/>
                  <a:gd name="T12" fmla="*/ 5551 w 20000"/>
                  <a:gd name="T13" fmla="*/ 3333 h 20000"/>
                  <a:gd name="T14" fmla="*/ 7673 w 20000"/>
                  <a:gd name="T15" fmla="*/ 3333 h 20000"/>
                  <a:gd name="T16" fmla="*/ 9714 w 20000"/>
                  <a:gd name="T17" fmla="*/ 3846 h 20000"/>
                  <a:gd name="T18" fmla="*/ 10204 w 20000"/>
                  <a:gd name="T19" fmla="*/ 3333 h 20000"/>
                  <a:gd name="T20" fmla="*/ 11837 w 20000"/>
                  <a:gd name="T21" fmla="*/ 1795 h 20000"/>
                  <a:gd name="T22" fmla="*/ 15265 w 20000"/>
                  <a:gd name="T23" fmla="*/ 0 h 20000"/>
                  <a:gd name="T24" fmla="*/ 15673 w 20000"/>
                  <a:gd name="T25" fmla="*/ 513 h 20000"/>
                  <a:gd name="T26" fmla="*/ 18612 w 20000"/>
                  <a:gd name="T27" fmla="*/ 513 h 20000"/>
                  <a:gd name="T28" fmla="*/ 19020 w 20000"/>
                  <a:gd name="T29" fmla="*/ 1795 h 20000"/>
                  <a:gd name="T30" fmla="*/ 19918 w 20000"/>
                  <a:gd name="T31" fmla="*/ 1795 h 20000"/>
                  <a:gd name="T32" fmla="*/ 19918 w 20000"/>
                  <a:gd name="T33" fmla="*/ 5256 h 20000"/>
                  <a:gd name="T34" fmla="*/ 19020 w 20000"/>
                  <a:gd name="T35" fmla="*/ 5256 h 20000"/>
                  <a:gd name="T36" fmla="*/ 17714 w 20000"/>
                  <a:gd name="T37" fmla="*/ 7308 h 20000"/>
                  <a:gd name="T38" fmla="*/ 18612 w 20000"/>
                  <a:gd name="T39" fmla="*/ 10513 h 20000"/>
                  <a:gd name="T40" fmla="*/ 17388 w 20000"/>
                  <a:gd name="T41" fmla="*/ 11795 h 20000"/>
                  <a:gd name="T42" fmla="*/ 19020 w 20000"/>
                  <a:gd name="T43" fmla="*/ 14615 h 20000"/>
                  <a:gd name="T44" fmla="*/ 17714 w 20000"/>
                  <a:gd name="T45" fmla="*/ 14615 h 20000"/>
                  <a:gd name="T46" fmla="*/ 16571 w 20000"/>
                  <a:gd name="T47" fmla="*/ 13846 h 20000"/>
                  <a:gd name="T48" fmla="*/ 13551 w 20000"/>
                  <a:gd name="T49" fmla="*/ 15897 h 20000"/>
                  <a:gd name="T50" fmla="*/ 13061 w 20000"/>
                  <a:gd name="T51" fmla="*/ 15897 h 20000"/>
                  <a:gd name="T52" fmla="*/ 13061 w 20000"/>
                  <a:gd name="T53" fmla="*/ 19103 h 20000"/>
                  <a:gd name="T54" fmla="*/ 11020 w 20000"/>
                  <a:gd name="T55" fmla="*/ 19872 h 20000"/>
                  <a:gd name="T56" fmla="*/ 9714 w 20000"/>
                  <a:gd name="T57" fmla="*/ 19103 h 20000"/>
                  <a:gd name="T58" fmla="*/ 8490 w 20000"/>
                  <a:gd name="T59" fmla="*/ 19103 h 20000"/>
                  <a:gd name="T60" fmla="*/ 7673 w 20000"/>
                  <a:gd name="T61" fmla="*/ 17821 h 20000"/>
                  <a:gd name="T62" fmla="*/ 2204 w 20000"/>
                  <a:gd name="T63" fmla="*/ 19103 h 20000"/>
                  <a:gd name="T64" fmla="*/ 2204 w 20000"/>
                  <a:gd name="T65" fmla="*/ 15897 h 20000"/>
                  <a:gd name="T66" fmla="*/ 0 w 20000"/>
                  <a:gd name="T67" fmla="*/ 12564 h 20000"/>
                  <a:gd name="T68" fmla="*/ 898 w 20000"/>
                  <a:gd name="T69" fmla="*/ 11795 h 20000"/>
                  <a:gd name="T70" fmla="*/ 0 w 20000"/>
                  <a:gd name="T71" fmla="*/ 10513 h 20000"/>
                  <a:gd name="T72" fmla="*/ 0 w 20000"/>
                  <a:gd name="T73" fmla="*/ 9231 h 20000"/>
                  <a:gd name="T74" fmla="*/ 898 w 20000"/>
                  <a:gd name="T75" fmla="*/ 8590 h 20000"/>
                  <a:gd name="T76" fmla="*/ 1306 w 20000"/>
                  <a:gd name="T77" fmla="*/ 7308 h 20000"/>
                  <a:gd name="T78" fmla="*/ 898 w 20000"/>
                  <a:gd name="T79" fmla="*/ 5897 h 20000"/>
                  <a:gd name="T80" fmla="*/ 0 w 20000"/>
                  <a:gd name="T81" fmla="*/ 3846 h 20000"/>
                  <a:gd name="T82" fmla="*/ 0 w 20000"/>
                  <a:gd name="T8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0" y="0"/>
                    </a:moveTo>
                    <a:lnTo>
                      <a:pt x="1306" y="513"/>
                    </a:lnTo>
                    <a:lnTo>
                      <a:pt x="898" y="1795"/>
                    </a:lnTo>
                    <a:lnTo>
                      <a:pt x="898" y="3333"/>
                    </a:lnTo>
                    <a:lnTo>
                      <a:pt x="3020" y="1795"/>
                    </a:lnTo>
                    <a:lnTo>
                      <a:pt x="4653" y="3333"/>
                    </a:lnTo>
                    <a:lnTo>
                      <a:pt x="5551" y="3333"/>
                    </a:lnTo>
                    <a:lnTo>
                      <a:pt x="7673" y="3333"/>
                    </a:lnTo>
                    <a:lnTo>
                      <a:pt x="9714" y="3846"/>
                    </a:lnTo>
                    <a:lnTo>
                      <a:pt x="10204" y="3333"/>
                    </a:lnTo>
                    <a:lnTo>
                      <a:pt x="11837" y="1795"/>
                    </a:lnTo>
                    <a:lnTo>
                      <a:pt x="15265" y="0"/>
                    </a:lnTo>
                    <a:lnTo>
                      <a:pt x="15673" y="513"/>
                    </a:lnTo>
                    <a:lnTo>
                      <a:pt x="18612" y="513"/>
                    </a:lnTo>
                    <a:lnTo>
                      <a:pt x="19020" y="1795"/>
                    </a:lnTo>
                    <a:lnTo>
                      <a:pt x="19918" y="1795"/>
                    </a:lnTo>
                    <a:lnTo>
                      <a:pt x="19918" y="5256"/>
                    </a:lnTo>
                    <a:lnTo>
                      <a:pt x="19020" y="5256"/>
                    </a:lnTo>
                    <a:lnTo>
                      <a:pt x="17714" y="7308"/>
                    </a:lnTo>
                    <a:lnTo>
                      <a:pt x="18612" y="10513"/>
                    </a:lnTo>
                    <a:lnTo>
                      <a:pt x="17388" y="11795"/>
                    </a:lnTo>
                    <a:lnTo>
                      <a:pt x="19020" y="14615"/>
                    </a:lnTo>
                    <a:lnTo>
                      <a:pt x="17714" y="14615"/>
                    </a:lnTo>
                    <a:lnTo>
                      <a:pt x="16571" y="13846"/>
                    </a:lnTo>
                    <a:lnTo>
                      <a:pt x="13551" y="15897"/>
                    </a:lnTo>
                    <a:lnTo>
                      <a:pt x="13061" y="15897"/>
                    </a:lnTo>
                    <a:lnTo>
                      <a:pt x="13061" y="19103"/>
                    </a:lnTo>
                    <a:lnTo>
                      <a:pt x="11020" y="19872"/>
                    </a:lnTo>
                    <a:lnTo>
                      <a:pt x="9714" y="19103"/>
                    </a:lnTo>
                    <a:lnTo>
                      <a:pt x="8490" y="19103"/>
                    </a:lnTo>
                    <a:lnTo>
                      <a:pt x="7673" y="17821"/>
                    </a:lnTo>
                    <a:lnTo>
                      <a:pt x="2204" y="19103"/>
                    </a:lnTo>
                    <a:lnTo>
                      <a:pt x="2204" y="15897"/>
                    </a:lnTo>
                    <a:lnTo>
                      <a:pt x="0" y="12564"/>
                    </a:lnTo>
                    <a:lnTo>
                      <a:pt x="898" y="11795"/>
                    </a:lnTo>
                    <a:lnTo>
                      <a:pt x="0" y="10513"/>
                    </a:lnTo>
                    <a:lnTo>
                      <a:pt x="0" y="9231"/>
                    </a:lnTo>
                    <a:lnTo>
                      <a:pt x="898" y="8590"/>
                    </a:lnTo>
                    <a:lnTo>
                      <a:pt x="1306" y="7308"/>
                    </a:lnTo>
                    <a:lnTo>
                      <a:pt x="898" y="5897"/>
                    </a:lnTo>
                    <a:lnTo>
                      <a:pt x="0" y="3846"/>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46" name="Freeform 293"/>
              <p:cNvSpPr>
                <a:spLocks/>
              </p:cNvSpPr>
              <p:nvPr/>
            </p:nvSpPr>
            <p:spPr bwMode="auto">
              <a:xfrm>
                <a:off x="5197475" y="2630488"/>
                <a:ext cx="69850" cy="85725"/>
              </a:xfrm>
              <a:custGeom>
                <a:avLst/>
                <a:gdLst>
                  <a:gd name="T0" fmla="*/ 2569 w 20000"/>
                  <a:gd name="T1" fmla="*/ 19111 h 20000"/>
                  <a:gd name="T2" fmla="*/ 2569 w 20000"/>
                  <a:gd name="T3" fmla="*/ 13778 h 20000"/>
                  <a:gd name="T4" fmla="*/ 734 w 20000"/>
                  <a:gd name="T5" fmla="*/ 12296 h 20000"/>
                  <a:gd name="T6" fmla="*/ 0 w 20000"/>
                  <a:gd name="T7" fmla="*/ 13778 h 20000"/>
                  <a:gd name="T8" fmla="*/ 0 w 20000"/>
                  <a:gd name="T9" fmla="*/ 7556 h 20000"/>
                  <a:gd name="T10" fmla="*/ 0 w 20000"/>
                  <a:gd name="T11" fmla="*/ 3852 h 20000"/>
                  <a:gd name="T12" fmla="*/ 2569 w 20000"/>
                  <a:gd name="T13" fmla="*/ 5333 h 20000"/>
                  <a:gd name="T14" fmla="*/ 3670 w 20000"/>
                  <a:gd name="T15" fmla="*/ 1481 h 20000"/>
                  <a:gd name="T16" fmla="*/ 7523 w 20000"/>
                  <a:gd name="T17" fmla="*/ 2963 h 20000"/>
                  <a:gd name="T18" fmla="*/ 7523 w 20000"/>
                  <a:gd name="T19" fmla="*/ 0 h 20000"/>
                  <a:gd name="T20" fmla="*/ 13211 w 20000"/>
                  <a:gd name="T21" fmla="*/ 0 h 20000"/>
                  <a:gd name="T22" fmla="*/ 15963 w 20000"/>
                  <a:gd name="T23" fmla="*/ 3852 h 20000"/>
                  <a:gd name="T24" fmla="*/ 19817 w 20000"/>
                  <a:gd name="T25" fmla="*/ 5333 h 20000"/>
                  <a:gd name="T26" fmla="*/ 17982 w 20000"/>
                  <a:gd name="T27" fmla="*/ 7556 h 20000"/>
                  <a:gd name="T28" fmla="*/ 15046 w 20000"/>
                  <a:gd name="T29" fmla="*/ 7556 h 20000"/>
                  <a:gd name="T30" fmla="*/ 15046 w 20000"/>
                  <a:gd name="T31" fmla="*/ 9037 h 20000"/>
                  <a:gd name="T32" fmla="*/ 15046 w 20000"/>
                  <a:gd name="T33" fmla="*/ 9926 h 20000"/>
                  <a:gd name="T34" fmla="*/ 13211 w 20000"/>
                  <a:gd name="T35" fmla="*/ 12296 h 20000"/>
                  <a:gd name="T36" fmla="*/ 10459 w 20000"/>
                  <a:gd name="T37" fmla="*/ 13778 h 20000"/>
                  <a:gd name="T38" fmla="*/ 10459 w 20000"/>
                  <a:gd name="T39" fmla="*/ 17630 h 20000"/>
                  <a:gd name="T40" fmla="*/ 10459 w 20000"/>
                  <a:gd name="T41" fmla="*/ 19852 h 20000"/>
                  <a:gd name="T42" fmla="*/ 7523 w 20000"/>
                  <a:gd name="T43" fmla="*/ 19852 h 20000"/>
                  <a:gd name="T44" fmla="*/ 2569 w 20000"/>
                  <a:gd name="T45" fmla="*/ 1911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00" h="20000">
                    <a:moveTo>
                      <a:pt x="2569" y="19111"/>
                    </a:moveTo>
                    <a:lnTo>
                      <a:pt x="2569" y="13778"/>
                    </a:lnTo>
                    <a:lnTo>
                      <a:pt x="734" y="12296"/>
                    </a:lnTo>
                    <a:lnTo>
                      <a:pt x="0" y="13778"/>
                    </a:lnTo>
                    <a:lnTo>
                      <a:pt x="0" y="7556"/>
                    </a:lnTo>
                    <a:lnTo>
                      <a:pt x="0" y="3852"/>
                    </a:lnTo>
                    <a:lnTo>
                      <a:pt x="2569" y="5333"/>
                    </a:lnTo>
                    <a:lnTo>
                      <a:pt x="3670" y="1481"/>
                    </a:lnTo>
                    <a:lnTo>
                      <a:pt x="7523" y="2963"/>
                    </a:lnTo>
                    <a:lnTo>
                      <a:pt x="7523" y="0"/>
                    </a:lnTo>
                    <a:lnTo>
                      <a:pt x="13211" y="0"/>
                    </a:lnTo>
                    <a:lnTo>
                      <a:pt x="15963" y="3852"/>
                    </a:lnTo>
                    <a:lnTo>
                      <a:pt x="19817" y="5333"/>
                    </a:lnTo>
                    <a:lnTo>
                      <a:pt x="17982" y="7556"/>
                    </a:lnTo>
                    <a:lnTo>
                      <a:pt x="15046" y="7556"/>
                    </a:lnTo>
                    <a:lnTo>
                      <a:pt x="15046" y="9037"/>
                    </a:lnTo>
                    <a:lnTo>
                      <a:pt x="15046" y="9926"/>
                    </a:lnTo>
                    <a:lnTo>
                      <a:pt x="13211" y="12296"/>
                    </a:lnTo>
                    <a:lnTo>
                      <a:pt x="10459" y="13778"/>
                    </a:lnTo>
                    <a:lnTo>
                      <a:pt x="10459" y="17630"/>
                    </a:lnTo>
                    <a:lnTo>
                      <a:pt x="10459" y="19852"/>
                    </a:lnTo>
                    <a:lnTo>
                      <a:pt x="7523" y="19852"/>
                    </a:lnTo>
                    <a:lnTo>
                      <a:pt x="2569" y="1911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47" name="Freeform 292"/>
              <p:cNvSpPr>
                <a:spLocks/>
              </p:cNvSpPr>
              <p:nvPr/>
            </p:nvSpPr>
            <p:spPr bwMode="auto">
              <a:xfrm>
                <a:off x="5268913" y="2670175"/>
                <a:ext cx="36512" cy="44450"/>
              </a:xfrm>
              <a:custGeom>
                <a:avLst/>
                <a:gdLst>
                  <a:gd name="T0" fmla="*/ 14138 w 20000"/>
                  <a:gd name="T1" fmla="*/ 19710 h 20000"/>
                  <a:gd name="T2" fmla="*/ 12414 w 20000"/>
                  <a:gd name="T3" fmla="*/ 19710 h 20000"/>
                  <a:gd name="T4" fmla="*/ 8966 w 20000"/>
                  <a:gd name="T5" fmla="*/ 13623 h 20000"/>
                  <a:gd name="T6" fmla="*/ 0 w 20000"/>
                  <a:gd name="T7" fmla="*/ 4638 h 20000"/>
                  <a:gd name="T8" fmla="*/ 3448 w 20000"/>
                  <a:gd name="T9" fmla="*/ 4638 h 20000"/>
                  <a:gd name="T10" fmla="*/ 5517 w 20000"/>
                  <a:gd name="T11" fmla="*/ 1739 h 20000"/>
                  <a:gd name="T12" fmla="*/ 8966 w 20000"/>
                  <a:gd name="T13" fmla="*/ 4638 h 20000"/>
                  <a:gd name="T14" fmla="*/ 12414 w 20000"/>
                  <a:gd name="T15" fmla="*/ 1739 h 20000"/>
                  <a:gd name="T16" fmla="*/ 14138 w 20000"/>
                  <a:gd name="T17" fmla="*/ 0 h 20000"/>
                  <a:gd name="T18" fmla="*/ 17586 w 20000"/>
                  <a:gd name="T19" fmla="*/ 0 h 20000"/>
                  <a:gd name="T20" fmla="*/ 19655 w 20000"/>
                  <a:gd name="T21" fmla="*/ 6087 h 20000"/>
                  <a:gd name="T22" fmla="*/ 14138 w 20000"/>
                  <a:gd name="T23" fmla="*/ 8986 h 20000"/>
                  <a:gd name="T24" fmla="*/ 17586 w 20000"/>
                  <a:gd name="T25" fmla="*/ 12174 h 20000"/>
                  <a:gd name="T26" fmla="*/ 14138 w 20000"/>
                  <a:gd name="T27" fmla="*/ 13623 h 20000"/>
                  <a:gd name="T28" fmla="*/ 14138 w 20000"/>
                  <a:gd name="T29" fmla="*/ 1971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4138" y="19710"/>
                    </a:moveTo>
                    <a:lnTo>
                      <a:pt x="12414" y="19710"/>
                    </a:lnTo>
                    <a:lnTo>
                      <a:pt x="8966" y="13623"/>
                    </a:lnTo>
                    <a:lnTo>
                      <a:pt x="0" y="4638"/>
                    </a:lnTo>
                    <a:lnTo>
                      <a:pt x="3448" y="4638"/>
                    </a:lnTo>
                    <a:lnTo>
                      <a:pt x="5517" y="1739"/>
                    </a:lnTo>
                    <a:lnTo>
                      <a:pt x="8966" y="4638"/>
                    </a:lnTo>
                    <a:lnTo>
                      <a:pt x="12414" y="1739"/>
                    </a:lnTo>
                    <a:lnTo>
                      <a:pt x="14138" y="0"/>
                    </a:lnTo>
                    <a:lnTo>
                      <a:pt x="17586" y="0"/>
                    </a:lnTo>
                    <a:lnTo>
                      <a:pt x="19655" y="6087"/>
                    </a:lnTo>
                    <a:lnTo>
                      <a:pt x="14138" y="8986"/>
                    </a:lnTo>
                    <a:lnTo>
                      <a:pt x="17586" y="12174"/>
                    </a:lnTo>
                    <a:lnTo>
                      <a:pt x="14138" y="13623"/>
                    </a:lnTo>
                    <a:lnTo>
                      <a:pt x="14138" y="197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48" name="Freeform 291"/>
              <p:cNvSpPr>
                <a:spLocks/>
              </p:cNvSpPr>
              <p:nvPr/>
            </p:nvSpPr>
            <p:spPr bwMode="auto">
              <a:xfrm>
                <a:off x="5235575" y="2689225"/>
                <a:ext cx="23813" cy="17463"/>
              </a:xfrm>
              <a:custGeom>
                <a:avLst/>
                <a:gdLst>
                  <a:gd name="T0" fmla="*/ 19474 w 20000"/>
                  <a:gd name="T1" fmla="*/ 19286 h 20000"/>
                  <a:gd name="T2" fmla="*/ 11053 w 20000"/>
                  <a:gd name="T3" fmla="*/ 19286 h 20000"/>
                  <a:gd name="T4" fmla="*/ 5789 w 20000"/>
                  <a:gd name="T5" fmla="*/ 11429 h 20000"/>
                  <a:gd name="T6" fmla="*/ 0 w 20000"/>
                  <a:gd name="T7" fmla="*/ 7857 h 20000"/>
                  <a:gd name="T8" fmla="*/ 13684 w 20000"/>
                  <a:gd name="T9" fmla="*/ 0 h 20000"/>
                  <a:gd name="T10" fmla="*/ 19474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19474" y="19286"/>
                    </a:moveTo>
                    <a:lnTo>
                      <a:pt x="11053" y="19286"/>
                    </a:lnTo>
                    <a:lnTo>
                      <a:pt x="5789" y="11429"/>
                    </a:lnTo>
                    <a:lnTo>
                      <a:pt x="0" y="7857"/>
                    </a:lnTo>
                    <a:lnTo>
                      <a:pt x="13684" y="0"/>
                    </a:lnTo>
                    <a:lnTo>
                      <a:pt x="19474"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49" name="Freeform 290"/>
              <p:cNvSpPr>
                <a:spLocks/>
              </p:cNvSpPr>
              <p:nvPr/>
            </p:nvSpPr>
            <p:spPr bwMode="auto">
              <a:xfrm>
                <a:off x="5268913" y="2713038"/>
                <a:ext cx="17462" cy="11112"/>
              </a:xfrm>
              <a:custGeom>
                <a:avLst/>
                <a:gdLst>
                  <a:gd name="T0" fmla="*/ 11852 w 20000"/>
                  <a:gd name="T1" fmla="*/ 18824 h 20000"/>
                  <a:gd name="T2" fmla="*/ 0 w 20000"/>
                  <a:gd name="T3" fmla="*/ 18824 h 20000"/>
                  <a:gd name="T4" fmla="*/ 7407 w 20000"/>
                  <a:gd name="T5" fmla="*/ 0 h 20000"/>
                  <a:gd name="T6" fmla="*/ 11852 w 20000"/>
                  <a:gd name="T7" fmla="*/ 5882 h 20000"/>
                  <a:gd name="T8" fmla="*/ 19259 w 20000"/>
                  <a:gd name="T9" fmla="*/ 5882 h 20000"/>
                  <a:gd name="T10" fmla="*/ 19259 w 20000"/>
                  <a:gd name="T11" fmla="*/ 18824 h 20000"/>
                  <a:gd name="T12" fmla="*/ 11852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852" y="18824"/>
                    </a:moveTo>
                    <a:lnTo>
                      <a:pt x="0" y="18824"/>
                    </a:lnTo>
                    <a:lnTo>
                      <a:pt x="7407" y="0"/>
                    </a:lnTo>
                    <a:lnTo>
                      <a:pt x="11852" y="5882"/>
                    </a:lnTo>
                    <a:lnTo>
                      <a:pt x="19259" y="5882"/>
                    </a:lnTo>
                    <a:lnTo>
                      <a:pt x="19259" y="18824"/>
                    </a:lnTo>
                    <a:lnTo>
                      <a:pt x="11852"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0" name="Freeform 289"/>
              <p:cNvSpPr>
                <a:spLocks/>
              </p:cNvSpPr>
              <p:nvPr/>
            </p:nvSpPr>
            <p:spPr bwMode="auto">
              <a:xfrm>
                <a:off x="5146675" y="2713038"/>
                <a:ext cx="234950" cy="285750"/>
              </a:xfrm>
              <a:custGeom>
                <a:avLst/>
                <a:gdLst>
                  <a:gd name="T0" fmla="*/ 6450 w 20000"/>
                  <a:gd name="T1" fmla="*/ 177 h 20000"/>
                  <a:gd name="T2" fmla="*/ 8130 w 20000"/>
                  <a:gd name="T3" fmla="*/ 710 h 20000"/>
                  <a:gd name="T4" fmla="*/ 8130 w 20000"/>
                  <a:gd name="T5" fmla="*/ 1375 h 20000"/>
                  <a:gd name="T6" fmla="*/ 9539 w 20000"/>
                  <a:gd name="T7" fmla="*/ 1818 h 20000"/>
                  <a:gd name="T8" fmla="*/ 10081 w 20000"/>
                  <a:gd name="T9" fmla="*/ 2971 h 20000"/>
                  <a:gd name="T10" fmla="*/ 11762 w 20000"/>
                  <a:gd name="T11" fmla="*/ 2084 h 20000"/>
                  <a:gd name="T12" fmla="*/ 14038 w 20000"/>
                  <a:gd name="T13" fmla="*/ 1818 h 20000"/>
                  <a:gd name="T14" fmla="*/ 16260 w 20000"/>
                  <a:gd name="T15" fmla="*/ 2971 h 20000"/>
                  <a:gd name="T16" fmla="*/ 18266 w 20000"/>
                  <a:gd name="T17" fmla="*/ 4789 h 20000"/>
                  <a:gd name="T18" fmla="*/ 17073 w 20000"/>
                  <a:gd name="T19" fmla="*/ 5721 h 20000"/>
                  <a:gd name="T20" fmla="*/ 18266 w 20000"/>
                  <a:gd name="T21" fmla="*/ 6874 h 20000"/>
                  <a:gd name="T22" fmla="*/ 19079 w 20000"/>
                  <a:gd name="T23" fmla="*/ 7982 h 20000"/>
                  <a:gd name="T24" fmla="*/ 19350 w 20000"/>
                  <a:gd name="T25" fmla="*/ 9623 h 20000"/>
                  <a:gd name="T26" fmla="*/ 19350 w 20000"/>
                  <a:gd name="T27" fmla="*/ 10510 h 20000"/>
                  <a:gd name="T28" fmla="*/ 18266 w 20000"/>
                  <a:gd name="T29" fmla="*/ 10998 h 20000"/>
                  <a:gd name="T30" fmla="*/ 13496 w 20000"/>
                  <a:gd name="T31" fmla="*/ 12151 h 20000"/>
                  <a:gd name="T32" fmla="*/ 13496 w 20000"/>
                  <a:gd name="T33" fmla="*/ 13304 h 20000"/>
                  <a:gd name="T34" fmla="*/ 14580 w 20000"/>
                  <a:gd name="T35" fmla="*/ 14412 h 20000"/>
                  <a:gd name="T36" fmla="*/ 16260 w 20000"/>
                  <a:gd name="T37" fmla="*/ 15344 h 20000"/>
                  <a:gd name="T38" fmla="*/ 17073 w 20000"/>
                  <a:gd name="T39" fmla="*/ 16497 h 20000"/>
                  <a:gd name="T40" fmla="*/ 15393 w 20000"/>
                  <a:gd name="T41" fmla="*/ 17650 h 20000"/>
                  <a:gd name="T42" fmla="*/ 15989 w 20000"/>
                  <a:gd name="T43" fmla="*/ 19468 h 20000"/>
                  <a:gd name="T44" fmla="*/ 14038 w 20000"/>
                  <a:gd name="T45" fmla="*/ 19246 h 20000"/>
                  <a:gd name="T46" fmla="*/ 12629 w 20000"/>
                  <a:gd name="T47" fmla="*/ 19468 h 20000"/>
                  <a:gd name="T48" fmla="*/ 10949 w 20000"/>
                  <a:gd name="T49" fmla="*/ 19468 h 20000"/>
                  <a:gd name="T50" fmla="*/ 10081 w 20000"/>
                  <a:gd name="T51" fmla="*/ 19956 h 20000"/>
                  <a:gd name="T52" fmla="*/ 8130 w 20000"/>
                  <a:gd name="T53" fmla="*/ 19246 h 20000"/>
                  <a:gd name="T54" fmla="*/ 7317 w 20000"/>
                  <a:gd name="T55" fmla="*/ 19246 h 20000"/>
                  <a:gd name="T56" fmla="*/ 6721 w 20000"/>
                  <a:gd name="T57" fmla="*/ 18758 h 20000"/>
                  <a:gd name="T58" fmla="*/ 5854 w 20000"/>
                  <a:gd name="T59" fmla="*/ 18758 h 20000"/>
                  <a:gd name="T60" fmla="*/ 5312 w 20000"/>
                  <a:gd name="T61" fmla="*/ 19468 h 20000"/>
                  <a:gd name="T62" fmla="*/ 4444 w 20000"/>
                  <a:gd name="T63" fmla="*/ 19468 h 20000"/>
                  <a:gd name="T64" fmla="*/ 3631 w 20000"/>
                  <a:gd name="T65" fmla="*/ 19468 h 20000"/>
                  <a:gd name="T66" fmla="*/ 3089 w 20000"/>
                  <a:gd name="T67" fmla="*/ 18315 h 20000"/>
                  <a:gd name="T68" fmla="*/ 5041 w 20000"/>
                  <a:gd name="T69" fmla="*/ 15787 h 20000"/>
                  <a:gd name="T70" fmla="*/ 1409 w 20000"/>
                  <a:gd name="T71" fmla="*/ 14412 h 20000"/>
                  <a:gd name="T72" fmla="*/ 542 w 20000"/>
                  <a:gd name="T73" fmla="*/ 13304 h 20000"/>
                  <a:gd name="T74" fmla="*/ 542 w 20000"/>
                  <a:gd name="T75" fmla="*/ 11441 h 20000"/>
                  <a:gd name="T76" fmla="*/ 867 w 20000"/>
                  <a:gd name="T77" fmla="*/ 9623 h 20000"/>
                  <a:gd name="T78" fmla="*/ 867 w 20000"/>
                  <a:gd name="T79" fmla="*/ 7982 h 20000"/>
                  <a:gd name="T80" fmla="*/ 1409 w 20000"/>
                  <a:gd name="T81" fmla="*/ 6164 h 20000"/>
                  <a:gd name="T82" fmla="*/ 2764 w 20000"/>
                  <a:gd name="T83" fmla="*/ 5055 h 20000"/>
                  <a:gd name="T84" fmla="*/ 4228 w 20000"/>
                  <a:gd name="T85" fmla="*/ 3636 h 20000"/>
                  <a:gd name="T86" fmla="*/ 5041 w 20000"/>
                  <a:gd name="T87" fmla="*/ 3193 h 20000"/>
                  <a:gd name="T88" fmla="*/ 5312 w 20000"/>
                  <a:gd name="T89" fmla="*/ 2971 h 20000"/>
                  <a:gd name="T90" fmla="*/ 5312 w 20000"/>
                  <a:gd name="T91" fmla="*/ 2084 h 20000"/>
                  <a:gd name="T92" fmla="*/ 5312 w 20000"/>
                  <a:gd name="T93" fmla="*/ 887 h 20000"/>
                  <a:gd name="T94" fmla="*/ 4228 w 20000"/>
                  <a:gd name="T95" fmla="*/ 177 h 20000"/>
                  <a:gd name="T96" fmla="*/ 5041 w 20000"/>
                  <a:gd name="T9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5041" y="0"/>
                    </a:moveTo>
                    <a:lnTo>
                      <a:pt x="6450" y="177"/>
                    </a:lnTo>
                    <a:lnTo>
                      <a:pt x="7317" y="177"/>
                    </a:lnTo>
                    <a:lnTo>
                      <a:pt x="8130" y="710"/>
                    </a:lnTo>
                    <a:lnTo>
                      <a:pt x="8130" y="887"/>
                    </a:lnTo>
                    <a:lnTo>
                      <a:pt x="8130" y="1375"/>
                    </a:lnTo>
                    <a:lnTo>
                      <a:pt x="8726" y="1818"/>
                    </a:lnTo>
                    <a:lnTo>
                      <a:pt x="9539" y="1818"/>
                    </a:lnTo>
                    <a:lnTo>
                      <a:pt x="10407" y="1818"/>
                    </a:lnTo>
                    <a:lnTo>
                      <a:pt x="10081" y="2971"/>
                    </a:lnTo>
                    <a:lnTo>
                      <a:pt x="11220" y="2971"/>
                    </a:lnTo>
                    <a:lnTo>
                      <a:pt x="11762" y="2084"/>
                    </a:lnTo>
                    <a:lnTo>
                      <a:pt x="13496" y="887"/>
                    </a:lnTo>
                    <a:lnTo>
                      <a:pt x="14038" y="1818"/>
                    </a:lnTo>
                    <a:lnTo>
                      <a:pt x="15989" y="2528"/>
                    </a:lnTo>
                    <a:lnTo>
                      <a:pt x="16260" y="2971"/>
                    </a:lnTo>
                    <a:lnTo>
                      <a:pt x="17724" y="3636"/>
                    </a:lnTo>
                    <a:lnTo>
                      <a:pt x="18266" y="4789"/>
                    </a:lnTo>
                    <a:lnTo>
                      <a:pt x="17073" y="5499"/>
                    </a:lnTo>
                    <a:lnTo>
                      <a:pt x="17073" y="5721"/>
                    </a:lnTo>
                    <a:lnTo>
                      <a:pt x="18482" y="6608"/>
                    </a:lnTo>
                    <a:lnTo>
                      <a:pt x="18266" y="6874"/>
                    </a:lnTo>
                    <a:lnTo>
                      <a:pt x="18482" y="7982"/>
                    </a:lnTo>
                    <a:lnTo>
                      <a:pt x="19079" y="7982"/>
                    </a:lnTo>
                    <a:lnTo>
                      <a:pt x="19079" y="8514"/>
                    </a:lnTo>
                    <a:lnTo>
                      <a:pt x="19350" y="9623"/>
                    </a:lnTo>
                    <a:lnTo>
                      <a:pt x="19946" y="9845"/>
                    </a:lnTo>
                    <a:lnTo>
                      <a:pt x="19350" y="10510"/>
                    </a:lnTo>
                    <a:lnTo>
                      <a:pt x="18482" y="10510"/>
                    </a:lnTo>
                    <a:lnTo>
                      <a:pt x="18266" y="10998"/>
                    </a:lnTo>
                    <a:lnTo>
                      <a:pt x="14038" y="12594"/>
                    </a:lnTo>
                    <a:lnTo>
                      <a:pt x="13496" y="12151"/>
                    </a:lnTo>
                    <a:lnTo>
                      <a:pt x="13496" y="12594"/>
                    </a:lnTo>
                    <a:lnTo>
                      <a:pt x="13496" y="13304"/>
                    </a:lnTo>
                    <a:lnTo>
                      <a:pt x="14580" y="13525"/>
                    </a:lnTo>
                    <a:lnTo>
                      <a:pt x="14580" y="14412"/>
                    </a:lnTo>
                    <a:lnTo>
                      <a:pt x="15989" y="15122"/>
                    </a:lnTo>
                    <a:lnTo>
                      <a:pt x="16260" y="15344"/>
                    </a:lnTo>
                    <a:lnTo>
                      <a:pt x="17073" y="16231"/>
                    </a:lnTo>
                    <a:lnTo>
                      <a:pt x="17073" y="16497"/>
                    </a:lnTo>
                    <a:lnTo>
                      <a:pt x="17073" y="17428"/>
                    </a:lnTo>
                    <a:lnTo>
                      <a:pt x="15393" y="17650"/>
                    </a:lnTo>
                    <a:lnTo>
                      <a:pt x="15393" y="18758"/>
                    </a:lnTo>
                    <a:lnTo>
                      <a:pt x="15989" y="19468"/>
                    </a:lnTo>
                    <a:lnTo>
                      <a:pt x="15393" y="19246"/>
                    </a:lnTo>
                    <a:lnTo>
                      <a:pt x="14038" y="19246"/>
                    </a:lnTo>
                    <a:lnTo>
                      <a:pt x="13496" y="19468"/>
                    </a:lnTo>
                    <a:lnTo>
                      <a:pt x="12629" y="19468"/>
                    </a:lnTo>
                    <a:lnTo>
                      <a:pt x="11220" y="19956"/>
                    </a:lnTo>
                    <a:lnTo>
                      <a:pt x="10949" y="19468"/>
                    </a:lnTo>
                    <a:lnTo>
                      <a:pt x="10081" y="19468"/>
                    </a:lnTo>
                    <a:lnTo>
                      <a:pt x="10081" y="19956"/>
                    </a:lnTo>
                    <a:lnTo>
                      <a:pt x="8726" y="19468"/>
                    </a:lnTo>
                    <a:lnTo>
                      <a:pt x="8130" y="19246"/>
                    </a:lnTo>
                    <a:lnTo>
                      <a:pt x="7534" y="19246"/>
                    </a:lnTo>
                    <a:lnTo>
                      <a:pt x="7317" y="19246"/>
                    </a:lnTo>
                    <a:lnTo>
                      <a:pt x="6721" y="19246"/>
                    </a:lnTo>
                    <a:lnTo>
                      <a:pt x="6721" y="18758"/>
                    </a:lnTo>
                    <a:lnTo>
                      <a:pt x="6450" y="18758"/>
                    </a:lnTo>
                    <a:lnTo>
                      <a:pt x="5854" y="18758"/>
                    </a:lnTo>
                    <a:lnTo>
                      <a:pt x="5312" y="19246"/>
                    </a:lnTo>
                    <a:lnTo>
                      <a:pt x="5312" y="19468"/>
                    </a:lnTo>
                    <a:lnTo>
                      <a:pt x="5041" y="19468"/>
                    </a:lnTo>
                    <a:lnTo>
                      <a:pt x="4444" y="19468"/>
                    </a:lnTo>
                    <a:lnTo>
                      <a:pt x="4228" y="19468"/>
                    </a:lnTo>
                    <a:lnTo>
                      <a:pt x="3631" y="19468"/>
                    </a:lnTo>
                    <a:lnTo>
                      <a:pt x="3089" y="19468"/>
                    </a:lnTo>
                    <a:lnTo>
                      <a:pt x="3089" y="18315"/>
                    </a:lnTo>
                    <a:lnTo>
                      <a:pt x="4228" y="16940"/>
                    </a:lnTo>
                    <a:lnTo>
                      <a:pt x="5041" y="15787"/>
                    </a:lnTo>
                    <a:lnTo>
                      <a:pt x="3631" y="15344"/>
                    </a:lnTo>
                    <a:lnTo>
                      <a:pt x="1409" y="14412"/>
                    </a:lnTo>
                    <a:lnTo>
                      <a:pt x="1409" y="13525"/>
                    </a:lnTo>
                    <a:lnTo>
                      <a:pt x="542" y="13304"/>
                    </a:lnTo>
                    <a:lnTo>
                      <a:pt x="867" y="12594"/>
                    </a:lnTo>
                    <a:lnTo>
                      <a:pt x="542" y="11441"/>
                    </a:lnTo>
                    <a:lnTo>
                      <a:pt x="542" y="10510"/>
                    </a:lnTo>
                    <a:lnTo>
                      <a:pt x="867" y="9623"/>
                    </a:lnTo>
                    <a:lnTo>
                      <a:pt x="0" y="8514"/>
                    </a:lnTo>
                    <a:lnTo>
                      <a:pt x="867" y="7982"/>
                    </a:lnTo>
                    <a:lnTo>
                      <a:pt x="1680" y="7982"/>
                    </a:lnTo>
                    <a:lnTo>
                      <a:pt x="1409" y="6164"/>
                    </a:lnTo>
                    <a:lnTo>
                      <a:pt x="2222" y="6164"/>
                    </a:lnTo>
                    <a:lnTo>
                      <a:pt x="2764" y="5055"/>
                    </a:lnTo>
                    <a:lnTo>
                      <a:pt x="2222" y="3636"/>
                    </a:lnTo>
                    <a:lnTo>
                      <a:pt x="4228" y="3636"/>
                    </a:lnTo>
                    <a:lnTo>
                      <a:pt x="4444" y="4346"/>
                    </a:lnTo>
                    <a:lnTo>
                      <a:pt x="5041" y="3193"/>
                    </a:lnTo>
                    <a:lnTo>
                      <a:pt x="5854" y="3193"/>
                    </a:lnTo>
                    <a:lnTo>
                      <a:pt x="5312" y="2971"/>
                    </a:lnTo>
                    <a:lnTo>
                      <a:pt x="5854" y="2084"/>
                    </a:lnTo>
                    <a:lnTo>
                      <a:pt x="5312" y="2084"/>
                    </a:lnTo>
                    <a:lnTo>
                      <a:pt x="5312" y="1818"/>
                    </a:lnTo>
                    <a:lnTo>
                      <a:pt x="5312" y="887"/>
                    </a:lnTo>
                    <a:lnTo>
                      <a:pt x="5041" y="177"/>
                    </a:lnTo>
                    <a:lnTo>
                      <a:pt x="4228" y="177"/>
                    </a:lnTo>
                    <a:lnTo>
                      <a:pt x="4444" y="0"/>
                    </a:lnTo>
                    <a:lnTo>
                      <a:pt x="504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1" name="Freeform 288"/>
              <p:cNvSpPr>
                <a:spLocks/>
              </p:cNvSpPr>
              <p:nvPr/>
            </p:nvSpPr>
            <p:spPr bwMode="auto">
              <a:xfrm>
                <a:off x="5457825" y="2036763"/>
                <a:ext cx="292100" cy="469900"/>
              </a:xfrm>
              <a:custGeom>
                <a:avLst/>
                <a:gdLst>
                  <a:gd name="T0" fmla="*/ 12321 w 20000"/>
                  <a:gd name="T1" fmla="*/ 2514 h 20000"/>
                  <a:gd name="T2" fmla="*/ 13666 w 20000"/>
                  <a:gd name="T3" fmla="*/ 3622 h 20000"/>
                  <a:gd name="T4" fmla="*/ 13666 w 20000"/>
                  <a:gd name="T5" fmla="*/ 5297 h 20000"/>
                  <a:gd name="T6" fmla="*/ 15445 w 20000"/>
                  <a:gd name="T7" fmla="*/ 9054 h 20000"/>
                  <a:gd name="T8" fmla="*/ 15445 w 20000"/>
                  <a:gd name="T9" fmla="*/ 9757 h 20000"/>
                  <a:gd name="T10" fmla="*/ 16139 w 20000"/>
                  <a:gd name="T11" fmla="*/ 10189 h 20000"/>
                  <a:gd name="T12" fmla="*/ 17050 w 20000"/>
                  <a:gd name="T13" fmla="*/ 10892 h 20000"/>
                  <a:gd name="T14" fmla="*/ 18178 w 20000"/>
                  <a:gd name="T15" fmla="*/ 12703 h 20000"/>
                  <a:gd name="T16" fmla="*/ 19957 w 20000"/>
                  <a:gd name="T17" fmla="*/ 13405 h 20000"/>
                  <a:gd name="T18" fmla="*/ 14100 w 20000"/>
                  <a:gd name="T19" fmla="*/ 18324 h 20000"/>
                  <a:gd name="T20" fmla="*/ 11410 w 20000"/>
                  <a:gd name="T21" fmla="*/ 18595 h 20000"/>
                  <a:gd name="T22" fmla="*/ 8503 w 20000"/>
                  <a:gd name="T23" fmla="*/ 19270 h 20000"/>
                  <a:gd name="T24" fmla="*/ 5380 w 20000"/>
                  <a:gd name="T25" fmla="*/ 19432 h 20000"/>
                  <a:gd name="T26" fmla="*/ 6030 w 20000"/>
                  <a:gd name="T27" fmla="*/ 19270 h 20000"/>
                  <a:gd name="T28" fmla="*/ 5813 w 20000"/>
                  <a:gd name="T29" fmla="*/ 19270 h 20000"/>
                  <a:gd name="T30" fmla="*/ 5380 w 20000"/>
                  <a:gd name="T31" fmla="*/ 18730 h 20000"/>
                  <a:gd name="T32" fmla="*/ 3774 w 20000"/>
                  <a:gd name="T33" fmla="*/ 18595 h 20000"/>
                  <a:gd name="T34" fmla="*/ 3124 w 20000"/>
                  <a:gd name="T35" fmla="*/ 17595 h 20000"/>
                  <a:gd name="T36" fmla="*/ 3124 w 20000"/>
                  <a:gd name="T37" fmla="*/ 16784 h 20000"/>
                  <a:gd name="T38" fmla="*/ 2907 w 20000"/>
                  <a:gd name="T39" fmla="*/ 15784 h 20000"/>
                  <a:gd name="T40" fmla="*/ 2473 w 20000"/>
                  <a:gd name="T41" fmla="*/ 14243 h 20000"/>
                  <a:gd name="T42" fmla="*/ 3124 w 20000"/>
                  <a:gd name="T43" fmla="*/ 13405 h 20000"/>
                  <a:gd name="T44" fmla="*/ 4252 w 20000"/>
                  <a:gd name="T45" fmla="*/ 13135 h 20000"/>
                  <a:gd name="T46" fmla="*/ 4685 w 20000"/>
                  <a:gd name="T47" fmla="*/ 12703 h 20000"/>
                  <a:gd name="T48" fmla="*/ 5380 w 20000"/>
                  <a:gd name="T49" fmla="*/ 12297 h 20000"/>
                  <a:gd name="T50" fmla="*/ 6725 w 20000"/>
                  <a:gd name="T51" fmla="*/ 10595 h 20000"/>
                  <a:gd name="T52" fmla="*/ 7809 w 20000"/>
                  <a:gd name="T53" fmla="*/ 9757 h 20000"/>
                  <a:gd name="T54" fmla="*/ 8243 w 20000"/>
                  <a:gd name="T55" fmla="*/ 9378 h 20000"/>
                  <a:gd name="T56" fmla="*/ 7158 w 20000"/>
                  <a:gd name="T57" fmla="*/ 8216 h 20000"/>
                  <a:gd name="T58" fmla="*/ 6030 w 20000"/>
                  <a:gd name="T59" fmla="*/ 7946 h 20000"/>
                  <a:gd name="T60" fmla="*/ 5380 w 20000"/>
                  <a:gd name="T61" fmla="*/ 7000 h 20000"/>
                  <a:gd name="T62" fmla="*/ 4946 w 20000"/>
                  <a:gd name="T63" fmla="*/ 5459 h 20000"/>
                  <a:gd name="T64" fmla="*/ 5380 w 20000"/>
                  <a:gd name="T65" fmla="*/ 5027 h 20000"/>
                  <a:gd name="T66" fmla="*/ 4685 w 20000"/>
                  <a:gd name="T67" fmla="*/ 3919 h 20000"/>
                  <a:gd name="T68" fmla="*/ 2473 w 20000"/>
                  <a:gd name="T69" fmla="*/ 3189 h 20000"/>
                  <a:gd name="T70" fmla="*/ 0 w 20000"/>
                  <a:gd name="T71" fmla="*/ 2081 h 20000"/>
                  <a:gd name="T72" fmla="*/ 607 w 20000"/>
                  <a:gd name="T73" fmla="*/ 2081 h 20000"/>
                  <a:gd name="T74" fmla="*/ 607 w 20000"/>
                  <a:gd name="T75" fmla="*/ 1649 h 20000"/>
                  <a:gd name="T76" fmla="*/ 2907 w 20000"/>
                  <a:gd name="T77" fmla="*/ 2514 h 20000"/>
                  <a:gd name="T78" fmla="*/ 4685 w 20000"/>
                  <a:gd name="T79" fmla="*/ 2514 h 20000"/>
                  <a:gd name="T80" fmla="*/ 5813 w 20000"/>
                  <a:gd name="T81" fmla="*/ 2514 h 20000"/>
                  <a:gd name="T82" fmla="*/ 6725 w 20000"/>
                  <a:gd name="T83" fmla="*/ 2784 h 20000"/>
                  <a:gd name="T84" fmla="*/ 7592 w 20000"/>
                  <a:gd name="T85" fmla="*/ 2351 h 20000"/>
                  <a:gd name="T86" fmla="*/ 7592 w 20000"/>
                  <a:gd name="T87" fmla="*/ 973 h 20000"/>
                  <a:gd name="T88" fmla="*/ 8937 w 20000"/>
                  <a:gd name="T89" fmla="*/ 270 h 20000"/>
                  <a:gd name="T90" fmla="*/ 10542 w 20000"/>
                  <a:gd name="T91" fmla="*/ 0 h 20000"/>
                  <a:gd name="T92" fmla="*/ 11887 w 20000"/>
                  <a:gd name="T93" fmla="*/ 541 h 20000"/>
                  <a:gd name="T94" fmla="*/ 12321 w 20000"/>
                  <a:gd name="T95" fmla="*/ 13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1887" y="2081"/>
                    </a:moveTo>
                    <a:lnTo>
                      <a:pt x="12321" y="2514"/>
                    </a:lnTo>
                    <a:lnTo>
                      <a:pt x="12581" y="3189"/>
                    </a:lnTo>
                    <a:lnTo>
                      <a:pt x="13666" y="3622"/>
                    </a:lnTo>
                    <a:lnTo>
                      <a:pt x="14360" y="4027"/>
                    </a:lnTo>
                    <a:lnTo>
                      <a:pt x="13666" y="5297"/>
                    </a:lnTo>
                    <a:lnTo>
                      <a:pt x="15879" y="7676"/>
                    </a:lnTo>
                    <a:lnTo>
                      <a:pt x="15445" y="9054"/>
                    </a:lnTo>
                    <a:lnTo>
                      <a:pt x="15445" y="9378"/>
                    </a:lnTo>
                    <a:lnTo>
                      <a:pt x="15445" y="9757"/>
                    </a:lnTo>
                    <a:lnTo>
                      <a:pt x="16139" y="9757"/>
                    </a:lnTo>
                    <a:lnTo>
                      <a:pt x="16139" y="10189"/>
                    </a:lnTo>
                    <a:lnTo>
                      <a:pt x="16139" y="10595"/>
                    </a:lnTo>
                    <a:lnTo>
                      <a:pt x="17050" y="10892"/>
                    </a:lnTo>
                    <a:lnTo>
                      <a:pt x="16573" y="12027"/>
                    </a:lnTo>
                    <a:lnTo>
                      <a:pt x="18178" y="12703"/>
                    </a:lnTo>
                    <a:lnTo>
                      <a:pt x="18829" y="12865"/>
                    </a:lnTo>
                    <a:lnTo>
                      <a:pt x="19957" y="13405"/>
                    </a:lnTo>
                    <a:lnTo>
                      <a:pt x="17744" y="15622"/>
                    </a:lnTo>
                    <a:lnTo>
                      <a:pt x="14100" y="18324"/>
                    </a:lnTo>
                    <a:lnTo>
                      <a:pt x="13449" y="18595"/>
                    </a:lnTo>
                    <a:lnTo>
                      <a:pt x="11410" y="18595"/>
                    </a:lnTo>
                    <a:lnTo>
                      <a:pt x="10108" y="19000"/>
                    </a:lnTo>
                    <a:lnTo>
                      <a:pt x="8503" y="19270"/>
                    </a:lnTo>
                    <a:lnTo>
                      <a:pt x="6464" y="19973"/>
                    </a:lnTo>
                    <a:lnTo>
                      <a:pt x="5380" y="19432"/>
                    </a:lnTo>
                    <a:lnTo>
                      <a:pt x="5380" y="19270"/>
                    </a:lnTo>
                    <a:lnTo>
                      <a:pt x="6030" y="19270"/>
                    </a:lnTo>
                    <a:lnTo>
                      <a:pt x="6030" y="18730"/>
                    </a:lnTo>
                    <a:lnTo>
                      <a:pt x="5813" y="19270"/>
                    </a:lnTo>
                    <a:lnTo>
                      <a:pt x="5380" y="19000"/>
                    </a:lnTo>
                    <a:lnTo>
                      <a:pt x="5380" y="18730"/>
                    </a:lnTo>
                    <a:lnTo>
                      <a:pt x="4685" y="18595"/>
                    </a:lnTo>
                    <a:lnTo>
                      <a:pt x="3774" y="18595"/>
                    </a:lnTo>
                    <a:lnTo>
                      <a:pt x="3557" y="18324"/>
                    </a:lnTo>
                    <a:lnTo>
                      <a:pt x="3124" y="17595"/>
                    </a:lnTo>
                    <a:lnTo>
                      <a:pt x="3557" y="17459"/>
                    </a:lnTo>
                    <a:lnTo>
                      <a:pt x="3124" y="16784"/>
                    </a:lnTo>
                    <a:lnTo>
                      <a:pt x="3557" y="16784"/>
                    </a:lnTo>
                    <a:lnTo>
                      <a:pt x="2907" y="15784"/>
                    </a:lnTo>
                    <a:lnTo>
                      <a:pt x="2473" y="14514"/>
                    </a:lnTo>
                    <a:lnTo>
                      <a:pt x="2473" y="14243"/>
                    </a:lnTo>
                    <a:lnTo>
                      <a:pt x="3124" y="13838"/>
                    </a:lnTo>
                    <a:lnTo>
                      <a:pt x="3124" y="13405"/>
                    </a:lnTo>
                    <a:lnTo>
                      <a:pt x="3557" y="13405"/>
                    </a:lnTo>
                    <a:lnTo>
                      <a:pt x="4252" y="13135"/>
                    </a:lnTo>
                    <a:lnTo>
                      <a:pt x="3774" y="12865"/>
                    </a:lnTo>
                    <a:lnTo>
                      <a:pt x="4685" y="12703"/>
                    </a:lnTo>
                    <a:lnTo>
                      <a:pt x="4685" y="12432"/>
                    </a:lnTo>
                    <a:lnTo>
                      <a:pt x="5380" y="12297"/>
                    </a:lnTo>
                    <a:lnTo>
                      <a:pt x="5813" y="11595"/>
                    </a:lnTo>
                    <a:lnTo>
                      <a:pt x="6725" y="10595"/>
                    </a:lnTo>
                    <a:lnTo>
                      <a:pt x="7158" y="10189"/>
                    </a:lnTo>
                    <a:lnTo>
                      <a:pt x="7809" y="9757"/>
                    </a:lnTo>
                    <a:lnTo>
                      <a:pt x="8503" y="9757"/>
                    </a:lnTo>
                    <a:lnTo>
                      <a:pt x="8243" y="9378"/>
                    </a:lnTo>
                    <a:lnTo>
                      <a:pt x="8243" y="8649"/>
                    </a:lnTo>
                    <a:lnTo>
                      <a:pt x="7158" y="8216"/>
                    </a:lnTo>
                    <a:lnTo>
                      <a:pt x="6725" y="7946"/>
                    </a:lnTo>
                    <a:lnTo>
                      <a:pt x="6030" y="7946"/>
                    </a:lnTo>
                    <a:lnTo>
                      <a:pt x="5813" y="7541"/>
                    </a:lnTo>
                    <a:lnTo>
                      <a:pt x="5380" y="7000"/>
                    </a:lnTo>
                    <a:lnTo>
                      <a:pt x="5813" y="5865"/>
                    </a:lnTo>
                    <a:lnTo>
                      <a:pt x="4946" y="5459"/>
                    </a:lnTo>
                    <a:lnTo>
                      <a:pt x="4946" y="5297"/>
                    </a:lnTo>
                    <a:lnTo>
                      <a:pt x="5380" y="5027"/>
                    </a:lnTo>
                    <a:lnTo>
                      <a:pt x="4685" y="4730"/>
                    </a:lnTo>
                    <a:lnTo>
                      <a:pt x="4685" y="3919"/>
                    </a:lnTo>
                    <a:lnTo>
                      <a:pt x="3557" y="3189"/>
                    </a:lnTo>
                    <a:lnTo>
                      <a:pt x="2473" y="3189"/>
                    </a:lnTo>
                    <a:lnTo>
                      <a:pt x="1128" y="2784"/>
                    </a:lnTo>
                    <a:lnTo>
                      <a:pt x="0" y="2081"/>
                    </a:lnTo>
                    <a:lnTo>
                      <a:pt x="0" y="1811"/>
                    </a:lnTo>
                    <a:lnTo>
                      <a:pt x="607" y="2081"/>
                    </a:lnTo>
                    <a:lnTo>
                      <a:pt x="174" y="1649"/>
                    </a:lnTo>
                    <a:lnTo>
                      <a:pt x="607" y="1649"/>
                    </a:lnTo>
                    <a:lnTo>
                      <a:pt x="1779" y="1811"/>
                    </a:lnTo>
                    <a:lnTo>
                      <a:pt x="2907" y="2514"/>
                    </a:lnTo>
                    <a:lnTo>
                      <a:pt x="3774" y="2514"/>
                    </a:lnTo>
                    <a:lnTo>
                      <a:pt x="4685" y="2514"/>
                    </a:lnTo>
                    <a:lnTo>
                      <a:pt x="4946" y="2351"/>
                    </a:lnTo>
                    <a:lnTo>
                      <a:pt x="5813" y="2514"/>
                    </a:lnTo>
                    <a:lnTo>
                      <a:pt x="6464" y="2784"/>
                    </a:lnTo>
                    <a:lnTo>
                      <a:pt x="6725" y="2784"/>
                    </a:lnTo>
                    <a:lnTo>
                      <a:pt x="6725" y="2351"/>
                    </a:lnTo>
                    <a:lnTo>
                      <a:pt x="7592" y="2351"/>
                    </a:lnTo>
                    <a:lnTo>
                      <a:pt x="7592" y="1649"/>
                    </a:lnTo>
                    <a:lnTo>
                      <a:pt x="7592" y="973"/>
                    </a:lnTo>
                    <a:lnTo>
                      <a:pt x="8243" y="270"/>
                    </a:lnTo>
                    <a:lnTo>
                      <a:pt x="8937" y="270"/>
                    </a:lnTo>
                    <a:lnTo>
                      <a:pt x="9414" y="270"/>
                    </a:lnTo>
                    <a:lnTo>
                      <a:pt x="10542" y="0"/>
                    </a:lnTo>
                    <a:lnTo>
                      <a:pt x="10759" y="270"/>
                    </a:lnTo>
                    <a:lnTo>
                      <a:pt x="11887" y="541"/>
                    </a:lnTo>
                    <a:lnTo>
                      <a:pt x="12581" y="973"/>
                    </a:lnTo>
                    <a:lnTo>
                      <a:pt x="12321" y="1378"/>
                    </a:lnTo>
                    <a:lnTo>
                      <a:pt x="11887" y="20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2" name="Freeform 287"/>
              <p:cNvSpPr>
                <a:spLocks/>
              </p:cNvSpPr>
              <p:nvPr/>
            </p:nvSpPr>
            <p:spPr bwMode="auto">
              <a:xfrm>
                <a:off x="4864100" y="2863850"/>
                <a:ext cx="342900" cy="309563"/>
              </a:xfrm>
              <a:custGeom>
                <a:avLst/>
                <a:gdLst>
                  <a:gd name="T0" fmla="*/ 11519 w 20000"/>
                  <a:gd name="T1" fmla="*/ 451 h 20000"/>
                  <a:gd name="T2" fmla="*/ 12481 w 20000"/>
                  <a:gd name="T3" fmla="*/ 451 h 20000"/>
                  <a:gd name="T4" fmla="*/ 13074 w 20000"/>
                  <a:gd name="T5" fmla="*/ 1516 h 20000"/>
                  <a:gd name="T6" fmla="*/ 14593 w 20000"/>
                  <a:gd name="T7" fmla="*/ 2131 h 20000"/>
                  <a:gd name="T8" fmla="*/ 15963 w 20000"/>
                  <a:gd name="T9" fmla="*/ 3607 h 20000"/>
                  <a:gd name="T10" fmla="*/ 16889 w 20000"/>
                  <a:gd name="T11" fmla="*/ 3607 h 20000"/>
                  <a:gd name="T12" fmla="*/ 19000 w 20000"/>
                  <a:gd name="T13" fmla="*/ 4467 h 20000"/>
                  <a:gd name="T14" fmla="*/ 19407 w 20000"/>
                  <a:gd name="T15" fmla="*/ 5943 h 20000"/>
                  <a:gd name="T16" fmla="*/ 18630 w 20000"/>
                  <a:gd name="T17" fmla="*/ 8279 h 20000"/>
                  <a:gd name="T18" fmla="*/ 18074 w 20000"/>
                  <a:gd name="T19" fmla="*/ 8893 h 20000"/>
                  <a:gd name="T20" fmla="*/ 16889 w 20000"/>
                  <a:gd name="T21" fmla="*/ 10820 h 20000"/>
                  <a:gd name="T22" fmla="*/ 17481 w 20000"/>
                  <a:gd name="T23" fmla="*/ 10820 h 20000"/>
                  <a:gd name="T24" fmla="*/ 18444 w 20000"/>
                  <a:gd name="T25" fmla="*/ 12090 h 20000"/>
                  <a:gd name="T26" fmla="*/ 18444 w 20000"/>
                  <a:gd name="T27" fmla="*/ 13770 h 20000"/>
                  <a:gd name="T28" fmla="*/ 18074 w 20000"/>
                  <a:gd name="T29" fmla="*/ 14221 h 20000"/>
                  <a:gd name="T30" fmla="*/ 19000 w 20000"/>
                  <a:gd name="T31" fmla="*/ 16107 h 20000"/>
                  <a:gd name="T32" fmla="*/ 19407 w 20000"/>
                  <a:gd name="T33" fmla="*/ 16516 h 20000"/>
                  <a:gd name="T34" fmla="*/ 19000 w 20000"/>
                  <a:gd name="T35" fmla="*/ 17172 h 20000"/>
                  <a:gd name="T36" fmla="*/ 18630 w 20000"/>
                  <a:gd name="T37" fmla="*/ 17172 h 20000"/>
                  <a:gd name="T38" fmla="*/ 18074 w 20000"/>
                  <a:gd name="T39" fmla="*/ 17623 h 20000"/>
                  <a:gd name="T40" fmla="*/ 17481 w 20000"/>
                  <a:gd name="T41" fmla="*/ 18689 h 20000"/>
                  <a:gd name="T42" fmla="*/ 15593 w 20000"/>
                  <a:gd name="T43" fmla="*/ 18279 h 20000"/>
                  <a:gd name="T44" fmla="*/ 15000 w 20000"/>
                  <a:gd name="T45" fmla="*/ 17828 h 20000"/>
                  <a:gd name="T46" fmla="*/ 14407 w 20000"/>
                  <a:gd name="T47" fmla="*/ 17623 h 20000"/>
                  <a:gd name="T48" fmla="*/ 13444 w 20000"/>
                  <a:gd name="T49" fmla="*/ 17623 h 20000"/>
                  <a:gd name="T50" fmla="*/ 12111 w 20000"/>
                  <a:gd name="T51" fmla="*/ 18689 h 20000"/>
                  <a:gd name="T52" fmla="*/ 11519 w 20000"/>
                  <a:gd name="T53" fmla="*/ 19959 h 20000"/>
                  <a:gd name="T54" fmla="*/ 9407 w 20000"/>
                  <a:gd name="T55" fmla="*/ 19303 h 20000"/>
                  <a:gd name="T56" fmla="*/ 8481 w 20000"/>
                  <a:gd name="T57" fmla="*/ 19303 h 20000"/>
                  <a:gd name="T58" fmla="*/ 5370 w 20000"/>
                  <a:gd name="T59" fmla="*/ 18689 h 20000"/>
                  <a:gd name="T60" fmla="*/ 5370 w 20000"/>
                  <a:gd name="T61" fmla="*/ 15287 h 20000"/>
                  <a:gd name="T62" fmla="*/ 5370 w 20000"/>
                  <a:gd name="T63" fmla="*/ 14426 h 20000"/>
                  <a:gd name="T64" fmla="*/ 6370 w 20000"/>
                  <a:gd name="T65" fmla="*/ 13770 h 20000"/>
                  <a:gd name="T66" fmla="*/ 5370 w 20000"/>
                  <a:gd name="T67" fmla="*/ 12500 h 20000"/>
                  <a:gd name="T68" fmla="*/ 4037 w 20000"/>
                  <a:gd name="T69" fmla="*/ 10000 h 20000"/>
                  <a:gd name="T70" fmla="*/ 3481 w 20000"/>
                  <a:gd name="T71" fmla="*/ 8730 h 20000"/>
                  <a:gd name="T72" fmla="*/ 778 w 20000"/>
                  <a:gd name="T73" fmla="*/ 7623 h 20000"/>
                  <a:gd name="T74" fmla="*/ 778 w 20000"/>
                  <a:gd name="T75" fmla="*/ 7049 h 20000"/>
                  <a:gd name="T76" fmla="*/ 1000 w 20000"/>
                  <a:gd name="T77" fmla="*/ 6557 h 20000"/>
                  <a:gd name="T78" fmla="*/ 0 w 20000"/>
                  <a:gd name="T79" fmla="*/ 6393 h 20000"/>
                  <a:gd name="T80" fmla="*/ 1370 w 20000"/>
                  <a:gd name="T81" fmla="*/ 5533 h 20000"/>
                  <a:gd name="T82" fmla="*/ 2519 w 20000"/>
                  <a:gd name="T83" fmla="*/ 5533 h 20000"/>
                  <a:gd name="T84" fmla="*/ 3852 w 20000"/>
                  <a:gd name="T85" fmla="*/ 5943 h 20000"/>
                  <a:gd name="T86" fmla="*/ 5000 w 20000"/>
                  <a:gd name="T87" fmla="*/ 5943 h 20000"/>
                  <a:gd name="T88" fmla="*/ 4407 w 20000"/>
                  <a:gd name="T89" fmla="*/ 3197 h 20000"/>
                  <a:gd name="T90" fmla="*/ 5593 w 20000"/>
                  <a:gd name="T91" fmla="*/ 3197 h 20000"/>
                  <a:gd name="T92" fmla="*/ 6370 w 20000"/>
                  <a:gd name="T93" fmla="*/ 4262 h 20000"/>
                  <a:gd name="T94" fmla="*/ 7481 w 20000"/>
                  <a:gd name="T95" fmla="*/ 3607 h 20000"/>
                  <a:gd name="T96" fmla="*/ 9407 w 20000"/>
                  <a:gd name="T97" fmla="*/ 2787 h 20000"/>
                  <a:gd name="T98" fmla="*/ 9630 w 20000"/>
                  <a:gd name="T99" fmla="*/ 45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3" name="Freeform 286"/>
              <p:cNvSpPr>
                <a:spLocks/>
              </p:cNvSpPr>
              <p:nvPr/>
            </p:nvSpPr>
            <p:spPr bwMode="auto">
              <a:xfrm>
                <a:off x="5216525" y="3152775"/>
                <a:ext cx="34925" cy="57150"/>
              </a:xfrm>
              <a:custGeom>
                <a:avLst/>
                <a:gdLst>
                  <a:gd name="T0" fmla="*/ 11852 w 20000"/>
                  <a:gd name="T1" fmla="*/ 0 h 20000"/>
                  <a:gd name="T2" fmla="*/ 15926 w 20000"/>
                  <a:gd name="T3" fmla="*/ 0 h 20000"/>
                  <a:gd name="T4" fmla="*/ 15926 w 20000"/>
                  <a:gd name="T5" fmla="*/ 1348 h 20000"/>
                  <a:gd name="T6" fmla="*/ 15926 w 20000"/>
                  <a:gd name="T7" fmla="*/ 3596 h 20000"/>
                  <a:gd name="T8" fmla="*/ 19630 w 20000"/>
                  <a:gd name="T9" fmla="*/ 5843 h 20000"/>
                  <a:gd name="T10" fmla="*/ 19630 w 20000"/>
                  <a:gd name="T11" fmla="*/ 9213 h 20000"/>
                  <a:gd name="T12" fmla="*/ 19630 w 20000"/>
                  <a:gd name="T13" fmla="*/ 10562 h 20000"/>
                  <a:gd name="T14" fmla="*/ 15926 w 20000"/>
                  <a:gd name="T15" fmla="*/ 12809 h 20000"/>
                  <a:gd name="T16" fmla="*/ 15926 w 20000"/>
                  <a:gd name="T17" fmla="*/ 15056 h 20000"/>
                  <a:gd name="T18" fmla="*/ 15926 w 20000"/>
                  <a:gd name="T19" fmla="*/ 16180 h 20000"/>
                  <a:gd name="T20" fmla="*/ 11852 w 20000"/>
                  <a:gd name="T21" fmla="*/ 18427 h 20000"/>
                  <a:gd name="T22" fmla="*/ 11852 w 20000"/>
                  <a:gd name="T23" fmla="*/ 19775 h 20000"/>
                  <a:gd name="T24" fmla="*/ 10000 w 20000"/>
                  <a:gd name="T25" fmla="*/ 19775 h 20000"/>
                  <a:gd name="T26" fmla="*/ 5926 w 20000"/>
                  <a:gd name="T27" fmla="*/ 19775 h 20000"/>
                  <a:gd name="T28" fmla="*/ 4074 w 20000"/>
                  <a:gd name="T29" fmla="*/ 18427 h 20000"/>
                  <a:gd name="T30" fmla="*/ 5926 w 20000"/>
                  <a:gd name="T31" fmla="*/ 18427 h 20000"/>
                  <a:gd name="T32" fmla="*/ 5926 w 20000"/>
                  <a:gd name="T33" fmla="*/ 16180 h 20000"/>
                  <a:gd name="T34" fmla="*/ 4074 w 20000"/>
                  <a:gd name="T35" fmla="*/ 16180 h 20000"/>
                  <a:gd name="T36" fmla="*/ 4074 w 20000"/>
                  <a:gd name="T37" fmla="*/ 15056 h 20000"/>
                  <a:gd name="T38" fmla="*/ 0 w 20000"/>
                  <a:gd name="T39" fmla="*/ 15056 h 20000"/>
                  <a:gd name="T40" fmla="*/ 4074 w 20000"/>
                  <a:gd name="T41" fmla="*/ 12809 h 20000"/>
                  <a:gd name="T42" fmla="*/ 4074 w 20000"/>
                  <a:gd name="T43" fmla="*/ 10562 h 20000"/>
                  <a:gd name="T44" fmla="*/ 0 w 20000"/>
                  <a:gd name="T45" fmla="*/ 10562 h 20000"/>
                  <a:gd name="T46" fmla="*/ 0 w 20000"/>
                  <a:gd name="T47" fmla="*/ 9213 h 20000"/>
                  <a:gd name="T48" fmla="*/ 4074 w 20000"/>
                  <a:gd name="T49" fmla="*/ 9213 h 20000"/>
                  <a:gd name="T50" fmla="*/ 0 w 20000"/>
                  <a:gd name="T51" fmla="*/ 6966 h 20000"/>
                  <a:gd name="T52" fmla="*/ 4074 w 20000"/>
                  <a:gd name="T53" fmla="*/ 6966 h 20000"/>
                  <a:gd name="T54" fmla="*/ 4074 w 20000"/>
                  <a:gd name="T55" fmla="*/ 5843 h 20000"/>
                  <a:gd name="T56" fmla="*/ 5926 w 20000"/>
                  <a:gd name="T57" fmla="*/ 3596 h 20000"/>
                  <a:gd name="T58" fmla="*/ 10000 w 20000"/>
                  <a:gd name="T59" fmla="*/ 3596 h 20000"/>
                  <a:gd name="T60" fmla="*/ 11852 w 20000"/>
                  <a:gd name="T61" fmla="*/ 3596 h 20000"/>
                  <a:gd name="T62" fmla="*/ 11852 w 20000"/>
                  <a:gd name="T63" fmla="*/ 1348 h 20000"/>
                  <a:gd name="T64" fmla="*/ 11852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1852" y="0"/>
                    </a:moveTo>
                    <a:lnTo>
                      <a:pt x="15926" y="0"/>
                    </a:lnTo>
                    <a:lnTo>
                      <a:pt x="15926" y="1348"/>
                    </a:lnTo>
                    <a:lnTo>
                      <a:pt x="15926" y="3596"/>
                    </a:lnTo>
                    <a:lnTo>
                      <a:pt x="19630" y="5843"/>
                    </a:lnTo>
                    <a:lnTo>
                      <a:pt x="19630" y="9213"/>
                    </a:lnTo>
                    <a:lnTo>
                      <a:pt x="19630" y="10562"/>
                    </a:lnTo>
                    <a:lnTo>
                      <a:pt x="15926" y="12809"/>
                    </a:lnTo>
                    <a:lnTo>
                      <a:pt x="15926" y="15056"/>
                    </a:lnTo>
                    <a:lnTo>
                      <a:pt x="15926" y="16180"/>
                    </a:lnTo>
                    <a:lnTo>
                      <a:pt x="11852" y="18427"/>
                    </a:lnTo>
                    <a:lnTo>
                      <a:pt x="11852" y="19775"/>
                    </a:lnTo>
                    <a:lnTo>
                      <a:pt x="10000" y="19775"/>
                    </a:lnTo>
                    <a:lnTo>
                      <a:pt x="5926" y="19775"/>
                    </a:lnTo>
                    <a:lnTo>
                      <a:pt x="4074" y="18427"/>
                    </a:lnTo>
                    <a:lnTo>
                      <a:pt x="5926" y="18427"/>
                    </a:lnTo>
                    <a:lnTo>
                      <a:pt x="5926" y="16180"/>
                    </a:lnTo>
                    <a:lnTo>
                      <a:pt x="4074" y="16180"/>
                    </a:lnTo>
                    <a:lnTo>
                      <a:pt x="4074" y="15056"/>
                    </a:lnTo>
                    <a:lnTo>
                      <a:pt x="0" y="15056"/>
                    </a:lnTo>
                    <a:lnTo>
                      <a:pt x="4074" y="12809"/>
                    </a:lnTo>
                    <a:lnTo>
                      <a:pt x="4074" y="10562"/>
                    </a:lnTo>
                    <a:lnTo>
                      <a:pt x="0" y="10562"/>
                    </a:lnTo>
                    <a:lnTo>
                      <a:pt x="0" y="9213"/>
                    </a:lnTo>
                    <a:lnTo>
                      <a:pt x="4074" y="9213"/>
                    </a:lnTo>
                    <a:lnTo>
                      <a:pt x="0" y="6966"/>
                    </a:lnTo>
                    <a:lnTo>
                      <a:pt x="4074" y="6966"/>
                    </a:lnTo>
                    <a:lnTo>
                      <a:pt x="4074" y="5843"/>
                    </a:lnTo>
                    <a:lnTo>
                      <a:pt x="5926" y="3596"/>
                    </a:lnTo>
                    <a:lnTo>
                      <a:pt x="10000" y="3596"/>
                    </a:lnTo>
                    <a:lnTo>
                      <a:pt x="11852" y="3596"/>
                    </a:lnTo>
                    <a:lnTo>
                      <a:pt x="11852" y="1348"/>
                    </a:lnTo>
                    <a:lnTo>
                      <a:pt x="1185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4" name="Freeform 285"/>
              <p:cNvSpPr>
                <a:spLocks/>
              </p:cNvSpPr>
              <p:nvPr/>
            </p:nvSpPr>
            <p:spPr bwMode="auto">
              <a:xfrm>
                <a:off x="4838700" y="2559050"/>
                <a:ext cx="198438" cy="346075"/>
              </a:xfrm>
              <a:custGeom>
                <a:avLst/>
                <a:gdLst>
                  <a:gd name="T0" fmla="*/ 641 w 20000"/>
                  <a:gd name="T1" fmla="*/ 19596 h 20000"/>
                  <a:gd name="T2" fmla="*/ 3974 w 20000"/>
                  <a:gd name="T3" fmla="*/ 17647 h 20000"/>
                  <a:gd name="T4" fmla="*/ 6987 w 20000"/>
                  <a:gd name="T5" fmla="*/ 17500 h 20000"/>
                  <a:gd name="T6" fmla="*/ 6667 w 20000"/>
                  <a:gd name="T7" fmla="*/ 16912 h 20000"/>
                  <a:gd name="T8" fmla="*/ 3974 w 20000"/>
                  <a:gd name="T9" fmla="*/ 16140 h 20000"/>
                  <a:gd name="T10" fmla="*/ 2372 w 20000"/>
                  <a:gd name="T11" fmla="*/ 15993 h 20000"/>
                  <a:gd name="T12" fmla="*/ 5000 w 20000"/>
                  <a:gd name="T13" fmla="*/ 13676 h 20000"/>
                  <a:gd name="T14" fmla="*/ 3333 w 20000"/>
                  <a:gd name="T15" fmla="*/ 13676 h 20000"/>
                  <a:gd name="T16" fmla="*/ 6026 w 20000"/>
                  <a:gd name="T17" fmla="*/ 12904 h 20000"/>
                  <a:gd name="T18" fmla="*/ 7628 w 20000"/>
                  <a:gd name="T19" fmla="*/ 12169 h 20000"/>
                  <a:gd name="T20" fmla="*/ 7628 w 20000"/>
                  <a:gd name="T21" fmla="*/ 11029 h 20000"/>
                  <a:gd name="T22" fmla="*/ 6667 w 20000"/>
                  <a:gd name="T23" fmla="*/ 9669 h 20000"/>
                  <a:gd name="T24" fmla="*/ 7628 w 20000"/>
                  <a:gd name="T25" fmla="*/ 8934 h 20000"/>
                  <a:gd name="T26" fmla="*/ 5000 w 20000"/>
                  <a:gd name="T27" fmla="*/ 9081 h 20000"/>
                  <a:gd name="T28" fmla="*/ 2372 w 20000"/>
                  <a:gd name="T29" fmla="*/ 9081 h 20000"/>
                  <a:gd name="T30" fmla="*/ 3333 w 20000"/>
                  <a:gd name="T31" fmla="*/ 7206 h 20000"/>
                  <a:gd name="T32" fmla="*/ 1667 w 20000"/>
                  <a:gd name="T33" fmla="*/ 6654 h 20000"/>
                  <a:gd name="T34" fmla="*/ 1026 w 20000"/>
                  <a:gd name="T35" fmla="*/ 7022 h 20000"/>
                  <a:gd name="T36" fmla="*/ 2372 w 20000"/>
                  <a:gd name="T37" fmla="*/ 4926 h 20000"/>
                  <a:gd name="T38" fmla="*/ 0 w 20000"/>
                  <a:gd name="T39" fmla="*/ 4559 h 20000"/>
                  <a:gd name="T40" fmla="*/ 1667 w 20000"/>
                  <a:gd name="T41" fmla="*/ 3235 h 20000"/>
                  <a:gd name="T42" fmla="*/ 1026 w 20000"/>
                  <a:gd name="T43" fmla="*/ 2096 h 20000"/>
                  <a:gd name="T44" fmla="*/ 2372 w 20000"/>
                  <a:gd name="T45" fmla="*/ 1103 h 20000"/>
                  <a:gd name="T46" fmla="*/ 3333 w 20000"/>
                  <a:gd name="T47" fmla="*/ 0 h 20000"/>
                  <a:gd name="T48" fmla="*/ 7628 w 20000"/>
                  <a:gd name="T49" fmla="*/ 0 h 20000"/>
                  <a:gd name="T50" fmla="*/ 5256 w 20000"/>
                  <a:gd name="T51" fmla="*/ 1691 h 20000"/>
                  <a:gd name="T52" fmla="*/ 5000 w 20000"/>
                  <a:gd name="T53" fmla="*/ 2647 h 20000"/>
                  <a:gd name="T54" fmla="*/ 10256 w 20000"/>
                  <a:gd name="T55" fmla="*/ 2463 h 20000"/>
                  <a:gd name="T56" fmla="*/ 9615 w 20000"/>
                  <a:gd name="T57" fmla="*/ 3971 h 20000"/>
                  <a:gd name="T58" fmla="*/ 8654 w 20000"/>
                  <a:gd name="T59" fmla="*/ 5699 h 20000"/>
                  <a:gd name="T60" fmla="*/ 6667 w 20000"/>
                  <a:gd name="T61" fmla="*/ 6434 h 20000"/>
                  <a:gd name="T62" fmla="*/ 11282 w 20000"/>
                  <a:gd name="T63" fmla="*/ 7978 h 20000"/>
                  <a:gd name="T64" fmla="*/ 14936 w 20000"/>
                  <a:gd name="T65" fmla="*/ 10662 h 20000"/>
                  <a:gd name="T66" fmla="*/ 14936 w 20000"/>
                  <a:gd name="T67" fmla="*/ 11985 h 20000"/>
                  <a:gd name="T68" fmla="*/ 15577 w 20000"/>
                  <a:gd name="T69" fmla="*/ 13493 h 20000"/>
                  <a:gd name="T70" fmla="*/ 16603 w 20000"/>
                  <a:gd name="T71" fmla="*/ 13676 h 20000"/>
                  <a:gd name="T72" fmla="*/ 19936 w 20000"/>
                  <a:gd name="T73" fmla="*/ 14412 h 20000"/>
                  <a:gd name="T74" fmla="*/ 17949 w 20000"/>
                  <a:gd name="T75" fmla="*/ 16140 h 20000"/>
                  <a:gd name="T76" fmla="*/ 16603 w 20000"/>
                  <a:gd name="T77" fmla="*/ 16912 h 20000"/>
                  <a:gd name="T78" fmla="*/ 17949 w 20000"/>
                  <a:gd name="T79" fmla="*/ 18088 h 20000"/>
                  <a:gd name="T80" fmla="*/ 13910 w 20000"/>
                  <a:gd name="T81" fmla="*/ 18088 h 20000"/>
                  <a:gd name="T82" fmla="*/ 10256 w 20000"/>
                  <a:gd name="T83" fmla="*/ 18456 h 20000"/>
                  <a:gd name="T84" fmla="*/ 6667 w 20000"/>
                  <a:gd name="T85" fmla="*/ 18640 h 20000"/>
                  <a:gd name="T86" fmla="*/ 4359 w 20000"/>
                  <a:gd name="T87"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1667" y="19963"/>
                    </a:moveTo>
                    <a:lnTo>
                      <a:pt x="641" y="19596"/>
                    </a:lnTo>
                    <a:lnTo>
                      <a:pt x="2372" y="19007"/>
                    </a:lnTo>
                    <a:lnTo>
                      <a:pt x="3974" y="17647"/>
                    </a:lnTo>
                    <a:lnTo>
                      <a:pt x="5000" y="17500"/>
                    </a:lnTo>
                    <a:lnTo>
                      <a:pt x="6987" y="17500"/>
                    </a:lnTo>
                    <a:lnTo>
                      <a:pt x="8013" y="16544"/>
                    </a:lnTo>
                    <a:lnTo>
                      <a:pt x="6667" y="16912"/>
                    </a:lnTo>
                    <a:lnTo>
                      <a:pt x="4359" y="16544"/>
                    </a:lnTo>
                    <a:lnTo>
                      <a:pt x="3974" y="16140"/>
                    </a:lnTo>
                    <a:lnTo>
                      <a:pt x="2628" y="16544"/>
                    </a:lnTo>
                    <a:lnTo>
                      <a:pt x="2372" y="15993"/>
                    </a:lnTo>
                    <a:lnTo>
                      <a:pt x="5000" y="14632"/>
                    </a:lnTo>
                    <a:lnTo>
                      <a:pt x="5000" y="13676"/>
                    </a:lnTo>
                    <a:lnTo>
                      <a:pt x="3974" y="13676"/>
                    </a:lnTo>
                    <a:lnTo>
                      <a:pt x="3333" y="13676"/>
                    </a:lnTo>
                    <a:lnTo>
                      <a:pt x="3974" y="13493"/>
                    </a:lnTo>
                    <a:lnTo>
                      <a:pt x="6026" y="12904"/>
                    </a:lnTo>
                    <a:lnTo>
                      <a:pt x="8013" y="12904"/>
                    </a:lnTo>
                    <a:lnTo>
                      <a:pt x="7628" y="12169"/>
                    </a:lnTo>
                    <a:lnTo>
                      <a:pt x="7628" y="11397"/>
                    </a:lnTo>
                    <a:lnTo>
                      <a:pt x="7628" y="11029"/>
                    </a:lnTo>
                    <a:lnTo>
                      <a:pt x="6987" y="11029"/>
                    </a:lnTo>
                    <a:lnTo>
                      <a:pt x="6667" y="9669"/>
                    </a:lnTo>
                    <a:lnTo>
                      <a:pt x="6667" y="9522"/>
                    </a:lnTo>
                    <a:lnTo>
                      <a:pt x="7628" y="8934"/>
                    </a:lnTo>
                    <a:lnTo>
                      <a:pt x="6667" y="8934"/>
                    </a:lnTo>
                    <a:lnTo>
                      <a:pt x="5000" y="9081"/>
                    </a:lnTo>
                    <a:lnTo>
                      <a:pt x="3333" y="9522"/>
                    </a:lnTo>
                    <a:lnTo>
                      <a:pt x="2372" y="9081"/>
                    </a:lnTo>
                    <a:lnTo>
                      <a:pt x="3333" y="7574"/>
                    </a:lnTo>
                    <a:lnTo>
                      <a:pt x="3333" y="7206"/>
                    </a:lnTo>
                    <a:lnTo>
                      <a:pt x="3333" y="6654"/>
                    </a:lnTo>
                    <a:lnTo>
                      <a:pt x="1667" y="6654"/>
                    </a:lnTo>
                    <a:lnTo>
                      <a:pt x="1026" y="7978"/>
                    </a:lnTo>
                    <a:lnTo>
                      <a:pt x="1026" y="7022"/>
                    </a:lnTo>
                    <a:lnTo>
                      <a:pt x="1026" y="5699"/>
                    </a:lnTo>
                    <a:lnTo>
                      <a:pt x="2372" y="4926"/>
                    </a:lnTo>
                    <a:lnTo>
                      <a:pt x="1026" y="5110"/>
                    </a:lnTo>
                    <a:lnTo>
                      <a:pt x="0" y="4559"/>
                    </a:lnTo>
                    <a:lnTo>
                      <a:pt x="1026" y="3971"/>
                    </a:lnTo>
                    <a:lnTo>
                      <a:pt x="1667" y="3235"/>
                    </a:lnTo>
                    <a:lnTo>
                      <a:pt x="641" y="3015"/>
                    </a:lnTo>
                    <a:lnTo>
                      <a:pt x="1026" y="2096"/>
                    </a:lnTo>
                    <a:lnTo>
                      <a:pt x="2372" y="1691"/>
                    </a:lnTo>
                    <a:lnTo>
                      <a:pt x="2372" y="1103"/>
                    </a:lnTo>
                    <a:lnTo>
                      <a:pt x="2628" y="1103"/>
                    </a:lnTo>
                    <a:lnTo>
                      <a:pt x="3333" y="0"/>
                    </a:lnTo>
                    <a:lnTo>
                      <a:pt x="5256" y="147"/>
                    </a:lnTo>
                    <a:lnTo>
                      <a:pt x="7628" y="0"/>
                    </a:lnTo>
                    <a:lnTo>
                      <a:pt x="7628" y="956"/>
                    </a:lnTo>
                    <a:lnTo>
                      <a:pt x="5256" y="1691"/>
                    </a:lnTo>
                    <a:lnTo>
                      <a:pt x="5256" y="2096"/>
                    </a:lnTo>
                    <a:lnTo>
                      <a:pt x="5000" y="2647"/>
                    </a:lnTo>
                    <a:lnTo>
                      <a:pt x="6667" y="2463"/>
                    </a:lnTo>
                    <a:lnTo>
                      <a:pt x="10256" y="2463"/>
                    </a:lnTo>
                    <a:lnTo>
                      <a:pt x="10897" y="3015"/>
                    </a:lnTo>
                    <a:lnTo>
                      <a:pt x="9615" y="3971"/>
                    </a:lnTo>
                    <a:lnTo>
                      <a:pt x="8013" y="5478"/>
                    </a:lnTo>
                    <a:lnTo>
                      <a:pt x="8654" y="5699"/>
                    </a:lnTo>
                    <a:lnTo>
                      <a:pt x="7628" y="6066"/>
                    </a:lnTo>
                    <a:lnTo>
                      <a:pt x="6667" y="6434"/>
                    </a:lnTo>
                    <a:lnTo>
                      <a:pt x="8654" y="6434"/>
                    </a:lnTo>
                    <a:lnTo>
                      <a:pt x="11282" y="7978"/>
                    </a:lnTo>
                    <a:lnTo>
                      <a:pt x="12949" y="9669"/>
                    </a:lnTo>
                    <a:lnTo>
                      <a:pt x="14936" y="10662"/>
                    </a:lnTo>
                    <a:lnTo>
                      <a:pt x="15577" y="11985"/>
                    </a:lnTo>
                    <a:lnTo>
                      <a:pt x="14936" y="11985"/>
                    </a:lnTo>
                    <a:lnTo>
                      <a:pt x="16282" y="13125"/>
                    </a:lnTo>
                    <a:lnTo>
                      <a:pt x="15577" y="13493"/>
                    </a:lnTo>
                    <a:lnTo>
                      <a:pt x="16282" y="14044"/>
                    </a:lnTo>
                    <a:lnTo>
                      <a:pt x="16603" y="13676"/>
                    </a:lnTo>
                    <a:lnTo>
                      <a:pt x="17949" y="13493"/>
                    </a:lnTo>
                    <a:lnTo>
                      <a:pt x="19936" y="14412"/>
                    </a:lnTo>
                    <a:lnTo>
                      <a:pt x="18910" y="15993"/>
                    </a:lnTo>
                    <a:lnTo>
                      <a:pt x="17949" y="16140"/>
                    </a:lnTo>
                    <a:lnTo>
                      <a:pt x="17308" y="16544"/>
                    </a:lnTo>
                    <a:lnTo>
                      <a:pt x="16603" y="16912"/>
                    </a:lnTo>
                    <a:lnTo>
                      <a:pt x="18910" y="17096"/>
                    </a:lnTo>
                    <a:lnTo>
                      <a:pt x="17949" y="18088"/>
                    </a:lnTo>
                    <a:lnTo>
                      <a:pt x="16282" y="18456"/>
                    </a:lnTo>
                    <a:lnTo>
                      <a:pt x="13910" y="18088"/>
                    </a:lnTo>
                    <a:lnTo>
                      <a:pt x="12949" y="18088"/>
                    </a:lnTo>
                    <a:lnTo>
                      <a:pt x="10256" y="18456"/>
                    </a:lnTo>
                    <a:lnTo>
                      <a:pt x="8013" y="18456"/>
                    </a:lnTo>
                    <a:lnTo>
                      <a:pt x="6667" y="18640"/>
                    </a:lnTo>
                    <a:lnTo>
                      <a:pt x="5256" y="19375"/>
                    </a:lnTo>
                    <a:lnTo>
                      <a:pt x="4359" y="19375"/>
                    </a:lnTo>
                    <a:lnTo>
                      <a:pt x="1667" y="1996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5" name="Freeform 284"/>
              <p:cNvSpPr>
                <a:spLocks/>
              </p:cNvSpPr>
              <p:nvPr/>
            </p:nvSpPr>
            <p:spPr bwMode="auto">
              <a:xfrm>
                <a:off x="4792663" y="2698750"/>
                <a:ext cx="63500" cy="50800"/>
              </a:xfrm>
              <a:custGeom>
                <a:avLst/>
                <a:gdLst>
                  <a:gd name="T0" fmla="*/ 5253 w 20000"/>
                  <a:gd name="T1" fmla="*/ 5316 h 20000"/>
                  <a:gd name="T2" fmla="*/ 8283 w 20000"/>
                  <a:gd name="T3" fmla="*/ 2785 h 20000"/>
                  <a:gd name="T4" fmla="*/ 13535 w 20000"/>
                  <a:gd name="T5" fmla="*/ 0 h 20000"/>
                  <a:gd name="T6" fmla="*/ 14545 w 20000"/>
                  <a:gd name="T7" fmla="*/ 0 h 20000"/>
                  <a:gd name="T8" fmla="*/ 17778 w 20000"/>
                  <a:gd name="T9" fmla="*/ 6582 h 20000"/>
                  <a:gd name="T10" fmla="*/ 16566 w 20000"/>
                  <a:gd name="T11" fmla="*/ 9367 h 20000"/>
                  <a:gd name="T12" fmla="*/ 17778 w 20000"/>
                  <a:gd name="T13" fmla="*/ 9367 h 20000"/>
                  <a:gd name="T14" fmla="*/ 19798 w 20000"/>
                  <a:gd name="T15" fmla="*/ 15696 h 20000"/>
                  <a:gd name="T16" fmla="*/ 14545 w 20000"/>
                  <a:gd name="T17" fmla="*/ 19747 h 20000"/>
                  <a:gd name="T18" fmla="*/ 13535 w 20000"/>
                  <a:gd name="T19" fmla="*/ 17215 h 20000"/>
                  <a:gd name="T20" fmla="*/ 11515 w 20000"/>
                  <a:gd name="T21" fmla="*/ 17215 h 20000"/>
                  <a:gd name="T22" fmla="*/ 6263 w 20000"/>
                  <a:gd name="T23" fmla="*/ 10380 h 20000"/>
                  <a:gd name="T24" fmla="*/ 6263 w 20000"/>
                  <a:gd name="T25" fmla="*/ 13165 h 20000"/>
                  <a:gd name="T26" fmla="*/ 6263 w 20000"/>
                  <a:gd name="T27" fmla="*/ 15696 h 20000"/>
                  <a:gd name="T28" fmla="*/ 5253 w 20000"/>
                  <a:gd name="T29" fmla="*/ 17215 h 20000"/>
                  <a:gd name="T30" fmla="*/ 1212 w 20000"/>
                  <a:gd name="T31" fmla="*/ 15696 h 20000"/>
                  <a:gd name="T32" fmla="*/ 0 w 20000"/>
                  <a:gd name="T33" fmla="*/ 10380 h 20000"/>
                  <a:gd name="T34" fmla="*/ 1212 w 20000"/>
                  <a:gd name="T35" fmla="*/ 9367 h 20000"/>
                  <a:gd name="T36" fmla="*/ 1212 w 20000"/>
                  <a:gd name="T37" fmla="*/ 6582 h 20000"/>
                  <a:gd name="T38" fmla="*/ 5253 w 20000"/>
                  <a:gd name="T39" fmla="*/ 531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5253" y="5316"/>
                    </a:moveTo>
                    <a:lnTo>
                      <a:pt x="8283" y="2785"/>
                    </a:lnTo>
                    <a:lnTo>
                      <a:pt x="13535" y="0"/>
                    </a:lnTo>
                    <a:lnTo>
                      <a:pt x="14545" y="0"/>
                    </a:lnTo>
                    <a:lnTo>
                      <a:pt x="17778" y="6582"/>
                    </a:lnTo>
                    <a:lnTo>
                      <a:pt x="16566" y="9367"/>
                    </a:lnTo>
                    <a:lnTo>
                      <a:pt x="17778" y="9367"/>
                    </a:lnTo>
                    <a:lnTo>
                      <a:pt x="19798" y="15696"/>
                    </a:lnTo>
                    <a:lnTo>
                      <a:pt x="14545" y="19747"/>
                    </a:lnTo>
                    <a:lnTo>
                      <a:pt x="13535" y="17215"/>
                    </a:lnTo>
                    <a:lnTo>
                      <a:pt x="11515" y="17215"/>
                    </a:lnTo>
                    <a:lnTo>
                      <a:pt x="6263" y="10380"/>
                    </a:lnTo>
                    <a:lnTo>
                      <a:pt x="6263" y="13165"/>
                    </a:lnTo>
                    <a:lnTo>
                      <a:pt x="6263" y="15696"/>
                    </a:lnTo>
                    <a:lnTo>
                      <a:pt x="5253" y="17215"/>
                    </a:lnTo>
                    <a:lnTo>
                      <a:pt x="1212" y="15696"/>
                    </a:lnTo>
                    <a:lnTo>
                      <a:pt x="0" y="10380"/>
                    </a:lnTo>
                    <a:lnTo>
                      <a:pt x="1212" y="9367"/>
                    </a:lnTo>
                    <a:lnTo>
                      <a:pt x="1212" y="6582"/>
                    </a:lnTo>
                    <a:lnTo>
                      <a:pt x="5253" y="531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6" name="Freeform 283"/>
              <p:cNvSpPr>
                <a:spLocks/>
              </p:cNvSpPr>
              <p:nvPr/>
            </p:nvSpPr>
            <p:spPr bwMode="auto">
              <a:xfrm>
                <a:off x="4818063" y="2568575"/>
                <a:ext cx="17462" cy="26988"/>
              </a:xfrm>
              <a:custGeom>
                <a:avLst/>
                <a:gdLst>
                  <a:gd name="T0" fmla="*/ 0 w 20000"/>
                  <a:gd name="T1" fmla="*/ 19524 h 20000"/>
                  <a:gd name="T2" fmla="*/ 0 w 20000"/>
                  <a:gd name="T3" fmla="*/ 14286 h 20000"/>
                  <a:gd name="T4" fmla="*/ 0 w 20000"/>
                  <a:gd name="T5" fmla="*/ 11905 h 20000"/>
                  <a:gd name="T6" fmla="*/ 0 w 20000"/>
                  <a:gd name="T7" fmla="*/ 6667 h 20000"/>
                  <a:gd name="T8" fmla="*/ 4444 w 20000"/>
                  <a:gd name="T9" fmla="*/ 6667 h 20000"/>
                  <a:gd name="T10" fmla="*/ 4444 w 20000"/>
                  <a:gd name="T11" fmla="*/ 4762 h 20000"/>
                  <a:gd name="T12" fmla="*/ 19259 w 20000"/>
                  <a:gd name="T13" fmla="*/ 0 h 20000"/>
                  <a:gd name="T14" fmla="*/ 19259 w 20000"/>
                  <a:gd name="T15" fmla="*/ 4762 h 20000"/>
                  <a:gd name="T16" fmla="*/ 11852 w 20000"/>
                  <a:gd name="T17" fmla="*/ 11905 h 20000"/>
                  <a:gd name="T18" fmla="*/ 19259 w 20000"/>
                  <a:gd name="T19" fmla="*/ 11905 h 20000"/>
                  <a:gd name="T20" fmla="*/ 11852 w 20000"/>
                  <a:gd name="T21" fmla="*/ 14286 h 20000"/>
                  <a:gd name="T22" fmla="*/ 0 w 20000"/>
                  <a:gd name="T23"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0" y="19524"/>
                    </a:moveTo>
                    <a:lnTo>
                      <a:pt x="0" y="14286"/>
                    </a:lnTo>
                    <a:lnTo>
                      <a:pt x="0" y="11905"/>
                    </a:lnTo>
                    <a:lnTo>
                      <a:pt x="0" y="6667"/>
                    </a:lnTo>
                    <a:lnTo>
                      <a:pt x="4444" y="6667"/>
                    </a:lnTo>
                    <a:lnTo>
                      <a:pt x="4444" y="4762"/>
                    </a:lnTo>
                    <a:lnTo>
                      <a:pt x="19259" y="0"/>
                    </a:lnTo>
                    <a:lnTo>
                      <a:pt x="19259" y="4762"/>
                    </a:lnTo>
                    <a:lnTo>
                      <a:pt x="11852" y="11905"/>
                    </a:lnTo>
                    <a:lnTo>
                      <a:pt x="19259" y="11905"/>
                    </a:lnTo>
                    <a:lnTo>
                      <a:pt x="11852" y="14286"/>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7" name="Freeform 282"/>
              <p:cNvSpPr>
                <a:spLocks/>
              </p:cNvSpPr>
              <p:nvPr/>
            </p:nvSpPr>
            <p:spPr bwMode="auto">
              <a:xfrm>
                <a:off x="4822825" y="2600325"/>
                <a:ext cx="26988" cy="20638"/>
              </a:xfrm>
              <a:custGeom>
                <a:avLst/>
                <a:gdLst>
                  <a:gd name="T0" fmla="*/ 16667 w 20000"/>
                  <a:gd name="T1" fmla="*/ 19375 h 20000"/>
                  <a:gd name="T2" fmla="*/ 11905 w 20000"/>
                  <a:gd name="T3" fmla="*/ 19375 h 20000"/>
                  <a:gd name="T4" fmla="*/ 16667 w 20000"/>
                  <a:gd name="T5" fmla="*/ 19375 h 20000"/>
                  <a:gd name="T6" fmla="*/ 9524 w 20000"/>
                  <a:gd name="T7" fmla="*/ 19375 h 20000"/>
                  <a:gd name="T8" fmla="*/ 4762 w 20000"/>
                  <a:gd name="T9" fmla="*/ 9375 h 20000"/>
                  <a:gd name="T10" fmla="*/ 0 w 20000"/>
                  <a:gd name="T11" fmla="*/ 9375 h 20000"/>
                  <a:gd name="T12" fmla="*/ 4762 w 20000"/>
                  <a:gd name="T13" fmla="*/ 0 h 20000"/>
                  <a:gd name="T14" fmla="*/ 9524 w 20000"/>
                  <a:gd name="T15" fmla="*/ 3750 h 20000"/>
                  <a:gd name="T16" fmla="*/ 9524 w 20000"/>
                  <a:gd name="T17" fmla="*/ 0 h 20000"/>
                  <a:gd name="T18" fmla="*/ 11905 w 20000"/>
                  <a:gd name="T19" fmla="*/ 0 h 20000"/>
                  <a:gd name="T20" fmla="*/ 11905 w 20000"/>
                  <a:gd name="T21" fmla="*/ 13125 h 20000"/>
                  <a:gd name="T22" fmla="*/ 19524 w 20000"/>
                  <a:gd name="T23" fmla="*/ 13125 h 20000"/>
                  <a:gd name="T24" fmla="*/ 16667 w 20000"/>
                  <a:gd name="T25"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6667" y="19375"/>
                    </a:moveTo>
                    <a:lnTo>
                      <a:pt x="11905" y="19375"/>
                    </a:lnTo>
                    <a:lnTo>
                      <a:pt x="16667" y="19375"/>
                    </a:lnTo>
                    <a:lnTo>
                      <a:pt x="9524" y="19375"/>
                    </a:lnTo>
                    <a:lnTo>
                      <a:pt x="4762" y="9375"/>
                    </a:lnTo>
                    <a:lnTo>
                      <a:pt x="0" y="9375"/>
                    </a:lnTo>
                    <a:lnTo>
                      <a:pt x="4762" y="0"/>
                    </a:lnTo>
                    <a:lnTo>
                      <a:pt x="9524" y="3750"/>
                    </a:lnTo>
                    <a:lnTo>
                      <a:pt x="9524" y="0"/>
                    </a:lnTo>
                    <a:lnTo>
                      <a:pt x="11905" y="0"/>
                    </a:lnTo>
                    <a:lnTo>
                      <a:pt x="11905" y="13125"/>
                    </a:lnTo>
                    <a:lnTo>
                      <a:pt x="19524" y="13125"/>
                    </a:lnTo>
                    <a:lnTo>
                      <a:pt x="16667"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8" name="Freeform 281"/>
              <p:cNvSpPr>
                <a:spLocks/>
              </p:cNvSpPr>
              <p:nvPr/>
            </p:nvSpPr>
            <p:spPr bwMode="auto">
              <a:xfrm>
                <a:off x="4949825" y="2473325"/>
                <a:ext cx="17463" cy="33338"/>
              </a:xfrm>
              <a:custGeom>
                <a:avLst/>
                <a:gdLst>
                  <a:gd name="T0" fmla="*/ 7407 w 20000"/>
                  <a:gd name="T1" fmla="*/ 19615 h 20000"/>
                  <a:gd name="T2" fmla="*/ 7407 w 20000"/>
                  <a:gd name="T3" fmla="*/ 11923 h 20000"/>
                  <a:gd name="T4" fmla="*/ 0 w 20000"/>
                  <a:gd name="T5" fmla="*/ 9615 h 20000"/>
                  <a:gd name="T6" fmla="*/ 7407 w 20000"/>
                  <a:gd name="T7" fmla="*/ 9615 h 20000"/>
                  <a:gd name="T8" fmla="*/ 0 w 20000"/>
                  <a:gd name="T9" fmla="*/ 2308 h 20000"/>
                  <a:gd name="T10" fmla="*/ 11852 w 20000"/>
                  <a:gd name="T11" fmla="*/ 0 h 20000"/>
                  <a:gd name="T12" fmla="*/ 11852 w 20000"/>
                  <a:gd name="T13" fmla="*/ 5769 h 20000"/>
                  <a:gd name="T14" fmla="*/ 19259 w 20000"/>
                  <a:gd name="T15" fmla="*/ 11923 h 20000"/>
                  <a:gd name="T16" fmla="*/ 7407 w 20000"/>
                  <a:gd name="T17" fmla="*/ 19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7407" y="19615"/>
                    </a:moveTo>
                    <a:lnTo>
                      <a:pt x="7407" y="11923"/>
                    </a:lnTo>
                    <a:lnTo>
                      <a:pt x="0" y="9615"/>
                    </a:lnTo>
                    <a:lnTo>
                      <a:pt x="7407" y="9615"/>
                    </a:lnTo>
                    <a:lnTo>
                      <a:pt x="0" y="2308"/>
                    </a:lnTo>
                    <a:lnTo>
                      <a:pt x="11852" y="0"/>
                    </a:lnTo>
                    <a:lnTo>
                      <a:pt x="11852" y="5769"/>
                    </a:lnTo>
                    <a:lnTo>
                      <a:pt x="19259" y="11923"/>
                    </a:lnTo>
                    <a:lnTo>
                      <a:pt x="7407"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59" name="Freeform 280"/>
              <p:cNvSpPr>
                <a:spLocks/>
              </p:cNvSpPr>
              <p:nvPr/>
            </p:nvSpPr>
            <p:spPr bwMode="auto">
              <a:xfrm>
                <a:off x="4818063" y="2397125"/>
                <a:ext cx="17462" cy="17463"/>
              </a:xfrm>
              <a:custGeom>
                <a:avLst/>
                <a:gdLst>
                  <a:gd name="T0" fmla="*/ 11852 w 20000"/>
                  <a:gd name="T1" fmla="*/ 19259 h 20000"/>
                  <a:gd name="T2" fmla="*/ 0 w 20000"/>
                  <a:gd name="T3" fmla="*/ 7407 h 20000"/>
                  <a:gd name="T4" fmla="*/ 4444 w 20000"/>
                  <a:gd name="T5" fmla="*/ 0 h 20000"/>
                  <a:gd name="T6" fmla="*/ 19259 w 20000"/>
                  <a:gd name="T7" fmla="*/ 11852 h 20000"/>
                  <a:gd name="T8" fmla="*/ 11852 w 20000"/>
                  <a:gd name="T9" fmla="*/ 19259 h 20000"/>
                </a:gdLst>
                <a:ahLst/>
                <a:cxnLst>
                  <a:cxn ang="0">
                    <a:pos x="T0" y="T1"/>
                  </a:cxn>
                  <a:cxn ang="0">
                    <a:pos x="T2" y="T3"/>
                  </a:cxn>
                  <a:cxn ang="0">
                    <a:pos x="T4" y="T5"/>
                  </a:cxn>
                  <a:cxn ang="0">
                    <a:pos x="T6" y="T7"/>
                  </a:cxn>
                  <a:cxn ang="0">
                    <a:pos x="T8" y="T9"/>
                  </a:cxn>
                </a:cxnLst>
                <a:rect l="0" t="0" r="r" b="b"/>
                <a:pathLst>
                  <a:path w="20000" h="20000">
                    <a:moveTo>
                      <a:pt x="11852" y="19259"/>
                    </a:moveTo>
                    <a:lnTo>
                      <a:pt x="0" y="7407"/>
                    </a:lnTo>
                    <a:lnTo>
                      <a:pt x="4444" y="0"/>
                    </a:lnTo>
                    <a:lnTo>
                      <a:pt x="19259" y="11852"/>
                    </a:lnTo>
                    <a:lnTo>
                      <a:pt x="11852"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0" name="Freeform 279"/>
              <p:cNvSpPr>
                <a:spLocks/>
              </p:cNvSpPr>
              <p:nvPr/>
            </p:nvSpPr>
            <p:spPr bwMode="auto">
              <a:xfrm>
                <a:off x="4908550" y="2535238"/>
                <a:ext cx="17463" cy="11112"/>
              </a:xfrm>
              <a:custGeom>
                <a:avLst/>
                <a:gdLst>
                  <a:gd name="T0" fmla="*/ 19259 w 20000"/>
                  <a:gd name="T1" fmla="*/ 18824 h 20000"/>
                  <a:gd name="T2" fmla="*/ 0 w 20000"/>
                  <a:gd name="T3" fmla="*/ 18824 h 20000"/>
                  <a:gd name="T4" fmla="*/ 0 w 20000"/>
                  <a:gd name="T5" fmla="*/ 0 h 20000"/>
                  <a:gd name="T6" fmla="*/ 7407 w 20000"/>
                  <a:gd name="T7" fmla="*/ 11765 h 20000"/>
                  <a:gd name="T8" fmla="*/ 19259 w 20000"/>
                  <a:gd name="T9" fmla="*/ 11765 h 20000"/>
                  <a:gd name="T10" fmla="*/ 19259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9259" y="18824"/>
                    </a:moveTo>
                    <a:lnTo>
                      <a:pt x="0" y="18824"/>
                    </a:lnTo>
                    <a:lnTo>
                      <a:pt x="0" y="0"/>
                    </a:lnTo>
                    <a:lnTo>
                      <a:pt x="7407" y="11765"/>
                    </a:lnTo>
                    <a:lnTo>
                      <a:pt x="19259" y="11765"/>
                    </a:lnTo>
                    <a:lnTo>
                      <a:pt x="19259"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1" name="Freeform 278"/>
              <p:cNvSpPr>
                <a:spLocks/>
              </p:cNvSpPr>
              <p:nvPr/>
            </p:nvSpPr>
            <p:spPr bwMode="auto">
              <a:xfrm>
                <a:off x="4808538" y="2611438"/>
                <a:ext cx="4762" cy="11112"/>
              </a:xfrm>
              <a:custGeom>
                <a:avLst/>
                <a:gdLst>
                  <a:gd name="T0" fmla="*/ 17143 w 20000"/>
                  <a:gd name="T1" fmla="*/ 18824 h 20000"/>
                  <a:gd name="T2" fmla="*/ 0 w 20000"/>
                  <a:gd name="T3" fmla="*/ 18824 h 20000"/>
                  <a:gd name="T4" fmla="*/ 0 w 20000"/>
                  <a:gd name="T5" fmla="*/ 0 h 20000"/>
                  <a:gd name="T6" fmla="*/ 17143 w 20000"/>
                  <a:gd name="T7" fmla="*/ 7059 h 20000"/>
                  <a:gd name="T8" fmla="*/ 17143 w 20000"/>
                  <a:gd name="T9" fmla="*/ 18824 h 20000"/>
                </a:gdLst>
                <a:ahLst/>
                <a:cxnLst>
                  <a:cxn ang="0">
                    <a:pos x="T0" y="T1"/>
                  </a:cxn>
                  <a:cxn ang="0">
                    <a:pos x="T2" y="T3"/>
                  </a:cxn>
                  <a:cxn ang="0">
                    <a:pos x="T4" y="T5"/>
                  </a:cxn>
                  <a:cxn ang="0">
                    <a:pos x="T6" y="T7"/>
                  </a:cxn>
                  <a:cxn ang="0">
                    <a:pos x="T8" y="T9"/>
                  </a:cxn>
                </a:cxnLst>
                <a:rect l="0" t="0" r="r" b="b"/>
                <a:pathLst>
                  <a:path w="20000" h="20000">
                    <a:moveTo>
                      <a:pt x="17143" y="18824"/>
                    </a:moveTo>
                    <a:lnTo>
                      <a:pt x="0" y="18824"/>
                    </a:lnTo>
                    <a:lnTo>
                      <a:pt x="0" y="0"/>
                    </a:lnTo>
                    <a:lnTo>
                      <a:pt x="17143" y="7059"/>
                    </a:lnTo>
                    <a:lnTo>
                      <a:pt x="1714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2" name="Freeform 277"/>
              <p:cNvSpPr>
                <a:spLocks/>
              </p:cNvSpPr>
              <p:nvPr/>
            </p:nvSpPr>
            <p:spPr bwMode="auto">
              <a:xfrm>
                <a:off x="4802188" y="2600325"/>
                <a:ext cx="11112" cy="4763"/>
              </a:xfrm>
              <a:custGeom>
                <a:avLst/>
                <a:gdLst>
                  <a:gd name="T0" fmla="*/ 18824 w 20000"/>
                  <a:gd name="T1" fmla="*/ 17143 h 20000"/>
                  <a:gd name="T2" fmla="*/ 0 w 20000"/>
                  <a:gd name="T3" fmla="*/ 0 h 20000"/>
                  <a:gd name="T4" fmla="*/ 18824 w 20000"/>
                  <a:gd name="T5" fmla="*/ 0 h 20000"/>
                  <a:gd name="T6" fmla="*/ 18824 w 20000"/>
                  <a:gd name="T7" fmla="*/ 17143 h 20000"/>
                </a:gdLst>
                <a:ahLst/>
                <a:cxnLst>
                  <a:cxn ang="0">
                    <a:pos x="T0" y="T1"/>
                  </a:cxn>
                  <a:cxn ang="0">
                    <a:pos x="T2" y="T3"/>
                  </a:cxn>
                  <a:cxn ang="0">
                    <a:pos x="T4" y="T5"/>
                  </a:cxn>
                  <a:cxn ang="0">
                    <a:pos x="T6" y="T7"/>
                  </a:cxn>
                </a:cxnLst>
                <a:rect l="0" t="0" r="r" b="b"/>
                <a:pathLst>
                  <a:path w="20000" h="20000">
                    <a:moveTo>
                      <a:pt x="18824" y="17143"/>
                    </a:moveTo>
                    <a:lnTo>
                      <a:pt x="0" y="0"/>
                    </a:lnTo>
                    <a:lnTo>
                      <a:pt x="18824" y="0"/>
                    </a:lnTo>
                    <a:lnTo>
                      <a:pt x="18824" y="1714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3" name="Freeform 276"/>
              <p:cNvSpPr>
                <a:spLocks/>
              </p:cNvSpPr>
              <p:nvPr/>
            </p:nvSpPr>
            <p:spPr bwMode="auto">
              <a:xfrm>
                <a:off x="4724400" y="2697163"/>
                <a:ext cx="115888" cy="149225"/>
              </a:xfrm>
              <a:custGeom>
                <a:avLst/>
                <a:gdLst>
                  <a:gd name="T0" fmla="*/ 12527 w 20000"/>
                  <a:gd name="T1" fmla="*/ 2564 h 20000"/>
                  <a:gd name="T2" fmla="*/ 11868 w 20000"/>
                  <a:gd name="T3" fmla="*/ 3932 h 20000"/>
                  <a:gd name="T4" fmla="*/ 14725 w 20000"/>
                  <a:gd name="T5" fmla="*/ 6154 h 20000"/>
                  <a:gd name="T6" fmla="*/ 15385 w 20000"/>
                  <a:gd name="T7" fmla="*/ 4872 h 20000"/>
                  <a:gd name="T8" fmla="*/ 18132 w 20000"/>
                  <a:gd name="T9" fmla="*/ 6154 h 20000"/>
                  <a:gd name="T10" fmla="*/ 19890 w 20000"/>
                  <a:gd name="T11" fmla="*/ 7009 h 20000"/>
                  <a:gd name="T12" fmla="*/ 18132 w 20000"/>
                  <a:gd name="T13" fmla="*/ 7009 h 20000"/>
                  <a:gd name="T14" fmla="*/ 19231 w 20000"/>
                  <a:gd name="T15" fmla="*/ 10598 h 20000"/>
                  <a:gd name="T16" fmla="*/ 19231 w 20000"/>
                  <a:gd name="T17" fmla="*/ 13248 h 20000"/>
                  <a:gd name="T18" fmla="*/ 18132 w 20000"/>
                  <a:gd name="T19" fmla="*/ 14957 h 20000"/>
                  <a:gd name="T20" fmla="*/ 15385 w 20000"/>
                  <a:gd name="T21" fmla="*/ 17265 h 20000"/>
                  <a:gd name="T22" fmla="*/ 9560 w 20000"/>
                  <a:gd name="T23" fmla="*/ 18974 h 20000"/>
                  <a:gd name="T24" fmla="*/ 8022 w 20000"/>
                  <a:gd name="T25" fmla="*/ 18974 h 20000"/>
                  <a:gd name="T26" fmla="*/ 3297 w 20000"/>
                  <a:gd name="T27" fmla="*/ 19915 h 20000"/>
                  <a:gd name="T28" fmla="*/ 3297 w 20000"/>
                  <a:gd name="T29" fmla="*/ 18547 h 20000"/>
                  <a:gd name="T30" fmla="*/ 440 w 20000"/>
                  <a:gd name="T31" fmla="*/ 17607 h 20000"/>
                  <a:gd name="T32" fmla="*/ 0 w 20000"/>
                  <a:gd name="T33" fmla="*/ 17265 h 20000"/>
                  <a:gd name="T34" fmla="*/ 2857 w 20000"/>
                  <a:gd name="T35" fmla="*/ 16325 h 20000"/>
                  <a:gd name="T36" fmla="*/ 3297 w 20000"/>
                  <a:gd name="T37" fmla="*/ 14957 h 20000"/>
                  <a:gd name="T38" fmla="*/ 7363 w 20000"/>
                  <a:gd name="T39" fmla="*/ 14103 h 20000"/>
                  <a:gd name="T40" fmla="*/ 5055 w 20000"/>
                  <a:gd name="T41" fmla="*/ 14103 h 20000"/>
                  <a:gd name="T42" fmla="*/ 4505 w 20000"/>
                  <a:gd name="T43" fmla="*/ 13248 h 20000"/>
                  <a:gd name="T44" fmla="*/ 6264 w 20000"/>
                  <a:gd name="T45" fmla="*/ 11453 h 20000"/>
                  <a:gd name="T46" fmla="*/ 1648 w 20000"/>
                  <a:gd name="T47" fmla="*/ 9231 h 20000"/>
                  <a:gd name="T48" fmla="*/ 4505 w 20000"/>
                  <a:gd name="T49" fmla="*/ 8376 h 20000"/>
                  <a:gd name="T50" fmla="*/ 2857 w 20000"/>
                  <a:gd name="T51" fmla="*/ 6154 h 20000"/>
                  <a:gd name="T52" fmla="*/ 2857 w 20000"/>
                  <a:gd name="T53" fmla="*/ 5726 h 20000"/>
                  <a:gd name="T54" fmla="*/ 6264 w 20000"/>
                  <a:gd name="T55" fmla="*/ 6154 h 20000"/>
                  <a:gd name="T56" fmla="*/ 9121 w 20000"/>
                  <a:gd name="T57" fmla="*/ 5726 h 20000"/>
                  <a:gd name="T58" fmla="*/ 10769 w 20000"/>
                  <a:gd name="T59" fmla="*/ 3932 h 20000"/>
                  <a:gd name="T60" fmla="*/ 8022 w 20000"/>
                  <a:gd name="T61" fmla="*/ 3504 h 20000"/>
                  <a:gd name="T62" fmla="*/ 9560 w 20000"/>
                  <a:gd name="T63" fmla="*/ 2222 h 20000"/>
                  <a:gd name="T64" fmla="*/ 14725 w 20000"/>
                  <a:gd name="T65" fmla="*/ 0 h 20000"/>
                  <a:gd name="T66" fmla="*/ 14725 w 20000"/>
                  <a:gd name="T67" fmla="*/ 222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4725" y="2222"/>
                    </a:moveTo>
                    <a:lnTo>
                      <a:pt x="12527" y="2564"/>
                    </a:lnTo>
                    <a:lnTo>
                      <a:pt x="12527" y="3504"/>
                    </a:lnTo>
                    <a:lnTo>
                      <a:pt x="11868" y="3932"/>
                    </a:lnTo>
                    <a:lnTo>
                      <a:pt x="12527" y="5726"/>
                    </a:lnTo>
                    <a:lnTo>
                      <a:pt x="14725" y="6154"/>
                    </a:lnTo>
                    <a:lnTo>
                      <a:pt x="15385" y="5726"/>
                    </a:lnTo>
                    <a:lnTo>
                      <a:pt x="15385" y="4872"/>
                    </a:lnTo>
                    <a:lnTo>
                      <a:pt x="15385" y="3932"/>
                    </a:lnTo>
                    <a:lnTo>
                      <a:pt x="18132" y="6154"/>
                    </a:lnTo>
                    <a:lnTo>
                      <a:pt x="19231" y="6154"/>
                    </a:lnTo>
                    <a:lnTo>
                      <a:pt x="19890" y="7009"/>
                    </a:lnTo>
                    <a:lnTo>
                      <a:pt x="19231" y="7863"/>
                    </a:lnTo>
                    <a:lnTo>
                      <a:pt x="18132" y="7009"/>
                    </a:lnTo>
                    <a:lnTo>
                      <a:pt x="19231" y="9231"/>
                    </a:lnTo>
                    <a:lnTo>
                      <a:pt x="19231" y="10598"/>
                    </a:lnTo>
                    <a:lnTo>
                      <a:pt x="19231" y="11453"/>
                    </a:lnTo>
                    <a:lnTo>
                      <a:pt x="19231" y="13248"/>
                    </a:lnTo>
                    <a:lnTo>
                      <a:pt x="18132" y="14103"/>
                    </a:lnTo>
                    <a:lnTo>
                      <a:pt x="18132" y="14957"/>
                    </a:lnTo>
                    <a:lnTo>
                      <a:pt x="18132" y="17265"/>
                    </a:lnTo>
                    <a:lnTo>
                      <a:pt x="15385" y="17265"/>
                    </a:lnTo>
                    <a:lnTo>
                      <a:pt x="11868" y="17607"/>
                    </a:lnTo>
                    <a:lnTo>
                      <a:pt x="9560" y="18974"/>
                    </a:lnTo>
                    <a:lnTo>
                      <a:pt x="9560" y="18547"/>
                    </a:lnTo>
                    <a:lnTo>
                      <a:pt x="8022" y="18974"/>
                    </a:lnTo>
                    <a:lnTo>
                      <a:pt x="5055" y="19915"/>
                    </a:lnTo>
                    <a:lnTo>
                      <a:pt x="3297" y="19915"/>
                    </a:lnTo>
                    <a:lnTo>
                      <a:pt x="1648" y="19915"/>
                    </a:lnTo>
                    <a:lnTo>
                      <a:pt x="3297" y="18547"/>
                    </a:lnTo>
                    <a:lnTo>
                      <a:pt x="440" y="18547"/>
                    </a:lnTo>
                    <a:lnTo>
                      <a:pt x="440" y="17607"/>
                    </a:lnTo>
                    <a:lnTo>
                      <a:pt x="2857" y="17265"/>
                    </a:lnTo>
                    <a:lnTo>
                      <a:pt x="0" y="17265"/>
                    </a:lnTo>
                    <a:lnTo>
                      <a:pt x="440" y="16325"/>
                    </a:lnTo>
                    <a:lnTo>
                      <a:pt x="2857" y="16325"/>
                    </a:lnTo>
                    <a:lnTo>
                      <a:pt x="2857" y="15470"/>
                    </a:lnTo>
                    <a:lnTo>
                      <a:pt x="3297" y="14957"/>
                    </a:lnTo>
                    <a:lnTo>
                      <a:pt x="6264" y="14103"/>
                    </a:lnTo>
                    <a:lnTo>
                      <a:pt x="7363" y="14103"/>
                    </a:lnTo>
                    <a:lnTo>
                      <a:pt x="6264" y="13248"/>
                    </a:lnTo>
                    <a:lnTo>
                      <a:pt x="5055" y="14103"/>
                    </a:lnTo>
                    <a:lnTo>
                      <a:pt x="3297" y="14103"/>
                    </a:lnTo>
                    <a:lnTo>
                      <a:pt x="4505" y="13248"/>
                    </a:lnTo>
                    <a:lnTo>
                      <a:pt x="5055" y="11880"/>
                    </a:lnTo>
                    <a:lnTo>
                      <a:pt x="6264" y="11453"/>
                    </a:lnTo>
                    <a:lnTo>
                      <a:pt x="3297" y="10598"/>
                    </a:lnTo>
                    <a:lnTo>
                      <a:pt x="1648" y="9231"/>
                    </a:lnTo>
                    <a:lnTo>
                      <a:pt x="3297" y="8376"/>
                    </a:lnTo>
                    <a:lnTo>
                      <a:pt x="4505" y="8376"/>
                    </a:lnTo>
                    <a:lnTo>
                      <a:pt x="3297" y="7863"/>
                    </a:lnTo>
                    <a:lnTo>
                      <a:pt x="2857" y="6154"/>
                    </a:lnTo>
                    <a:lnTo>
                      <a:pt x="1648" y="7009"/>
                    </a:lnTo>
                    <a:lnTo>
                      <a:pt x="2857" y="5726"/>
                    </a:lnTo>
                    <a:lnTo>
                      <a:pt x="4505" y="5726"/>
                    </a:lnTo>
                    <a:lnTo>
                      <a:pt x="6264" y="6154"/>
                    </a:lnTo>
                    <a:lnTo>
                      <a:pt x="8022" y="5726"/>
                    </a:lnTo>
                    <a:lnTo>
                      <a:pt x="9121" y="5726"/>
                    </a:lnTo>
                    <a:lnTo>
                      <a:pt x="9560" y="4872"/>
                    </a:lnTo>
                    <a:lnTo>
                      <a:pt x="10769" y="3932"/>
                    </a:lnTo>
                    <a:lnTo>
                      <a:pt x="10769" y="3504"/>
                    </a:lnTo>
                    <a:lnTo>
                      <a:pt x="8022" y="3504"/>
                    </a:lnTo>
                    <a:lnTo>
                      <a:pt x="9121" y="2564"/>
                    </a:lnTo>
                    <a:lnTo>
                      <a:pt x="9560" y="2222"/>
                    </a:lnTo>
                    <a:lnTo>
                      <a:pt x="12527" y="342"/>
                    </a:lnTo>
                    <a:lnTo>
                      <a:pt x="14725" y="0"/>
                    </a:lnTo>
                    <a:lnTo>
                      <a:pt x="16484" y="342"/>
                    </a:lnTo>
                    <a:lnTo>
                      <a:pt x="14725" y="222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4" name="Freeform 275"/>
              <p:cNvSpPr>
                <a:spLocks/>
              </p:cNvSpPr>
              <p:nvPr/>
            </p:nvSpPr>
            <p:spPr bwMode="auto">
              <a:xfrm>
                <a:off x="4433888" y="2187575"/>
                <a:ext cx="250825" cy="152400"/>
              </a:xfrm>
              <a:custGeom>
                <a:avLst/>
                <a:gdLst>
                  <a:gd name="T0" fmla="*/ 7342 w 20000"/>
                  <a:gd name="T1" fmla="*/ 18583 h 20000"/>
                  <a:gd name="T2" fmla="*/ 2582 w 20000"/>
                  <a:gd name="T3" fmla="*/ 17333 h 20000"/>
                  <a:gd name="T4" fmla="*/ 3089 w 20000"/>
                  <a:gd name="T5" fmla="*/ 16000 h 20000"/>
                  <a:gd name="T6" fmla="*/ 3392 w 20000"/>
                  <a:gd name="T7" fmla="*/ 12917 h 20000"/>
                  <a:gd name="T8" fmla="*/ 1013 w 20000"/>
                  <a:gd name="T9" fmla="*/ 10750 h 20000"/>
                  <a:gd name="T10" fmla="*/ 2582 w 20000"/>
                  <a:gd name="T11" fmla="*/ 9500 h 20000"/>
                  <a:gd name="T12" fmla="*/ 5266 w 20000"/>
                  <a:gd name="T13" fmla="*/ 9083 h 20000"/>
                  <a:gd name="T14" fmla="*/ 3899 w 20000"/>
                  <a:gd name="T15" fmla="*/ 8167 h 20000"/>
                  <a:gd name="T16" fmla="*/ 3089 w 20000"/>
                  <a:gd name="T17" fmla="*/ 5583 h 20000"/>
                  <a:gd name="T18" fmla="*/ 0 w 20000"/>
                  <a:gd name="T19" fmla="*/ 6083 h 20000"/>
                  <a:gd name="T20" fmla="*/ 1823 w 20000"/>
                  <a:gd name="T21" fmla="*/ 5583 h 20000"/>
                  <a:gd name="T22" fmla="*/ 1316 w 20000"/>
                  <a:gd name="T23" fmla="*/ 3917 h 20000"/>
                  <a:gd name="T24" fmla="*/ 2076 w 20000"/>
                  <a:gd name="T25" fmla="*/ 1750 h 20000"/>
                  <a:gd name="T26" fmla="*/ 3899 w 20000"/>
                  <a:gd name="T27" fmla="*/ 3417 h 20000"/>
                  <a:gd name="T28" fmla="*/ 4456 w 20000"/>
                  <a:gd name="T29" fmla="*/ 0 h 20000"/>
                  <a:gd name="T30" fmla="*/ 5468 w 20000"/>
                  <a:gd name="T31" fmla="*/ 5583 h 20000"/>
                  <a:gd name="T32" fmla="*/ 6785 w 20000"/>
                  <a:gd name="T33" fmla="*/ 5583 h 20000"/>
                  <a:gd name="T34" fmla="*/ 7848 w 20000"/>
                  <a:gd name="T35" fmla="*/ 6083 h 20000"/>
                  <a:gd name="T36" fmla="*/ 8152 w 20000"/>
                  <a:gd name="T37" fmla="*/ 2583 h 20000"/>
                  <a:gd name="T38" fmla="*/ 9418 w 20000"/>
                  <a:gd name="T39" fmla="*/ 4750 h 20000"/>
                  <a:gd name="T40" fmla="*/ 10228 w 20000"/>
                  <a:gd name="T41" fmla="*/ 2583 h 20000"/>
                  <a:gd name="T42" fmla="*/ 12051 w 20000"/>
                  <a:gd name="T43" fmla="*/ 4750 h 20000"/>
                  <a:gd name="T44" fmla="*/ 12810 w 20000"/>
                  <a:gd name="T45" fmla="*/ 3917 h 20000"/>
                  <a:gd name="T46" fmla="*/ 14430 w 20000"/>
                  <a:gd name="T47" fmla="*/ 3417 h 20000"/>
                  <a:gd name="T48" fmla="*/ 14937 w 20000"/>
                  <a:gd name="T49" fmla="*/ 1333 h 20000"/>
                  <a:gd name="T50" fmla="*/ 16253 w 20000"/>
                  <a:gd name="T51" fmla="*/ 2583 h 20000"/>
                  <a:gd name="T52" fmla="*/ 17570 w 20000"/>
                  <a:gd name="T53" fmla="*/ 3417 h 20000"/>
                  <a:gd name="T54" fmla="*/ 17873 w 20000"/>
                  <a:gd name="T55" fmla="*/ 5583 h 20000"/>
                  <a:gd name="T56" fmla="*/ 19949 w 20000"/>
                  <a:gd name="T57" fmla="*/ 8167 h 20000"/>
                  <a:gd name="T58" fmla="*/ 19646 w 20000"/>
                  <a:gd name="T59" fmla="*/ 10333 h 20000"/>
                  <a:gd name="T60" fmla="*/ 18380 w 20000"/>
                  <a:gd name="T61" fmla="*/ 12917 h 20000"/>
                  <a:gd name="T62" fmla="*/ 16253 w 20000"/>
                  <a:gd name="T63" fmla="*/ 15167 h 20000"/>
                  <a:gd name="T64" fmla="*/ 13367 w 20000"/>
                  <a:gd name="T65" fmla="*/ 18167 h 20000"/>
                  <a:gd name="T66" fmla="*/ 9924 w 20000"/>
                  <a:gd name="T67" fmla="*/ 199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9924" y="19917"/>
                    </a:moveTo>
                    <a:lnTo>
                      <a:pt x="7342" y="18583"/>
                    </a:lnTo>
                    <a:lnTo>
                      <a:pt x="6025" y="17333"/>
                    </a:lnTo>
                    <a:lnTo>
                      <a:pt x="2582" y="17333"/>
                    </a:lnTo>
                    <a:lnTo>
                      <a:pt x="2582" y="16000"/>
                    </a:lnTo>
                    <a:lnTo>
                      <a:pt x="3089" y="16000"/>
                    </a:lnTo>
                    <a:lnTo>
                      <a:pt x="4456" y="14667"/>
                    </a:lnTo>
                    <a:lnTo>
                      <a:pt x="3392" y="12917"/>
                    </a:lnTo>
                    <a:lnTo>
                      <a:pt x="3392" y="10750"/>
                    </a:lnTo>
                    <a:lnTo>
                      <a:pt x="1013" y="10750"/>
                    </a:lnTo>
                    <a:lnTo>
                      <a:pt x="506" y="10333"/>
                    </a:lnTo>
                    <a:lnTo>
                      <a:pt x="2582" y="9500"/>
                    </a:lnTo>
                    <a:lnTo>
                      <a:pt x="4709" y="9500"/>
                    </a:lnTo>
                    <a:lnTo>
                      <a:pt x="5266" y="9083"/>
                    </a:lnTo>
                    <a:lnTo>
                      <a:pt x="4709" y="9083"/>
                    </a:lnTo>
                    <a:lnTo>
                      <a:pt x="3899" y="8167"/>
                    </a:lnTo>
                    <a:lnTo>
                      <a:pt x="4709" y="6917"/>
                    </a:lnTo>
                    <a:lnTo>
                      <a:pt x="3089" y="5583"/>
                    </a:lnTo>
                    <a:lnTo>
                      <a:pt x="1316" y="6917"/>
                    </a:lnTo>
                    <a:lnTo>
                      <a:pt x="0" y="6083"/>
                    </a:lnTo>
                    <a:lnTo>
                      <a:pt x="1013" y="4750"/>
                    </a:lnTo>
                    <a:lnTo>
                      <a:pt x="1823" y="5583"/>
                    </a:lnTo>
                    <a:lnTo>
                      <a:pt x="2076" y="4750"/>
                    </a:lnTo>
                    <a:lnTo>
                      <a:pt x="1316" y="3917"/>
                    </a:lnTo>
                    <a:lnTo>
                      <a:pt x="1823" y="3417"/>
                    </a:lnTo>
                    <a:lnTo>
                      <a:pt x="2076" y="1750"/>
                    </a:lnTo>
                    <a:lnTo>
                      <a:pt x="3089" y="3417"/>
                    </a:lnTo>
                    <a:lnTo>
                      <a:pt x="3899" y="3417"/>
                    </a:lnTo>
                    <a:lnTo>
                      <a:pt x="3089" y="1333"/>
                    </a:lnTo>
                    <a:lnTo>
                      <a:pt x="4456" y="0"/>
                    </a:lnTo>
                    <a:lnTo>
                      <a:pt x="6025" y="2583"/>
                    </a:lnTo>
                    <a:lnTo>
                      <a:pt x="5468" y="5583"/>
                    </a:lnTo>
                    <a:lnTo>
                      <a:pt x="6025" y="7333"/>
                    </a:lnTo>
                    <a:lnTo>
                      <a:pt x="6785" y="5583"/>
                    </a:lnTo>
                    <a:lnTo>
                      <a:pt x="7342" y="6083"/>
                    </a:lnTo>
                    <a:lnTo>
                      <a:pt x="7848" y="6083"/>
                    </a:lnTo>
                    <a:lnTo>
                      <a:pt x="7848" y="3417"/>
                    </a:lnTo>
                    <a:lnTo>
                      <a:pt x="8152" y="2583"/>
                    </a:lnTo>
                    <a:lnTo>
                      <a:pt x="8911" y="5583"/>
                    </a:lnTo>
                    <a:lnTo>
                      <a:pt x="9418" y="4750"/>
                    </a:lnTo>
                    <a:lnTo>
                      <a:pt x="9418" y="3417"/>
                    </a:lnTo>
                    <a:lnTo>
                      <a:pt x="10228" y="2583"/>
                    </a:lnTo>
                    <a:lnTo>
                      <a:pt x="11038" y="3917"/>
                    </a:lnTo>
                    <a:lnTo>
                      <a:pt x="12051" y="4750"/>
                    </a:lnTo>
                    <a:lnTo>
                      <a:pt x="11544" y="2583"/>
                    </a:lnTo>
                    <a:lnTo>
                      <a:pt x="12810" y="3917"/>
                    </a:lnTo>
                    <a:lnTo>
                      <a:pt x="13620" y="2583"/>
                    </a:lnTo>
                    <a:lnTo>
                      <a:pt x="14430" y="3417"/>
                    </a:lnTo>
                    <a:lnTo>
                      <a:pt x="14937" y="2583"/>
                    </a:lnTo>
                    <a:lnTo>
                      <a:pt x="14937" y="1333"/>
                    </a:lnTo>
                    <a:lnTo>
                      <a:pt x="15696" y="500"/>
                    </a:lnTo>
                    <a:lnTo>
                      <a:pt x="16253" y="2583"/>
                    </a:lnTo>
                    <a:lnTo>
                      <a:pt x="18380" y="1750"/>
                    </a:lnTo>
                    <a:lnTo>
                      <a:pt x="17570" y="3417"/>
                    </a:lnTo>
                    <a:lnTo>
                      <a:pt x="18380" y="3417"/>
                    </a:lnTo>
                    <a:lnTo>
                      <a:pt x="17873" y="5583"/>
                    </a:lnTo>
                    <a:lnTo>
                      <a:pt x="18380" y="5583"/>
                    </a:lnTo>
                    <a:lnTo>
                      <a:pt x="19949" y="8167"/>
                    </a:lnTo>
                    <a:lnTo>
                      <a:pt x="19949" y="9500"/>
                    </a:lnTo>
                    <a:lnTo>
                      <a:pt x="19646" y="10333"/>
                    </a:lnTo>
                    <a:lnTo>
                      <a:pt x="19139" y="12583"/>
                    </a:lnTo>
                    <a:lnTo>
                      <a:pt x="18380" y="12917"/>
                    </a:lnTo>
                    <a:lnTo>
                      <a:pt x="17873" y="14667"/>
                    </a:lnTo>
                    <a:lnTo>
                      <a:pt x="16253" y="15167"/>
                    </a:lnTo>
                    <a:lnTo>
                      <a:pt x="14430" y="16333"/>
                    </a:lnTo>
                    <a:lnTo>
                      <a:pt x="13367" y="18167"/>
                    </a:lnTo>
                    <a:lnTo>
                      <a:pt x="11544" y="19417"/>
                    </a:lnTo>
                    <a:lnTo>
                      <a:pt x="9924" y="1991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5" name="Freeform 274"/>
              <p:cNvSpPr>
                <a:spLocks/>
              </p:cNvSpPr>
              <p:nvPr/>
            </p:nvSpPr>
            <p:spPr bwMode="auto">
              <a:xfrm>
                <a:off x="5167313" y="3008313"/>
                <a:ext cx="315912" cy="319087"/>
              </a:xfrm>
              <a:custGeom>
                <a:avLst/>
                <a:gdLst>
                  <a:gd name="T0" fmla="*/ 7470 w 20000"/>
                  <a:gd name="T1" fmla="*/ 636 h 20000"/>
                  <a:gd name="T2" fmla="*/ 8514 w 20000"/>
                  <a:gd name="T3" fmla="*/ 0 h 20000"/>
                  <a:gd name="T4" fmla="*/ 10161 w 20000"/>
                  <a:gd name="T5" fmla="*/ 636 h 20000"/>
                  <a:gd name="T6" fmla="*/ 11406 w 20000"/>
                  <a:gd name="T7" fmla="*/ 1431 h 20000"/>
                  <a:gd name="T8" fmla="*/ 12249 w 20000"/>
                  <a:gd name="T9" fmla="*/ 2664 h 20000"/>
                  <a:gd name="T10" fmla="*/ 12249 w 20000"/>
                  <a:gd name="T11" fmla="*/ 3698 h 20000"/>
                  <a:gd name="T12" fmla="*/ 11245 w 20000"/>
                  <a:gd name="T13" fmla="*/ 3062 h 20000"/>
                  <a:gd name="T14" fmla="*/ 10602 w 20000"/>
                  <a:gd name="T15" fmla="*/ 3300 h 20000"/>
                  <a:gd name="T16" fmla="*/ 9116 w 20000"/>
                  <a:gd name="T17" fmla="*/ 3897 h 20000"/>
                  <a:gd name="T18" fmla="*/ 9116 w 20000"/>
                  <a:gd name="T19" fmla="*/ 4930 h 20000"/>
                  <a:gd name="T20" fmla="*/ 11406 w 20000"/>
                  <a:gd name="T21" fmla="*/ 8032 h 20000"/>
                  <a:gd name="T22" fmla="*/ 14940 w 20000"/>
                  <a:gd name="T23" fmla="*/ 11292 h 20000"/>
                  <a:gd name="T24" fmla="*/ 15783 w 20000"/>
                  <a:gd name="T25" fmla="*/ 11690 h 20000"/>
                  <a:gd name="T26" fmla="*/ 15582 w 20000"/>
                  <a:gd name="T27" fmla="*/ 12326 h 20000"/>
                  <a:gd name="T28" fmla="*/ 18474 w 20000"/>
                  <a:gd name="T29" fmla="*/ 13559 h 20000"/>
                  <a:gd name="T30" fmla="*/ 19960 w 20000"/>
                  <a:gd name="T31" fmla="*/ 15626 h 20000"/>
                  <a:gd name="T32" fmla="*/ 18876 w 20000"/>
                  <a:gd name="T33" fmla="*/ 15229 h 20000"/>
                  <a:gd name="T34" fmla="*/ 17430 w 20000"/>
                  <a:gd name="T35" fmla="*/ 14394 h 20000"/>
                  <a:gd name="T36" fmla="*/ 16586 w 20000"/>
                  <a:gd name="T37" fmla="*/ 16064 h 20000"/>
                  <a:gd name="T38" fmla="*/ 17430 w 20000"/>
                  <a:gd name="T39" fmla="*/ 16223 h 20000"/>
                  <a:gd name="T40" fmla="*/ 16827 w 20000"/>
                  <a:gd name="T41" fmla="*/ 17853 h 20000"/>
                  <a:gd name="T42" fmla="*/ 16185 w 20000"/>
                  <a:gd name="T43" fmla="*/ 19563 h 20000"/>
                  <a:gd name="T44" fmla="*/ 15582 w 20000"/>
                  <a:gd name="T45" fmla="*/ 19324 h 20000"/>
                  <a:gd name="T46" fmla="*/ 15783 w 20000"/>
                  <a:gd name="T47" fmla="*/ 18330 h 20000"/>
                  <a:gd name="T48" fmla="*/ 15181 w 20000"/>
                  <a:gd name="T49" fmla="*/ 15229 h 20000"/>
                  <a:gd name="T50" fmla="*/ 14137 w 20000"/>
                  <a:gd name="T51" fmla="*/ 14990 h 20000"/>
                  <a:gd name="T52" fmla="*/ 13896 w 20000"/>
                  <a:gd name="T53" fmla="*/ 13956 h 20000"/>
                  <a:gd name="T54" fmla="*/ 12892 w 20000"/>
                  <a:gd name="T55" fmla="*/ 13559 h 20000"/>
                  <a:gd name="T56" fmla="*/ 12249 w 20000"/>
                  <a:gd name="T57" fmla="*/ 13360 h 20000"/>
                  <a:gd name="T58" fmla="*/ 10763 w 20000"/>
                  <a:gd name="T59" fmla="*/ 12565 h 20000"/>
                  <a:gd name="T60" fmla="*/ 8715 w 20000"/>
                  <a:gd name="T61" fmla="*/ 10895 h 20000"/>
                  <a:gd name="T62" fmla="*/ 7470 w 20000"/>
                  <a:gd name="T63" fmla="*/ 9662 h 20000"/>
                  <a:gd name="T64" fmla="*/ 6225 w 20000"/>
                  <a:gd name="T65" fmla="*/ 9264 h 20000"/>
                  <a:gd name="T66" fmla="*/ 6225 w 20000"/>
                  <a:gd name="T67" fmla="*/ 8191 h 20000"/>
                  <a:gd name="T68" fmla="*/ 5382 w 20000"/>
                  <a:gd name="T69" fmla="*/ 6561 h 20000"/>
                  <a:gd name="T70" fmla="*/ 3534 w 20000"/>
                  <a:gd name="T71" fmla="*/ 6402 h 20000"/>
                  <a:gd name="T72" fmla="*/ 2048 w 20000"/>
                  <a:gd name="T73" fmla="*/ 7396 h 20000"/>
                  <a:gd name="T74" fmla="*/ 1888 w 20000"/>
                  <a:gd name="T75" fmla="*/ 6958 h 20000"/>
                  <a:gd name="T76" fmla="*/ 1446 w 20000"/>
                  <a:gd name="T77" fmla="*/ 6561 h 20000"/>
                  <a:gd name="T78" fmla="*/ 402 w 20000"/>
                  <a:gd name="T79" fmla="*/ 4692 h 20000"/>
                  <a:gd name="T80" fmla="*/ 803 w 20000"/>
                  <a:gd name="T81" fmla="*/ 4294 h 20000"/>
                  <a:gd name="T82" fmla="*/ 803 w 20000"/>
                  <a:gd name="T83" fmla="*/ 2664 h 20000"/>
                  <a:gd name="T84" fmla="*/ 2048 w 20000"/>
                  <a:gd name="T85" fmla="*/ 2664 h 20000"/>
                  <a:gd name="T86" fmla="*/ 4177 w 20000"/>
                  <a:gd name="T87" fmla="*/ 2266 h 20000"/>
                  <a:gd name="T88" fmla="*/ 4337 w 20000"/>
                  <a:gd name="T89" fmla="*/ 1431 h 20000"/>
                  <a:gd name="T90" fmla="*/ 5181 w 20000"/>
                  <a:gd name="T91" fmla="*/ 1630 h 20000"/>
                  <a:gd name="T92" fmla="*/ 5823 w 20000"/>
                  <a:gd name="T93" fmla="*/ 2028 h 20000"/>
                  <a:gd name="T94" fmla="*/ 6225 w 20000"/>
                  <a:gd name="T95" fmla="*/ 14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6426" y="636"/>
                    </a:moveTo>
                    <a:lnTo>
                      <a:pt x="7470" y="636"/>
                    </a:lnTo>
                    <a:lnTo>
                      <a:pt x="7470" y="0"/>
                    </a:lnTo>
                    <a:lnTo>
                      <a:pt x="8514" y="0"/>
                    </a:lnTo>
                    <a:lnTo>
                      <a:pt x="9116" y="0"/>
                    </a:lnTo>
                    <a:lnTo>
                      <a:pt x="10161" y="636"/>
                    </a:lnTo>
                    <a:lnTo>
                      <a:pt x="11245" y="1431"/>
                    </a:lnTo>
                    <a:lnTo>
                      <a:pt x="11406" y="1431"/>
                    </a:lnTo>
                    <a:lnTo>
                      <a:pt x="11245" y="1630"/>
                    </a:lnTo>
                    <a:lnTo>
                      <a:pt x="12249" y="2664"/>
                    </a:lnTo>
                    <a:lnTo>
                      <a:pt x="12450" y="3300"/>
                    </a:lnTo>
                    <a:lnTo>
                      <a:pt x="12249" y="3698"/>
                    </a:lnTo>
                    <a:lnTo>
                      <a:pt x="11406" y="3300"/>
                    </a:lnTo>
                    <a:lnTo>
                      <a:pt x="11245" y="3062"/>
                    </a:lnTo>
                    <a:lnTo>
                      <a:pt x="10602" y="3062"/>
                    </a:lnTo>
                    <a:lnTo>
                      <a:pt x="10602" y="3300"/>
                    </a:lnTo>
                    <a:lnTo>
                      <a:pt x="9759" y="3698"/>
                    </a:lnTo>
                    <a:lnTo>
                      <a:pt x="9116" y="3897"/>
                    </a:lnTo>
                    <a:lnTo>
                      <a:pt x="9518" y="4692"/>
                    </a:lnTo>
                    <a:lnTo>
                      <a:pt x="9116" y="4930"/>
                    </a:lnTo>
                    <a:lnTo>
                      <a:pt x="9116" y="5765"/>
                    </a:lnTo>
                    <a:lnTo>
                      <a:pt x="11406" y="8032"/>
                    </a:lnTo>
                    <a:lnTo>
                      <a:pt x="12892" y="10298"/>
                    </a:lnTo>
                    <a:lnTo>
                      <a:pt x="14940" y="11292"/>
                    </a:lnTo>
                    <a:lnTo>
                      <a:pt x="15582" y="11292"/>
                    </a:lnTo>
                    <a:lnTo>
                      <a:pt x="15783" y="11690"/>
                    </a:lnTo>
                    <a:lnTo>
                      <a:pt x="15582" y="11928"/>
                    </a:lnTo>
                    <a:lnTo>
                      <a:pt x="15582" y="12326"/>
                    </a:lnTo>
                    <a:lnTo>
                      <a:pt x="16827" y="12962"/>
                    </a:lnTo>
                    <a:lnTo>
                      <a:pt x="18474" y="13559"/>
                    </a:lnTo>
                    <a:lnTo>
                      <a:pt x="19960" y="14990"/>
                    </a:lnTo>
                    <a:lnTo>
                      <a:pt x="19960" y="15626"/>
                    </a:lnTo>
                    <a:lnTo>
                      <a:pt x="19317" y="15626"/>
                    </a:lnTo>
                    <a:lnTo>
                      <a:pt x="18876" y="15229"/>
                    </a:lnTo>
                    <a:lnTo>
                      <a:pt x="18474" y="14592"/>
                    </a:lnTo>
                    <a:lnTo>
                      <a:pt x="17430" y="14394"/>
                    </a:lnTo>
                    <a:lnTo>
                      <a:pt x="17229" y="14592"/>
                    </a:lnTo>
                    <a:lnTo>
                      <a:pt x="16586" y="16064"/>
                    </a:lnTo>
                    <a:lnTo>
                      <a:pt x="17229" y="16223"/>
                    </a:lnTo>
                    <a:lnTo>
                      <a:pt x="17430" y="16223"/>
                    </a:lnTo>
                    <a:lnTo>
                      <a:pt x="17871" y="17694"/>
                    </a:lnTo>
                    <a:lnTo>
                      <a:pt x="16827" y="17853"/>
                    </a:lnTo>
                    <a:lnTo>
                      <a:pt x="16827" y="18728"/>
                    </a:lnTo>
                    <a:lnTo>
                      <a:pt x="16185" y="19563"/>
                    </a:lnTo>
                    <a:lnTo>
                      <a:pt x="15582" y="19960"/>
                    </a:lnTo>
                    <a:lnTo>
                      <a:pt x="15582" y="19324"/>
                    </a:lnTo>
                    <a:lnTo>
                      <a:pt x="15783" y="18926"/>
                    </a:lnTo>
                    <a:lnTo>
                      <a:pt x="15783" y="18330"/>
                    </a:lnTo>
                    <a:lnTo>
                      <a:pt x="16185" y="17853"/>
                    </a:lnTo>
                    <a:lnTo>
                      <a:pt x="15181" y="15229"/>
                    </a:lnTo>
                    <a:lnTo>
                      <a:pt x="14940" y="15229"/>
                    </a:lnTo>
                    <a:lnTo>
                      <a:pt x="14137" y="14990"/>
                    </a:lnTo>
                    <a:lnTo>
                      <a:pt x="14137" y="14592"/>
                    </a:lnTo>
                    <a:lnTo>
                      <a:pt x="13896" y="13956"/>
                    </a:lnTo>
                    <a:lnTo>
                      <a:pt x="13052" y="13956"/>
                    </a:lnTo>
                    <a:lnTo>
                      <a:pt x="12892" y="13559"/>
                    </a:lnTo>
                    <a:lnTo>
                      <a:pt x="12450" y="13559"/>
                    </a:lnTo>
                    <a:lnTo>
                      <a:pt x="12249" y="13360"/>
                    </a:lnTo>
                    <a:lnTo>
                      <a:pt x="12249" y="12565"/>
                    </a:lnTo>
                    <a:lnTo>
                      <a:pt x="10763" y="12565"/>
                    </a:lnTo>
                    <a:lnTo>
                      <a:pt x="9759" y="12326"/>
                    </a:lnTo>
                    <a:lnTo>
                      <a:pt x="8715" y="10895"/>
                    </a:lnTo>
                    <a:lnTo>
                      <a:pt x="8514" y="10696"/>
                    </a:lnTo>
                    <a:lnTo>
                      <a:pt x="7470" y="9662"/>
                    </a:lnTo>
                    <a:lnTo>
                      <a:pt x="6827" y="9264"/>
                    </a:lnTo>
                    <a:lnTo>
                      <a:pt x="6225" y="9264"/>
                    </a:lnTo>
                    <a:lnTo>
                      <a:pt x="6426" y="8628"/>
                    </a:lnTo>
                    <a:lnTo>
                      <a:pt x="6225" y="8191"/>
                    </a:lnTo>
                    <a:lnTo>
                      <a:pt x="5823" y="7396"/>
                    </a:lnTo>
                    <a:lnTo>
                      <a:pt x="5382" y="6561"/>
                    </a:lnTo>
                    <a:lnTo>
                      <a:pt x="4337" y="6402"/>
                    </a:lnTo>
                    <a:lnTo>
                      <a:pt x="3534" y="6402"/>
                    </a:lnTo>
                    <a:lnTo>
                      <a:pt x="2691" y="6561"/>
                    </a:lnTo>
                    <a:lnTo>
                      <a:pt x="2048" y="7396"/>
                    </a:lnTo>
                    <a:lnTo>
                      <a:pt x="1888" y="7396"/>
                    </a:lnTo>
                    <a:lnTo>
                      <a:pt x="1888" y="6958"/>
                    </a:lnTo>
                    <a:lnTo>
                      <a:pt x="2048" y="6561"/>
                    </a:lnTo>
                    <a:lnTo>
                      <a:pt x="1446" y="6561"/>
                    </a:lnTo>
                    <a:lnTo>
                      <a:pt x="803" y="6402"/>
                    </a:lnTo>
                    <a:lnTo>
                      <a:pt x="402" y="4692"/>
                    </a:lnTo>
                    <a:lnTo>
                      <a:pt x="0" y="4294"/>
                    </a:lnTo>
                    <a:lnTo>
                      <a:pt x="803" y="4294"/>
                    </a:lnTo>
                    <a:lnTo>
                      <a:pt x="402" y="2664"/>
                    </a:lnTo>
                    <a:lnTo>
                      <a:pt x="803" y="2664"/>
                    </a:lnTo>
                    <a:lnTo>
                      <a:pt x="1888" y="2266"/>
                    </a:lnTo>
                    <a:lnTo>
                      <a:pt x="2048" y="2664"/>
                    </a:lnTo>
                    <a:lnTo>
                      <a:pt x="2691" y="2028"/>
                    </a:lnTo>
                    <a:lnTo>
                      <a:pt x="4177" y="2266"/>
                    </a:lnTo>
                    <a:lnTo>
                      <a:pt x="4337" y="2028"/>
                    </a:lnTo>
                    <a:lnTo>
                      <a:pt x="4337" y="1431"/>
                    </a:lnTo>
                    <a:lnTo>
                      <a:pt x="4779" y="1431"/>
                    </a:lnTo>
                    <a:lnTo>
                      <a:pt x="5181" y="1630"/>
                    </a:lnTo>
                    <a:lnTo>
                      <a:pt x="5382" y="1630"/>
                    </a:lnTo>
                    <a:lnTo>
                      <a:pt x="5823" y="2028"/>
                    </a:lnTo>
                    <a:lnTo>
                      <a:pt x="5823" y="1431"/>
                    </a:lnTo>
                    <a:lnTo>
                      <a:pt x="6225" y="1431"/>
                    </a:lnTo>
                    <a:lnTo>
                      <a:pt x="6426" y="6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6" name="Freeform 273"/>
              <p:cNvSpPr>
                <a:spLocks/>
              </p:cNvSpPr>
              <p:nvPr/>
            </p:nvSpPr>
            <p:spPr bwMode="auto">
              <a:xfrm>
                <a:off x="5327650" y="3317875"/>
                <a:ext cx="76200" cy="47625"/>
              </a:xfrm>
              <a:custGeom>
                <a:avLst/>
                <a:gdLst>
                  <a:gd name="T0" fmla="*/ 18167 w 20000"/>
                  <a:gd name="T1" fmla="*/ 19730 h 20000"/>
                  <a:gd name="T2" fmla="*/ 13833 w 20000"/>
                  <a:gd name="T3" fmla="*/ 18108 h 20000"/>
                  <a:gd name="T4" fmla="*/ 12000 w 20000"/>
                  <a:gd name="T5" fmla="*/ 15405 h 20000"/>
                  <a:gd name="T6" fmla="*/ 8667 w 20000"/>
                  <a:gd name="T7" fmla="*/ 12703 h 20000"/>
                  <a:gd name="T8" fmla="*/ 2667 w 20000"/>
                  <a:gd name="T9" fmla="*/ 8378 h 20000"/>
                  <a:gd name="T10" fmla="*/ 0 w 20000"/>
                  <a:gd name="T11" fmla="*/ 7027 h 20000"/>
                  <a:gd name="T12" fmla="*/ 0 w 20000"/>
                  <a:gd name="T13" fmla="*/ 1622 h 20000"/>
                  <a:gd name="T14" fmla="*/ 1833 w 20000"/>
                  <a:gd name="T15" fmla="*/ 0 h 20000"/>
                  <a:gd name="T16" fmla="*/ 2667 w 20000"/>
                  <a:gd name="T17" fmla="*/ 1622 h 20000"/>
                  <a:gd name="T18" fmla="*/ 4500 w 20000"/>
                  <a:gd name="T19" fmla="*/ 0 h 20000"/>
                  <a:gd name="T20" fmla="*/ 5167 w 20000"/>
                  <a:gd name="T21" fmla="*/ 0 h 20000"/>
                  <a:gd name="T22" fmla="*/ 9500 w 20000"/>
                  <a:gd name="T23" fmla="*/ 1622 h 20000"/>
                  <a:gd name="T24" fmla="*/ 19833 w 20000"/>
                  <a:gd name="T25" fmla="*/ 0 h 20000"/>
                  <a:gd name="T26" fmla="*/ 19833 w 20000"/>
                  <a:gd name="T27" fmla="*/ 4324 h 20000"/>
                  <a:gd name="T28" fmla="*/ 18167 w 20000"/>
                  <a:gd name="T29" fmla="*/ 8378 h 20000"/>
                  <a:gd name="T30" fmla="*/ 19833 w 20000"/>
                  <a:gd name="T31" fmla="*/ 15405 h 20000"/>
                  <a:gd name="T32" fmla="*/ 18167 w 20000"/>
                  <a:gd name="T33" fmla="*/ 197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8167" y="19730"/>
                    </a:moveTo>
                    <a:lnTo>
                      <a:pt x="13833" y="18108"/>
                    </a:lnTo>
                    <a:lnTo>
                      <a:pt x="12000" y="15405"/>
                    </a:lnTo>
                    <a:lnTo>
                      <a:pt x="8667" y="12703"/>
                    </a:lnTo>
                    <a:lnTo>
                      <a:pt x="2667" y="8378"/>
                    </a:lnTo>
                    <a:lnTo>
                      <a:pt x="0" y="7027"/>
                    </a:lnTo>
                    <a:lnTo>
                      <a:pt x="0" y="1622"/>
                    </a:lnTo>
                    <a:lnTo>
                      <a:pt x="1833" y="0"/>
                    </a:lnTo>
                    <a:lnTo>
                      <a:pt x="2667" y="1622"/>
                    </a:lnTo>
                    <a:lnTo>
                      <a:pt x="4500" y="0"/>
                    </a:lnTo>
                    <a:lnTo>
                      <a:pt x="5167" y="0"/>
                    </a:lnTo>
                    <a:lnTo>
                      <a:pt x="9500" y="1622"/>
                    </a:lnTo>
                    <a:lnTo>
                      <a:pt x="19833" y="0"/>
                    </a:lnTo>
                    <a:lnTo>
                      <a:pt x="19833" y="4324"/>
                    </a:lnTo>
                    <a:lnTo>
                      <a:pt x="18167" y="8378"/>
                    </a:lnTo>
                    <a:lnTo>
                      <a:pt x="19833" y="15405"/>
                    </a:lnTo>
                    <a:lnTo>
                      <a:pt x="18167" y="197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7" name="Freeform 272"/>
              <p:cNvSpPr>
                <a:spLocks/>
              </p:cNvSpPr>
              <p:nvPr/>
            </p:nvSpPr>
            <p:spPr bwMode="auto">
              <a:xfrm>
                <a:off x="5207000" y="3216275"/>
                <a:ext cx="47625" cy="76200"/>
              </a:xfrm>
              <a:custGeom>
                <a:avLst/>
                <a:gdLst>
                  <a:gd name="T0" fmla="*/ 8378 w 20000"/>
                  <a:gd name="T1" fmla="*/ 19833 h 20000"/>
                  <a:gd name="T2" fmla="*/ 4324 w 20000"/>
                  <a:gd name="T3" fmla="*/ 18167 h 20000"/>
                  <a:gd name="T4" fmla="*/ 4324 w 20000"/>
                  <a:gd name="T5" fmla="*/ 13667 h 20000"/>
                  <a:gd name="T6" fmla="*/ 4324 w 20000"/>
                  <a:gd name="T7" fmla="*/ 13000 h 20000"/>
                  <a:gd name="T8" fmla="*/ 4324 w 20000"/>
                  <a:gd name="T9" fmla="*/ 9500 h 20000"/>
                  <a:gd name="T10" fmla="*/ 4324 w 20000"/>
                  <a:gd name="T11" fmla="*/ 8500 h 20000"/>
                  <a:gd name="T12" fmla="*/ 0 w 20000"/>
                  <a:gd name="T13" fmla="*/ 4333 h 20000"/>
                  <a:gd name="T14" fmla="*/ 1622 w 20000"/>
                  <a:gd name="T15" fmla="*/ 2667 h 20000"/>
                  <a:gd name="T16" fmla="*/ 4324 w 20000"/>
                  <a:gd name="T17" fmla="*/ 2667 h 20000"/>
                  <a:gd name="T18" fmla="*/ 12703 w 20000"/>
                  <a:gd name="T19" fmla="*/ 0 h 20000"/>
                  <a:gd name="T20" fmla="*/ 15676 w 20000"/>
                  <a:gd name="T21" fmla="*/ 0 h 20000"/>
                  <a:gd name="T22" fmla="*/ 19730 w 20000"/>
                  <a:gd name="T23" fmla="*/ 6167 h 20000"/>
                  <a:gd name="T24" fmla="*/ 18378 w 20000"/>
                  <a:gd name="T25" fmla="*/ 6833 h 20000"/>
                  <a:gd name="T26" fmla="*/ 18378 w 20000"/>
                  <a:gd name="T27" fmla="*/ 8500 h 20000"/>
                  <a:gd name="T28" fmla="*/ 15676 w 20000"/>
                  <a:gd name="T29" fmla="*/ 18167 h 20000"/>
                  <a:gd name="T30" fmla="*/ 11622 w 20000"/>
                  <a:gd name="T31" fmla="*/ 16333 h 20000"/>
                  <a:gd name="T32" fmla="*/ 8378 w 20000"/>
                  <a:gd name="T33" fmla="*/ 198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8378" y="19833"/>
                    </a:moveTo>
                    <a:lnTo>
                      <a:pt x="4324" y="18167"/>
                    </a:lnTo>
                    <a:lnTo>
                      <a:pt x="4324" y="13667"/>
                    </a:lnTo>
                    <a:lnTo>
                      <a:pt x="4324" y="13000"/>
                    </a:lnTo>
                    <a:lnTo>
                      <a:pt x="4324" y="9500"/>
                    </a:lnTo>
                    <a:lnTo>
                      <a:pt x="4324" y="8500"/>
                    </a:lnTo>
                    <a:lnTo>
                      <a:pt x="0" y="4333"/>
                    </a:lnTo>
                    <a:lnTo>
                      <a:pt x="1622" y="2667"/>
                    </a:lnTo>
                    <a:lnTo>
                      <a:pt x="4324" y="2667"/>
                    </a:lnTo>
                    <a:lnTo>
                      <a:pt x="12703" y="0"/>
                    </a:lnTo>
                    <a:lnTo>
                      <a:pt x="15676" y="0"/>
                    </a:lnTo>
                    <a:lnTo>
                      <a:pt x="19730" y="6167"/>
                    </a:lnTo>
                    <a:lnTo>
                      <a:pt x="18378" y="6833"/>
                    </a:lnTo>
                    <a:lnTo>
                      <a:pt x="18378" y="8500"/>
                    </a:lnTo>
                    <a:lnTo>
                      <a:pt x="15676" y="18167"/>
                    </a:lnTo>
                    <a:lnTo>
                      <a:pt x="11622" y="16333"/>
                    </a:lnTo>
                    <a:lnTo>
                      <a:pt x="8378" y="1983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8" name="Freeform 271"/>
              <p:cNvSpPr>
                <a:spLocks/>
              </p:cNvSpPr>
              <p:nvPr/>
            </p:nvSpPr>
            <p:spPr bwMode="auto">
              <a:xfrm>
                <a:off x="5140325" y="2892425"/>
                <a:ext cx="23813" cy="26988"/>
              </a:xfrm>
              <a:custGeom>
                <a:avLst/>
                <a:gdLst>
                  <a:gd name="T0" fmla="*/ 0 w 20000"/>
                  <a:gd name="T1" fmla="*/ 19524 h 20000"/>
                  <a:gd name="T2" fmla="*/ 0 w 20000"/>
                  <a:gd name="T3" fmla="*/ 7143 h 20000"/>
                  <a:gd name="T4" fmla="*/ 5405 w 20000"/>
                  <a:gd name="T5" fmla="*/ 2857 h 20000"/>
                  <a:gd name="T6" fmla="*/ 14054 w 20000"/>
                  <a:gd name="T7" fmla="*/ 0 h 20000"/>
                  <a:gd name="T8" fmla="*/ 10811 w 20000"/>
                  <a:gd name="T9" fmla="*/ 7143 h 20000"/>
                  <a:gd name="T10" fmla="*/ 19459 w 20000"/>
                  <a:gd name="T11" fmla="*/ 10000 h 20000"/>
                  <a:gd name="T12" fmla="*/ 19459 w 20000"/>
                  <a:gd name="T13" fmla="*/ 19524 h 20000"/>
                  <a:gd name="T14" fmla="*/ 10811 w 20000"/>
                  <a:gd name="T15" fmla="*/ 19524 h 20000"/>
                  <a:gd name="T16" fmla="*/ 0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9524"/>
                    </a:moveTo>
                    <a:lnTo>
                      <a:pt x="0" y="7143"/>
                    </a:lnTo>
                    <a:lnTo>
                      <a:pt x="5405" y="2857"/>
                    </a:lnTo>
                    <a:lnTo>
                      <a:pt x="14054" y="0"/>
                    </a:lnTo>
                    <a:lnTo>
                      <a:pt x="10811" y="7143"/>
                    </a:lnTo>
                    <a:lnTo>
                      <a:pt x="19459" y="10000"/>
                    </a:lnTo>
                    <a:lnTo>
                      <a:pt x="19459" y="19524"/>
                    </a:lnTo>
                    <a:lnTo>
                      <a:pt x="10811" y="19524"/>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69" name="Freeform 270"/>
              <p:cNvSpPr>
                <a:spLocks/>
              </p:cNvSpPr>
              <p:nvPr/>
            </p:nvSpPr>
            <p:spPr bwMode="auto">
              <a:xfrm>
                <a:off x="5373688" y="3386138"/>
                <a:ext cx="7937" cy="11112"/>
              </a:xfrm>
              <a:custGeom>
                <a:avLst/>
                <a:gdLst>
                  <a:gd name="T0" fmla="*/ 18333 w 20000"/>
                  <a:gd name="T1" fmla="*/ 18824 h 20000"/>
                  <a:gd name="T2" fmla="*/ 0 w 20000"/>
                  <a:gd name="T3" fmla="*/ 0 h 20000"/>
                  <a:gd name="T4" fmla="*/ 18333 w 20000"/>
                  <a:gd name="T5" fmla="*/ 7059 h 20000"/>
                  <a:gd name="T6" fmla="*/ 18333 w 20000"/>
                  <a:gd name="T7" fmla="*/ 18824 h 20000"/>
                </a:gdLst>
                <a:ahLst/>
                <a:cxnLst>
                  <a:cxn ang="0">
                    <a:pos x="T0" y="T1"/>
                  </a:cxn>
                  <a:cxn ang="0">
                    <a:pos x="T2" y="T3"/>
                  </a:cxn>
                  <a:cxn ang="0">
                    <a:pos x="T4" y="T5"/>
                  </a:cxn>
                  <a:cxn ang="0">
                    <a:pos x="T6" y="T7"/>
                  </a:cxn>
                </a:cxnLst>
                <a:rect l="0" t="0" r="r" b="b"/>
                <a:pathLst>
                  <a:path w="20000" h="20000">
                    <a:moveTo>
                      <a:pt x="18333" y="18824"/>
                    </a:moveTo>
                    <a:lnTo>
                      <a:pt x="0" y="0"/>
                    </a:lnTo>
                    <a:lnTo>
                      <a:pt x="18333" y="7059"/>
                    </a:lnTo>
                    <a:lnTo>
                      <a:pt x="1833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0" name="Freeform 269"/>
              <p:cNvSpPr>
                <a:spLocks/>
              </p:cNvSpPr>
              <p:nvPr/>
            </p:nvSpPr>
            <p:spPr bwMode="auto">
              <a:xfrm>
                <a:off x="5084763" y="2765425"/>
                <a:ext cx="95250" cy="112713"/>
              </a:xfrm>
              <a:custGeom>
                <a:avLst/>
                <a:gdLst>
                  <a:gd name="T0" fmla="*/ 0 w 20000"/>
                  <a:gd name="T1" fmla="*/ 15706 h 20000"/>
                  <a:gd name="T2" fmla="*/ 0 w 20000"/>
                  <a:gd name="T3" fmla="*/ 14124 h 20000"/>
                  <a:gd name="T4" fmla="*/ 1867 w 20000"/>
                  <a:gd name="T5" fmla="*/ 12881 h 20000"/>
                  <a:gd name="T6" fmla="*/ 5467 w 20000"/>
                  <a:gd name="T7" fmla="*/ 12881 h 20000"/>
                  <a:gd name="T8" fmla="*/ 2667 w 20000"/>
                  <a:gd name="T9" fmla="*/ 12316 h 20000"/>
                  <a:gd name="T10" fmla="*/ 1867 w 20000"/>
                  <a:gd name="T11" fmla="*/ 11073 h 20000"/>
                  <a:gd name="T12" fmla="*/ 4000 w 20000"/>
                  <a:gd name="T13" fmla="*/ 8136 h 20000"/>
                  <a:gd name="T14" fmla="*/ 5467 w 20000"/>
                  <a:gd name="T15" fmla="*/ 3503 h 20000"/>
                  <a:gd name="T16" fmla="*/ 7600 w 20000"/>
                  <a:gd name="T17" fmla="*/ 6441 h 20000"/>
                  <a:gd name="T18" fmla="*/ 8933 w 20000"/>
                  <a:gd name="T19" fmla="*/ 9266 h 20000"/>
                  <a:gd name="T20" fmla="*/ 10933 w 20000"/>
                  <a:gd name="T21" fmla="*/ 10621 h 20000"/>
                  <a:gd name="T22" fmla="*/ 9600 w 20000"/>
                  <a:gd name="T23" fmla="*/ 7571 h 20000"/>
                  <a:gd name="T24" fmla="*/ 10933 w 20000"/>
                  <a:gd name="T25" fmla="*/ 5311 h 20000"/>
                  <a:gd name="T26" fmla="*/ 9600 w 20000"/>
                  <a:gd name="T27" fmla="*/ 5311 h 20000"/>
                  <a:gd name="T28" fmla="*/ 9600 w 20000"/>
                  <a:gd name="T29" fmla="*/ 3503 h 20000"/>
                  <a:gd name="T30" fmla="*/ 13067 w 20000"/>
                  <a:gd name="T31" fmla="*/ 1808 h 20000"/>
                  <a:gd name="T32" fmla="*/ 16400 w 20000"/>
                  <a:gd name="T33" fmla="*/ 678 h 20000"/>
                  <a:gd name="T34" fmla="*/ 17200 w 20000"/>
                  <a:gd name="T35" fmla="*/ 2938 h 20000"/>
                  <a:gd name="T36" fmla="*/ 17200 w 20000"/>
                  <a:gd name="T37" fmla="*/ 1808 h 20000"/>
                  <a:gd name="T38" fmla="*/ 18533 w 20000"/>
                  <a:gd name="T39" fmla="*/ 0 h 20000"/>
                  <a:gd name="T40" fmla="*/ 19867 w 20000"/>
                  <a:gd name="T41" fmla="*/ 3503 h 20000"/>
                  <a:gd name="T42" fmla="*/ 18533 w 20000"/>
                  <a:gd name="T43" fmla="*/ 6441 h 20000"/>
                  <a:gd name="T44" fmla="*/ 16400 w 20000"/>
                  <a:gd name="T45" fmla="*/ 6441 h 20000"/>
                  <a:gd name="T46" fmla="*/ 17200 w 20000"/>
                  <a:gd name="T47" fmla="*/ 11073 h 20000"/>
                  <a:gd name="T48" fmla="*/ 15067 w 20000"/>
                  <a:gd name="T49" fmla="*/ 11073 h 20000"/>
                  <a:gd name="T50" fmla="*/ 13067 w 20000"/>
                  <a:gd name="T51" fmla="*/ 12316 h 20000"/>
                  <a:gd name="T52" fmla="*/ 15067 w 20000"/>
                  <a:gd name="T53" fmla="*/ 15254 h 20000"/>
                  <a:gd name="T54" fmla="*/ 14400 w 20000"/>
                  <a:gd name="T55" fmla="*/ 17514 h 20000"/>
                  <a:gd name="T56" fmla="*/ 14400 w 20000"/>
                  <a:gd name="T57" fmla="*/ 19887 h 20000"/>
                  <a:gd name="T58" fmla="*/ 10933 w 20000"/>
                  <a:gd name="T59" fmla="*/ 18757 h 20000"/>
                  <a:gd name="T60" fmla="*/ 11733 w 20000"/>
                  <a:gd name="T61" fmla="*/ 16949 h 20000"/>
                  <a:gd name="T62" fmla="*/ 8933 w 20000"/>
                  <a:gd name="T63" fmla="*/ 15706 h 20000"/>
                  <a:gd name="T64" fmla="*/ 6133 w 20000"/>
                  <a:gd name="T65" fmla="*/ 15254 h 20000"/>
                  <a:gd name="T66" fmla="*/ 4000 w 20000"/>
                  <a:gd name="T67" fmla="*/ 15254 h 20000"/>
                  <a:gd name="T68" fmla="*/ 1867 w 20000"/>
                  <a:gd name="T69" fmla="*/ 15706 h 20000"/>
                  <a:gd name="T70" fmla="*/ 533 w 20000"/>
                  <a:gd name="T71" fmla="*/ 16949 h 20000"/>
                  <a:gd name="T72" fmla="*/ 0 w 20000"/>
                  <a:gd name="T73" fmla="*/ 15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0" y="15706"/>
                    </a:moveTo>
                    <a:lnTo>
                      <a:pt x="0" y="14124"/>
                    </a:lnTo>
                    <a:lnTo>
                      <a:pt x="1867" y="12881"/>
                    </a:lnTo>
                    <a:lnTo>
                      <a:pt x="5467" y="12881"/>
                    </a:lnTo>
                    <a:lnTo>
                      <a:pt x="2667" y="12316"/>
                    </a:lnTo>
                    <a:lnTo>
                      <a:pt x="1867" y="11073"/>
                    </a:lnTo>
                    <a:lnTo>
                      <a:pt x="4000" y="8136"/>
                    </a:lnTo>
                    <a:lnTo>
                      <a:pt x="5467" y="3503"/>
                    </a:lnTo>
                    <a:lnTo>
                      <a:pt x="7600" y="6441"/>
                    </a:lnTo>
                    <a:lnTo>
                      <a:pt x="8933" y="9266"/>
                    </a:lnTo>
                    <a:lnTo>
                      <a:pt x="10933" y="10621"/>
                    </a:lnTo>
                    <a:lnTo>
                      <a:pt x="9600" y="7571"/>
                    </a:lnTo>
                    <a:lnTo>
                      <a:pt x="10933" y="5311"/>
                    </a:lnTo>
                    <a:lnTo>
                      <a:pt x="9600" y="5311"/>
                    </a:lnTo>
                    <a:lnTo>
                      <a:pt x="9600" y="3503"/>
                    </a:lnTo>
                    <a:lnTo>
                      <a:pt x="13067" y="1808"/>
                    </a:lnTo>
                    <a:lnTo>
                      <a:pt x="16400" y="678"/>
                    </a:lnTo>
                    <a:lnTo>
                      <a:pt x="17200" y="2938"/>
                    </a:lnTo>
                    <a:lnTo>
                      <a:pt x="17200" y="1808"/>
                    </a:lnTo>
                    <a:lnTo>
                      <a:pt x="18533" y="0"/>
                    </a:lnTo>
                    <a:lnTo>
                      <a:pt x="19867" y="3503"/>
                    </a:lnTo>
                    <a:lnTo>
                      <a:pt x="18533" y="6441"/>
                    </a:lnTo>
                    <a:lnTo>
                      <a:pt x="16400" y="6441"/>
                    </a:lnTo>
                    <a:lnTo>
                      <a:pt x="17200" y="11073"/>
                    </a:lnTo>
                    <a:lnTo>
                      <a:pt x="15067" y="11073"/>
                    </a:lnTo>
                    <a:lnTo>
                      <a:pt x="13067" y="12316"/>
                    </a:lnTo>
                    <a:lnTo>
                      <a:pt x="15067" y="15254"/>
                    </a:lnTo>
                    <a:lnTo>
                      <a:pt x="14400" y="17514"/>
                    </a:lnTo>
                    <a:lnTo>
                      <a:pt x="14400" y="19887"/>
                    </a:lnTo>
                    <a:lnTo>
                      <a:pt x="10933" y="18757"/>
                    </a:lnTo>
                    <a:lnTo>
                      <a:pt x="11733" y="16949"/>
                    </a:lnTo>
                    <a:lnTo>
                      <a:pt x="8933" y="15706"/>
                    </a:lnTo>
                    <a:lnTo>
                      <a:pt x="6133" y="15254"/>
                    </a:lnTo>
                    <a:lnTo>
                      <a:pt x="4000" y="15254"/>
                    </a:lnTo>
                    <a:lnTo>
                      <a:pt x="1867" y="15706"/>
                    </a:lnTo>
                    <a:lnTo>
                      <a:pt x="533" y="16949"/>
                    </a:lnTo>
                    <a:lnTo>
                      <a:pt x="0" y="15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1" name="Freeform 268"/>
              <p:cNvSpPr>
                <a:spLocks/>
              </p:cNvSpPr>
              <p:nvPr/>
            </p:nvSpPr>
            <p:spPr bwMode="auto">
              <a:xfrm>
                <a:off x="5111750" y="1990725"/>
                <a:ext cx="568325" cy="598488"/>
              </a:xfrm>
              <a:custGeom>
                <a:avLst/>
                <a:gdLst>
                  <a:gd name="T0" fmla="*/ 18616 w 20000"/>
                  <a:gd name="T1" fmla="*/ 2293 h 20000"/>
                  <a:gd name="T2" fmla="*/ 16741 w 20000"/>
                  <a:gd name="T3" fmla="*/ 1741 h 20000"/>
                  <a:gd name="T4" fmla="*/ 15603 w 20000"/>
                  <a:gd name="T5" fmla="*/ 3376 h 20000"/>
                  <a:gd name="T6" fmla="*/ 14554 w 20000"/>
                  <a:gd name="T7" fmla="*/ 3503 h 20000"/>
                  <a:gd name="T8" fmla="*/ 12232 w 20000"/>
                  <a:gd name="T9" fmla="*/ 2845 h 20000"/>
                  <a:gd name="T10" fmla="*/ 11674 w 20000"/>
                  <a:gd name="T11" fmla="*/ 3503 h 20000"/>
                  <a:gd name="T12" fmla="*/ 10402 w 20000"/>
                  <a:gd name="T13" fmla="*/ 3843 h 20000"/>
                  <a:gd name="T14" fmla="*/ 9219 w 20000"/>
                  <a:gd name="T15" fmla="*/ 4713 h 20000"/>
                  <a:gd name="T16" fmla="*/ 8304 w 20000"/>
                  <a:gd name="T17" fmla="*/ 6921 h 20000"/>
                  <a:gd name="T18" fmla="*/ 7254 w 20000"/>
                  <a:gd name="T19" fmla="*/ 10106 h 20000"/>
                  <a:gd name="T20" fmla="*/ 6473 w 20000"/>
                  <a:gd name="T21" fmla="*/ 10977 h 20000"/>
                  <a:gd name="T22" fmla="*/ 6116 w 20000"/>
                  <a:gd name="T23" fmla="*/ 13524 h 20000"/>
                  <a:gd name="T24" fmla="*/ 6339 w 20000"/>
                  <a:gd name="T25" fmla="*/ 15605 h 20000"/>
                  <a:gd name="T26" fmla="*/ 6116 w 20000"/>
                  <a:gd name="T27" fmla="*/ 17346 h 20000"/>
                  <a:gd name="T28" fmla="*/ 4955 w 20000"/>
                  <a:gd name="T29" fmla="*/ 17346 h 20000"/>
                  <a:gd name="T30" fmla="*/ 4844 w 20000"/>
                  <a:gd name="T31" fmla="*/ 18132 h 20000"/>
                  <a:gd name="T32" fmla="*/ 3460 w 20000"/>
                  <a:gd name="T33" fmla="*/ 19342 h 20000"/>
                  <a:gd name="T34" fmla="*/ 580 w 20000"/>
                  <a:gd name="T35" fmla="*/ 18556 h 20000"/>
                  <a:gd name="T36" fmla="*/ 692 w 20000"/>
                  <a:gd name="T37" fmla="*/ 18132 h 20000"/>
                  <a:gd name="T38" fmla="*/ 915 w 20000"/>
                  <a:gd name="T39" fmla="*/ 17346 h 20000"/>
                  <a:gd name="T40" fmla="*/ 692 w 20000"/>
                  <a:gd name="T41" fmla="*/ 17028 h 20000"/>
                  <a:gd name="T42" fmla="*/ 89 w 20000"/>
                  <a:gd name="T43" fmla="*/ 15605 h 20000"/>
                  <a:gd name="T44" fmla="*/ 1964 w 20000"/>
                  <a:gd name="T45" fmla="*/ 15372 h 20000"/>
                  <a:gd name="T46" fmla="*/ 89 w 20000"/>
                  <a:gd name="T47" fmla="*/ 15053 h 20000"/>
                  <a:gd name="T48" fmla="*/ 1272 w 20000"/>
                  <a:gd name="T49" fmla="*/ 14480 h 20000"/>
                  <a:gd name="T50" fmla="*/ 915 w 20000"/>
                  <a:gd name="T51" fmla="*/ 13822 h 20000"/>
                  <a:gd name="T52" fmla="*/ 915 w 20000"/>
                  <a:gd name="T53" fmla="*/ 13524 h 20000"/>
                  <a:gd name="T54" fmla="*/ 1607 w 20000"/>
                  <a:gd name="T55" fmla="*/ 12951 h 20000"/>
                  <a:gd name="T56" fmla="*/ 2545 w 20000"/>
                  <a:gd name="T57" fmla="*/ 12611 h 20000"/>
                  <a:gd name="T58" fmla="*/ 3013 w 20000"/>
                  <a:gd name="T59" fmla="*/ 12081 h 20000"/>
                  <a:gd name="T60" fmla="*/ 5201 w 20000"/>
                  <a:gd name="T61" fmla="*/ 11189 h 20000"/>
                  <a:gd name="T62" fmla="*/ 4286 w 20000"/>
                  <a:gd name="T63" fmla="*/ 11189 h 20000"/>
                  <a:gd name="T64" fmla="*/ 5201 w 20000"/>
                  <a:gd name="T65" fmla="*/ 10106 h 20000"/>
                  <a:gd name="T66" fmla="*/ 5893 w 20000"/>
                  <a:gd name="T67" fmla="*/ 9002 h 20000"/>
                  <a:gd name="T68" fmla="*/ 5893 w 20000"/>
                  <a:gd name="T69" fmla="*/ 8450 h 20000"/>
                  <a:gd name="T70" fmla="*/ 7254 w 20000"/>
                  <a:gd name="T71" fmla="*/ 7240 h 20000"/>
                  <a:gd name="T72" fmla="*/ 8214 w 20000"/>
                  <a:gd name="T73" fmla="*/ 6030 h 20000"/>
                  <a:gd name="T74" fmla="*/ 8214 w 20000"/>
                  <a:gd name="T75" fmla="*/ 5711 h 20000"/>
                  <a:gd name="T76" fmla="*/ 7612 w 20000"/>
                  <a:gd name="T77" fmla="*/ 5159 h 20000"/>
                  <a:gd name="T78" fmla="*/ 8772 w 20000"/>
                  <a:gd name="T79" fmla="*/ 4926 h 20000"/>
                  <a:gd name="T80" fmla="*/ 9710 w 20000"/>
                  <a:gd name="T81" fmla="*/ 4289 h 20000"/>
                  <a:gd name="T82" fmla="*/ 9219 w 20000"/>
                  <a:gd name="T83" fmla="*/ 3843 h 20000"/>
                  <a:gd name="T84" fmla="*/ 9219 w 20000"/>
                  <a:gd name="T85" fmla="*/ 3376 h 20000"/>
                  <a:gd name="T86" fmla="*/ 10960 w 20000"/>
                  <a:gd name="T87" fmla="*/ 2951 h 20000"/>
                  <a:gd name="T88" fmla="*/ 11183 w 20000"/>
                  <a:gd name="T89" fmla="*/ 2633 h 20000"/>
                  <a:gd name="T90" fmla="*/ 11897 w 20000"/>
                  <a:gd name="T91" fmla="*/ 2633 h 20000"/>
                  <a:gd name="T92" fmla="*/ 12813 w 20000"/>
                  <a:gd name="T93" fmla="*/ 1741 h 20000"/>
                  <a:gd name="T94" fmla="*/ 13638 w 20000"/>
                  <a:gd name="T95" fmla="*/ 1529 h 20000"/>
                  <a:gd name="T96" fmla="*/ 14330 w 20000"/>
                  <a:gd name="T97" fmla="*/ 637 h 20000"/>
                  <a:gd name="T98" fmla="*/ 15134 w 20000"/>
                  <a:gd name="T99" fmla="*/ 1423 h 20000"/>
                  <a:gd name="T100" fmla="*/ 16161 w 20000"/>
                  <a:gd name="T101" fmla="*/ 1083 h 20000"/>
                  <a:gd name="T102" fmla="*/ 16518 w 20000"/>
                  <a:gd name="T103" fmla="*/ 0 h 20000"/>
                  <a:gd name="T104" fmla="*/ 17567 w 20000"/>
                  <a:gd name="T105" fmla="*/ 637 h 20000"/>
                  <a:gd name="T106" fmla="*/ 18259 w 20000"/>
                  <a:gd name="T107" fmla="*/ 552 h 20000"/>
                  <a:gd name="T108" fmla="*/ 19531 w 20000"/>
                  <a:gd name="T109" fmla="*/ 1083 h 20000"/>
                  <a:gd name="T110" fmla="*/ 19063 w 20000"/>
                  <a:gd name="T111" fmla="*/ 174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00" h="20000">
                    <a:moveTo>
                      <a:pt x="19531" y="2081"/>
                    </a:moveTo>
                    <a:lnTo>
                      <a:pt x="19174" y="2081"/>
                    </a:lnTo>
                    <a:lnTo>
                      <a:pt x="18259" y="3163"/>
                    </a:lnTo>
                    <a:lnTo>
                      <a:pt x="18482" y="2633"/>
                    </a:lnTo>
                    <a:lnTo>
                      <a:pt x="18616" y="2293"/>
                    </a:lnTo>
                    <a:lnTo>
                      <a:pt x="18259" y="1975"/>
                    </a:lnTo>
                    <a:lnTo>
                      <a:pt x="17679" y="1741"/>
                    </a:lnTo>
                    <a:lnTo>
                      <a:pt x="17567" y="1529"/>
                    </a:lnTo>
                    <a:lnTo>
                      <a:pt x="16987" y="1741"/>
                    </a:lnTo>
                    <a:lnTo>
                      <a:pt x="16741" y="1741"/>
                    </a:lnTo>
                    <a:lnTo>
                      <a:pt x="16384" y="1741"/>
                    </a:lnTo>
                    <a:lnTo>
                      <a:pt x="16049" y="2293"/>
                    </a:lnTo>
                    <a:lnTo>
                      <a:pt x="16049" y="2845"/>
                    </a:lnTo>
                    <a:lnTo>
                      <a:pt x="16049" y="3376"/>
                    </a:lnTo>
                    <a:lnTo>
                      <a:pt x="15603" y="3376"/>
                    </a:lnTo>
                    <a:lnTo>
                      <a:pt x="15603" y="3715"/>
                    </a:lnTo>
                    <a:lnTo>
                      <a:pt x="15469" y="3715"/>
                    </a:lnTo>
                    <a:lnTo>
                      <a:pt x="15134" y="3503"/>
                    </a:lnTo>
                    <a:lnTo>
                      <a:pt x="14688" y="3376"/>
                    </a:lnTo>
                    <a:lnTo>
                      <a:pt x="14554" y="3503"/>
                    </a:lnTo>
                    <a:lnTo>
                      <a:pt x="14085" y="3503"/>
                    </a:lnTo>
                    <a:lnTo>
                      <a:pt x="13638" y="3503"/>
                    </a:lnTo>
                    <a:lnTo>
                      <a:pt x="13058" y="2951"/>
                    </a:lnTo>
                    <a:lnTo>
                      <a:pt x="12455" y="2845"/>
                    </a:lnTo>
                    <a:lnTo>
                      <a:pt x="12232" y="2845"/>
                    </a:lnTo>
                    <a:lnTo>
                      <a:pt x="12455" y="3163"/>
                    </a:lnTo>
                    <a:lnTo>
                      <a:pt x="12143" y="2951"/>
                    </a:lnTo>
                    <a:lnTo>
                      <a:pt x="12143" y="3163"/>
                    </a:lnTo>
                    <a:lnTo>
                      <a:pt x="11674" y="3163"/>
                    </a:lnTo>
                    <a:lnTo>
                      <a:pt x="11674" y="3503"/>
                    </a:lnTo>
                    <a:lnTo>
                      <a:pt x="11674" y="3843"/>
                    </a:lnTo>
                    <a:lnTo>
                      <a:pt x="11897" y="4055"/>
                    </a:lnTo>
                    <a:lnTo>
                      <a:pt x="11674" y="4289"/>
                    </a:lnTo>
                    <a:lnTo>
                      <a:pt x="10960" y="4055"/>
                    </a:lnTo>
                    <a:lnTo>
                      <a:pt x="10402" y="3843"/>
                    </a:lnTo>
                    <a:lnTo>
                      <a:pt x="10268" y="4055"/>
                    </a:lnTo>
                    <a:lnTo>
                      <a:pt x="10268" y="4374"/>
                    </a:lnTo>
                    <a:lnTo>
                      <a:pt x="10268" y="4713"/>
                    </a:lnTo>
                    <a:lnTo>
                      <a:pt x="9710" y="4607"/>
                    </a:lnTo>
                    <a:lnTo>
                      <a:pt x="9219" y="4713"/>
                    </a:lnTo>
                    <a:lnTo>
                      <a:pt x="9219" y="5159"/>
                    </a:lnTo>
                    <a:lnTo>
                      <a:pt x="8884" y="5499"/>
                    </a:lnTo>
                    <a:lnTo>
                      <a:pt x="9129" y="6030"/>
                    </a:lnTo>
                    <a:lnTo>
                      <a:pt x="8884" y="6157"/>
                    </a:lnTo>
                    <a:lnTo>
                      <a:pt x="8304" y="6921"/>
                    </a:lnTo>
                    <a:lnTo>
                      <a:pt x="8304" y="7240"/>
                    </a:lnTo>
                    <a:lnTo>
                      <a:pt x="7857" y="7580"/>
                    </a:lnTo>
                    <a:lnTo>
                      <a:pt x="7857" y="8662"/>
                    </a:lnTo>
                    <a:lnTo>
                      <a:pt x="7612" y="9321"/>
                    </a:lnTo>
                    <a:lnTo>
                      <a:pt x="7254" y="10106"/>
                    </a:lnTo>
                    <a:lnTo>
                      <a:pt x="7612" y="10318"/>
                    </a:lnTo>
                    <a:lnTo>
                      <a:pt x="7612" y="10446"/>
                    </a:lnTo>
                    <a:lnTo>
                      <a:pt x="7612" y="10977"/>
                    </a:lnTo>
                    <a:lnTo>
                      <a:pt x="6808" y="10743"/>
                    </a:lnTo>
                    <a:lnTo>
                      <a:pt x="6473" y="10977"/>
                    </a:lnTo>
                    <a:lnTo>
                      <a:pt x="5893" y="11529"/>
                    </a:lnTo>
                    <a:lnTo>
                      <a:pt x="5893" y="12081"/>
                    </a:lnTo>
                    <a:lnTo>
                      <a:pt x="6116" y="12399"/>
                    </a:lnTo>
                    <a:lnTo>
                      <a:pt x="5893" y="12739"/>
                    </a:lnTo>
                    <a:lnTo>
                      <a:pt x="6116" y="13524"/>
                    </a:lnTo>
                    <a:lnTo>
                      <a:pt x="6339" y="14480"/>
                    </a:lnTo>
                    <a:lnTo>
                      <a:pt x="6473" y="14713"/>
                    </a:lnTo>
                    <a:lnTo>
                      <a:pt x="6808" y="15053"/>
                    </a:lnTo>
                    <a:lnTo>
                      <a:pt x="6696" y="15372"/>
                    </a:lnTo>
                    <a:lnTo>
                      <a:pt x="6339" y="15605"/>
                    </a:lnTo>
                    <a:lnTo>
                      <a:pt x="6696" y="16263"/>
                    </a:lnTo>
                    <a:lnTo>
                      <a:pt x="6696" y="16688"/>
                    </a:lnTo>
                    <a:lnTo>
                      <a:pt x="6473" y="17240"/>
                    </a:lnTo>
                    <a:lnTo>
                      <a:pt x="6116" y="17240"/>
                    </a:lnTo>
                    <a:lnTo>
                      <a:pt x="6116" y="17346"/>
                    </a:lnTo>
                    <a:lnTo>
                      <a:pt x="5893" y="17558"/>
                    </a:lnTo>
                    <a:lnTo>
                      <a:pt x="5893" y="18556"/>
                    </a:lnTo>
                    <a:lnTo>
                      <a:pt x="5424" y="18429"/>
                    </a:lnTo>
                    <a:lnTo>
                      <a:pt x="4955" y="18132"/>
                    </a:lnTo>
                    <a:lnTo>
                      <a:pt x="4955" y="17346"/>
                    </a:lnTo>
                    <a:lnTo>
                      <a:pt x="4955" y="17240"/>
                    </a:lnTo>
                    <a:lnTo>
                      <a:pt x="4844" y="17346"/>
                    </a:lnTo>
                    <a:lnTo>
                      <a:pt x="4844" y="17686"/>
                    </a:lnTo>
                    <a:lnTo>
                      <a:pt x="4621" y="17686"/>
                    </a:lnTo>
                    <a:lnTo>
                      <a:pt x="4844" y="18132"/>
                    </a:lnTo>
                    <a:lnTo>
                      <a:pt x="4375" y="18556"/>
                    </a:lnTo>
                    <a:lnTo>
                      <a:pt x="4040" y="18217"/>
                    </a:lnTo>
                    <a:lnTo>
                      <a:pt x="3929" y="18429"/>
                    </a:lnTo>
                    <a:lnTo>
                      <a:pt x="4040" y="18556"/>
                    </a:lnTo>
                    <a:lnTo>
                      <a:pt x="3460" y="19342"/>
                    </a:lnTo>
                    <a:lnTo>
                      <a:pt x="3013" y="19873"/>
                    </a:lnTo>
                    <a:lnTo>
                      <a:pt x="1964" y="19979"/>
                    </a:lnTo>
                    <a:lnTo>
                      <a:pt x="1272" y="19639"/>
                    </a:lnTo>
                    <a:lnTo>
                      <a:pt x="580" y="19002"/>
                    </a:lnTo>
                    <a:lnTo>
                      <a:pt x="580" y="18556"/>
                    </a:lnTo>
                    <a:lnTo>
                      <a:pt x="1049" y="18769"/>
                    </a:lnTo>
                    <a:lnTo>
                      <a:pt x="915" y="18429"/>
                    </a:lnTo>
                    <a:lnTo>
                      <a:pt x="1049" y="17898"/>
                    </a:lnTo>
                    <a:lnTo>
                      <a:pt x="915" y="17898"/>
                    </a:lnTo>
                    <a:lnTo>
                      <a:pt x="692" y="18132"/>
                    </a:lnTo>
                    <a:lnTo>
                      <a:pt x="357" y="18429"/>
                    </a:lnTo>
                    <a:lnTo>
                      <a:pt x="89" y="18132"/>
                    </a:lnTo>
                    <a:lnTo>
                      <a:pt x="580" y="17558"/>
                    </a:lnTo>
                    <a:lnTo>
                      <a:pt x="692" y="17558"/>
                    </a:lnTo>
                    <a:lnTo>
                      <a:pt x="915" y="17346"/>
                    </a:lnTo>
                    <a:lnTo>
                      <a:pt x="692" y="17346"/>
                    </a:lnTo>
                    <a:lnTo>
                      <a:pt x="1049" y="17028"/>
                    </a:lnTo>
                    <a:lnTo>
                      <a:pt x="1607" y="16476"/>
                    </a:lnTo>
                    <a:lnTo>
                      <a:pt x="915" y="16688"/>
                    </a:lnTo>
                    <a:lnTo>
                      <a:pt x="692" y="17028"/>
                    </a:lnTo>
                    <a:lnTo>
                      <a:pt x="580" y="16688"/>
                    </a:lnTo>
                    <a:lnTo>
                      <a:pt x="357" y="17028"/>
                    </a:lnTo>
                    <a:lnTo>
                      <a:pt x="357" y="16476"/>
                    </a:lnTo>
                    <a:lnTo>
                      <a:pt x="89" y="15924"/>
                    </a:lnTo>
                    <a:lnTo>
                      <a:pt x="89" y="15605"/>
                    </a:lnTo>
                    <a:lnTo>
                      <a:pt x="1272" y="15605"/>
                    </a:lnTo>
                    <a:lnTo>
                      <a:pt x="1964" y="15605"/>
                    </a:lnTo>
                    <a:lnTo>
                      <a:pt x="2188" y="15372"/>
                    </a:lnTo>
                    <a:lnTo>
                      <a:pt x="1964" y="15265"/>
                    </a:lnTo>
                    <a:lnTo>
                      <a:pt x="1964" y="15372"/>
                    </a:lnTo>
                    <a:lnTo>
                      <a:pt x="1607" y="15372"/>
                    </a:lnTo>
                    <a:lnTo>
                      <a:pt x="1272" y="15372"/>
                    </a:lnTo>
                    <a:lnTo>
                      <a:pt x="357" y="15372"/>
                    </a:lnTo>
                    <a:lnTo>
                      <a:pt x="89" y="15265"/>
                    </a:lnTo>
                    <a:lnTo>
                      <a:pt x="89" y="15053"/>
                    </a:lnTo>
                    <a:lnTo>
                      <a:pt x="357" y="14926"/>
                    </a:lnTo>
                    <a:lnTo>
                      <a:pt x="0" y="14713"/>
                    </a:lnTo>
                    <a:lnTo>
                      <a:pt x="357" y="14480"/>
                    </a:lnTo>
                    <a:lnTo>
                      <a:pt x="1049" y="14480"/>
                    </a:lnTo>
                    <a:lnTo>
                      <a:pt x="1272" y="14480"/>
                    </a:lnTo>
                    <a:lnTo>
                      <a:pt x="692" y="14161"/>
                    </a:lnTo>
                    <a:lnTo>
                      <a:pt x="89" y="14161"/>
                    </a:lnTo>
                    <a:lnTo>
                      <a:pt x="89" y="13949"/>
                    </a:lnTo>
                    <a:lnTo>
                      <a:pt x="580" y="13949"/>
                    </a:lnTo>
                    <a:lnTo>
                      <a:pt x="915" y="13822"/>
                    </a:lnTo>
                    <a:lnTo>
                      <a:pt x="1607" y="13609"/>
                    </a:lnTo>
                    <a:lnTo>
                      <a:pt x="1607" y="13822"/>
                    </a:lnTo>
                    <a:lnTo>
                      <a:pt x="1830" y="13822"/>
                    </a:lnTo>
                    <a:lnTo>
                      <a:pt x="1607" y="13524"/>
                    </a:lnTo>
                    <a:lnTo>
                      <a:pt x="915" y="13524"/>
                    </a:lnTo>
                    <a:lnTo>
                      <a:pt x="915" y="13270"/>
                    </a:lnTo>
                    <a:lnTo>
                      <a:pt x="1607" y="13057"/>
                    </a:lnTo>
                    <a:lnTo>
                      <a:pt x="1830" y="13270"/>
                    </a:lnTo>
                    <a:lnTo>
                      <a:pt x="2411" y="12951"/>
                    </a:lnTo>
                    <a:lnTo>
                      <a:pt x="1607" y="12951"/>
                    </a:lnTo>
                    <a:lnTo>
                      <a:pt x="1607" y="12739"/>
                    </a:lnTo>
                    <a:lnTo>
                      <a:pt x="2188" y="12951"/>
                    </a:lnTo>
                    <a:lnTo>
                      <a:pt x="2768" y="13057"/>
                    </a:lnTo>
                    <a:lnTo>
                      <a:pt x="2411" y="12739"/>
                    </a:lnTo>
                    <a:lnTo>
                      <a:pt x="2545" y="12611"/>
                    </a:lnTo>
                    <a:lnTo>
                      <a:pt x="3103" y="12951"/>
                    </a:lnTo>
                    <a:lnTo>
                      <a:pt x="3013" y="12611"/>
                    </a:lnTo>
                    <a:lnTo>
                      <a:pt x="2768" y="12399"/>
                    </a:lnTo>
                    <a:lnTo>
                      <a:pt x="3013" y="12399"/>
                    </a:lnTo>
                    <a:lnTo>
                      <a:pt x="3013" y="12081"/>
                    </a:lnTo>
                    <a:lnTo>
                      <a:pt x="3929" y="11635"/>
                    </a:lnTo>
                    <a:lnTo>
                      <a:pt x="4040" y="12081"/>
                    </a:lnTo>
                    <a:lnTo>
                      <a:pt x="4844" y="11868"/>
                    </a:lnTo>
                    <a:lnTo>
                      <a:pt x="5201" y="11316"/>
                    </a:lnTo>
                    <a:lnTo>
                      <a:pt x="5201" y="11189"/>
                    </a:lnTo>
                    <a:lnTo>
                      <a:pt x="5201" y="10977"/>
                    </a:lnTo>
                    <a:lnTo>
                      <a:pt x="4844" y="11316"/>
                    </a:lnTo>
                    <a:lnTo>
                      <a:pt x="4286" y="11868"/>
                    </a:lnTo>
                    <a:lnTo>
                      <a:pt x="3683" y="11529"/>
                    </a:lnTo>
                    <a:lnTo>
                      <a:pt x="4286" y="11189"/>
                    </a:lnTo>
                    <a:lnTo>
                      <a:pt x="4286" y="10977"/>
                    </a:lnTo>
                    <a:lnTo>
                      <a:pt x="4844" y="10318"/>
                    </a:lnTo>
                    <a:lnTo>
                      <a:pt x="5201" y="10446"/>
                    </a:lnTo>
                    <a:lnTo>
                      <a:pt x="5424" y="10106"/>
                    </a:lnTo>
                    <a:lnTo>
                      <a:pt x="5201" y="10106"/>
                    </a:lnTo>
                    <a:lnTo>
                      <a:pt x="5558" y="9533"/>
                    </a:lnTo>
                    <a:lnTo>
                      <a:pt x="5781" y="9214"/>
                    </a:lnTo>
                    <a:lnTo>
                      <a:pt x="6116" y="9321"/>
                    </a:lnTo>
                    <a:lnTo>
                      <a:pt x="6339" y="9002"/>
                    </a:lnTo>
                    <a:lnTo>
                      <a:pt x="5893" y="9002"/>
                    </a:lnTo>
                    <a:lnTo>
                      <a:pt x="5893" y="8896"/>
                    </a:lnTo>
                    <a:lnTo>
                      <a:pt x="5781" y="9002"/>
                    </a:lnTo>
                    <a:lnTo>
                      <a:pt x="5781" y="8450"/>
                    </a:lnTo>
                    <a:lnTo>
                      <a:pt x="6116" y="8662"/>
                    </a:lnTo>
                    <a:lnTo>
                      <a:pt x="5893" y="8450"/>
                    </a:lnTo>
                    <a:lnTo>
                      <a:pt x="6116" y="8004"/>
                    </a:lnTo>
                    <a:lnTo>
                      <a:pt x="6473" y="8004"/>
                    </a:lnTo>
                    <a:lnTo>
                      <a:pt x="6339" y="7580"/>
                    </a:lnTo>
                    <a:lnTo>
                      <a:pt x="7254" y="7452"/>
                    </a:lnTo>
                    <a:lnTo>
                      <a:pt x="7254" y="7240"/>
                    </a:lnTo>
                    <a:lnTo>
                      <a:pt x="6339" y="7452"/>
                    </a:lnTo>
                    <a:lnTo>
                      <a:pt x="6339" y="6921"/>
                    </a:lnTo>
                    <a:lnTo>
                      <a:pt x="6696" y="6369"/>
                    </a:lnTo>
                    <a:lnTo>
                      <a:pt x="7031" y="6030"/>
                    </a:lnTo>
                    <a:lnTo>
                      <a:pt x="8214" y="6030"/>
                    </a:lnTo>
                    <a:lnTo>
                      <a:pt x="8214" y="5817"/>
                    </a:lnTo>
                    <a:lnTo>
                      <a:pt x="7254" y="5817"/>
                    </a:lnTo>
                    <a:lnTo>
                      <a:pt x="7857" y="5499"/>
                    </a:lnTo>
                    <a:lnTo>
                      <a:pt x="7969" y="5499"/>
                    </a:lnTo>
                    <a:lnTo>
                      <a:pt x="8214" y="5711"/>
                    </a:lnTo>
                    <a:lnTo>
                      <a:pt x="8214" y="5499"/>
                    </a:lnTo>
                    <a:lnTo>
                      <a:pt x="7969" y="5244"/>
                    </a:lnTo>
                    <a:lnTo>
                      <a:pt x="8214" y="5159"/>
                    </a:lnTo>
                    <a:lnTo>
                      <a:pt x="7857" y="5244"/>
                    </a:lnTo>
                    <a:lnTo>
                      <a:pt x="7612" y="5159"/>
                    </a:lnTo>
                    <a:lnTo>
                      <a:pt x="8214" y="4926"/>
                    </a:lnTo>
                    <a:lnTo>
                      <a:pt x="8304" y="4926"/>
                    </a:lnTo>
                    <a:lnTo>
                      <a:pt x="8304" y="4713"/>
                    </a:lnTo>
                    <a:lnTo>
                      <a:pt x="8772" y="4713"/>
                    </a:lnTo>
                    <a:lnTo>
                      <a:pt x="8772" y="4926"/>
                    </a:lnTo>
                    <a:lnTo>
                      <a:pt x="8884" y="4713"/>
                    </a:lnTo>
                    <a:lnTo>
                      <a:pt x="8772" y="4713"/>
                    </a:lnTo>
                    <a:lnTo>
                      <a:pt x="8884" y="4289"/>
                    </a:lnTo>
                    <a:lnTo>
                      <a:pt x="9219" y="4289"/>
                    </a:lnTo>
                    <a:lnTo>
                      <a:pt x="9710" y="4289"/>
                    </a:lnTo>
                    <a:lnTo>
                      <a:pt x="9710" y="4055"/>
                    </a:lnTo>
                    <a:lnTo>
                      <a:pt x="9219" y="4289"/>
                    </a:lnTo>
                    <a:lnTo>
                      <a:pt x="8884" y="4289"/>
                    </a:lnTo>
                    <a:lnTo>
                      <a:pt x="9129" y="3843"/>
                    </a:lnTo>
                    <a:lnTo>
                      <a:pt x="9219" y="3843"/>
                    </a:lnTo>
                    <a:lnTo>
                      <a:pt x="9710" y="3503"/>
                    </a:lnTo>
                    <a:lnTo>
                      <a:pt x="9710" y="3376"/>
                    </a:lnTo>
                    <a:lnTo>
                      <a:pt x="9821" y="3163"/>
                    </a:lnTo>
                    <a:lnTo>
                      <a:pt x="9710" y="3163"/>
                    </a:lnTo>
                    <a:lnTo>
                      <a:pt x="9219" y="3376"/>
                    </a:lnTo>
                    <a:lnTo>
                      <a:pt x="9129" y="3163"/>
                    </a:lnTo>
                    <a:lnTo>
                      <a:pt x="9219" y="2845"/>
                    </a:lnTo>
                    <a:lnTo>
                      <a:pt x="10402" y="2633"/>
                    </a:lnTo>
                    <a:lnTo>
                      <a:pt x="10737" y="2951"/>
                    </a:lnTo>
                    <a:lnTo>
                      <a:pt x="10960" y="2951"/>
                    </a:lnTo>
                    <a:lnTo>
                      <a:pt x="10960" y="2845"/>
                    </a:lnTo>
                    <a:lnTo>
                      <a:pt x="10625" y="2845"/>
                    </a:lnTo>
                    <a:lnTo>
                      <a:pt x="10402" y="2420"/>
                    </a:lnTo>
                    <a:lnTo>
                      <a:pt x="10960" y="2081"/>
                    </a:lnTo>
                    <a:lnTo>
                      <a:pt x="11183" y="2633"/>
                    </a:lnTo>
                    <a:lnTo>
                      <a:pt x="11183" y="2293"/>
                    </a:lnTo>
                    <a:lnTo>
                      <a:pt x="11317" y="2081"/>
                    </a:lnTo>
                    <a:lnTo>
                      <a:pt x="11540" y="2845"/>
                    </a:lnTo>
                    <a:lnTo>
                      <a:pt x="11674" y="2845"/>
                    </a:lnTo>
                    <a:lnTo>
                      <a:pt x="11897" y="2633"/>
                    </a:lnTo>
                    <a:lnTo>
                      <a:pt x="11674" y="2293"/>
                    </a:lnTo>
                    <a:lnTo>
                      <a:pt x="12143" y="2081"/>
                    </a:lnTo>
                    <a:lnTo>
                      <a:pt x="12232" y="1975"/>
                    </a:lnTo>
                    <a:lnTo>
                      <a:pt x="12813" y="2293"/>
                    </a:lnTo>
                    <a:lnTo>
                      <a:pt x="12813" y="1741"/>
                    </a:lnTo>
                    <a:lnTo>
                      <a:pt x="12455" y="1741"/>
                    </a:lnTo>
                    <a:lnTo>
                      <a:pt x="12143" y="1423"/>
                    </a:lnTo>
                    <a:lnTo>
                      <a:pt x="12701" y="1423"/>
                    </a:lnTo>
                    <a:lnTo>
                      <a:pt x="13415" y="1423"/>
                    </a:lnTo>
                    <a:lnTo>
                      <a:pt x="13638" y="1529"/>
                    </a:lnTo>
                    <a:lnTo>
                      <a:pt x="13973" y="1210"/>
                    </a:lnTo>
                    <a:lnTo>
                      <a:pt x="13973" y="637"/>
                    </a:lnTo>
                    <a:lnTo>
                      <a:pt x="14330" y="1083"/>
                    </a:lnTo>
                    <a:lnTo>
                      <a:pt x="14554" y="870"/>
                    </a:lnTo>
                    <a:lnTo>
                      <a:pt x="14330" y="637"/>
                    </a:lnTo>
                    <a:lnTo>
                      <a:pt x="14554" y="297"/>
                    </a:lnTo>
                    <a:lnTo>
                      <a:pt x="15134" y="297"/>
                    </a:lnTo>
                    <a:lnTo>
                      <a:pt x="15469" y="297"/>
                    </a:lnTo>
                    <a:lnTo>
                      <a:pt x="15134" y="870"/>
                    </a:lnTo>
                    <a:lnTo>
                      <a:pt x="15134" y="1423"/>
                    </a:lnTo>
                    <a:lnTo>
                      <a:pt x="15246" y="1529"/>
                    </a:lnTo>
                    <a:lnTo>
                      <a:pt x="15246" y="1210"/>
                    </a:lnTo>
                    <a:lnTo>
                      <a:pt x="16049" y="297"/>
                    </a:lnTo>
                    <a:lnTo>
                      <a:pt x="16049" y="637"/>
                    </a:lnTo>
                    <a:lnTo>
                      <a:pt x="16161" y="1083"/>
                    </a:lnTo>
                    <a:lnTo>
                      <a:pt x="16384" y="870"/>
                    </a:lnTo>
                    <a:lnTo>
                      <a:pt x="16518" y="637"/>
                    </a:lnTo>
                    <a:lnTo>
                      <a:pt x="16741" y="552"/>
                    </a:lnTo>
                    <a:lnTo>
                      <a:pt x="16384" y="297"/>
                    </a:lnTo>
                    <a:lnTo>
                      <a:pt x="16518" y="0"/>
                    </a:lnTo>
                    <a:lnTo>
                      <a:pt x="17098" y="0"/>
                    </a:lnTo>
                    <a:lnTo>
                      <a:pt x="17567" y="85"/>
                    </a:lnTo>
                    <a:lnTo>
                      <a:pt x="17567" y="297"/>
                    </a:lnTo>
                    <a:lnTo>
                      <a:pt x="17098" y="552"/>
                    </a:lnTo>
                    <a:lnTo>
                      <a:pt x="17567" y="637"/>
                    </a:lnTo>
                    <a:lnTo>
                      <a:pt x="17098" y="870"/>
                    </a:lnTo>
                    <a:lnTo>
                      <a:pt x="17567" y="870"/>
                    </a:lnTo>
                    <a:lnTo>
                      <a:pt x="17902" y="297"/>
                    </a:lnTo>
                    <a:lnTo>
                      <a:pt x="18013" y="297"/>
                    </a:lnTo>
                    <a:lnTo>
                      <a:pt x="18259" y="552"/>
                    </a:lnTo>
                    <a:lnTo>
                      <a:pt x="18482" y="297"/>
                    </a:lnTo>
                    <a:lnTo>
                      <a:pt x="19063" y="637"/>
                    </a:lnTo>
                    <a:lnTo>
                      <a:pt x="18839" y="637"/>
                    </a:lnTo>
                    <a:lnTo>
                      <a:pt x="19174" y="637"/>
                    </a:lnTo>
                    <a:lnTo>
                      <a:pt x="19531" y="1083"/>
                    </a:lnTo>
                    <a:lnTo>
                      <a:pt x="19063" y="1423"/>
                    </a:lnTo>
                    <a:lnTo>
                      <a:pt x="17902" y="1423"/>
                    </a:lnTo>
                    <a:lnTo>
                      <a:pt x="18482" y="1529"/>
                    </a:lnTo>
                    <a:lnTo>
                      <a:pt x="18839" y="1975"/>
                    </a:lnTo>
                    <a:lnTo>
                      <a:pt x="19063" y="1741"/>
                    </a:lnTo>
                    <a:lnTo>
                      <a:pt x="19397" y="1741"/>
                    </a:lnTo>
                    <a:lnTo>
                      <a:pt x="19754" y="1975"/>
                    </a:lnTo>
                    <a:lnTo>
                      <a:pt x="19978" y="2081"/>
                    </a:lnTo>
                    <a:lnTo>
                      <a:pt x="19531" y="20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2" name="Freeform 267"/>
              <p:cNvSpPr>
                <a:spLocks/>
              </p:cNvSpPr>
              <p:nvPr/>
            </p:nvSpPr>
            <p:spPr bwMode="auto">
              <a:xfrm>
                <a:off x="5335588" y="2095500"/>
                <a:ext cx="30162" cy="26988"/>
              </a:xfrm>
              <a:custGeom>
                <a:avLst/>
                <a:gdLst>
                  <a:gd name="T0" fmla="*/ 1702 w 20000"/>
                  <a:gd name="T1" fmla="*/ 19524 h 20000"/>
                  <a:gd name="T2" fmla="*/ 0 w 20000"/>
                  <a:gd name="T3" fmla="*/ 11905 h 20000"/>
                  <a:gd name="T4" fmla="*/ 8511 w 20000"/>
                  <a:gd name="T5" fmla="*/ 0 h 20000"/>
                  <a:gd name="T6" fmla="*/ 13191 w 20000"/>
                  <a:gd name="T7" fmla="*/ 7143 h 20000"/>
                  <a:gd name="T8" fmla="*/ 17447 w 20000"/>
                  <a:gd name="T9" fmla="*/ 0 h 20000"/>
                  <a:gd name="T10" fmla="*/ 19574 w 20000"/>
                  <a:gd name="T11" fmla="*/ 7143 h 20000"/>
                  <a:gd name="T12" fmla="*/ 8511 w 20000"/>
                  <a:gd name="T13" fmla="*/ 17143 h 20000"/>
                  <a:gd name="T14" fmla="*/ 6809 w 20000"/>
                  <a:gd name="T15" fmla="*/ 19524 h 20000"/>
                  <a:gd name="T16" fmla="*/ 1702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702" y="19524"/>
                    </a:moveTo>
                    <a:lnTo>
                      <a:pt x="0" y="11905"/>
                    </a:lnTo>
                    <a:lnTo>
                      <a:pt x="8511" y="0"/>
                    </a:lnTo>
                    <a:lnTo>
                      <a:pt x="13191" y="7143"/>
                    </a:lnTo>
                    <a:lnTo>
                      <a:pt x="17447" y="0"/>
                    </a:lnTo>
                    <a:lnTo>
                      <a:pt x="19574" y="7143"/>
                    </a:lnTo>
                    <a:lnTo>
                      <a:pt x="8511" y="17143"/>
                    </a:lnTo>
                    <a:lnTo>
                      <a:pt x="6809" y="19524"/>
                    </a:lnTo>
                    <a:lnTo>
                      <a:pt x="1702"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3" name="Freeform 266"/>
              <p:cNvSpPr>
                <a:spLocks/>
              </p:cNvSpPr>
              <p:nvPr/>
            </p:nvSpPr>
            <p:spPr bwMode="auto">
              <a:xfrm>
                <a:off x="5318125" y="2092325"/>
                <a:ext cx="17463" cy="20638"/>
              </a:xfrm>
              <a:custGeom>
                <a:avLst/>
                <a:gdLst>
                  <a:gd name="T0" fmla="*/ 11429 w 20000"/>
                  <a:gd name="T1" fmla="*/ 19375 h 20000"/>
                  <a:gd name="T2" fmla="*/ 4286 w 20000"/>
                  <a:gd name="T3" fmla="*/ 19375 h 20000"/>
                  <a:gd name="T4" fmla="*/ 19286 w 20000"/>
                  <a:gd name="T5" fmla="*/ 13125 h 20000"/>
                  <a:gd name="T6" fmla="*/ 11429 w 20000"/>
                  <a:gd name="T7" fmla="*/ 13125 h 20000"/>
                  <a:gd name="T8" fmla="*/ 0 w 20000"/>
                  <a:gd name="T9" fmla="*/ 19375 h 20000"/>
                  <a:gd name="T10" fmla="*/ 0 w 20000"/>
                  <a:gd name="T11" fmla="*/ 9375 h 20000"/>
                  <a:gd name="T12" fmla="*/ 11429 w 20000"/>
                  <a:gd name="T13" fmla="*/ 9375 h 20000"/>
                  <a:gd name="T14" fmla="*/ 11429 w 20000"/>
                  <a:gd name="T15" fmla="*/ 0 h 20000"/>
                  <a:gd name="T16" fmla="*/ 19286 w 20000"/>
                  <a:gd name="T17" fmla="*/ 3750 h 20000"/>
                  <a:gd name="T18" fmla="*/ 19286 w 20000"/>
                  <a:gd name="T19" fmla="*/ 13125 h 20000"/>
                  <a:gd name="T20" fmla="*/ 11429 w 20000"/>
                  <a:gd name="T21"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1429" y="19375"/>
                    </a:moveTo>
                    <a:lnTo>
                      <a:pt x="4286" y="19375"/>
                    </a:lnTo>
                    <a:lnTo>
                      <a:pt x="19286" y="13125"/>
                    </a:lnTo>
                    <a:lnTo>
                      <a:pt x="11429" y="13125"/>
                    </a:lnTo>
                    <a:lnTo>
                      <a:pt x="0" y="19375"/>
                    </a:lnTo>
                    <a:lnTo>
                      <a:pt x="0" y="9375"/>
                    </a:lnTo>
                    <a:lnTo>
                      <a:pt x="11429" y="9375"/>
                    </a:lnTo>
                    <a:lnTo>
                      <a:pt x="11429" y="0"/>
                    </a:lnTo>
                    <a:lnTo>
                      <a:pt x="19286" y="3750"/>
                    </a:lnTo>
                    <a:lnTo>
                      <a:pt x="19286" y="13125"/>
                    </a:lnTo>
                    <a:lnTo>
                      <a:pt x="11429"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4" name="Freeform 265"/>
              <p:cNvSpPr>
                <a:spLocks/>
              </p:cNvSpPr>
              <p:nvPr/>
            </p:nvSpPr>
            <p:spPr bwMode="auto">
              <a:xfrm>
                <a:off x="5243513" y="2940050"/>
                <a:ext cx="196850" cy="92075"/>
              </a:xfrm>
              <a:custGeom>
                <a:avLst/>
                <a:gdLst>
                  <a:gd name="T0" fmla="*/ 10611 w 20000"/>
                  <a:gd name="T1" fmla="*/ 2192 h 20000"/>
                  <a:gd name="T2" fmla="*/ 12283 w 20000"/>
                  <a:gd name="T3" fmla="*/ 3562 h 20000"/>
                  <a:gd name="T4" fmla="*/ 13248 w 20000"/>
                  <a:gd name="T5" fmla="*/ 3562 h 20000"/>
                  <a:gd name="T6" fmla="*/ 14598 w 20000"/>
                  <a:gd name="T7" fmla="*/ 0 h 20000"/>
                  <a:gd name="T8" fmla="*/ 16270 w 20000"/>
                  <a:gd name="T9" fmla="*/ 1370 h 20000"/>
                  <a:gd name="T10" fmla="*/ 18907 w 20000"/>
                  <a:gd name="T11" fmla="*/ 2192 h 20000"/>
                  <a:gd name="T12" fmla="*/ 18907 w 20000"/>
                  <a:gd name="T13" fmla="*/ 5616 h 20000"/>
                  <a:gd name="T14" fmla="*/ 19936 w 20000"/>
                  <a:gd name="T15" fmla="*/ 7808 h 20000"/>
                  <a:gd name="T16" fmla="*/ 19936 w 20000"/>
                  <a:gd name="T17" fmla="*/ 9178 h 20000"/>
                  <a:gd name="T18" fmla="*/ 19293 w 20000"/>
                  <a:gd name="T19" fmla="*/ 10685 h 20000"/>
                  <a:gd name="T20" fmla="*/ 18264 w 20000"/>
                  <a:gd name="T21" fmla="*/ 10685 h 20000"/>
                  <a:gd name="T22" fmla="*/ 17621 w 20000"/>
                  <a:gd name="T23" fmla="*/ 10685 h 20000"/>
                  <a:gd name="T24" fmla="*/ 18264 w 20000"/>
                  <a:gd name="T25" fmla="*/ 11233 h 20000"/>
                  <a:gd name="T26" fmla="*/ 18264 w 20000"/>
                  <a:gd name="T27" fmla="*/ 16301 h 20000"/>
                  <a:gd name="T28" fmla="*/ 17299 w 20000"/>
                  <a:gd name="T29" fmla="*/ 17123 h 20000"/>
                  <a:gd name="T30" fmla="*/ 17299 w 20000"/>
                  <a:gd name="T31" fmla="*/ 18493 h 20000"/>
                  <a:gd name="T32" fmla="*/ 16270 w 20000"/>
                  <a:gd name="T33" fmla="*/ 18493 h 20000"/>
                  <a:gd name="T34" fmla="*/ 13248 w 20000"/>
                  <a:gd name="T35" fmla="*/ 19863 h 20000"/>
                  <a:gd name="T36" fmla="*/ 10611 w 20000"/>
                  <a:gd name="T37" fmla="*/ 19863 h 20000"/>
                  <a:gd name="T38" fmla="*/ 10354 w 20000"/>
                  <a:gd name="T39" fmla="*/ 19863 h 20000"/>
                  <a:gd name="T40" fmla="*/ 8617 w 20000"/>
                  <a:gd name="T41" fmla="*/ 17123 h 20000"/>
                  <a:gd name="T42" fmla="*/ 6945 w 20000"/>
                  <a:gd name="T43" fmla="*/ 14932 h 20000"/>
                  <a:gd name="T44" fmla="*/ 5981 w 20000"/>
                  <a:gd name="T45" fmla="*/ 14932 h 20000"/>
                  <a:gd name="T46" fmla="*/ 4309 w 20000"/>
                  <a:gd name="T47" fmla="*/ 14932 h 20000"/>
                  <a:gd name="T48" fmla="*/ 4309 w 20000"/>
                  <a:gd name="T49" fmla="*/ 17123 h 20000"/>
                  <a:gd name="T50" fmla="*/ 2637 w 20000"/>
                  <a:gd name="T51" fmla="*/ 17123 h 20000"/>
                  <a:gd name="T52" fmla="*/ 2315 w 20000"/>
                  <a:gd name="T53" fmla="*/ 17123 h 20000"/>
                  <a:gd name="T54" fmla="*/ 2315 w 20000"/>
                  <a:gd name="T55" fmla="*/ 16301 h 20000"/>
                  <a:gd name="T56" fmla="*/ 900 w 20000"/>
                  <a:gd name="T57" fmla="*/ 16301 h 20000"/>
                  <a:gd name="T58" fmla="*/ 900 w 20000"/>
                  <a:gd name="T59" fmla="*/ 14932 h 20000"/>
                  <a:gd name="T60" fmla="*/ 643 w 20000"/>
                  <a:gd name="T61" fmla="*/ 14932 h 20000"/>
                  <a:gd name="T62" fmla="*/ 0 w 20000"/>
                  <a:gd name="T63" fmla="*/ 13425 h 20000"/>
                  <a:gd name="T64" fmla="*/ 0 w 20000"/>
                  <a:gd name="T65" fmla="*/ 12877 h 20000"/>
                  <a:gd name="T66" fmla="*/ 643 w 20000"/>
                  <a:gd name="T67" fmla="*/ 11233 h 20000"/>
                  <a:gd name="T68" fmla="*/ 2315 w 20000"/>
                  <a:gd name="T69" fmla="*/ 12877 h 20000"/>
                  <a:gd name="T70" fmla="*/ 2315 w 20000"/>
                  <a:gd name="T71" fmla="*/ 11233 h 20000"/>
                  <a:gd name="T72" fmla="*/ 3280 w 20000"/>
                  <a:gd name="T73" fmla="*/ 11233 h 20000"/>
                  <a:gd name="T74" fmla="*/ 3666 w 20000"/>
                  <a:gd name="T75" fmla="*/ 12877 h 20000"/>
                  <a:gd name="T76" fmla="*/ 5273 w 20000"/>
                  <a:gd name="T77" fmla="*/ 11233 h 20000"/>
                  <a:gd name="T78" fmla="*/ 6302 w 20000"/>
                  <a:gd name="T79" fmla="*/ 11233 h 20000"/>
                  <a:gd name="T80" fmla="*/ 6945 w 20000"/>
                  <a:gd name="T81" fmla="*/ 10685 h 20000"/>
                  <a:gd name="T82" fmla="*/ 8617 w 20000"/>
                  <a:gd name="T83" fmla="*/ 10685 h 20000"/>
                  <a:gd name="T84" fmla="*/ 9325 w 20000"/>
                  <a:gd name="T85" fmla="*/ 11233 h 20000"/>
                  <a:gd name="T86" fmla="*/ 8617 w 20000"/>
                  <a:gd name="T87" fmla="*/ 9178 h 20000"/>
                  <a:gd name="T88" fmla="*/ 8617 w 20000"/>
                  <a:gd name="T89" fmla="*/ 5616 h 20000"/>
                  <a:gd name="T90" fmla="*/ 10611 w 20000"/>
                  <a:gd name="T91" fmla="*/ 5068 h 20000"/>
                  <a:gd name="T92" fmla="*/ 10611 w 20000"/>
                  <a:gd name="T93" fmla="*/ 21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0" h="20000">
                    <a:moveTo>
                      <a:pt x="10611" y="2192"/>
                    </a:moveTo>
                    <a:lnTo>
                      <a:pt x="12283" y="3562"/>
                    </a:lnTo>
                    <a:lnTo>
                      <a:pt x="13248" y="3562"/>
                    </a:lnTo>
                    <a:lnTo>
                      <a:pt x="14598" y="0"/>
                    </a:lnTo>
                    <a:lnTo>
                      <a:pt x="16270" y="1370"/>
                    </a:lnTo>
                    <a:lnTo>
                      <a:pt x="18907" y="2192"/>
                    </a:lnTo>
                    <a:lnTo>
                      <a:pt x="18907" y="5616"/>
                    </a:lnTo>
                    <a:lnTo>
                      <a:pt x="19936" y="7808"/>
                    </a:lnTo>
                    <a:lnTo>
                      <a:pt x="19936" y="9178"/>
                    </a:lnTo>
                    <a:lnTo>
                      <a:pt x="19293" y="10685"/>
                    </a:lnTo>
                    <a:lnTo>
                      <a:pt x="18264" y="10685"/>
                    </a:lnTo>
                    <a:lnTo>
                      <a:pt x="17621" y="10685"/>
                    </a:lnTo>
                    <a:lnTo>
                      <a:pt x="18264" y="11233"/>
                    </a:lnTo>
                    <a:lnTo>
                      <a:pt x="18264" y="16301"/>
                    </a:lnTo>
                    <a:lnTo>
                      <a:pt x="17299" y="17123"/>
                    </a:lnTo>
                    <a:lnTo>
                      <a:pt x="17299" y="18493"/>
                    </a:lnTo>
                    <a:lnTo>
                      <a:pt x="16270" y="18493"/>
                    </a:lnTo>
                    <a:lnTo>
                      <a:pt x="13248" y="19863"/>
                    </a:lnTo>
                    <a:lnTo>
                      <a:pt x="10611" y="19863"/>
                    </a:lnTo>
                    <a:lnTo>
                      <a:pt x="10354" y="19863"/>
                    </a:lnTo>
                    <a:lnTo>
                      <a:pt x="8617" y="17123"/>
                    </a:lnTo>
                    <a:lnTo>
                      <a:pt x="6945" y="14932"/>
                    </a:lnTo>
                    <a:lnTo>
                      <a:pt x="5981" y="14932"/>
                    </a:lnTo>
                    <a:lnTo>
                      <a:pt x="4309" y="14932"/>
                    </a:lnTo>
                    <a:lnTo>
                      <a:pt x="4309" y="17123"/>
                    </a:lnTo>
                    <a:lnTo>
                      <a:pt x="2637" y="17123"/>
                    </a:lnTo>
                    <a:lnTo>
                      <a:pt x="2315" y="17123"/>
                    </a:lnTo>
                    <a:lnTo>
                      <a:pt x="2315" y="16301"/>
                    </a:lnTo>
                    <a:lnTo>
                      <a:pt x="900" y="16301"/>
                    </a:lnTo>
                    <a:lnTo>
                      <a:pt x="900" y="14932"/>
                    </a:lnTo>
                    <a:lnTo>
                      <a:pt x="643" y="14932"/>
                    </a:lnTo>
                    <a:lnTo>
                      <a:pt x="0" y="13425"/>
                    </a:lnTo>
                    <a:lnTo>
                      <a:pt x="0" y="12877"/>
                    </a:lnTo>
                    <a:lnTo>
                      <a:pt x="643" y="11233"/>
                    </a:lnTo>
                    <a:lnTo>
                      <a:pt x="2315" y="12877"/>
                    </a:lnTo>
                    <a:lnTo>
                      <a:pt x="2315" y="11233"/>
                    </a:lnTo>
                    <a:lnTo>
                      <a:pt x="3280" y="11233"/>
                    </a:lnTo>
                    <a:lnTo>
                      <a:pt x="3666" y="12877"/>
                    </a:lnTo>
                    <a:lnTo>
                      <a:pt x="5273" y="11233"/>
                    </a:lnTo>
                    <a:lnTo>
                      <a:pt x="6302" y="11233"/>
                    </a:lnTo>
                    <a:lnTo>
                      <a:pt x="6945" y="10685"/>
                    </a:lnTo>
                    <a:lnTo>
                      <a:pt x="8617" y="10685"/>
                    </a:lnTo>
                    <a:lnTo>
                      <a:pt x="9325" y="11233"/>
                    </a:lnTo>
                    <a:lnTo>
                      <a:pt x="8617" y="9178"/>
                    </a:lnTo>
                    <a:lnTo>
                      <a:pt x="8617" y="5616"/>
                    </a:lnTo>
                    <a:lnTo>
                      <a:pt x="10611" y="5068"/>
                    </a:lnTo>
                    <a:lnTo>
                      <a:pt x="10611" y="219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5" name="Freeform 264"/>
              <p:cNvSpPr>
                <a:spLocks/>
              </p:cNvSpPr>
              <p:nvPr/>
            </p:nvSpPr>
            <p:spPr bwMode="auto">
              <a:xfrm>
                <a:off x="5348288" y="2716213"/>
                <a:ext cx="266700" cy="217487"/>
              </a:xfrm>
              <a:custGeom>
                <a:avLst/>
                <a:gdLst>
                  <a:gd name="T0" fmla="*/ 10309 w 20000"/>
                  <a:gd name="T1" fmla="*/ 933 h 20000"/>
                  <a:gd name="T2" fmla="*/ 16722 w 20000"/>
                  <a:gd name="T3" fmla="*/ 933 h 20000"/>
                  <a:gd name="T4" fmla="*/ 17957 w 20000"/>
                  <a:gd name="T5" fmla="*/ 3615 h 20000"/>
                  <a:gd name="T6" fmla="*/ 18670 w 20000"/>
                  <a:gd name="T7" fmla="*/ 5481 h 20000"/>
                  <a:gd name="T8" fmla="*/ 19192 w 20000"/>
                  <a:gd name="T9" fmla="*/ 7289 h 20000"/>
                  <a:gd name="T10" fmla="*/ 17482 w 20000"/>
                  <a:gd name="T11" fmla="*/ 8455 h 20000"/>
                  <a:gd name="T12" fmla="*/ 18670 w 20000"/>
                  <a:gd name="T13" fmla="*/ 10029 h 20000"/>
                  <a:gd name="T14" fmla="*/ 19192 w 20000"/>
                  <a:gd name="T15" fmla="*/ 11837 h 20000"/>
                  <a:gd name="T16" fmla="*/ 19952 w 20000"/>
                  <a:gd name="T17" fmla="*/ 13586 h 20000"/>
                  <a:gd name="T18" fmla="*/ 17197 w 20000"/>
                  <a:gd name="T19" fmla="*/ 18134 h 20000"/>
                  <a:gd name="T20" fmla="*/ 17482 w 20000"/>
                  <a:gd name="T21" fmla="*/ 19592 h 20000"/>
                  <a:gd name="T22" fmla="*/ 17197 w 20000"/>
                  <a:gd name="T23" fmla="*/ 19942 h 20000"/>
                  <a:gd name="T24" fmla="*/ 16722 w 20000"/>
                  <a:gd name="T25" fmla="*/ 19592 h 20000"/>
                  <a:gd name="T26" fmla="*/ 15487 w 20000"/>
                  <a:gd name="T27" fmla="*/ 19009 h 20000"/>
                  <a:gd name="T28" fmla="*/ 14489 w 20000"/>
                  <a:gd name="T29" fmla="*/ 18717 h 20000"/>
                  <a:gd name="T30" fmla="*/ 14014 w 20000"/>
                  <a:gd name="T31" fmla="*/ 19009 h 20000"/>
                  <a:gd name="T32" fmla="*/ 13302 w 20000"/>
                  <a:gd name="T33" fmla="*/ 19009 h 20000"/>
                  <a:gd name="T34" fmla="*/ 12067 w 20000"/>
                  <a:gd name="T35" fmla="*/ 19592 h 20000"/>
                  <a:gd name="T36" fmla="*/ 11591 w 20000"/>
                  <a:gd name="T37" fmla="*/ 19009 h 20000"/>
                  <a:gd name="T38" fmla="*/ 11306 w 20000"/>
                  <a:gd name="T39" fmla="*/ 18134 h 20000"/>
                  <a:gd name="T40" fmla="*/ 10309 w 20000"/>
                  <a:gd name="T41" fmla="*/ 18717 h 20000"/>
                  <a:gd name="T42" fmla="*/ 9359 w 20000"/>
                  <a:gd name="T43" fmla="*/ 17551 h 20000"/>
                  <a:gd name="T44" fmla="*/ 9359 w 20000"/>
                  <a:gd name="T45" fmla="*/ 17201 h 20000"/>
                  <a:gd name="T46" fmla="*/ 7601 w 20000"/>
                  <a:gd name="T47" fmla="*/ 16618 h 20000"/>
                  <a:gd name="T48" fmla="*/ 7601 w 20000"/>
                  <a:gd name="T49" fmla="*/ 16327 h 20000"/>
                  <a:gd name="T50" fmla="*/ 6888 w 20000"/>
                  <a:gd name="T51" fmla="*/ 15743 h 20000"/>
                  <a:gd name="T52" fmla="*/ 6128 w 20000"/>
                  <a:gd name="T53" fmla="*/ 16327 h 20000"/>
                  <a:gd name="T54" fmla="*/ 5653 w 20000"/>
                  <a:gd name="T55" fmla="*/ 16327 h 20000"/>
                  <a:gd name="T56" fmla="*/ 4941 w 20000"/>
                  <a:gd name="T57" fmla="*/ 15743 h 20000"/>
                  <a:gd name="T58" fmla="*/ 4941 w 20000"/>
                  <a:gd name="T59" fmla="*/ 15102 h 20000"/>
                  <a:gd name="T60" fmla="*/ 4941 w 20000"/>
                  <a:gd name="T61" fmla="*/ 14810 h 20000"/>
                  <a:gd name="T62" fmla="*/ 4466 w 20000"/>
                  <a:gd name="T63" fmla="*/ 14810 h 20000"/>
                  <a:gd name="T64" fmla="*/ 3230 w 20000"/>
                  <a:gd name="T65" fmla="*/ 14227 h 20000"/>
                  <a:gd name="T66" fmla="*/ 3230 w 20000"/>
                  <a:gd name="T67" fmla="*/ 13586 h 20000"/>
                  <a:gd name="T68" fmla="*/ 2470 w 20000"/>
                  <a:gd name="T69" fmla="*/ 13586 h 20000"/>
                  <a:gd name="T70" fmla="*/ 1948 w 20000"/>
                  <a:gd name="T71" fmla="*/ 13586 h 20000"/>
                  <a:gd name="T72" fmla="*/ 2470 w 20000"/>
                  <a:gd name="T73" fmla="*/ 12653 h 20000"/>
                  <a:gd name="T74" fmla="*/ 1948 w 20000"/>
                  <a:gd name="T75" fmla="*/ 12420 h 20000"/>
                  <a:gd name="T76" fmla="*/ 1758 w 20000"/>
                  <a:gd name="T77" fmla="*/ 10904 h 20000"/>
                  <a:gd name="T78" fmla="*/ 1758 w 20000"/>
                  <a:gd name="T79" fmla="*/ 10262 h 20000"/>
                  <a:gd name="T80" fmla="*/ 1235 w 20000"/>
                  <a:gd name="T81" fmla="*/ 10262 h 20000"/>
                  <a:gd name="T82" fmla="*/ 998 w 20000"/>
                  <a:gd name="T83" fmla="*/ 8746 h 20000"/>
                  <a:gd name="T84" fmla="*/ 1235 w 20000"/>
                  <a:gd name="T85" fmla="*/ 8455 h 20000"/>
                  <a:gd name="T86" fmla="*/ 0 w 20000"/>
                  <a:gd name="T87" fmla="*/ 7289 h 20000"/>
                  <a:gd name="T88" fmla="*/ 0 w 20000"/>
                  <a:gd name="T89" fmla="*/ 6939 h 20000"/>
                  <a:gd name="T90" fmla="*/ 998 w 20000"/>
                  <a:gd name="T91" fmla="*/ 6064 h 20000"/>
                  <a:gd name="T92" fmla="*/ 523 w 20000"/>
                  <a:gd name="T93" fmla="*/ 4548 h 20000"/>
                  <a:gd name="T94" fmla="*/ 998 w 20000"/>
                  <a:gd name="T95" fmla="*/ 3965 h 20000"/>
                  <a:gd name="T96" fmla="*/ 1235 w 20000"/>
                  <a:gd name="T97" fmla="*/ 3965 h 20000"/>
                  <a:gd name="T98" fmla="*/ 1235 w 20000"/>
                  <a:gd name="T99" fmla="*/ 3032 h 20000"/>
                  <a:gd name="T100" fmla="*/ 3705 w 20000"/>
                  <a:gd name="T101" fmla="*/ 2157 h 20000"/>
                  <a:gd name="T102" fmla="*/ 4181 w 20000"/>
                  <a:gd name="T103" fmla="*/ 933 h 20000"/>
                  <a:gd name="T104" fmla="*/ 4941 w 20000"/>
                  <a:gd name="T105" fmla="*/ 641 h 20000"/>
                  <a:gd name="T106" fmla="*/ 5178 w 20000"/>
                  <a:gd name="T107" fmla="*/ 641 h 20000"/>
                  <a:gd name="T108" fmla="*/ 7601 w 20000"/>
                  <a:gd name="T109" fmla="*/ 0 h 20000"/>
                  <a:gd name="T110" fmla="*/ 8171 w 20000"/>
                  <a:gd name="T111" fmla="*/ 933 h 20000"/>
                  <a:gd name="T112" fmla="*/ 8361 w 20000"/>
                  <a:gd name="T113" fmla="*/ 1574 h 20000"/>
                  <a:gd name="T114" fmla="*/ 9359 w 20000"/>
                  <a:gd name="T115" fmla="*/ 1574 h 20000"/>
                  <a:gd name="T116" fmla="*/ 10119 w 20000"/>
                  <a:gd name="T117" fmla="*/ 2157 h 20000"/>
                  <a:gd name="T118" fmla="*/ 10309 w 20000"/>
                  <a:gd name="T119" fmla="*/ 9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00" h="20000">
                    <a:moveTo>
                      <a:pt x="10309" y="933"/>
                    </a:moveTo>
                    <a:lnTo>
                      <a:pt x="16722" y="933"/>
                    </a:lnTo>
                    <a:lnTo>
                      <a:pt x="17957" y="3615"/>
                    </a:lnTo>
                    <a:lnTo>
                      <a:pt x="18670" y="5481"/>
                    </a:lnTo>
                    <a:lnTo>
                      <a:pt x="19192" y="7289"/>
                    </a:lnTo>
                    <a:lnTo>
                      <a:pt x="17482" y="8455"/>
                    </a:lnTo>
                    <a:lnTo>
                      <a:pt x="18670" y="10029"/>
                    </a:lnTo>
                    <a:lnTo>
                      <a:pt x="19192" y="11837"/>
                    </a:lnTo>
                    <a:lnTo>
                      <a:pt x="19952" y="13586"/>
                    </a:lnTo>
                    <a:lnTo>
                      <a:pt x="17197" y="18134"/>
                    </a:lnTo>
                    <a:lnTo>
                      <a:pt x="17482" y="19592"/>
                    </a:lnTo>
                    <a:lnTo>
                      <a:pt x="17197" y="19942"/>
                    </a:lnTo>
                    <a:lnTo>
                      <a:pt x="16722" y="19592"/>
                    </a:lnTo>
                    <a:lnTo>
                      <a:pt x="15487" y="19009"/>
                    </a:lnTo>
                    <a:lnTo>
                      <a:pt x="14489" y="18717"/>
                    </a:lnTo>
                    <a:lnTo>
                      <a:pt x="14014" y="19009"/>
                    </a:lnTo>
                    <a:lnTo>
                      <a:pt x="13302" y="19009"/>
                    </a:lnTo>
                    <a:lnTo>
                      <a:pt x="12067" y="19592"/>
                    </a:lnTo>
                    <a:lnTo>
                      <a:pt x="11591" y="19009"/>
                    </a:lnTo>
                    <a:lnTo>
                      <a:pt x="11306" y="18134"/>
                    </a:lnTo>
                    <a:lnTo>
                      <a:pt x="10309" y="18717"/>
                    </a:lnTo>
                    <a:lnTo>
                      <a:pt x="9359" y="17551"/>
                    </a:lnTo>
                    <a:lnTo>
                      <a:pt x="9359" y="17201"/>
                    </a:lnTo>
                    <a:lnTo>
                      <a:pt x="7601" y="16618"/>
                    </a:lnTo>
                    <a:lnTo>
                      <a:pt x="7601" y="16327"/>
                    </a:lnTo>
                    <a:lnTo>
                      <a:pt x="6888" y="15743"/>
                    </a:lnTo>
                    <a:lnTo>
                      <a:pt x="6128" y="16327"/>
                    </a:lnTo>
                    <a:lnTo>
                      <a:pt x="5653" y="16327"/>
                    </a:lnTo>
                    <a:lnTo>
                      <a:pt x="4941" y="15743"/>
                    </a:lnTo>
                    <a:lnTo>
                      <a:pt x="4941" y="15102"/>
                    </a:lnTo>
                    <a:lnTo>
                      <a:pt x="4941" y="14810"/>
                    </a:lnTo>
                    <a:lnTo>
                      <a:pt x="4466" y="14810"/>
                    </a:lnTo>
                    <a:lnTo>
                      <a:pt x="3230" y="14227"/>
                    </a:lnTo>
                    <a:lnTo>
                      <a:pt x="3230" y="13586"/>
                    </a:lnTo>
                    <a:lnTo>
                      <a:pt x="2470" y="13586"/>
                    </a:lnTo>
                    <a:lnTo>
                      <a:pt x="1948" y="13586"/>
                    </a:lnTo>
                    <a:lnTo>
                      <a:pt x="2470" y="12653"/>
                    </a:lnTo>
                    <a:lnTo>
                      <a:pt x="1948" y="12420"/>
                    </a:lnTo>
                    <a:lnTo>
                      <a:pt x="1758" y="10904"/>
                    </a:lnTo>
                    <a:lnTo>
                      <a:pt x="1758" y="10262"/>
                    </a:lnTo>
                    <a:lnTo>
                      <a:pt x="1235" y="10262"/>
                    </a:lnTo>
                    <a:lnTo>
                      <a:pt x="998" y="8746"/>
                    </a:lnTo>
                    <a:lnTo>
                      <a:pt x="1235" y="8455"/>
                    </a:lnTo>
                    <a:lnTo>
                      <a:pt x="0" y="7289"/>
                    </a:lnTo>
                    <a:lnTo>
                      <a:pt x="0" y="6939"/>
                    </a:lnTo>
                    <a:lnTo>
                      <a:pt x="998" y="6064"/>
                    </a:lnTo>
                    <a:lnTo>
                      <a:pt x="523" y="4548"/>
                    </a:lnTo>
                    <a:lnTo>
                      <a:pt x="998" y="3965"/>
                    </a:lnTo>
                    <a:lnTo>
                      <a:pt x="1235" y="3965"/>
                    </a:lnTo>
                    <a:lnTo>
                      <a:pt x="1235" y="3032"/>
                    </a:lnTo>
                    <a:lnTo>
                      <a:pt x="3705" y="2157"/>
                    </a:lnTo>
                    <a:lnTo>
                      <a:pt x="4181" y="933"/>
                    </a:lnTo>
                    <a:lnTo>
                      <a:pt x="4941" y="641"/>
                    </a:lnTo>
                    <a:lnTo>
                      <a:pt x="5178" y="641"/>
                    </a:lnTo>
                    <a:lnTo>
                      <a:pt x="7601" y="0"/>
                    </a:lnTo>
                    <a:lnTo>
                      <a:pt x="8171" y="933"/>
                    </a:lnTo>
                    <a:lnTo>
                      <a:pt x="8361" y="1574"/>
                    </a:lnTo>
                    <a:lnTo>
                      <a:pt x="9359" y="1574"/>
                    </a:lnTo>
                    <a:lnTo>
                      <a:pt x="10119" y="2157"/>
                    </a:lnTo>
                    <a:lnTo>
                      <a:pt x="10309" y="93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6" name="Freeform 263"/>
              <p:cNvSpPr>
                <a:spLocks/>
              </p:cNvSpPr>
              <p:nvPr/>
            </p:nvSpPr>
            <p:spPr bwMode="auto">
              <a:xfrm>
                <a:off x="4732338" y="3179763"/>
                <a:ext cx="90487" cy="174625"/>
              </a:xfrm>
              <a:custGeom>
                <a:avLst/>
                <a:gdLst>
                  <a:gd name="T0" fmla="*/ 4366 w 20000"/>
                  <a:gd name="T1" fmla="*/ 0 h 20000"/>
                  <a:gd name="T2" fmla="*/ 5915 w 20000"/>
                  <a:gd name="T3" fmla="*/ 436 h 20000"/>
                  <a:gd name="T4" fmla="*/ 8169 w 20000"/>
                  <a:gd name="T5" fmla="*/ 0 h 20000"/>
                  <a:gd name="T6" fmla="*/ 9577 w 20000"/>
                  <a:gd name="T7" fmla="*/ 1164 h 20000"/>
                  <a:gd name="T8" fmla="*/ 11831 w 20000"/>
                  <a:gd name="T9" fmla="*/ 1164 h 20000"/>
                  <a:gd name="T10" fmla="*/ 14085 w 20000"/>
                  <a:gd name="T11" fmla="*/ 1164 h 20000"/>
                  <a:gd name="T12" fmla="*/ 16901 w 20000"/>
                  <a:gd name="T13" fmla="*/ 1164 h 20000"/>
                  <a:gd name="T14" fmla="*/ 19014 w 20000"/>
                  <a:gd name="T15" fmla="*/ 1891 h 20000"/>
                  <a:gd name="T16" fmla="*/ 19859 w 20000"/>
                  <a:gd name="T17" fmla="*/ 2255 h 20000"/>
                  <a:gd name="T18" fmla="*/ 16901 w 20000"/>
                  <a:gd name="T19" fmla="*/ 4873 h 20000"/>
                  <a:gd name="T20" fmla="*/ 16901 w 20000"/>
                  <a:gd name="T21" fmla="*/ 6836 h 20000"/>
                  <a:gd name="T22" fmla="*/ 15493 w 20000"/>
                  <a:gd name="T23" fmla="*/ 9818 h 20000"/>
                  <a:gd name="T24" fmla="*/ 13239 w 20000"/>
                  <a:gd name="T25" fmla="*/ 9818 h 20000"/>
                  <a:gd name="T26" fmla="*/ 14085 w 20000"/>
                  <a:gd name="T27" fmla="*/ 12073 h 20000"/>
                  <a:gd name="T28" fmla="*/ 14085 w 20000"/>
                  <a:gd name="T29" fmla="*/ 12800 h 20000"/>
                  <a:gd name="T30" fmla="*/ 14085 w 20000"/>
                  <a:gd name="T31" fmla="*/ 13891 h 20000"/>
                  <a:gd name="T32" fmla="*/ 15493 w 20000"/>
                  <a:gd name="T33" fmla="*/ 15055 h 20000"/>
                  <a:gd name="T34" fmla="*/ 15493 w 20000"/>
                  <a:gd name="T35" fmla="*/ 15782 h 20000"/>
                  <a:gd name="T36" fmla="*/ 13239 w 20000"/>
                  <a:gd name="T37" fmla="*/ 16945 h 20000"/>
                  <a:gd name="T38" fmla="*/ 13239 w 20000"/>
                  <a:gd name="T39" fmla="*/ 19200 h 20000"/>
                  <a:gd name="T40" fmla="*/ 8169 w 20000"/>
                  <a:gd name="T41" fmla="*/ 19927 h 20000"/>
                  <a:gd name="T42" fmla="*/ 5915 w 20000"/>
                  <a:gd name="T43" fmla="*/ 19200 h 20000"/>
                  <a:gd name="T44" fmla="*/ 2254 w 20000"/>
                  <a:gd name="T45" fmla="*/ 19200 h 20000"/>
                  <a:gd name="T46" fmla="*/ 3803 w 20000"/>
                  <a:gd name="T47" fmla="*/ 18036 h 20000"/>
                  <a:gd name="T48" fmla="*/ 3803 w 20000"/>
                  <a:gd name="T49" fmla="*/ 14691 h 20000"/>
                  <a:gd name="T50" fmla="*/ 3803 w 20000"/>
                  <a:gd name="T51" fmla="*/ 13891 h 20000"/>
                  <a:gd name="T52" fmla="*/ 2254 w 20000"/>
                  <a:gd name="T53" fmla="*/ 13891 h 20000"/>
                  <a:gd name="T54" fmla="*/ 2254 w 20000"/>
                  <a:gd name="T55" fmla="*/ 13091 h 20000"/>
                  <a:gd name="T56" fmla="*/ 0 w 20000"/>
                  <a:gd name="T57" fmla="*/ 13091 h 20000"/>
                  <a:gd name="T58" fmla="*/ 1549 w 20000"/>
                  <a:gd name="T59" fmla="*/ 10909 h 20000"/>
                  <a:gd name="T60" fmla="*/ 2254 w 20000"/>
                  <a:gd name="T61" fmla="*/ 10109 h 20000"/>
                  <a:gd name="T62" fmla="*/ 5915 w 20000"/>
                  <a:gd name="T63" fmla="*/ 5236 h 20000"/>
                  <a:gd name="T64" fmla="*/ 4366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4366" y="0"/>
                    </a:moveTo>
                    <a:lnTo>
                      <a:pt x="5915" y="436"/>
                    </a:lnTo>
                    <a:lnTo>
                      <a:pt x="8169" y="0"/>
                    </a:lnTo>
                    <a:lnTo>
                      <a:pt x="9577" y="1164"/>
                    </a:lnTo>
                    <a:lnTo>
                      <a:pt x="11831" y="1164"/>
                    </a:lnTo>
                    <a:lnTo>
                      <a:pt x="14085" y="1164"/>
                    </a:lnTo>
                    <a:lnTo>
                      <a:pt x="16901" y="1164"/>
                    </a:lnTo>
                    <a:lnTo>
                      <a:pt x="19014" y="1891"/>
                    </a:lnTo>
                    <a:lnTo>
                      <a:pt x="19859" y="2255"/>
                    </a:lnTo>
                    <a:lnTo>
                      <a:pt x="16901" y="4873"/>
                    </a:lnTo>
                    <a:lnTo>
                      <a:pt x="16901" y="6836"/>
                    </a:lnTo>
                    <a:lnTo>
                      <a:pt x="15493" y="9818"/>
                    </a:lnTo>
                    <a:lnTo>
                      <a:pt x="13239" y="9818"/>
                    </a:lnTo>
                    <a:lnTo>
                      <a:pt x="14085" y="12073"/>
                    </a:lnTo>
                    <a:lnTo>
                      <a:pt x="14085" y="12800"/>
                    </a:lnTo>
                    <a:lnTo>
                      <a:pt x="14085" y="13891"/>
                    </a:lnTo>
                    <a:lnTo>
                      <a:pt x="15493" y="15055"/>
                    </a:lnTo>
                    <a:lnTo>
                      <a:pt x="15493" y="15782"/>
                    </a:lnTo>
                    <a:lnTo>
                      <a:pt x="13239" y="16945"/>
                    </a:lnTo>
                    <a:lnTo>
                      <a:pt x="13239" y="19200"/>
                    </a:lnTo>
                    <a:lnTo>
                      <a:pt x="8169" y="19927"/>
                    </a:lnTo>
                    <a:lnTo>
                      <a:pt x="5915" y="19200"/>
                    </a:lnTo>
                    <a:lnTo>
                      <a:pt x="2254" y="19200"/>
                    </a:lnTo>
                    <a:lnTo>
                      <a:pt x="3803" y="18036"/>
                    </a:lnTo>
                    <a:lnTo>
                      <a:pt x="3803" y="14691"/>
                    </a:lnTo>
                    <a:lnTo>
                      <a:pt x="3803" y="13891"/>
                    </a:lnTo>
                    <a:lnTo>
                      <a:pt x="2254" y="13891"/>
                    </a:lnTo>
                    <a:lnTo>
                      <a:pt x="2254" y="13091"/>
                    </a:lnTo>
                    <a:lnTo>
                      <a:pt x="0" y="13091"/>
                    </a:lnTo>
                    <a:lnTo>
                      <a:pt x="1549" y="10909"/>
                    </a:lnTo>
                    <a:lnTo>
                      <a:pt x="2254" y="10109"/>
                    </a:lnTo>
                    <a:lnTo>
                      <a:pt x="5915" y="5236"/>
                    </a:lnTo>
                    <a:lnTo>
                      <a:pt x="436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7" name="Freeform 262"/>
              <p:cNvSpPr>
                <a:spLocks/>
              </p:cNvSpPr>
              <p:nvPr/>
            </p:nvSpPr>
            <p:spPr bwMode="auto">
              <a:xfrm>
                <a:off x="5529263" y="2965450"/>
                <a:ext cx="241300" cy="165100"/>
              </a:xfrm>
              <a:custGeom>
                <a:avLst/>
                <a:gdLst>
                  <a:gd name="T0" fmla="*/ 11979 w 20000"/>
                  <a:gd name="T1" fmla="*/ 846 h 20000"/>
                  <a:gd name="T2" fmla="*/ 13668 w 20000"/>
                  <a:gd name="T3" fmla="*/ 0 h 20000"/>
                  <a:gd name="T4" fmla="*/ 16095 w 20000"/>
                  <a:gd name="T5" fmla="*/ 5231 h 20000"/>
                  <a:gd name="T6" fmla="*/ 16359 w 20000"/>
                  <a:gd name="T7" fmla="*/ 5231 h 20000"/>
                  <a:gd name="T8" fmla="*/ 16939 w 20000"/>
                  <a:gd name="T9" fmla="*/ 11615 h 20000"/>
                  <a:gd name="T10" fmla="*/ 17784 w 20000"/>
                  <a:gd name="T11" fmla="*/ 12769 h 20000"/>
                  <a:gd name="T12" fmla="*/ 19947 w 20000"/>
                  <a:gd name="T13" fmla="*/ 11615 h 20000"/>
                  <a:gd name="T14" fmla="*/ 19947 w 20000"/>
                  <a:gd name="T15" fmla="*/ 14308 h 20000"/>
                  <a:gd name="T16" fmla="*/ 18575 w 20000"/>
                  <a:gd name="T17" fmla="*/ 14769 h 20000"/>
                  <a:gd name="T18" fmla="*/ 18575 w 20000"/>
                  <a:gd name="T19" fmla="*/ 13538 h 20000"/>
                  <a:gd name="T20" fmla="*/ 18311 w 20000"/>
                  <a:gd name="T21" fmla="*/ 13538 h 20000"/>
                  <a:gd name="T22" fmla="*/ 18311 w 20000"/>
                  <a:gd name="T23" fmla="*/ 14769 h 20000"/>
                  <a:gd name="T24" fmla="*/ 18311 w 20000"/>
                  <a:gd name="T25" fmla="*/ 15538 h 20000"/>
                  <a:gd name="T26" fmla="*/ 18311 w 20000"/>
                  <a:gd name="T27" fmla="*/ 16385 h 20000"/>
                  <a:gd name="T28" fmla="*/ 17784 w 20000"/>
                  <a:gd name="T29" fmla="*/ 18692 h 20000"/>
                  <a:gd name="T30" fmla="*/ 17150 w 20000"/>
                  <a:gd name="T31" fmla="*/ 18692 h 20000"/>
                  <a:gd name="T32" fmla="*/ 16939 w 20000"/>
                  <a:gd name="T33" fmla="*/ 17923 h 20000"/>
                  <a:gd name="T34" fmla="*/ 14987 w 20000"/>
                  <a:gd name="T35" fmla="*/ 17923 h 20000"/>
                  <a:gd name="T36" fmla="*/ 14776 w 20000"/>
                  <a:gd name="T37" fmla="*/ 17615 h 20000"/>
                  <a:gd name="T38" fmla="*/ 12507 w 20000"/>
                  <a:gd name="T39" fmla="*/ 18692 h 20000"/>
                  <a:gd name="T40" fmla="*/ 11451 w 20000"/>
                  <a:gd name="T41" fmla="*/ 19538 h 20000"/>
                  <a:gd name="T42" fmla="*/ 11187 w 20000"/>
                  <a:gd name="T43" fmla="*/ 19923 h 20000"/>
                  <a:gd name="T44" fmla="*/ 9815 w 20000"/>
                  <a:gd name="T45" fmla="*/ 19538 h 20000"/>
                  <a:gd name="T46" fmla="*/ 8496 w 20000"/>
                  <a:gd name="T47" fmla="*/ 19538 h 20000"/>
                  <a:gd name="T48" fmla="*/ 7863 w 20000"/>
                  <a:gd name="T49" fmla="*/ 19538 h 20000"/>
                  <a:gd name="T50" fmla="*/ 6807 w 20000"/>
                  <a:gd name="T51" fmla="*/ 18692 h 20000"/>
                  <a:gd name="T52" fmla="*/ 5488 w 20000"/>
                  <a:gd name="T53" fmla="*/ 19538 h 20000"/>
                  <a:gd name="T54" fmla="*/ 5488 w 20000"/>
                  <a:gd name="T55" fmla="*/ 18692 h 20000"/>
                  <a:gd name="T56" fmla="*/ 5699 w 20000"/>
                  <a:gd name="T57" fmla="*/ 17923 h 20000"/>
                  <a:gd name="T58" fmla="*/ 4908 w 20000"/>
                  <a:gd name="T59" fmla="*/ 17615 h 20000"/>
                  <a:gd name="T60" fmla="*/ 4327 w 20000"/>
                  <a:gd name="T61" fmla="*/ 16385 h 20000"/>
                  <a:gd name="T62" fmla="*/ 4908 w 20000"/>
                  <a:gd name="T63" fmla="*/ 15538 h 20000"/>
                  <a:gd name="T64" fmla="*/ 4327 w 20000"/>
                  <a:gd name="T65" fmla="*/ 15538 h 20000"/>
                  <a:gd name="T66" fmla="*/ 4063 w 20000"/>
                  <a:gd name="T67" fmla="*/ 16385 h 20000"/>
                  <a:gd name="T68" fmla="*/ 3219 w 20000"/>
                  <a:gd name="T69" fmla="*/ 15538 h 20000"/>
                  <a:gd name="T70" fmla="*/ 2164 w 20000"/>
                  <a:gd name="T71" fmla="*/ 14769 h 20000"/>
                  <a:gd name="T72" fmla="*/ 2164 w 20000"/>
                  <a:gd name="T73" fmla="*/ 14308 h 20000"/>
                  <a:gd name="T74" fmla="*/ 2164 w 20000"/>
                  <a:gd name="T75" fmla="*/ 12769 h 20000"/>
                  <a:gd name="T76" fmla="*/ 528 w 20000"/>
                  <a:gd name="T77" fmla="*/ 11615 h 20000"/>
                  <a:gd name="T78" fmla="*/ 528 w 20000"/>
                  <a:gd name="T79" fmla="*/ 10385 h 20000"/>
                  <a:gd name="T80" fmla="*/ 0 w 20000"/>
                  <a:gd name="T81" fmla="*/ 9154 h 20000"/>
                  <a:gd name="T82" fmla="*/ 1055 w 20000"/>
                  <a:gd name="T83" fmla="*/ 9154 h 20000"/>
                  <a:gd name="T84" fmla="*/ 1055 w 20000"/>
                  <a:gd name="T85" fmla="*/ 8385 h 20000"/>
                  <a:gd name="T86" fmla="*/ 1900 w 20000"/>
                  <a:gd name="T87" fmla="*/ 8000 h 20000"/>
                  <a:gd name="T88" fmla="*/ 1900 w 20000"/>
                  <a:gd name="T89" fmla="*/ 7231 h 20000"/>
                  <a:gd name="T90" fmla="*/ 2164 w 20000"/>
                  <a:gd name="T91" fmla="*/ 6000 h 20000"/>
                  <a:gd name="T92" fmla="*/ 2691 w 20000"/>
                  <a:gd name="T93" fmla="*/ 3154 h 20000"/>
                  <a:gd name="T94" fmla="*/ 3536 w 20000"/>
                  <a:gd name="T95" fmla="*/ 2000 h 20000"/>
                  <a:gd name="T96" fmla="*/ 4327 w 20000"/>
                  <a:gd name="T97" fmla="*/ 1231 h 20000"/>
                  <a:gd name="T98" fmla="*/ 4908 w 20000"/>
                  <a:gd name="T99" fmla="*/ 846 h 20000"/>
                  <a:gd name="T100" fmla="*/ 5699 w 20000"/>
                  <a:gd name="T101" fmla="*/ 846 h 20000"/>
                  <a:gd name="T102" fmla="*/ 9815 w 20000"/>
                  <a:gd name="T103" fmla="*/ 2000 h 20000"/>
                  <a:gd name="T104" fmla="*/ 11979 w 20000"/>
                  <a:gd name="T105" fmla="*/ 84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1979" y="846"/>
                    </a:moveTo>
                    <a:lnTo>
                      <a:pt x="13668" y="0"/>
                    </a:lnTo>
                    <a:lnTo>
                      <a:pt x="16095" y="5231"/>
                    </a:lnTo>
                    <a:lnTo>
                      <a:pt x="16359" y="5231"/>
                    </a:lnTo>
                    <a:lnTo>
                      <a:pt x="16939" y="11615"/>
                    </a:lnTo>
                    <a:lnTo>
                      <a:pt x="17784" y="12769"/>
                    </a:lnTo>
                    <a:lnTo>
                      <a:pt x="19947" y="11615"/>
                    </a:lnTo>
                    <a:lnTo>
                      <a:pt x="19947" y="14308"/>
                    </a:lnTo>
                    <a:lnTo>
                      <a:pt x="18575" y="14769"/>
                    </a:lnTo>
                    <a:lnTo>
                      <a:pt x="18575" y="13538"/>
                    </a:lnTo>
                    <a:lnTo>
                      <a:pt x="18311" y="13538"/>
                    </a:lnTo>
                    <a:lnTo>
                      <a:pt x="18311" y="14769"/>
                    </a:lnTo>
                    <a:lnTo>
                      <a:pt x="18311" y="15538"/>
                    </a:lnTo>
                    <a:lnTo>
                      <a:pt x="18311" y="16385"/>
                    </a:lnTo>
                    <a:lnTo>
                      <a:pt x="17784" y="18692"/>
                    </a:lnTo>
                    <a:lnTo>
                      <a:pt x="17150" y="18692"/>
                    </a:lnTo>
                    <a:lnTo>
                      <a:pt x="16939" y="17923"/>
                    </a:lnTo>
                    <a:lnTo>
                      <a:pt x="14987" y="17923"/>
                    </a:lnTo>
                    <a:lnTo>
                      <a:pt x="14776" y="17615"/>
                    </a:lnTo>
                    <a:lnTo>
                      <a:pt x="12507" y="18692"/>
                    </a:lnTo>
                    <a:lnTo>
                      <a:pt x="11451" y="19538"/>
                    </a:lnTo>
                    <a:lnTo>
                      <a:pt x="11187" y="19923"/>
                    </a:lnTo>
                    <a:lnTo>
                      <a:pt x="9815" y="19538"/>
                    </a:lnTo>
                    <a:lnTo>
                      <a:pt x="8496" y="19538"/>
                    </a:lnTo>
                    <a:lnTo>
                      <a:pt x="7863" y="19538"/>
                    </a:lnTo>
                    <a:lnTo>
                      <a:pt x="6807" y="18692"/>
                    </a:lnTo>
                    <a:lnTo>
                      <a:pt x="5488" y="19538"/>
                    </a:lnTo>
                    <a:lnTo>
                      <a:pt x="5488" y="18692"/>
                    </a:lnTo>
                    <a:lnTo>
                      <a:pt x="5699" y="17923"/>
                    </a:lnTo>
                    <a:lnTo>
                      <a:pt x="4908" y="17615"/>
                    </a:lnTo>
                    <a:lnTo>
                      <a:pt x="4327" y="16385"/>
                    </a:lnTo>
                    <a:lnTo>
                      <a:pt x="4908" y="15538"/>
                    </a:lnTo>
                    <a:lnTo>
                      <a:pt x="4327" y="15538"/>
                    </a:lnTo>
                    <a:lnTo>
                      <a:pt x="4063" y="16385"/>
                    </a:lnTo>
                    <a:lnTo>
                      <a:pt x="3219" y="15538"/>
                    </a:lnTo>
                    <a:lnTo>
                      <a:pt x="2164" y="14769"/>
                    </a:lnTo>
                    <a:lnTo>
                      <a:pt x="2164" y="14308"/>
                    </a:lnTo>
                    <a:lnTo>
                      <a:pt x="2164" y="12769"/>
                    </a:lnTo>
                    <a:lnTo>
                      <a:pt x="528" y="11615"/>
                    </a:lnTo>
                    <a:lnTo>
                      <a:pt x="528" y="10385"/>
                    </a:lnTo>
                    <a:lnTo>
                      <a:pt x="0" y="9154"/>
                    </a:lnTo>
                    <a:lnTo>
                      <a:pt x="1055" y="9154"/>
                    </a:lnTo>
                    <a:lnTo>
                      <a:pt x="1055" y="8385"/>
                    </a:lnTo>
                    <a:lnTo>
                      <a:pt x="1900" y="8000"/>
                    </a:lnTo>
                    <a:lnTo>
                      <a:pt x="1900" y="7231"/>
                    </a:lnTo>
                    <a:lnTo>
                      <a:pt x="2164" y="6000"/>
                    </a:lnTo>
                    <a:lnTo>
                      <a:pt x="2691" y="3154"/>
                    </a:lnTo>
                    <a:lnTo>
                      <a:pt x="3536" y="2000"/>
                    </a:lnTo>
                    <a:lnTo>
                      <a:pt x="4327" y="1231"/>
                    </a:lnTo>
                    <a:lnTo>
                      <a:pt x="4908" y="846"/>
                    </a:lnTo>
                    <a:lnTo>
                      <a:pt x="5699" y="846"/>
                    </a:lnTo>
                    <a:lnTo>
                      <a:pt x="9815" y="2000"/>
                    </a:lnTo>
                    <a:lnTo>
                      <a:pt x="11979" y="84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8" name="Freeform 261"/>
              <p:cNvSpPr>
                <a:spLocks/>
              </p:cNvSpPr>
              <p:nvPr/>
            </p:nvSpPr>
            <p:spPr bwMode="auto">
              <a:xfrm>
                <a:off x="5265738" y="2085975"/>
                <a:ext cx="279400" cy="612775"/>
              </a:xfrm>
              <a:custGeom>
                <a:avLst/>
                <a:gdLst>
                  <a:gd name="T0" fmla="*/ 16190 w 20000"/>
                  <a:gd name="T1" fmla="*/ 851 h 20000"/>
                  <a:gd name="T2" fmla="*/ 18549 w 20000"/>
                  <a:gd name="T3" fmla="*/ 2033 h 20000"/>
                  <a:gd name="T4" fmla="*/ 18776 w 20000"/>
                  <a:gd name="T5" fmla="*/ 2593 h 20000"/>
                  <a:gd name="T6" fmla="*/ 19683 w 20000"/>
                  <a:gd name="T7" fmla="*/ 4191 h 20000"/>
                  <a:gd name="T8" fmla="*/ 18549 w 20000"/>
                  <a:gd name="T9" fmla="*/ 4710 h 20000"/>
                  <a:gd name="T10" fmla="*/ 15692 w 20000"/>
                  <a:gd name="T11" fmla="*/ 5373 h 20000"/>
                  <a:gd name="T12" fmla="*/ 15510 w 20000"/>
                  <a:gd name="T13" fmla="*/ 6452 h 20000"/>
                  <a:gd name="T14" fmla="*/ 15510 w 20000"/>
                  <a:gd name="T15" fmla="*/ 7303 h 20000"/>
                  <a:gd name="T16" fmla="*/ 13651 w 20000"/>
                  <a:gd name="T17" fmla="*/ 8278 h 20000"/>
                  <a:gd name="T18" fmla="*/ 12698 w 20000"/>
                  <a:gd name="T19" fmla="*/ 8485 h 20000"/>
                  <a:gd name="T20" fmla="*/ 11247 w 20000"/>
                  <a:gd name="T21" fmla="*/ 9232 h 20000"/>
                  <a:gd name="T22" fmla="*/ 10794 w 20000"/>
                  <a:gd name="T23" fmla="*/ 9336 h 20000"/>
                  <a:gd name="T24" fmla="*/ 10113 w 20000"/>
                  <a:gd name="T25" fmla="*/ 9876 h 20000"/>
                  <a:gd name="T26" fmla="*/ 10113 w 20000"/>
                  <a:gd name="T27" fmla="*/ 10954 h 20000"/>
                  <a:gd name="T28" fmla="*/ 9841 w 20000"/>
                  <a:gd name="T29" fmla="*/ 11494 h 20000"/>
                  <a:gd name="T30" fmla="*/ 10794 w 20000"/>
                  <a:gd name="T31" fmla="*/ 12780 h 20000"/>
                  <a:gd name="T32" fmla="*/ 12698 w 20000"/>
                  <a:gd name="T33" fmla="*/ 13320 h 20000"/>
                  <a:gd name="T34" fmla="*/ 12426 w 20000"/>
                  <a:gd name="T35" fmla="*/ 14710 h 20000"/>
                  <a:gd name="T36" fmla="*/ 11247 w 20000"/>
                  <a:gd name="T37" fmla="*/ 14917 h 20000"/>
                  <a:gd name="T38" fmla="*/ 8934 w 20000"/>
                  <a:gd name="T39" fmla="*/ 15477 h 20000"/>
                  <a:gd name="T40" fmla="*/ 9841 w 20000"/>
                  <a:gd name="T41" fmla="*/ 16411 h 20000"/>
                  <a:gd name="T42" fmla="*/ 9388 w 20000"/>
                  <a:gd name="T43" fmla="*/ 17822 h 20000"/>
                  <a:gd name="T44" fmla="*/ 6349 w 20000"/>
                  <a:gd name="T45" fmla="*/ 19108 h 20000"/>
                  <a:gd name="T46" fmla="*/ 5850 w 20000"/>
                  <a:gd name="T47" fmla="*/ 19544 h 20000"/>
                  <a:gd name="T48" fmla="*/ 3991 w 20000"/>
                  <a:gd name="T49" fmla="*/ 19979 h 20000"/>
                  <a:gd name="T50" fmla="*/ 2812 w 20000"/>
                  <a:gd name="T51" fmla="*/ 18900 h 20000"/>
                  <a:gd name="T52" fmla="*/ 3265 w 20000"/>
                  <a:gd name="T53" fmla="*/ 18568 h 20000"/>
                  <a:gd name="T54" fmla="*/ 1859 w 20000"/>
                  <a:gd name="T55" fmla="*/ 17178 h 20000"/>
                  <a:gd name="T56" fmla="*/ 952 w 20000"/>
                  <a:gd name="T57" fmla="*/ 15996 h 20000"/>
                  <a:gd name="T58" fmla="*/ 0 w 20000"/>
                  <a:gd name="T59" fmla="*/ 15021 h 20000"/>
                  <a:gd name="T60" fmla="*/ 952 w 20000"/>
                  <a:gd name="T61" fmla="*/ 14066 h 20000"/>
                  <a:gd name="T62" fmla="*/ 2132 w 20000"/>
                  <a:gd name="T63" fmla="*/ 13734 h 20000"/>
                  <a:gd name="T64" fmla="*/ 1859 w 20000"/>
                  <a:gd name="T65" fmla="*/ 12137 h 20000"/>
                  <a:gd name="T66" fmla="*/ 2132 w 20000"/>
                  <a:gd name="T67" fmla="*/ 11286 h 20000"/>
                  <a:gd name="T68" fmla="*/ 952 w 20000"/>
                  <a:gd name="T69" fmla="*/ 9336 h 20000"/>
                  <a:gd name="T70" fmla="*/ 952 w 20000"/>
                  <a:gd name="T71" fmla="*/ 8154 h 20000"/>
                  <a:gd name="T72" fmla="*/ 4444 w 20000"/>
                  <a:gd name="T73" fmla="*/ 7635 h 20000"/>
                  <a:gd name="T74" fmla="*/ 3719 w 20000"/>
                  <a:gd name="T75" fmla="*/ 6784 h 20000"/>
                  <a:gd name="T76" fmla="*/ 4943 w 20000"/>
                  <a:gd name="T77" fmla="*/ 4295 h 20000"/>
                  <a:gd name="T78" fmla="*/ 7029 w 20000"/>
                  <a:gd name="T79" fmla="*/ 2905 h 20000"/>
                  <a:gd name="T80" fmla="*/ 7710 w 20000"/>
                  <a:gd name="T81" fmla="*/ 1950 h 20000"/>
                  <a:gd name="T82" fmla="*/ 9841 w 20000"/>
                  <a:gd name="T83" fmla="*/ 1494 h 20000"/>
                  <a:gd name="T84" fmla="*/ 10113 w 20000"/>
                  <a:gd name="T85" fmla="*/ 643 h 20000"/>
                  <a:gd name="T86" fmla="*/ 13152 w 20000"/>
                  <a:gd name="T87" fmla="*/ 851 h 20000"/>
                  <a:gd name="T88" fmla="*/ 12698 w 20000"/>
                  <a:gd name="T8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3651" y="0"/>
                    </a:moveTo>
                    <a:lnTo>
                      <a:pt x="14785" y="539"/>
                    </a:lnTo>
                    <a:lnTo>
                      <a:pt x="16190" y="851"/>
                    </a:lnTo>
                    <a:lnTo>
                      <a:pt x="17370" y="851"/>
                    </a:lnTo>
                    <a:lnTo>
                      <a:pt x="18549" y="1411"/>
                    </a:lnTo>
                    <a:lnTo>
                      <a:pt x="18549" y="2033"/>
                    </a:lnTo>
                    <a:lnTo>
                      <a:pt x="19229" y="2261"/>
                    </a:lnTo>
                    <a:lnTo>
                      <a:pt x="18776" y="2469"/>
                    </a:lnTo>
                    <a:lnTo>
                      <a:pt x="18776" y="2593"/>
                    </a:lnTo>
                    <a:lnTo>
                      <a:pt x="19683" y="2905"/>
                    </a:lnTo>
                    <a:lnTo>
                      <a:pt x="19229" y="3776"/>
                    </a:lnTo>
                    <a:lnTo>
                      <a:pt x="19683" y="4191"/>
                    </a:lnTo>
                    <a:lnTo>
                      <a:pt x="19955" y="4502"/>
                    </a:lnTo>
                    <a:lnTo>
                      <a:pt x="18549" y="4502"/>
                    </a:lnTo>
                    <a:lnTo>
                      <a:pt x="18549" y="4710"/>
                    </a:lnTo>
                    <a:lnTo>
                      <a:pt x="16916" y="4502"/>
                    </a:lnTo>
                    <a:lnTo>
                      <a:pt x="16689" y="5166"/>
                    </a:lnTo>
                    <a:lnTo>
                      <a:pt x="15692" y="5373"/>
                    </a:lnTo>
                    <a:lnTo>
                      <a:pt x="16190" y="5602"/>
                    </a:lnTo>
                    <a:lnTo>
                      <a:pt x="15692" y="6017"/>
                    </a:lnTo>
                    <a:lnTo>
                      <a:pt x="15510" y="6452"/>
                    </a:lnTo>
                    <a:lnTo>
                      <a:pt x="15692" y="6535"/>
                    </a:lnTo>
                    <a:lnTo>
                      <a:pt x="16190" y="6784"/>
                    </a:lnTo>
                    <a:lnTo>
                      <a:pt x="15510" y="7303"/>
                    </a:lnTo>
                    <a:lnTo>
                      <a:pt x="15011" y="7842"/>
                    </a:lnTo>
                    <a:lnTo>
                      <a:pt x="14785" y="7946"/>
                    </a:lnTo>
                    <a:lnTo>
                      <a:pt x="13651" y="8278"/>
                    </a:lnTo>
                    <a:lnTo>
                      <a:pt x="13152" y="8154"/>
                    </a:lnTo>
                    <a:lnTo>
                      <a:pt x="13152" y="8278"/>
                    </a:lnTo>
                    <a:lnTo>
                      <a:pt x="12698" y="8485"/>
                    </a:lnTo>
                    <a:lnTo>
                      <a:pt x="12426" y="8817"/>
                    </a:lnTo>
                    <a:lnTo>
                      <a:pt x="11701" y="8817"/>
                    </a:lnTo>
                    <a:lnTo>
                      <a:pt x="11247" y="9232"/>
                    </a:lnTo>
                    <a:lnTo>
                      <a:pt x="11701" y="9336"/>
                    </a:lnTo>
                    <a:lnTo>
                      <a:pt x="11247" y="9336"/>
                    </a:lnTo>
                    <a:lnTo>
                      <a:pt x="10794" y="9336"/>
                    </a:lnTo>
                    <a:lnTo>
                      <a:pt x="10794" y="9876"/>
                    </a:lnTo>
                    <a:lnTo>
                      <a:pt x="10567" y="9876"/>
                    </a:lnTo>
                    <a:lnTo>
                      <a:pt x="10113" y="9876"/>
                    </a:lnTo>
                    <a:lnTo>
                      <a:pt x="10113" y="10104"/>
                    </a:lnTo>
                    <a:lnTo>
                      <a:pt x="10113" y="10415"/>
                    </a:lnTo>
                    <a:lnTo>
                      <a:pt x="10113" y="10954"/>
                    </a:lnTo>
                    <a:lnTo>
                      <a:pt x="10113" y="11058"/>
                    </a:lnTo>
                    <a:lnTo>
                      <a:pt x="9841" y="11058"/>
                    </a:lnTo>
                    <a:lnTo>
                      <a:pt x="9841" y="11494"/>
                    </a:lnTo>
                    <a:lnTo>
                      <a:pt x="9841" y="11909"/>
                    </a:lnTo>
                    <a:lnTo>
                      <a:pt x="10567" y="12676"/>
                    </a:lnTo>
                    <a:lnTo>
                      <a:pt x="10794" y="12780"/>
                    </a:lnTo>
                    <a:lnTo>
                      <a:pt x="11247" y="12676"/>
                    </a:lnTo>
                    <a:lnTo>
                      <a:pt x="11973" y="13195"/>
                    </a:lnTo>
                    <a:lnTo>
                      <a:pt x="12698" y="13320"/>
                    </a:lnTo>
                    <a:lnTo>
                      <a:pt x="13152" y="13859"/>
                    </a:lnTo>
                    <a:lnTo>
                      <a:pt x="11973" y="14378"/>
                    </a:lnTo>
                    <a:lnTo>
                      <a:pt x="12426" y="14710"/>
                    </a:lnTo>
                    <a:lnTo>
                      <a:pt x="11701" y="14917"/>
                    </a:lnTo>
                    <a:lnTo>
                      <a:pt x="11701" y="15021"/>
                    </a:lnTo>
                    <a:lnTo>
                      <a:pt x="11247" y="14917"/>
                    </a:lnTo>
                    <a:lnTo>
                      <a:pt x="10567" y="15228"/>
                    </a:lnTo>
                    <a:lnTo>
                      <a:pt x="9841" y="15477"/>
                    </a:lnTo>
                    <a:lnTo>
                      <a:pt x="8934" y="15477"/>
                    </a:lnTo>
                    <a:lnTo>
                      <a:pt x="9841" y="15560"/>
                    </a:lnTo>
                    <a:lnTo>
                      <a:pt x="9841" y="16100"/>
                    </a:lnTo>
                    <a:lnTo>
                      <a:pt x="9841" y="16411"/>
                    </a:lnTo>
                    <a:lnTo>
                      <a:pt x="9388" y="16639"/>
                    </a:lnTo>
                    <a:lnTo>
                      <a:pt x="9841" y="16846"/>
                    </a:lnTo>
                    <a:lnTo>
                      <a:pt x="9388" y="17822"/>
                    </a:lnTo>
                    <a:lnTo>
                      <a:pt x="8707" y="18900"/>
                    </a:lnTo>
                    <a:lnTo>
                      <a:pt x="6803" y="18900"/>
                    </a:lnTo>
                    <a:lnTo>
                      <a:pt x="6349" y="19108"/>
                    </a:lnTo>
                    <a:lnTo>
                      <a:pt x="5669" y="19212"/>
                    </a:lnTo>
                    <a:lnTo>
                      <a:pt x="5669" y="19419"/>
                    </a:lnTo>
                    <a:lnTo>
                      <a:pt x="5850" y="19544"/>
                    </a:lnTo>
                    <a:lnTo>
                      <a:pt x="5669" y="19979"/>
                    </a:lnTo>
                    <a:lnTo>
                      <a:pt x="4943" y="19979"/>
                    </a:lnTo>
                    <a:lnTo>
                      <a:pt x="3991" y="19979"/>
                    </a:lnTo>
                    <a:lnTo>
                      <a:pt x="3719" y="19979"/>
                    </a:lnTo>
                    <a:lnTo>
                      <a:pt x="3719" y="19419"/>
                    </a:lnTo>
                    <a:lnTo>
                      <a:pt x="2812" y="18900"/>
                    </a:lnTo>
                    <a:lnTo>
                      <a:pt x="3265" y="18672"/>
                    </a:lnTo>
                    <a:lnTo>
                      <a:pt x="2812" y="18568"/>
                    </a:lnTo>
                    <a:lnTo>
                      <a:pt x="3265" y="18568"/>
                    </a:lnTo>
                    <a:lnTo>
                      <a:pt x="3265" y="18237"/>
                    </a:lnTo>
                    <a:lnTo>
                      <a:pt x="2585" y="17822"/>
                    </a:lnTo>
                    <a:lnTo>
                      <a:pt x="1859" y="17178"/>
                    </a:lnTo>
                    <a:lnTo>
                      <a:pt x="952" y="16639"/>
                    </a:lnTo>
                    <a:lnTo>
                      <a:pt x="1406" y="16328"/>
                    </a:lnTo>
                    <a:lnTo>
                      <a:pt x="952" y="15996"/>
                    </a:lnTo>
                    <a:lnTo>
                      <a:pt x="726" y="16100"/>
                    </a:lnTo>
                    <a:lnTo>
                      <a:pt x="272" y="15788"/>
                    </a:lnTo>
                    <a:lnTo>
                      <a:pt x="0" y="15021"/>
                    </a:lnTo>
                    <a:lnTo>
                      <a:pt x="0" y="14917"/>
                    </a:lnTo>
                    <a:lnTo>
                      <a:pt x="952" y="15021"/>
                    </a:lnTo>
                    <a:lnTo>
                      <a:pt x="952" y="14066"/>
                    </a:lnTo>
                    <a:lnTo>
                      <a:pt x="1406" y="13859"/>
                    </a:lnTo>
                    <a:lnTo>
                      <a:pt x="1406" y="13734"/>
                    </a:lnTo>
                    <a:lnTo>
                      <a:pt x="2132" y="13734"/>
                    </a:lnTo>
                    <a:lnTo>
                      <a:pt x="2585" y="13195"/>
                    </a:lnTo>
                    <a:lnTo>
                      <a:pt x="2585" y="12780"/>
                    </a:lnTo>
                    <a:lnTo>
                      <a:pt x="1859" y="12137"/>
                    </a:lnTo>
                    <a:lnTo>
                      <a:pt x="2585" y="11909"/>
                    </a:lnTo>
                    <a:lnTo>
                      <a:pt x="2812" y="11598"/>
                    </a:lnTo>
                    <a:lnTo>
                      <a:pt x="2132" y="11286"/>
                    </a:lnTo>
                    <a:lnTo>
                      <a:pt x="1859" y="11058"/>
                    </a:lnTo>
                    <a:lnTo>
                      <a:pt x="1406" y="10104"/>
                    </a:lnTo>
                    <a:lnTo>
                      <a:pt x="952" y="9336"/>
                    </a:lnTo>
                    <a:lnTo>
                      <a:pt x="1406" y="9025"/>
                    </a:lnTo>
                    <a:lnTo>
                      <a:pt x="952" y="8693"/>
                    </a:lnTo>
                    <a:lnTo>
                      <a:pt x="952" y="8154"/>
                    </a:lnTo>
                    <a:lnTo>
                      <a:pt x="2132" y="7635"/>
                    </a:lnTo>
                    <a:lnTo>
                      <a:pt x="2812" y="7407"/>
                    </a:lnTo>
                    <a:lnTo>
                      <a:pt x="4444" y="7635"/>
                    </a:lnTo>
                    <a:lnTo>
                      <a:pt x="4444" y="7095"/>
                    </a:lnTo>
                    <a:lnTo>
                      <a:pt x="4444" y="6992"/>
                    </a:lnTo>
                    <a:lnTo>
                      <a:pt x="3719" y="6784"/>
                    </a:lnTo>
                    <a:lnTo>
                      <a:pt x="4444" y="6017"/>
                    </a:lnTo>
                    <a:lnTo>
                      <a:pt x="4943" y="5373"/>
                    </a:lnTo>
                    <a:lnTo>
                      <a:pt x="4943" y="4295"/>
                    </a:lnTo>
                    <a:lnTo>
                      <a:pt x="5850" y="3983"/>
                    </a:lnTo>
                    <a:lnTo>
                      <a:pt x="5850" y="3651"/>
                    </a:lnTo>
                    <a:lnTo>
                      <a:pt x="7029" y="2905"/>
                    </a:lnTo>
                    <a:lnTo>
                      <a:pt x="7528" y="2801"/>
                    </a:lnTo>
                    <a:lnTo>
                      <a:pt x="7029" y="2261"/>
                    </a:lnTo>
                    <a:lnTo>
                      <a:pt x="7710" y="1950"/>
                    </a:lnTo>
                    <a:lnTo>
                      <a:pt x="7710" y="1494"/>
                    </a:lnTo>
                    <a:lnTo>
                      <a:pt x="8707" y="1411"/>
                    </a:lnTo>
                    <a:lnTo>
                      <a:pt x="9841" y="1494"/>
                    </a:lnTo>
                    <a:lnTo>
                      <a:pt x="9841" y="1183"/>
                    </a:lnTo>
                    <a:lnTo>
                      <a:pt x="9841" y="851"/>
                    </a:lnTo>
                    <a:lnTo>
                      <a:pt x="10113" y="643"/>
                    </a:lnTo>
                    <a:lnTo>
                      <a:pt x="11247" y="851"/>
                    </a:lnTo>
                    <a:lnTo>
                      <a:pt x="12698" y="1079"/>
                    </a:lnTo>
                    <a:lnTo>
                      <a:pt x="13152" y="851"/>
                    </a:lnTo>
                    <a:lnTo>
                      <a:pt x="12698" y="643"/>
                    </a:lnTo>
                    <a:lnTo>
                      <a:pt x="12698" y="332"/>
                    </a:lnTo>
                    <a:lnTo>
                      <a:pt x="12698" y="0"/>
                    </a:lnTo>
                    <a:lnTo>
                      <a:pt x="1365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79" name="Freeform 260"/>
              <p:cNvSpPr>
                <a:spLocks/>
              </p:cNvSpPr>
              <p:nvPr/>
            </p:nvSpPr>
            <p:spPr bwMode="auto">
              <a:xfrm>
                <a:off x="5440363" y="2587625"/>
                <a:ext cx="20637" cy="44450"/>
              </a:xfrm>
              <a:custGeom>
                <a:avLst/>
                <a:gdLst>
                  <a:gd name="T0" fmla="*/ 3750 w 20000"/>
                  <a:gd name="T1" fmla="*/ 19710 h 20000"/>
                  <a:gd name="T2" fmla="*/ 0 w 20000"/>
                  <a:gd name="T3" fmla="*/ 6087 h 20000"/>
                  <a:gd name="T4" fmla="*/ 9375 w 20000"/>
                  <a:gd name="T5" fmla="*/ 0 h 20000"/>
                  <a:gd name="T6" fmla="*/ 19375 w 20000"/>
                  <a:gd name="T7" fmla="*/ 0 h 20000"/>
                  <a:gd name="T8" fmla="*/ 16250 w 20000"/>
                  <a:gd name="T9" fmla="*/ 3188 h 20000"/>
                  <a:gd name="T10" fmla="*/ 16250 w 20000"/>
                  <a:gd name="T11" fmla="*/ 10725 h 20000"/>
                  <a:gd name="T12" fmla="*/ 16250 w 20000"/>
                  <a:gd name="T13" fmla="*/ 12174 h 20000"/>
                  <a:gd name="T14" fmla="*/ 3750 w 20000"/>
                  <a:gd name="T15" fmla="*/ 19710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3750" y="19710"/>
                    </a:moveTo>
                    <a:lnTo>
                      <a:pt x="0" y="6087"/>
                    </a:lnTo>
                    <a:lnTo>
                      <a:pt x="9375" y="0"/>
                    </a:lnTo>
                    <a:lnTo>
                      <a:pt x="19375" y="0"/>
                    </a:lnTo>
                    <a:lnTo>
                      <a:pt x="16250" y="3188"/>
                    </a:lnTo>
                    <a:lnTo>
                      <a:pt x="16250" y="10725"/>
                    </a:lnTo>
                    <a:lnTo>
                      <a:pt x="16250" y="12174"/>
                    </a:lnTo>
                    <a:lnTo>
                      <a:pt x="3750" y="197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0" name="Freeform 259"/>
              <p:cNvSpPr>
                <a:spLocks/>
              </p:cNvSpPr>
              <p:nvPr/>
            </p:nvSpPr>
            <p:spPr bwMode="auto">
              <a:xfrm>
                <a:off x="5403850" y="2611438"/>
                <a:ext cx="11113" cy="47625"/>
              </a:xfrm>
              <a:custGeom>
                <a:avLst/>
                <a:gdLst>
                  <a:gd name="T0" fmla="*/ 0 w 20000"/>
                  <a:gd name="T1" fmla="*/ 19730 h 20000"/>
                  <a:gd name="T2" fmla="*/ 0 w 20000"/>
                  <a:gd name="T3" fmla="*/ 14054 h 20000"/>
                  <a:gd name="T4" fmla="*/ 7059 w 20000"/>
                  <a:gd name="T5" fmla="*/ 7027 h 20000"/>
                  <a:gd name="T6" fmla="*/ 7059 w 20000"/>
                  <a:gd name="T7" fmla="*/ 1622 h 20000"/>
                  <a:gd name="T8" fmla="*/ 18824 w 20000"/>
                  <a:gd name="T9" fmla="*/ 0 h 20000"/>
                  <a:gd name="T10" fmla="*/ 7059 w 20000"/>
                  <a:gd name="T11" fmla="*/ 8378 h 20000"/>
                  <a:gd name="T12" fmla="*/ 0 w 20000"/>
                  <a:gd name="T13" fmla="*/ 19730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19730"/>
                    </a:moveTo>
                    <a:lnTo>
                      <a:pt x="0" y="14054"/>
                    </a:lnTo>
                    <a:lnTo>
                      <a:pt x="7059" y="7027"/>
                    </a:lnTo>
                    <a:lnTo>
                      <a:pt x="7059" y="1622"/>
                    </a:lnTo>
                    <a:lnTo>
                      <a:pt x="18824" y="0"/>
                    </a:lnTo>
                    <a:lnTo>
                      <a:pt x="7059" y="8378"/>
                    </a:lnTo>
                    <a:lnTo>
                      <a:pt x="0" y="197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1" name="Freeform 258"/>
              <p:cNvSpPr>
                <a:spLocks/>
              </p:cNvSpPr>
              <p:nvPr/>
            </p:nvSpPr>
            <p:spPr bwMode="auto">
              <a:xfrm>
                <a:off x="5360988" y="2698750"/>
                <a:ext cx="11112" cy="14288"/>
              </a:xfrm>
              <a:custGeom>
                <a:avLst/>
                <a:gdLst>
                  <a:gd name="T0" fmla="*/ 5882 w 20000"/>
                  <a:gd name="T1" fmla="*/ 19091 h 20000"/>
                  <a:gd name="T2" fmla="*/ 0 w 20000"/>
                  <a:gd name="T3" fmla="*/ 10000 h 20000"/>
                  <a:gd name="T4" fmla="*/ 0 w 20000"/>
                  <a:gd name="T5" fmla="*/ 0 h 20000"/>
                  <a:gd name="T6" fmla="*/ 18824 w 20000"/>
                  <a:gd name="T7" fmla="*/ 10000 h 20000"/>
                  <a:gd name="T8" fmla="*/ 5882 w 20000"/>
                  <a:gd name="T9" fmla="*/ 19091 h 20000"/>
                </a:gdLst>
                <a:ahLst/>
                <a:cxnLst>
                  <a:cxn ang="0">
                    <a:pos x="T0" y="T1"/>
                  </a:cxn>
                  <a:cxn ang="0">
                    <a:pos x="T2" y="T3"/>
                  </a:cxn>
                  <a:cxn ang="0">
                    <a:pos x="T4" y="T5"/>
                  </a:cxn>
                  <a:cxn ang="0">
                    <a:pos x="T6" y="T7"/>
                  </a:cxn>
                  <a:cxn ang="0">
                    <a:pos x="T8" y="T9"/>
                  </a:cxn>
                </a:cxnLst>
                <a:rect l="0" t="0" r="r" b="b"/>
                <a:pathLst>
                  <a:path w="20000" h="20000">
                    <a:moveTo>
                      <a:pt x="5882" y="19091"/>
                    </a:moveTo>
                    <a:lnTo>
                      <a:pt x="0" y="10000"/>
                    </a:lnTo>
                    <a:lnTo>
                      <a:pt x="0" y="0"/>
                    </a:lnTo>
                    <a:lnTo>
                      <a:pt x="18824" y="10000"/>
                    </a:lnTo>
                    <a:lnTo>
                      <a:pt x="5882" y="1909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2" name="Freeform 257"/>
              <p:cNvSpPr>
                <a:spLocks/>
              </p:cNvSpPr>
              <p:nvPr/>
            </p:nvSpPr>
            <p:spPr bwMode="auto">
              <a:xfrm>
                <a:off x="5153025" y="2981325"/>
                <a:ext cx="115888" cy="69850"/>
              </a:xfrm>
              <a:custGeom>
                <a:avLst/>
                <a:gdLst>
                  <a:gd name="T0" fmla="*/ 5137 w 20000"/>
                  <a:gd name="T1" fmla="*/ 2909 h 20000"/>
                  <a:gd name="T2" fmla="*/ 6230 w 20000"/>
                  <a:gd name="T3" fmla="*/ 2909 h 20000"/>
                  <a:gd name="T4" fmla="*/ 7432 w 20000"/>
                  <a:gd name="T5" fmla="*/ 2909 h 20000"/>
                  <a:gd name="T6" fmla="*/ 7978 w 20000"/>
                  <a:gd name="T7" fmla="*/ 2909 h 20000"/>
                  <a:gd name="T8" fmla="*/ 9071 w 20000"/>
                  <a:gd name="T9" fmla="*/ 2909 h 20000"/>
                  <a:gd name="T10" fmla="*/ 9617 w 20000"/>
                  <a:gd name="T11" fmla="*/ 2909 h 20000"/>
                  <a:gd name="T12" fmla="*/ 9617 w 20000"/>
                  <a:gd name="T13" fmla="*/ 2000 h 20000"/>
                  <a:gd name="T14" fmla="*/ 10710 w 20000"/>
                  <a:gd name="T15" fmla="*/ 0 h 20000"/>
                  <a:gd name="T16" fmla="*/ 11913 w 20000"/>
                  <a:gd name="T17" fmla="*/ 0 h 20000"/>
                  <a:gd name="T18" fmla="*/ 12459 w 20000"/>
                  <a:gd name="T19" fmla="*/ 0 h 20000"/>
                  <a:gd name="T20" fmla="*/ 12459 w 20000"/>
                  <a:gd name="T21" fmla="*/ 2000 h 20000"/>
                  <a:gd name="T22" fmla="*/ 13661 w 20000"/>
                  <a:gd name="T23" fmla="*/ 2000 h 20000"/>
                  <a:gd name="T24" fmla="*/ 14098 w 20000"/>
                  <a:gd name="T25" fmla="*/ 2000 h 20000"/>
                  <a:gd name="T26" fmla="*/ 15410 w 20000"/>
                  <a:gd name="T27" fmla="*/ 2000 h 20000"/>
                  <a:gd name="T28" fmla="*/ 16503 w 20000"/>
                  <a:gd name="T29" fmla="*/ 2909 h 20000"/>
                  <a:gd name="T30" fmla="*/ 15410 w 20000"/>
                  <a:gd name="T31" fmla="*/ 4909 h 20000"/>
                  <a:gd name="T32" fmla="*/ 15410 w 20000"/>
                  <a:gd name="T33" fmla="*/ 5636 h 20000"/>
                  <a:gd name="T34" fmla="*/ 16503 w 20000"/>
                  <a:gd name="T35" fmla="*/ 7636 h 20000"/>
                  <a:gd name="T36" fmla="*/ 16940 w 20000"/>
                  <a:gd name="T37" fmla="*/ 7636 h 20000"/>
                  <a:gd name="T38" fmla="*/ 16940 w 20000"/>
                  <a:gd name="T39" fmla="*/ 9455 h 20000"/>
                  <a:gd name="T40" fmla="*/ 18142 w 20000"/>
                  <a:gd name="T41" fmla="*/ 9455 h 20000"/>
                  <a:gd name="T42" fmla="*/ 19235 w 20000"/>
                  <a:gd name="T43" fmla="*/ 10545 h 20000"/>
                  <a:gd name="T44" fmla="*/ 19891 w 20000"/>
                  <a:gd name="T45" fmla="*/ 10545 h 20000"/>
                  <a:gd name="T46" fmla="*/ 19235 w 20000"/>
                  <a:gd name="T47" fmla="*/ 14182 h 20000"/>
                  <a:gd name="T48" fmla="*/ 18142 w 20000"/>
                  <a:gd name="T49" fmla="*/ 14182 h 20000"/>
                  <a:gd name="T50" fmla="*/ 18142 w 20000"/>
                  <a:gd name="T51" fmla="*/ 16909 h 20000"/>
                  <a:gd name="T52" fmla="*/ 16940 w 20000"/>
                  <a:gd name="T53" fmla="*/ 15091 h 20000"/>
                  <a:gd name="T54" fmla="*/ 16503 w 20000"/>
                  <a:gd name="T55" fmla="*/ 15091 h 20000"/>
                  <a:gd name="T56" fmla="*/ 15410 w 20000"/>
                  <a:gd name="T57" fmla="*/ 14182 h 20000"/>
                  <a:gd name="T58" fmla="*/ 14098 w 20000"/>
                  <a:gd name="T59" fmla="*/ 14182 h 20000"/>
                  <a:gd name="T60" fmla="*/ 14098 w 20000"/>
                  <a:gd name="T61" fmla="*/ 16909 h 20000"/>
                  <a:gd name="T62" fmla="*/ 13661 w 20000"/>
                  <a:gd name="T63" fmla="*/ 18000 h 20000"/>
                  <a:gd name="T64" fmla="*/ 9617 w 20000"/>
                  <a:gd name="T65" fmla="*/ 16909 h 20000"/>
                  <a:gd name="T66" fmla="*/ 7978 w 20000"/>
                  <a:gd name="T67" fmla="*/ 19818 h 20000"/>
                  <a:gd name="T68" fmla="*/ 7432 w 20000"/>
                  <a:gd name="T69" fmla="*/ 18000 h 20000"/>
                  <a:gd name="T70" fmla="*/ 4481 w 20000"/>
                  <a:gd name="T71" fmla="*/ 19818 h 20000"/>
                  <a:gd name="T72" fmla="*/ 3388 w 20000"/>
                  <a:gd name="T73" fmla="*/ 16909 h 20000"/>
                  <a:gd name="T74" fmla="*/ 1749 w 20000"/>
                  <a:gd name="T75" fmla="*/ 14182 h 20000"/>
                  <a:gd name="T76" fmla="*/ 0 w 20000"/>
                  <a:gd name="T77" fmla="*/ 15091 h 20000"/>
                  <a:gd name="T78" fmla="*/ 0 w 20000"/>
                  <a:gd name="T79" fmla="*/ 14182 h 20000"/>
                  <a:gd name="T80" fmla="*/ 1749 w 20000"/>
                  <a:gd name="T81" fmla="*/ 9455 h 20000"/>
                  <a:gd name="T82" fmla="*/ 3388 w 20000"/>
                  <a:gd name="T83" fmla="*/ 5636 h 20000"/>
                  <a:gd name="T84" fmla="*/ 3388 w 20000"/>
                  <a:gd name="T85" fmla="*/ 2909 h 20000"/>
                  <a:gd name="T86" fmla="*/ 5137 w 20000"/>
                  <a:gd name="T87" fmla="*/ 290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5137" y="2909"/>
                    </a:moveTo>
                    <a:lnTo>
                      <a:pt x="6230" y="2909"/>
                    </a:lnTo>
                    <a:lnTo>
                      <a:pt x="7432" y="2909"/>
                    </a:lnTo>
                    <a:lnTo>
                      <a:pt x="7978" y="2909"/>
                    </a:lnTo>
                    <a:lnTo>
                      <a:pt x="9071" y="2909"/>
                    </a:lnTo>
                    <a:lnTo>
                      <a:pt x="9617" y="2909"/>
                    </a:lnTo>
                    <a:lnTo>
                      <a:pt x="9617" y="2000"/>
                    </a:lnTo>
                    <a:lnTo>
                      <a:pt x="10710" y="0"/>
                    </a:lnTo>
                    <a:lnTo>
                      <a:pt x="11913" y="0"/>
                    </a:lnTo>
                    <a:lnTo>
                      <a:pt x="12459" y="0"/>
                    </a:lnTo>
                    <a:lnTo>
                      <a:pt x="12459" y="2000"/>
                    </a:lnTo>
                    <a:lnTo>
                      <a:pt x="13661" y="2000"/>
                    </a:lnTo>
                    <a:lnTo>
                      <a:pt x="14098" y="2000"/>
                    </a:lnTo>
                    <a:lnTo>
                      <a:pt x="15410" y="2000"/>
                    </a:lnTo>
                    <a:lnTo>
                      <a:pt x="16503" y="2909"/>
                    </a:lnTo>
                    <a:lnTo>
                      <a:pt x="15410" y="4909"/>
                    </a:lnTo>
                    <a:lnTo>
                      <a:pt x="15410" y="5636"/>
                    </a:lnTo>
                    <a:lnTo>
                      <a:pt x="16503" y="7636"/>
                    </a:lnTo>
                    <a:lnTo>
                      <a:pt x="16940" y="7636"/>
                    </a:lnTo>
                    <a:lnTo>
                      <a:pt x="16940" y="9455"/>
                    </a:lnTo>
                    <a:lnTo>
                      <a:pt x="18142" y="9455"/>
                    </a:lnTo>
                    <a:lnTo>
                      <a:pt x="19235" y="10545"/>
                    </a:lnTo>
                    <a:lnTo>
                      <a:pt x="19891" y="10545"/>
                    </a:lnTo>
                    <a:lnTo>
                      <a:pt x="19235" y="14182"/>
                    </a:lnTo>
                    <a:lnTo>
                      <a:pt x="18142" y="14182"/>
                    </a:lnTo>
                    <a:lnTo>
                      <a:pt x="18142" y="16909"/>
                    </a:lnTo>
                    <a:lnTo>
                      <a:pt x="16940" y="15091"/>
                    </a:lnTo>
                    <a:lnTo>
                      <a:pt x="16503" y="15091"/>
                    </a:lnTo>
                    <a:lnTo>
                      <a:pt x="15410" y="14182"/>
                    </a:lnTo>
                    <a:lnTo>
                      <a:pt x="14098" y="14182"/>
                    </a:lnTo>
                    <a:lnTo>
                      <a:pt x="14098" y="16909"/>
                    </a:lnTo>
                    <a:lnTo>
                      <a:pt x="13661" y="18000"/>
                    </a:lnTo>
                    <a:lnTo>
                      <a:pt x="9617" y="16909"/>
                    </a:lnTo>
                    <a:lnTo>
                      <a:pt x="7978" y="19818"/>
                    </a:lnTo>
                    <a:lnTo>
                      <a:pt x="7432" y="18000"/>
                    </a:lnTo>
                    <a:lnTo>
                      <a:pt x="4481" y="19818"/>
                    </a:lnTo>
                    <a:lnTo>
                      <a:pt x="3388" y="16909"/>
                    </a:lnTo>
                    <a:lnTo>
                      <a:pt x="1749" y="14182"/>
                    </a:lnTo>
                    <a:lnTo>
                      <a:pt x="0" y="15091"/>
                    </a:lnTo>
                    <a:lnTo>
                      <a:pt x="0" y="14182"/>
                    </a:lnTo>
                    <a:lnTo>
                      <a:pt x="1749" y="9455"/>
                    </a:lnTo>
                    <a:lnTo>
                      <a:pt x="3388" y="5636"/>
                    </a:lnTo>
                    <a:lnTo>
                      <a:pt x="3388" y="2909"/>
                    </a:lnTo>
                    <a:lnTo>
                      <a:pt x="5137" y="290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3" name="Freeform 256"/>
              <p:cNvSpPr>
                <a:spLocks/>
              </p:cNvSpPr>
              <p:nvPr/>
            </p:nvSpPr>
            <p:spPr bwMode="auto">
              <a:xfrm>
                <a:off x="4743450" y="3127375"/>
                <a:ext cx="336550" cy="260350"/>
              </a:xfrm>
              <a:custGeom>
                <a:avLst/>
                <a:gdLst>
                  <a:gd name="T0" fmla="*/ 12703 w 20000"/>
                  <a:gd name="T1" fmla="*/ 2005 h 20000"/>
                  <a:gd name="T2" fmla="*/ 15879 w 20000"/>
                  <a:gd name="T3" fmla="*/ 2787 h 20000"/>
                  <a:gd name="T4" fmla="*/ 16824 w 20000"/>
                  <a:gd name="T5" fmla="*/ 2787 h 20000"/>
                  <a:gd name="T6" fmla="*/ 18034 w 20000"/>
                  <a:gd name="T7" fmla="*/ 3276 h 20000"/>
                  <a:gd name="T8" fmla="*/ 19584 w 20000"/>
                  <a:gd name="T9" fmla="*/ 3276 h 20000"/>
                  <a:gd name="T10" fmla="*/ 19584 w 20000"/>
                  <a:gd name="T11" fmla="*/ 4010 h 20000"/>
                  <a:gd name="T12" fmla="*/ 18979 w 20000"/>
                  <a:gd name="T13" fmla="*/ 5575 h 20000"/>
                  <a:gd name="T14" fmla="*/ 16824 w 20000"/>
                  <a:gd name="T15" fmla="*/ 6797 h 20000"/>
                  <a:gd name="T16" fmla="*/ 15879 w 20000"/>
                  <a:gd name="T17" fmla="*/ 7286 h 20000"/>
                  <a:gd name="T18" fmla="*/ 15274 w 20000"/>
                  <a:gd name="T19" fmla="*/ 9340 h 20000"/>
                  <a:gd name="T20" fmla="*/ 14329 w 20000"/>
                  <a:gd name="T21" fmla="*/ 11589 h 20000"/>
                  <a:gd name="T22" fmla="*/ 14858 w 20000"/>
                  <a:gd name="T23" fmla="*/ 13399 h 20000"/>
                  <a:gd name="T24" fmla="*/ 13724 w 20000"/>
                  <a:gd name="T25" fmla="*/ 14670 h 20000"/>
                  <a:gd name="T26" fmla="*/ 13308 w 20000"/>
                  <a:gd name="T27" fmla="*/ 15892 h 20000"/>
                  <a:gd name="T28" fmla="*/ 12136 w 20000"/>
                  <a:gd name="T29" fmla="*/ 16186 h 20000"/>
                  <a:gd name="T30" fmla="*/ 11153 w 20000"/>
                  <a:gd name="T31" fmla="*/ 18191 h 20000"/>
                  <a:gd name="T32" fmla="*/ 10397 w 20000"/>
                  <a:gd name="T33" fmla="*/ 17946 h 20000"/>
                  <a:gd name="T34" fmla="*/ 9792 w 20000"/>
                  <a:gd name="T35" fmla="*/ 18191 h 20000"/>
                  <a:gd name="T36" fmla="*/ 8809 w 20000"/>
                  <a:gd name="T37" fmla="*/ 18191 h 20000"/>
                  <a:gd name="T38" fmla="*/ 7259 w 20000"/>
                  <a:gd name="T39" fmla="*/ 18680 h 20000"/>
                  <a:gd name="T40" fmla="*/ 5671 w 20000"/>
                  <a:gd name="T41" fmla="*/ 19951 h 20000"/>
                  <a:gd name="T42" fmla="*/ 4121 w 20000"/>
                  <a:gd name="T43" fmla="*/ 18191 h 20000"/>
                  <a:gd name="T44" fmla="*/ 3176 w 20000"/>
                  <a:gd name="T45" fmla="*/ 16968 h 20000"/>
                  <a:gd name="T46" fmla="*/ 2949 w 20000"/>
                  <a:gd name="T47" fmla="*/ 15403 h 20000"/>
                  <a:gd name="T48" fmla="*/ 3554 w 20000"/>
                  <a:gd name="T49" fmla="*/ 14181 h 20000"/>
                  <a:gd name="T50" fmla="*/ 3176 w 20000"/>
                  <a:gd name="T51" fmla="*/ 12665 h 20000"/>
                  <a:gd name="T52" fmla="*/ 2949 w 20000"/>
                  <a:gd name="T53" fmla="*/ 10611 h 20000"/>
                  <a:gd name="T54" fmla="*/ 3932 w 20000"/>
                  <a:gd name="T55" fmla="*/ 8606 h 20000"/>
                  <a:gd name="T56" fmla="*/ 4726 w 20000"/>
                  <a:gd name="T57" fmla="*/ 5575 h 20000"/>
                  <a:gd name="T58" fmla="*/ 3932 w 20000"/>
                  <a:gd name="T59" fmla="*/ 4792 h 20000"/>
                  <a:gd name="T60" fmla="*/ 2571 w 20000"/>
                  <a:gd name="T61" fmla="*/ 4792 h 20000"/>
                  <a:gd name="T62" fmla="*/ 1588 w 20000"/>
                  <a:gd name="T63" fmla="*/ 4010 h 20000"/>
                  <a:gd name="T64" fmla="*/ 605 w 20000"/>
                  <a:gd name="T65" fmla="*/ 4010 h 20000"/>
                  <a:gd name="T66" fmla="*/ 605 w 20000"/>
                  <a:gd name="T67" fmla="*/ 2787 h 20000"/>
                  <a:gd name="T68" fmla="*/ 416 w 20000"/>
                  <a:gd name="T69" fmla="*/ 2298 h 20000"/>
                  <a:gd name="T70" fmla="*/ 605 w 20000"/>
                  <a:gd name="T71" fmla="*/ 782 h 20000"/>
                  <a:gd name="T72" fmla="*/ 1588 w 20000"/>
                  <a:gd name="T73" fmla="*/ 196 h 20000"/>
                  <a:gd name="T74" fmla="*/ 2949 w 20000"/>
                  <a:gd name="T75" fmla="*/ 196 h 20000"/>
                  <a:gd name="T76" fmla="*/ 5482 w 20000"/>
                  <a:gd name="T77" fmla="*/ 196 h 20000"/>
                  <a:gd name="T78" fmla="*/ 8809 w 20000"/>
                  <a:gd name="T79" fmla="*/ 782 h 20000"/>
                  <a:gd name="T80" fmla="*/ 12136 w 20000"/>
                  <a:gd name="T81" fmla="*/ 78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12136" y="782"/>
                    </a:moveTo>
                    <a:lnTo>
                      <a:pt x="12703" y="2005"/>
                    </a:lnTo>
                    <a:lnTo>
                      <a:pt x="14858" y="2787"/>
                    </a:lnTo>
                    <a:lnTo>
                      <a:pt x="15879" y="2787"/>
                    </a:lnTo>
                    <a:lnTo>
                      <a:pt x="15879" y="2298"/>
                    </a:lnTo>
                    <a:lnTo>
                      <a:pt x="16824" y="2787"/>
                    </a:lnTo>
                    <a:lnTo>
                      <a:pt x="17429" y="3521"/>
                    </a:lnTo>
                    <a:lnTo>
                      <a:pt x="18034" y="3276"/>
                    </a:lnTo>
                    <a:lnTo>
                      <a:pt x="18979" y="3521"/>
                    </a:lnTo>
                    <a:lnTo>
                      <a:pt x="19584" y="3276"/>
                    </a:lnTo>
                    <a:lnTo>
                      <a:pt x="19962" y="3521"/>
                    </a:lnTo>
                    <a:lnTo>
                      <a:pt x="19584" y="4010"/>
                    </a:lnTo>
                    <a:lnTo>
                      <a:pt x="19584" y="4792"/>
                    </a:lnTo>
                    <a:lnTo>
                      <a:pt x="18979" y="5575"/>
                    </a:lnTo>
                    <a:lnTo>
                      <a:pt x="18034" y="6797"/>
                    </a:lnTo>
                    <a:lnTo>
                      <a:pt x="16824" y="6797"/>
                    </a:lnTo>
                    <a:lnTo>
                      <a:pt x="16257" y="7286"/>
                    </a:lnTo>
                    <a:lnTo>
                      <a:pt x="15879" y="7286"/>
                    </a:lnTo>
                    <a:lnTo>
                      <a:pt x="15879" y="8606"/>
                    </a:lnTo>
                    <a:lnTo>
                      <a:pt x="15274" y="9340"/>
                    </a:lnTo>
                    <a:lnTo>
                      <a:pt x="13913" y="10856"/>
                    </a:lnTo>
                    <a:lnTo>
                      <a:pt x="14329" y="11589"/>
                    </a:lnTo>
                    <a:lnTo>
                      <a:pt x="14858" y="12861"/>
                    </a:lnTo>
                    <a:lnTo>
                      <a:pt x="14858" y="13399"/>
                    </a:lnTo>
                    <a:lnTo>
                      <a:pt x="14329" y="13888"/>
                    </a:lnTo>
                    <a:lnTo>
                      <a:pt x="13724" y="14670"/>
                    </a:lnTo>
                    <a:lnTo>
                      <a:pt x="13308" y="15403"/>
                    </a:lnTo>
                    <a:lnTo>
                      <a:pt x="13308" y="15892"/>
                    </a:lnTo>
                    <a:lnTo>
                      <a:pt x="12930" y="16186"/>
                    </a:lnTo>
                    <a:lnTo>
                      <a:pt x="12136" y="16186"/>
                    </a:lnTo>
                    <a:lnTo>
                      <a:pt x="11380" y="16968"/>
                    </a:lnTo>
                    <a:lnTo>
                      <a:pt x="11153" y="18191"/>
                    </a:lnTo>
                    <a:lnTo>
                      <a:pt x="10775" y="17946"/>
                    </a:lnTo>
                    <a:lnTo>
                      <a:pt x="10397" y="17946"/>
                    </a:lnTo>
                    <a:lnTo>
                      <a:pt x="10208" y="18191"/>
                    </a:lnTo>
                    <a:lnTo>
                      <a:pt x="9792" y="18191"/>
                    </a:lnTo>
                    <a:lnTo>
                      <a:pt x="9225" y="18191"/>
                    </a:lnTo>
                    <a:lnTo>
                      <a:pt x="8809" y="18191"/>
                    </a:lnTo>
                    <a:lnTo>
                      <a:pt x="8053" y="18191"/>
                    </a:lnTo>
                    <a:lnTo>
                      <a:pt x="7259" y="18680"/>
                    </a:lnTo>
                    <a:lnTo>
                      <a:pt x="6654" y="18680"/>
                    </a:lnTo>
                    <a:lnTo>
                      <a:pt x="5671" y="19951"/>
                    </a:lnTo>
                    <a:lnTo>
                      <a:pt x="4499" y="19218"/>
                    </a:lnTo>
                    <a:lnTo>
                      <a:pt x="4121" y="18191"/>
                    </a:lnTo>
                    <a:lnTo>
                      <a:pt x="4121" y="17457"/>
                    </a:lnTo>
                    <a:lnTo>
                      <a:pt x="3176" y="16968"/>
                    </a:lnTo>
                    <a:lnTo>
                      <a:pt x="2949" y="16968"/>
                    </a:lnTo>
                    <a:lnTo>
                      <a:pt x="2949" y="15403"/>
                    </a:lnTo>
                    <a:lnTo>
                      <a:pt x="3554" y="14670"/>
                    </a:lnTo>
                    <a:lnTo>
                      <a:pt x="3554" y="14181"/>
                    </a:lnTo>
                    <a:lnTo>
                      <a:pt x="3176" y="13399"/>
                    </a:lnTo>
                    <a:lnTo>
                      <a:pt x="3176" y="12665"/>
                    </a:lnTo>
                    <a:lnTo>
                      <a:pt x="3176" y="12176"/>
                    </a:lnTo>
                    <a:lnTo>
                      <a:pt x="2949" y="10611"/>
                    </a:lnTo>
                    <a:lnTo>
                      <a:pt x="3554" y="10611"/>
                    </a:lnTo>
                    <a:lnTo>
                      <a:pt x="3932" y="8606"/>
                    </a:lnTo>
                    <a:lnTo>
                      <a:pt x="3932" y="7286"/>
                    </a:lnTo>
                    <a:lnTo>
                      <a:pt x="4726" y="5575"/>
                    </a:lnTo>
                    <a:lnTo>
                      <a:pt x="4499" y="5281"/>
                    </a:lnTo>
                    <a:lnTo>
                      <a:pt x="3932" y="4792"/>
                    </a:lnTo>
                    <a:lnTo>
                      <a:pt x="3176" y="4792"/>
                    </a:lnTo>
                    <a:lnTo>
                      <a:pt x="2571" y="4792"/>
                    </a:lnTo>
                    <a:lnTo>
                      <a:pt x="1966" y="4792"/>
                    </a:lnTo>
                    <a:lnTo>
                      <a:pt x="1588" y="4010"/>
                    </a:lnTo>
                    <a:lnTo>
                      <a:pt x="1021" y="4303"/>
                    </a:lnTo>
                    <a:lnTo>
                      <a:pt x="605" y="4010"/>
                    </a:lnTo>
                    <a:lnTo>
                      <a:pt x="1021" y="3521"/>
                    </a:lnTo>
                    <a:lnTo>
                      <a:pt x="605" y="2787"/>
                    </a:lnTo>
                    <a:lnTo>
                      <a:pt x="416" y="2787"/>
                    </a:lnTo>
                    <a:lnTo>
                      <a:pt x="416" y="2298"/>
                    </a:lnTo>
                    <a:lnTo>
                      <a:pt x="0" y="978"/>
                    </a:lnTo>
                    <a:lnTo>
                      <a:pt x="605" y="782"/>
                    </a:lnTo>
                    <a:lnTo>
                      <a:pt x="1588" y="782"/>
                    </a:lnTo>
                    <a:lnTo>
                      <a:pt x="1588" y="196"/>
                    </a:lnTo>
                    <a:lnTo>
                      <a:pt x="2155" y="0"/>
                    </a:lnTo>
                    <a:lnTo>
                      <a:pt x="2949" y="196"/>
                    </a:lnTo>
                    <a:lnTo>
                      <a:pt x="4499" y="196"/>
                    </a:lnTo>
                    <a:lnTo>
                      <a:pt x="5482" y="196"/>
                    </a:lnTo>
                    <a:lnTo>
                      <a:pt x="7070" y="782"/>
                    </a:lnTo>
                    <a:lnTo>
                      <a:pt x="8809" y="782"/>
                    </a:lnTo>
                    <a:lnTo>
                      <a:pt x="10397" y="782"/>
                    </a:lnTo>
                    <a:lnTo>
                      <a:pt x="12136" y="7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4" name="Freeform 255"/>
              <p:cNvSpPr>
                <a:spLocks/>
              </p:cNvSpPr>
              <p:nvPr/>
            </p:nvSpPr>
            <p:spPr bwMode="auto">
              <a:xfrm>
                <a:off x="5054600" y="3257550"/>
                <a:ext cx="30163" cy="20638"/>
              </a:xfrm>
              <a:custGeom>
                <a:avLst/>
                <a:gdLst>
                  <a:gd name="T0" fmla="*/ 10833 w 20000"/>
                  <a:gd name="T1" fmla="*/ 19375 h 20000"/>
                  <a:gd name="T2" fmla="*/ 8333 w 20000"/>
                  <a:gd name="T3" fmla="*/ 16250 h 20000"/>
                  <a:gd name="T4" fmla="*/ 8333 w 20000"/>
                  <a:gd name="T5" fmla="*/ 9375 h 20000"/>
                  <a:gd name="T6" fmla="*/ 0 w 20000"/>
                  <a:gd name="T7" fmla="*/ 9375 h 20000"/>
                  <a:gd name="T8" fmla="*/ 10833 w 20000"/>
                  <a:gd name="T9" fmla="*/ 0 h 20000"/>
                  <a:gd name="T10" fmla="*/ 10833 w 20000"/>
                  <a:gd name="T11" fmla="*/ 6875 h 20000"/>
                  <a:gd name="T12" fmla="*/ 19583 w 20000"/>
                  <a:gd name="T13" fmla="*/ 6875 h 20000"/>
                  <a:gd name="T14" fmla="*/ 15000 w 20000"/>
                  <a:gd name="T15" fmla="*/ 9375 h 20000"/>
                  <a:gd name="T16" fmla="*/ 10833 w 20000"/>
                  <a:gd name="T17"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0833" y="19375"/>
                    </a:moveTo>
                    <a:lnTo>
                      <a:pt x="8333" y="16250"/>
                    </a:lnTo>
                    <a:lnTo>
                      <a:pt x="8333" y="9375"/>
                    </a:lnTo>
                    <a:lnTo>
                      <a:pt x="0" y="9375"/>
                    </a:lnTo>
                    <a:lnTo>
                      <a:pt x="10833" y="0"/>
                    </a:lnTo>
                    <a:lnTo>
                      <a:pt x="10833" y="6875"/>
                    </a:lnTo>
                    <a:lnTo>
                      <a:pt x="19583" y="6875"/>
                    </a:lnTo>
                    <a:lnTo>
                      <a:pt x="15000" y="9375"/>
                    </a:lnTo>
                    <a:lnTo>
                      <a:pt x="10833"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5" name="Freeform 254"/>
              <p:cNvSpPr>
                <a:spLocks/>
              </p:cNvSpPr>
              <p:nvPr/>
            </p:nvSpPr>
            <p:spPr bwMode="auto">
              <a:xfrm>
                <a:off x="5087938" y="3251200"/>
                <a:ext cx="11112" cy="6350"/>
              </a:xfrm>
              <a:custGeom>
                <a:avLst/>
                <a:gdLst>
                  <a:gd name="T0" fmla="*/ 18824 w 20000"/>
                  <a:gd name="T1" fmla="*/ 18182 h 20000"/>
                  <a:gd name="T2" fmla="*/ 0 w 20000"/>
                  <a:gd name="T3" fmla="*/ 0 h 20000"/>
                  <a:gd name="T4" fmla="*/ 18824 w 20000"/>
                  <a:gd name="T5" fmla="*/ 0 h 20000"/>
                  <a:gd name="T6" fmla="*/ 18824 w 20000"/>
                  <a:gd name="T7" fmla="*/ 18182 h 20000"/>
                </a:gdLst>
                <a:ahLst/>
                <a:cxnLst>
                  <a:cxn ang="0">
                    <a:pos x="T0" y="T1"/>
                  </a:cxn>
                  <a:cxn ang="0">
                    <a:pos x="T2" y="T3"/>
                  </a:cxn>
                  <a:cxn ang="0">
                    <a:pos x="T4" y="T5"/>
                  </a:cxn>
                  <a:cxn ang="0">
                    <a:pos x="T6" y="T7"/>
                  </a:cxn>
                </a:cxnLst>
                <a:rect l="0" t="0" r="r" b="b"/>
                <a:pathLst>
                  <a:path w="20000" h="20000">
                    <a:moveTo>
                      <a:pt x="18824" y="18182"/>
                    </a:moveTo>
                    <a:lnTo>
                      <a:pt x="0" y="0"/>
                    </a:lnTo>
                    <a:lnTo>
                      <a:pt x="18824" y="0"/>
                    </a:lnTo>
                    <a:lnTo>
                      <a:pt x="18824" y="181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6" name="Freeform 253"/>
              <p:cNvSpPr>
                <a:spLocks/>
              </p:cNvSpPr>
              <p:nvPr/>
            </p:nvSpPr>
            <p:spPr bwMode="auto">
              <a:xfrm>
                <a:off x="5019675" y="3284538"/>
                <a:ext cx="11113" cy="9525"/>
              </a:xfrm>
              <a:custGeom>
                <a:avLst/>
                <a:gdLst>
                  <a:gd name="T0" fmla="*/ 18824 w 20000"/>
                  <a:gd name="T1" fmla="*/ 18750 h 20000"/>
                  <a:gd name="T2" fmla="*/ 0 w 20000"/>
                  <a:gd name="T3" fmla="*/ 12500 h 20000"/>
                  <a:gd name="T4" fmla="*/ 18824 w 20000"/>
                  <a:gd name="T5" fmla="*/ 0 h 20000"/>
                  <a:gd name="T6" fmla="*/ 18824 w 20000"/>
                  <a:gd name="T7" fmla="*/ 18750 h 20000"/>
                </a:gdLst>
                <a:ahLst/>
                <a:cxnLst>
                  <a:cxn ang="0">
                    <a:pos x="T0" y="T1"/>
                  </a:cxn>
                  <a:cxn ang="0">
                    <a:pos x="T2" y="T3"/>
                  </a:cxn>
                  <a:cxn ang="0">
                    <a:pos x="T4" y="T5"/>
                  </a:cxn>
                  <a:cxn ang="0">
                    <a:pos x="T6" y="T7"/>
                  </a:cxn>
                </a:cxnLst>
                <a:rect l="0" t="0" r="r" b="b"/>
                <a:pathLst>
                  <a:path w="20000" h="20000">
                    <a:moveTo>
                      <a:pt x="18824" y="18750"/>
                    </a:moveTo>
                    <a:lnTo>
                      <a:pt x="0" y="12500"/>
                    </a:lnTo>
                    <a:lnTo>
                      <a:pt x="18824" y="0"/>
                    </a:lnTo>
                    <a:lnTo>
                      <a:pt x="18824" y="1875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7" name="Freeform 252"/>
              <p:cNvSpPr>
                <a:spLocks/>
              </p:cNvSpPr>
              <p:nvPr/>
            </p:nvSpPr>
            <p:spPr bwMode="auto">
              <a:xfrm>
                <a:off x="5026025" y="3162300"/>
                <a:ext cx="20638" cy="11113"/>
              </a:xfrm>
              <a:custGeom>
                <a:avLst/>
                <a:gdLst>
                  <a:gd name="T0" fmla="*/ 0 w 20000"/>
                  <a:gd name="T1" fmla="*/ 0 h 20000"/>
                  <a:gd name="T2" fmla="*/ 9375 w 20000"/>
                  <a:gd name="T3" fmla="*/ 18824 h 20000"/>
                  <a:gd name="T4" fmla="*/ 19375 w 20000"/>
                  <a:gd name="T5" fmla="*/ 11765 h 20000"/>
                  <a:gd name="T6" fmla="*/ 0 w 20000"/>
                  <a:gd name="T7" fmla="*/ 0 h 20000"/>
                </a:gdLst>
                <a:ahLst/>
                <a:cxnLst>
                  <a:cxn ang="0">
                    <a:pos x="T0" y="T1"/>
                  </a:cxn>
                  <a:cxn ang="0">
                    <a:pos x="T2" y="T3"/>
                  </a:cxn>
                  <a:cxn ang="0">
                    <a:pos x="T4" y="T5"/>
                  </a:cxn>
                  <a:cxn ang="0">
                    <a:pos x="T6" y="T7"/>
                  </a:cxn>
                </a:cxnLst>
                <a:rect l="0" t="0" r="r" b="b"/>
                <a:pathLst>
                  <a:path w="20000" h="20000">
                    <a:moveTo>
                      <a:pt x="0" y="0"/>
                    </a:moveTo>
                    <a:lnTo>
                      <a:pt x="9375" y="18824"/>
                    </a:lnTo>
                    <a:lnTo>
                      <a:pt x="19375" y="11765"/>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8" name="Freeform 251"/>
              <p:cNvSpPr>
                <a:spLocks/>
              </p:cNvSpPr>
              <p:nvPr/>
            </p:nvSpPr>
            <p:spPr bwMode="auto">
              <a:xfrm>
                <a:off x="5689600" y="3179763"/>
                <a:ext cx="517525" cy="207962"/>
              </a:xfrm>
              <a:custGeom>
                <a:avLst/>
                <a:gdLst>
                  <a:gd name="T0" fmla="*/ 1031 w 20000"/>
                  <a:gd name="T1" fmla="*/ 0 h 20000"/>
                  <a:gd name="T2" fmla="*/ 1767 w 20000"/>
                  <a:gd name="T3" fmla="*/ 367 h 20000"/>
                  <a:gd name="T4" fmla="*/ 2822 w 20000"/>
                  <a:gd name="T5" fmla="*/ 2875 h 20000"/>
                  <a:gd name="T6" fmla="*/ 4074 w 20000"/>
                  <a:gd name="T7" fmla="*/ 2875 h 20000"/>
                  <a:gd name="T8" fmla="*/ 5080 w 20000"/>
                  <a:gd name="T9" fmla="*/ 3486 h 20000"/>
                  <a:gd name="T10" fmla="*/ 5988 w 20000"/>
                  <a:gd name="T11" fmla="*/ 1896 h 20000"/>
                  <a:gd name="T12" fmla="*/ 7387 w 20000"/>
                  <a:gd name="T13" fmla="*/ 367 h 20000"/>
                  <a:gd name="T14" fmla="*/ 8785 w 20000"/>
                  <a:gd name="T15" fmla="*/ 0 h 20000"/>
                  <a:gd name="T16" fmla="*/ 9031 w 20000"/>
                  <a:gd name="T17" fmla="*/ 367 h 20000"/>
                  <a:gd name="T18" fmla="*/ 10037 w 20000"/>
                  <a:gd name="T19" fmla="*/ 1590 h 20000"/>
                  <a:gd name="T20" fmla="*/ 10699 w 20000"/>
                  <a:gd name="T21" fmla="*/ 1896 h 20000"/>
                  <a:gd name="T22" fmla="*/ 11706 w 20000"/>
                  <a:gd name="T23" fmla="*/ 3486 h 20000"/>
                  <a:gd name="T24" fmla="*/ 12344 w 20000"/>
                  <a:gd name="T25" fmla="*/ 3486 h 20000"/>
                  <a:gd name="T26" fmla="*/ 13988 w 20000"/>
                  <a:gd name="T27" fmla="*/ 3486 h 20000"/>
                  <a:gd name="T28" fmla="*/ 15755 w 20000"/>
                  <a:gd name="T29" fmla="*/ 1590 h 20000"/>
                  <a:gd name="T30" fmla="*/ 18061 w 20000"/>
                  <a:gd name="T31" fmla="*/ 2508 h 20000"/>
                  <a:gd name="T32" fmla="*/ 18307 w 20000"/>
                  <a:gd name="T33" fmla="*/ 5994 h 20000"/>
                  <a:gd name="T34" fmla="*/ 18822 w 20000"/>
                  <a:gd name="T35" fmla="*/ 8257 h 20000"/>
                  <a:gd name="T36" fmla="*/ 19460 w 20000"/>
                  <a:gd name="T37" fmla="*/ 12355 h 20000"/>
                  <a:gd name="T38" fmla="*/ 19706 w 20000"/>
                  <a:gd name="T39" fmla="*/ 14251 h 20000"/>
                  <a:gd name="T40" fmla="*/ 19460 w 20000"/>
                  <a:gd name="T41" fmla="*/ 15841 h 20000"/>
                  <a:gd name="T42" fmla="*/ 17816 w 20000"/>
                  <a:gd name="T43" fmla="*/ 14862 h 20000"/>
                  <a:gd name="T44" fmla="*/ 17055 w 20000"/>
                  <a:gd name="T45" fmla="*/ 15229 h 20000"/>
                  <a:gd name="T46" fmla="*/ 16147 w 20000"/>
                  <a:gd name="T47" fmla="*/ 15841 h 20000"/>
                  <a:gd name="T48" fmla="*/ 14748 w 20000"/>
                  <a:gd name="T49" fmla="*/ 17431 h 20000"/>
                  <a:gd name="T50" fmla="*/ 13104 w 20000"/>
                  <a:gd name="T51" fmla="*/ 16820 h 20000"/>
                  <a:gd name="T52" fmla="*/ 11951 w 20000"/>
                  <a:gd name="T53" fmla="*/ 17431 h 20000"/>
                  <a:gd name="T54" fmla="*/ 11436 w 20000"/>
                  <a:gd name="T55" fmla="*/ 16820 h 20000"/>
                  <a:gd name="T56" fmla="*/ 11436 w 20000"/>
                  <a:gd name="T57" fmla="*/ 19021 h 20000"/>
                  <a:gd name="T58" fmla="*/ 10798 w 20000"/>
                  <a:gd name="T59" fmla="*/ 19939 h 20000"/>
                  <a:gd name="T60" fmla="*/ 10429 w 20000"/>
                  <a:gd name="T61" fmla="*/ 18349 h 20000"/>
                  <a:gd name="T62" fmla="*/ 10699 w 20000"/>
                  <a:gd name="T63" fmla="*/ 16820 h 20000"/>
                  <a:gd name="T64" fmla="*/ 9031 w 20000"/>
                  <a:gd name="T65" fmla="*/ 16820 h 20000"/>
                  <a:gd name="T66" fmla="*/ 7387 w 20000"/>
                  <a:gd name="T67" fmla="*/ 19327 h 20000"/>
                  <a:gd name="T68" fmla="*/ 6626 w 20000"/>
                  <a:gd name="T69" fmla="*/ 18349 h 20000"/>
                  <a:gd name="T70" fmla="*/ 4982 w 20000"/>
                  <a:gd name="T71" fmla="*/ 17431 h 20000"/>
                  <a:gd name="T72" fmla="*/ 4712 w 20000"/>
                  <a:gd name="T73" fmla="*/ 19021 h 20000"/>
                  <a:gd name="T74" fmla="*/ 3436 w 20000"/>
                  <a:gd name="T75" fmla="*/ 19021 h 20000"/>
                  <a:gd name="T76" fmla="*/ 2675 w 20000"/>
                  <a:gd name="T77" fmla="*/ 17431 h 20000"/>
                  <a:gd name="T78" fmla="*/ 2307 w 20000"/>
                  <a:gd name="T79" fmla="*/ 17737 h 20000"/>
                  <a:gd name="T80" fmla="*/ 1669 w 20000"/>
                  <a:gd name="T81" fmla="*/ 17431 h 20000"/>
                  <a:gd name="T82" fmla="*/ 1399 w 20000"/>
                  <a:gd name="T83" fmla="*/ 16820 h 20000"/>
                  <a:gd name="T84" fmla="*/ 1669 w 20000"/>
                  <a:gd name="T85" fmla="*/ 16208 h 20000"/>
                  <a:gd name="T86" fmla="*/ 1276 w 20000"/>
                  <a:gd name="T87" fmla="*/ 15841 h 20000"/>
                  <a:gd name="T88" fmla="*/ 1276 w 20000"/>
                  <a:gd name="T89" fmla="*/ 13639 h 20000"/>
                  <a:gd name="T90" fmla="*/ 147 w 20000"/>
                  <a:gd name="T91" fmla="*/ 12722 h 20000"/>
                  <a:gd name="T92" fmla="*/ 147 w 20000"/>
                  <a:gd name="T93" fmla="*/ 11743 h 20000"/>
                  <a:gd name="T94" fmla="*/ 663 w 20000"/>
                  <a:gd name="T95" fmla="*/ 12355 h 20000"/>
                  <a:gd name="T96" fmla="*/ 761 w 20000"/>
                  <a:gd name="T97" fmla="*/ 11743 h 20000"/>
                  <a:gd name="T98" fmla="*/ 761 w 20000"/>
                  <a:gd name="T99" fmla="*/ 10765 h 20000"/>
                  <a:gd name="T100" fmla="*/ 761 w 20000"/>
                  <a:gd name="T101" fmla="*/ 8563 h 20000"/>
                  <a:gd name="T102" fmla="*/ 0 w 20000"/>
                  <a:gd name="T103" fmla="*/ 6972 h 20000"/>
                  <a:gd name="T104" fmla="*/ 1031 w 20000"/>
                  <a:gd name="T105" fmla="*/ 5749 h 20000"/>
                  <a:gd name="T106" fmla="*/ 1669 w 20000"/>
                  <a:gd name="T107" fmla="*/ 5749 h 20000"/>
                  <a:gd name="T108" fmla="*/ 2061 w 20000"/>
                  <a:gd name="T109" fmla="*/ 5749 h 20000"/>
                  <a:gd name="T110" fmla="*/ 2822 w 20000"/>
                  <a:gd name="T111" fmla="*/ 5076 h 20000"/>
                  <a:gd name="T112" fmla="*/ 3313 w 20000"/>
                  <a:gd name="T113" fmla="*/ 4098 h 20000"/>
                  <a:gd name="T114" fmla="*/ 1276 w 20000"/>
                  <a:gd name="T115" fmla="*/ 4098 h 20000"/>
                  <a:gd name="T116" fmla="*/ 393 w 20000"/>
                  <a:gd name="T117" fmla="*/ 5749 h 20000"/>
                  <a:gd name="T118" fmla="*/ 0 w 20000"/>
                  <a:gd name="T119" fmla="*/ 5749 h 20000"/>
                  <a:gd name="T120" fmla="*/ 0 w 20000"/>
                  <a:gd name="T121" fmla="*/ 4465 h 20000"/>
                  <a:gd name="T122" fmla="*/ 393 w 20000"/>
                  <a:gd name="T123" fmla="*/ 2875 h 20000"/>
                  <a:gd name="T124" fmla="*/ 663 w 20000"/>
                  <a:gd name="T125" fmla="*/ 189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47" y="979"/>
                    </a:moveTo>
                    <a:lnTo>
                      <a:pt x="1031" y="0"/>
                    </a:lnTo>
                    <a:lnTo>
                      <a:pt x="1399" y="367"/>
                    </a:lnTo>
                    <a:lnTo>
                      <a:pt x="1767" y="367"/>
                    </a:lnTo>
                    <a:lnTo>
                      <a:pt x="1669" y="1590"/>
                    </a:lnTo>
                    <a:lnTo>
                      <a:pt x="2822" y="2875"/>
                    </a:lnTo>
                    <a:lnTo>
                      <a:pt x="3951" y="2875"/>
                    </a:lnTo>
                    <a:lnTo>
                      <a:pt x="4074" y="2875"/>
                    </a:lnTo>
                    <a:lnTo>
                      <a:pt x="4466" y="3486"/>
                    </a:lnTo>
                    <a:lnTo>
                      <a:pt x="5080" y="3486"/>
                    </a:lnTo>
                    <a:lnTo>
                      <a:pt x="5325" y="2508"/>
                    </a:lnTo>
                    <a:lnTo>
                      <a:pt x="5988" y="1896"/>
                    </a:lnTo>
                    <a:lnTo>
                      <a:pt x="6626" y="979"/>
                    </a:lnTo>
                    <a:lnTo>
                      <a:pt x="7387" y="367"/>
                    </a:lnTo>
                    <a:lnTo>
                      <a:pt x="8785" y="367"/>
                    </a:lnTo>
                    <a:lnTo>
                      <a:pt x="8785" y="0"/>
                    </a:lnTo>
                    <a:lnTo>
                      <a:pt x="9031" y="0"/>
                    </a:lnTo>
                    <a:lnTo>
                      <a:pt x="9031" y="367"/>
                    </a:lnTo>
                    <a:lnTo>
                      <a:pt x="9669" y="1590"/>
                    </a:lnTo>
                    <a:lnTo>
                      <a:pt x="10037" y="1590"/>
                    </a:lnTo>
                    <a:lnTo>
                      <a:pt x="10699" y="2508"/>
                    </a:lnTo>
                    <a:lnTo>
                      <a:pt x="10699" y="1896"/>
                    </a:lnTo>
                    <a:lnTo>
                      <a:pt x="10798" y="2508"/>
                    </a:lnTo>
                    <a:lnTo>
                      <a:pt x="11706" y="3486"/>
                    </a:lnTo>
                    <a:lnTo>
                      <a:pt x="11951" y="2875"/>
                    </a:lnTo>
                    <a:lnTo>
                      <a:pt x="12344" y="3486"/>
                    </a:lnTo>
                    <a:lnTo>
                      <a:pt x="13497" y="2875"/>
                    </a:lnTo>
                    <a:lnTo>
                      <a:pt x="13988" y="3486"/>
                    </a:lnTo>
                    <a:lnTo>
                      <a:pt x="15018" y="2875"/>
                    </a:lnTo>
                    <a:lnTo>
                      <a:pt x="15755" y="1590"/>
                    </a:lnTo>
                    <a:lnTo>
                      <a:pt x="17301" y="979"/>
                    </a:lnTo>
                    <a:lnTo>
                      <a:pt x="18061" y="2508"/>
                    </a:lnTo>
                    <a:lnTo>
                      <a:pt x="18307" y="4098"/>
                    </a:lnTo>
                    <a:lnTo>
                      <a:pt x="18307" y="5994"/>
                    </a:lnTo>
                    <a:lnTo>
                      <a:pt x="19337" y="6972"/>
                    </a:lnTo>
                    <a:lnTo>
                      <a:pt x="18822" y="8257"/>
                    </a:lnTo>
                    <a:lnTo>
                      <a:pt x="19337" y="10765"/>
                    </a:lnTo>
                    <a:lnTo>
                      <a:pt x="19460" y="12355"/>
                    </a:lnTo>
                    <a:lnTo>
                      <a:pt x="19460" y="12722"/>
                    </a:lnTo>
                    <a:lnTo>
                      <a:pt x="19706" y="14251"/>
                    </a:lnTo>
                    <a:lnTo>
                      <a:pt x="19975" y="15841"/>
                    </a:lnTo>
                    <a:lnTo>
                      <a:pt x="19460" y="15841"/>
                    </a:lnTo>
                    <a:lnTo>
                      <a:pt x="18429" y="15229"/>
                    </a:lnTo>
                    <a:lnTo>
                      <a:pt x="17816" y="14862"/>
                    </a:lnTo>
                    <a:lnTo>
                      <a:pt x="17301" y="15841"/>
                    </a:lnTo>
                    <a:lnTo>
                      <a:pt x="17055" y="15229"/>
                    </a:lnTo>
                    <a:lnTo>
                      <a:pt x="16663" y="15841"/>
                    </a:lnTo>
                    <a:lnTo>
                      <a:pt x="16147" y="15841"/>
                    </a:lnTo>
                    <a:lnTo>
                      <a:pt x="15656" y="15841"/>
                    </a:lnTo>
                    <a:lnTo>
                      <a:pt x="14748" y="17431"/>
                    </a:lnTo>
                    <a:lnTo>
                      <a:pt x="13988" y="17431"/>
                    </a:lnTo>
                    <a:lnTo>
                      <a:pt x="13104" y="16820"/>
                    </a:lnTo>
                    <a:lnTo>
                      <a:pt x="12466" y="17431"/>
                    </a:lnTo>
                    <a:lnTo>
                      <a:pt x="11951" y="17431"/>
                    </a:lnTo>
                    <a:lnTo>
                      <a:pt x="11706" y="16820"/>
                    </a:lnTo>
                    <a:lnTo>
                      <a:pt x="11436" y="16820"/>
                    </a:lnTo>
                    <a:lnTo>
                      <a:pt x="11436" y="18349"/>
                    </a:lnTo>
                    <a:lnTo>
                      <a:pt x="11436" y="19021"/>
                    </a:lnTo>
                    <a:lnTo>
                      <a:pt x="11337" y="19327"/>
                    </a:lnTo>
                    <a:lnTo>
                      <a:pt x="10798" y="19939"/>
                    </a:lnTo>
                    <a:lnTo>
                      <a:pt x="10699" y="19327"/>
                    </a:lnTo>
                    <a:lnTo>
                      <a:pt x="10429" y="18349"/>
                    </a:lnTo>
                    <a:lnTo>
                      <a:pt x="10699" y="17431"/>
                    </a:lnTo>
                    <a:lnTo>
                      <a:pt x="10699" y="16820"/>
                    </a:lnTo>
                    <a:lnTo>
                      <a:pt x="10037" y="17737"/>
                    </a:lnTo>
                    <a:lnTo>
                      <a:pt x="9031" y="16820"/>
                    </a:lnTo>
                    <a:lnTo>
                      <a:pt x="8393" y="19021"/>
                    </a:lnTo>
                    <a:lnTo>
                      <a:pt x="7387" y="19327"/>
                    </a:lnTo>
                    <a:lnTo>
                      <a:pt x="6748" y="19327"/>
                    </a:lnTo>
                    <a:lnTo>
                      <a:pt x="6626" y="18349"/>
                    </a:lnTo>
                    <a:lnTo>
                      <a:pt x="5472" y="17431"/>
                    </a:lnTo>
                    <a:lnTo>
                      <a:pt x="4982" y="17431"/>
                    </a:lnTo>
                    <a:lnTo>
                      <a:pt x="4982" y="19021"/>
                    </a:lnTo>
                    <a:lnTo>
                      <a:pt x="4712" y="19021"/>
                    </a:lnTo>
                    <a:lnTo>
                      <a:pt x="4074" y="19327"/>
                    </a:lnTo>
                    <a:lnTo>
                      <a:pt x="3436" y="19021"/>
                    </a:lnTo>
                    <a:lnTo>
                      <a:pt x="3313" y="17737"/>
                    </a:lnTo>
                    <a:lnTo>
                      <a:pt x="2675" y="17431"/>
                    </a:lnTo>
                    <a:lnTo>
                      <a:pt x="2429" y="17431"/>
                    </a:lnTo>
                    <a:lnTo>
                      <a:pt x="2307" y="17737"/>
                    </a:lnTo>
                    <a:lnTo>
                      <a:pt x="1669" y="17737"/>
                    </a:lnTo>
                    <a:lnTo>
                      <a:pt x="1669" y="17431"/>
                    </a:lnTo>
                    <a:lnTo>
                      <a:pt x="2429" y="16820"/>
                    </a:lnTo>
                    <a:lnTo>
                      <a:pt x="1399" y="16820"/>
                    </a:lnTo>
                    <a:lnTo>
                      <a:pt x="1276" y="16208"/>
                    </a:lnTo>
                    <a:lnTo>
                      <a:pt x="1669" y="16208"/>
                    </a:lnTo>
                    <a:lnTo>
                      <a:pt x="1669" y="15841"/>
                    </a:lnTo>
                    <a:lnTo>
                      <a:pt x="1276" y="15841"/>
                    </a:lnTo>
                    <a:lnTo>
                      <a:pt x="1276" y="14862"/>
                    </a:lnTo>
                    <a:lnTo>
                      <a:pt x="1276" y="13639"/>
                    </a:lnTo>
                    <a:lnTo>
                      <a:pt x="761" y="12722"/>
                    </a:lnTo>
                    <a:lnTo>
                      <a:pt x="147" y="12722"/>
                    </a:lnTo>
                    <a:lnTo>
                      <a:pt x="393" y="12355"/>
                    </a:lnTo>
                    <a:lnTo>
                      <a:pt x="147" y="11743"/>
                    </a:lnTo>
                    <a:lnTo>
                      <a:pt x="393" y="11743"/>
                    </a:lnTo>
                    <a:lnTo>
                      <a:pt x="663" y="12355"/>
                    </a:lnTo>
                    <a:lnTo>
                      <a:pt x="1031" y="12355"/>
                    </a:lnTo>
                    <a:lnTo>
                      <a:pt x="761" y="11743"/>
                    </a:lnTo>
                    <a:lnTo>
                      <a:pt x="1031" y="10765"/>
                    </a:lnTo>
                    <a:lnTo>
                      <a:pt x="761" y="10765"/>
                    </a:lnTo>
                    <a:lnTo>
                      <a:pt x="663" y="9480"/>
                    </a:lnTo>
                    <a:lnTo>
                      <a:pt x="761" y="8563"/>
                    </a:lnTo>
                    <a:lnTo>
                      <a:pt x="0" y="8563"/>
                    </a:lnTo>
                    <a:lnTo>
                      <a:pt x="0" y="6972"/>
                    </a:lnTo>
                    <a:lnTo>
                      <a:pt x="663" y="5994"/>
                    </a:lnTo>
                    <a:lnTo>
                      <a:pt x="1031" y="5749"/>
                    </a:lnTo>
                    <a:lnTo>
                      <a:pt x="1669" y="5994"/>
                    </a:lnTo>
                    <a:lnTo>
                      <a:pt x="1669" y="5749"/>
                    </a:lnTo>
                    <a:lnTo>
                      <a:pt x="1767" y="5076"/>
                    </a:lnTo>
                    <a:lnTo>
                      <a:pt x="2061" y="5749"/>
                    </a:lnTo>
                    <a:lnTo>
                      <a:pt x="2822" y="5749"/>
                    </a:lnTo>
                    <a:lnTo>
                      <a:pt x="2822" y="5076"/>
                    </a:lnTo>
                    <a:lnTo>
                      <a:pt x="3706" y="4098"/>
                    </a:lnTo>
                    <a:lnTo>
                      <a:pt x="3313" y="4098"/>
                    </a:lnTo>
                    <a:lnTo>
                      <a:pt x="2307" y="3486"/>
                    </a:lnTo>
                    <a:lnTo>
                      <a:pt x="1276" y="4098"/>
                    </a:lnTo>
                    <a:lnTo>
                      <a:pt x="1031" y="4465"/>
                    </a:lnTo>
                    <a:lnTo>
                      <a:pt x="393" y="5749"/>
                    </a:lnTo>
                    <a:lnTo>
                      <a:pt x="0" y="6606"/>
                    </a:lnTo>
                    <a:lnTo>
                      <a:pt x="0" y="5749"/>
                    </a:lnTo>
                    <a:lnTo>
                      <a:pt x="393" y="4465"/>
                    </a:lnTo>
                    <a:lnTo>
                      <a:pt x="0" y="4465"/>
                    </a:lnTo>
                    <a:lnTo>
                      <a:pt x="393" y="4098"/>
                    </a:lnTo>
                    <a:lnTo>
                      <a:pt x="393" y="2875"/>
                    </a:lnTo>
                    <a:lnTo>
                      <a:pt x="663" y="2508"/>
                    </a:lnTo>
                    <a:lnTo>
                      <a:pt x="663" y="1896"/>
                    </a:lnTo>
                    <a:lnTo>
                      <a:pt x="147" y="97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89" name="Freeform 250"/>
              <p:cNvSpPr>
                <a:spLocks/>
              </p:cNvSpPr>
              <p:nvPr/>
            </p:nvSpPr>
            <p:spPr bwMode="auto">
              <a:xfrm>
                <a:off x="5416550" y="2955925"/>
                <a:ext cx="171450" cy="103188"/>
              </a:xfrm>
              <a:custGeom>
                <a:avLst/>
                <a:gdLst>
                  <a:gd name="T0" fmla="*/ 17630 w 20000"/>
                  <a:gd name="T1" fmla="*/ 1358 h 20000"/>
                  <a:gd name="T2" fmla="*/ 19926 w 20000"/>
                  <a:gd name="T3" fmla="*/ 3333 h 20000"/>
                  <a:gd name="T4" fmla="*/ 19185 w 20000"/>
                  <a:gd name="T5" fmla="*/ 3827 h 20000"/>
                  <a:gd name="T6" fmla="*/ 18000 w 20000"/>
                  <a:gd name="T7" fmla="*/ 5062 h 20000"/>
                  <a:gd name="T8" fmla="*/ 16889 w 20000"/>
                  <a:gd name="T9" fmla="*/ 7037 h 20000"/>
                  <a:gd name="T10" fmla="*/ 16148 w 20000"/>
                  <a:gd name="T11" fmla="*/ 11605 h 20000"/>
                  <a:gd name="T12" fmla="*/ 15704 w 20000"/>
                  <a:gd name="T13" fmla="*/ 13457 h 20000"/>
                  <a:gd name="T14" fmla="*/ 15704 w 20000"/>
                  <a:gd name="T15" fmla="*/ 14815 h 20000"/>
                  <a:gd name="T16" fmla="*/ 14519 w 20000"/>
                  <a:gd name="T17" fmla="*/ 15432 h 20000"/>
                  <a:gd name="T18" fmla="*/ 14519 w 20000"/>
                  <a:gd name="T19" fmla="*/ 16667 h 20000"/>
                  <a:gd name="T20" fmla="*/ 13037 w 20000"/>
                  <a:gd name="T21" fmla="*/ 16667 h 20000"/>
                  <a:gd name="T22" fmla="*/ 10741 w 20000"/>
                  <a:gd name="T23" fmla="*/ 16667 h 20000"/>
                  <a:gd name="T24" fmla="*/ 10000 w 20000"/>
                  <a:gd name="T25" fmla="*/ 17407 h 20000"/>
                  <a:gd name="T26" fmla="*/ 7704 w 20000"/>
                  <a:gd name="T27" fmla="*/ 17407 h 20000"/>
                  <a:gd name="T28" fmla="*/ 6889 w 20000"/>
                  <a:gd name="T29" fmla="*/ 18642 h 20000"/>
                  <a:gd name="T30" fmla="*/ 6519 w 20000"/>
                  <a:gd name="T31" fmla="*/ 19877 h 20000"/>
                  <a:gd name="T32" fmla="*/ 3778 w 20000"/>
                  <a:gd name="T33" fmla="*/ 18642 h 20000"/>
                  <a:gd name="T34" fmla="*/ 1926 w 20000"/>
                  <a:gd name="T35" fmla="*/ 16667 h 20000"/>
                  <a:gd name="T36" fmla="*/ 1481 w 20000"/>
                  <a:gd name="T37" fmla="*/ 16667 h 20000"/>
                  <a:gd name="T38" fmla="*/ 1481 w 20000"/>
                  <a:gd name="T39" fmla="*/ 14815 h 20000"/>
                  <a:gd name="T40" fmla="*/ 741 w 20000"/>
                  <a:gd name="T41" fmla="*/ 13457 h 20000"/>
                  <a:gd name="T42" fmla="*/ 741 w 20000"/>
                  <a:gd name="T43" fmla="*/ 11605 h 20000"/>
                  <a:gd name="T44" fmla="*/ 741 w 20000"/>
                  <a:gd name="T45" fmla="*/ 7037 h 20000"/>
                  <a:gd name="T46" fmla="*/ 0 w 20000"/>
                  <a:gd name="T47" fmla="*/ 6543 h 20000"/>
                  <a:gd name="T48" fmla="*/ 741 w 20000"/>
                  <a:gd name="T49" fmla="*/ 6543 h 20000"/>
                  <a:gd name="T50" fmla="*/ 1926 w 20000"/>
                  <a:gd name="T51" fmla="*/ 6543 h 20000"/>
                  <a:gd name="T52" fmla="*/ 2667 w 20000"/>
                  <a:gd name="T53" fmla="*/ 5062 h 20000"/>
                  <a:gd name="T54" fmla="*/ 2667 w 20000"/>
                  <a:gd name="T55" fmla="*/ 3827 h 20000"/>
                  <a:gd name="T56" fmla="*/ 3037 w 20000"/>
                  <a:gd name="T57" fmla="*/ 5062 h 20000"/>
                  <a:gd name="T58" fmla="*/ 5704 w 20000"/>
                  <a:gd name="T59" fmla="*/ 6543 h 20000"/>
                  <a:gd name="T60" fmla="*/ 7704 w 20000"/>
                  <a:gd name="T61" fmla="*/ 3827 h 20000"/>
                  <a:gd name="T62" fmla="*/ 10000 w 20000"/>
                  <a:gd name="T63" fmla="*/ 1975 h 20000"/>
                  <a:gd name="T64" fmla="*/ 10741 w 20000"/>
                  <a:gd name="T65" fmla="*/ 1975 h 20000"/>
                  <a:gd name="T66" fmla="*/ 13037 w 20000"/>
                  <a:gd name="T67" fmla="*/ 0 h 20000"/>
                  <a:gd name="T68" fmla="*/ 13778 w 20000"/>
                  <a:gd name="T69" fmla="*/ 0 h 20000"/>
                  <a:gd name="T70" fmla="*/ 15704 w 20000"/>
                  <a:gd name="T71" fmla="*/ 0 h 20000"/>
                  <a:gd name="T72" fmla="*/ 16148 w 20000"/>
                  <a:gd name="T73" fmla="*/ 1358 h 20000"/>
                  <a:gd name="T74" fmla="*/ 17630 w 20000"/>
                  <a:gd name="T75" fmla="*/ 135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17630" y="1358"/>
                    </a:moveTo>
                    <a:lnTo>
                      <a:pt x="19926" y="3333"/>
                    </a:lnTo>
                    <a:lnTo>
                      <a:pt x="19185" y="3827"/>
                    </a:lnTo>
                    <a:lnTo>
                      <a:pt x="18000" y="5062"/>
                    </a:lnTo>
                    <a:lnTo>
                      <a:pt x="16889" y="7037"/>
                    </a:lnTo>
                    <a:lnTo>
                      <a:pt x="16148" y="11605"/>
                    </a:lnTo>
                    <a:lnTo>
                      <a:pt x="15704" y="13457"/>
                    </a:lnTo>
                    <a:lnTo>
                      <a:pt x="15704" y="14815"/>
                    </a:lnTo>
                    <a:lnTo>
                      <a:pt x="14519" y="15432"/>
                    </a:lnTo>
                    <a:lnTo>
                      <a:pt x="14519" y="16667"/>
                    </a:lnTo>
                    <a:lnTo>
                      <a:pt x="13037" y="16667"/>
                    </a:lnTo>
                    <a:lnTo>
                      <a:pt x="10741" y="16667"/>
                    </a:lnTo>
                    <a:lnTo>
                      <a:pt x="10000" y="17407"/>
                    </a:lnTo>
                    <a:lnTo>
                      <a:pt x="7704" y="17407"/>
                    </a:lnTo>
                    <a:lnTo>
                      <a:pt x="6889" y="18642"/>
                    </a:lnTo>
                    <a:lnTo>
                      <a:pt x="6519" y="19877"/>
                    </a:lnTo>
                    <a:lnTo>
                      <a:pt x="3778" y="18642"/>
                    </a:lnTo>
                    <a:lnTo>
                      <a:pt x="1926" y="16667"/>
                    </a:lnTo>
                    <a:lnTo>
                      <a:pt x="1481" y="16667"/>
                    </a:lnTo>
                    <a:lnTo>
                      <a:pt x="1481" y="14815"/>
                    </a:lnTo>
                    <a:lnTo>
                      <a:pt x="741" y="13457"/>
                    </a:lnTo>
                    <a:lnTo>
                      <a:pt x="741" y="11605"/>
                    </a:lnTo>
                    <a:lnTo>
                      <a:pt x="741" y="7037"/>
                    </a:lnTo>
                    <a:lnTo>
                      <a:pt x="0" y="6543"/>
                    </a:lnTo>
                    <a:lnTo>
                      <a:pt x="741" y="6543"/>
                    </a:lnTo>
                    <a:lnTo>
                      <a:pt x="1926" y="6543"/>
                    </a:lnTo>
                    <a:lnTo>
                      <a:pt x="2667" y="5062"/>
                    </a:lnTo>
                    <a:lnTo>
                      <a:pt x="2667" y="3827"/>
                    </a:lnTo>
                    <a:lnTo>
                      <a:pt x="3037" y="5062"/>
                    </a:lnTo>
                    <a:lnTo>
                      <a:pt x="5704" y="6543"/>
                    </a:lnTo>
                    <a:lnTo>
                      <a:pt x="7704" y="3827"/>
                    </a:lnTo>
                    <a:lnTo>
                      <a:pt x="10000" y="1975"/>
                    </a:lnTo>
                    <a:lnTo>
                      <a:pt x="10741" y="1975"/>
                    </a:lnTo>
                    <a:lnTo>
                      <a:pt x="13037" y="0"/>
                    </a:lnTo>
                    <a:lnTo>
                      <a:pt x="13778" y="0"/>
                    </a:lnTo>
                    <a:lnTo>
                      <a:pt x="15704" y="0"/>
                    </a:lnTo>
                    <a:lnTo>
                      <a:pt x="16148" y="1358"/>
                    </a:lnTo>
                    <a:lnTo>
                      <a:pt x="17630" y="135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0" name="Freeform 249"/>
              <p:cNvSpPr>
                <a:spLocks/>
              </p:cNvSpPr>
              <p:nvPr/>
            </p:nvSpPr>
            <p:spPr bwMode="auto">
              <a:xfrm>
                <a:off x="5864225" y="3395663"/>
                <a:ext cx="60325" cy="36512"/>
              </a:xfrm>
              <a:custGeom>
                <a:avLst/>
                <a:gdLst>
                  <a:gd name="T0" fmla="*/ 7660 w 20000"/>
                  <a:gd name="T1" fmla="*/ 19655 h 20000"/>
                  <a:gd name="T2" fmla="*/ 2128 w 20000"/>
                  <a:gd name="T3" fmla="*/ 17931 h 20000"/>
                  <a:gd name="T4" fmla="*/ 0 w 20000"/>
                  <a:gd name="T5" fmla="*/ 10690 h 20000"/>
                  <a:gd name="T6" fmla="*/ 2128 w 20000"/>
                  <a:gd name="T7" fmla="*/ 10690 h 20000"/>
                  <a:gd name="T8" fmla="*/ 3404 w 20000"/>
                  <a:gd name="T9" fmla="*/ 9310 h 20000"/>
                  <a:gd name="T10" fmla="*/ 5532 w 20000"/>
                  <a:gd name="T11" fmla="*/ 9310 h 20000"/>
                  <a:gd name="T12" fmla="*/ 7660 w 20000"/>
                  <a:gd name="T13" fmla="*/ 5517 h 20000"/>
                  <a:gd name="T14" fmla="*/ 10851 w 20000"/>
                  <a:gd name="T15" fmla="*/ 5517 h 20000"/>
                  <a:gd name="T16" fmla="*/ 19787 w 20000"/>
                  <a:gd name="T17" fmla="*/ 0 h 20000"/>
                  <a:gd name="T18" fmla="*/ 16383 w 20000"/>
                  <a:gd name="T19" fmla="*/ 9310 h 20000"/>
                  <a:gd name="T20" fmla="*/ 16383 w 20000"/>
                  <a:gd name="T21" fmla="*/ 10690 h 20000"/>
                  <a:gd name="T22" fmla="*/ 14255 w 20000"/>
                  <a:gd name="T23" fmla="*/ 10690 h 20000"/>
                  <a:gd name="T24" fmla="*/ 10851 w 20000"/>
                  <a:gd name="T25" fmla="*/ 17931 h 20000"/>
                  <a:gd name="T26" fmla="*/ 7660 w 20000"/>
                  <a:gd name="T27" fmla="*/ 17931 h 20000"/>
                  <a:gd name="T28" fmla="*/ 7660 w 20000"/>
                  <a:gd name="T29" fmla="*/ 1965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7660" y="19655"/>
                    </a:moveTo>
                    <a:lnTo>
                      <a:pt x="2128" y="17931"/>
                    </a:lnTo>
                    <a:lnTo>
                      <a:pt x="0" y="10690"/>
                    </a:lnTo>
                    <a:lnTo>
                      <a:pt x="2128" y="10690"/>
                    </a:lnTo>
                    <a:lnTo>
                      <a:pt x="3404" y="9310"/>
                    </a:lnTo>
                    <a:lnTo>
                      <a:pt x="5532" y="9310"/>
                    </a:lnTo>
                    <a:lnTo>
                      <a:pt x="7660" y="5517"/>
                    </a:lnTo>
                    <a:lnTo>
                      <a:pt x="10851" y="5517"/>
                    </a:lnTo>
                    <a:lnTo>
                      <a:pt x="19787" y="0"/>
                    </a:lnTo>
                    <a:lnTo>
                      <a:pt x="16383" y="9310"/>
                    </a:lnTo>
                    <a:lnTo>
                      <a:pt x="16383" y="10690"/>
                    </a:lnTo>
                    <a:lnTo>
                      <a:pt x="14255" y="10690"/>
                    </a:lnTo>
                    <a:lnTo>
                      <a:pt x="10851" y="17931"/>
                    </a:lnTo>
                    <a:lnTo>
                      <a:pt x="7660" y="17931"/>
                    </a:lnTo>
                    <a:lnTo>
                      <a:pt x="7660" y="1965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1" name="Freeform 248"/>
              <p:cNvSpPr>
                <a:spLocks/>
              </p:cNvSpPr>
              <p:nvPr/>
            </p:nvSpPr>
            <p:spPr bwMode="auto">
              <a:xfrm>
                <a:off x="5529263" y="3189288"/>
                <a:ext cx="177800" cy="180975"/>
              </a:xfrm>
              <a:custGeom>
                <a:avLst/>
                <a:gdLst>
                  <a:gd name="T0" fmla="*/ 13238 w 20000"/>
                  <a:gd name="T1" fmla="*/ 1123 h 20000"/>
                  <a:gd name="T2" fmla="*/ 15089 w 20000"/>
                  <a:gd name="T3" fmla="*/ 1825 h 20000"/>
                  <a:gd name="T4" fmla="*/ 18007 w 20000"/>
                  <a:gd name="T5" fmla="*/ 1825 h 20000"/>
                  <a:gd name="T6" fmla="*/ 18434 w 20000"/>
                  <a:gd name="T7" fmla="*/ 0 h 20000"/>
                  <a:gd name="T8" fmla="*/ 19929 w 20000"/>
                  <a:gd name="T9" fmla="*/ 1825 h 20000"/>
                  <a:gd name="T10" fmla="*/ 19146 w 20000"/>
                  <a:gd name="T11" fmla="*/ 3579 h 20000"/>
                  <a:gd name="T12" fmla="*/ 18007 w 20000"/>
                  <a:gd name="T13" fmla="*/ 4702 h 20000"/>
                  <a:gd name="T14" fmla="*/ 15089 w 20000"/>
                  <a:gd name="T15" fmla="*/ 3579 h 20000"/>
                  <a:gd name="T16" fmla="*/ 13238 w 20000"/>
                  <a:gd name="T17" fmla="*/ 3579 h 20000"/>
                  <a:gd name="T18" fmla="*/ 12171 w 20000"/>
                  <a:gd name="T19" fmla="*/ 4000 h 20000"/>
                  <a:gd name="T20" fmla="*/ 12171 w 20000"/>
                  <a:gd name="T21" fmla="*/ 6456 h 20000"/>
                  <a:gd name="T22" fmla="*/ 10605 w 20000"/>
                  <a:gd name="T23" fmla="*/ 5754 h 20000"/>
                  <a:gd name="T24" fmla="*/ 11459 w 20000"/>
                  <a:gd name="T25" fmla="*/ 6877 h 20000"/>
                  <a:gd name="T26" fmla="*/ 7687 w 20000"/>
                  <a:gd name="T27" fmla="*/ 5474 h 20000"/>
                  <a:gd name="T28" fmla="*/ 8470 w 20000"/>
                  <a:gd name="T29" fmla="*/ 4702 h 20000"/>
                  <a:gd name="T30" fmla="*/ 7402 w 20000"/>
                  <a:gd name="T31" fmla="*/ 6877 h 20000"/>
                  <a:gd name="T32" fmla="*/ 8470 w 20000"/>
                  <a:gd name="T33" fmla="*/ 11228 h 20000"/>
                  <a:gd name="T34" fmla="*/ 9181 w 20000"/>
                  <a:gd name="T35" fmla="*/ 11579 h 20000"/>
                  <a:gd name="T36" fmla="*/ 12171 w 20000"/>
                  <a:gd name="T37" fmla="*/ 15930 h 20000"/>
                  <a:gd name="T38" fmla="*/ 9181 w 20000"/>
                  <a:gd name="T39" fmla="*/ 15228 h 20000"/>
                  <a:gd name="T40" fmla="*/ 9609 w 20000"/>
                  <a:gd name="T41" fmla="*/ 17053 h 20000"/>
                  <a:gd name="T42" fmla="*/ 9609 w 20000"/>
                  <a:gd name="T43" fmla="*/ 18807 h 20000"/>
                  <a:gd name="T44" fmla="*/ 9609 w 20000"/>
                  <a:gd name="T45" fmla="*/ 19930 h 20000"/>
                  <a:gd name="T46" fmla="*/ 7687 w 20000"/>
                  <a:gd name="T47" fmla="*/ 19228 h 20000"/>
                  <a:gd name="T48" fmla="*/ 7402 w 20000"/>
                  <a:gd name="T49" fmla="*/ 19930 h 20000"/>
                  <a:gd name="T50" fmla="*/ 5480 w 20000"/>
                  <a:gd name="T51" fmla="*/ 18105 h 20000"/>
                  <a:gd name="T52" fmla="*/ 5480 w 20000"/>
                  <a:gd name="T53" fmla="*/ 18807 h 20000"/>
                  <a:gd name="T54" fmla="*/ 4769 w 20000"/>
                  <a:gd name="T55" fmla="*/ 16351 h 20000"/>
                  <a:gd name="T56" fmla="*/ 4342 w 20000"/>
                  <a:gd name="T57" fmla="*/ 14175 h 20000"/>
                  <a:gd name="T58" fmla="*/ 8470 w 20000"/>
                  <a:gd name="T59" fmla="*/ 14526 h 20000"/>
                  <a:gd name="T60" fmla="*/ 7402 w 20000"/>
                  <a:gd name="T61" fmla="*/ 13053 h 20000"/>
                  <a:gd name="T62" fmla="*/ 2918 w 20000"/>
                  <a:gd name="T63" fmla="*/ 13404 h 20000"/>
                  <a:gd name="T64" fmla="*/ 2918 w 20000"/>
                  <a:gd name="T65" fmla="*/ 11228 h 20000"/>
                  <a:gd name="T66" fmla="*/ 1851 w 20000"/>
                  <a:gd name="T67" fmla="*/ 10526 h 20000"/>
                  <a:gd name="T68" fmla="*/ 1423 w 20000"/>
                  <a:gd name="T69" fmla="*/ 7579 h 20000"/>
                  <a:gd name="T70" fmla="*/ 3630 w 20000"/>
                  <a:gd name="T71" fmla="*/ 3579 h 20000"/>
                  <a:gd name="T72" fmla="*/ 5907 w 20000"/>
                  <a:gd name="T73" fmla="*/ 2175 h 20000"/>
                  <a:gd name="T74" fmla="*/ 8470 w 20000"/>
                  <a:gd name="T75" fmla="*/ 182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8470" y="1825"/>
                    </a:moveTo>
                    <a:lnTo>
                      <a:pt x="13238" y="1123"/>
                    </a:lnTo>
                    <a:lnTo>
                      <a:pt x="13950" y="1825"/>
                    </a:lnTo>
                    <a:lnTo>
                      <a:pt x="15089" y="1825"/>
                    </a:lnTo>
                    <a:lnTo>
                      <a:pt x="16157" y="2175"/>
                    </a:lnTo>
                    <a:lnTo>
                      <a:pt x="18007" y="1825"/>
                    </a:lnTo>
                    <a:lnTo>
                      <a:pt x="18007" y="0"/>
                    </a:lnTo>
                    <a:lnTo>
                      <a:pt x="18434" y="0"/>
                    </a:lnTo>
                    <a:lnTo>
                      <a:pt x="19929" y="1123"/>
                    </a:lnTo>
                    <a:lnTo>
                      <a:pt x="19929" y="1825"/>
                    </a:lnTo>
                    <a:lnTo>
                      <a:pt x="19146" y="2175"/>
                    </a:lnTo>
                    <a:lnTo>
                      <a:pt x="19146" y="3579"/>
                    </a:lnTo>
                    <a:lnTo>
                      <a:pt x="18007" y="4000"/>
                    </a:lnTo>
                    <a:lnTo>
                      <a:pt x="18007" y="4702"/>
                    </a:lnTo>
                    <a:lnTo>
                      <a:pt x="17295" y="4000"/>
                    </a:lnTo>
                    <a:lnTo>
                      <a:pt x="15089" y="3579"/>
                    </a:lnTo>
                    <a:lnTo>
                      <a:pt x="14377" y="2877"/>
                    </a:lnTo>
                    <a:lnTo>
                      <a:pt x="13238" y="3579"/>
                    </a:lnTo>
                    <a:lnTo>
                      <a:pt x="12527" y="3579"/>
                    </a:lnTo>
                    <a:lnTo>
                      <a:pt x="12171" y="4000"/>
                    </a:lnTo>
                    <a:lnTo>
                      <a:pt x="10605" y="4702"/>
                    </a:lnTo>
                    <a:lnTo>
                      <a:pt x="12171" y="6456"/>
                    </a:lnTo>
                    <a:lnTo>
                      <a:pt x="11459" y="5754"/>
                    </a:lnTo>
                    <a:lnTo>
                      <a:pt x="10605" y="5754"/>
                    </a:lnTo>
                    <a:lnTo>
                      <a:pt x="11459" y="6456"/>
                    </a:lnTo>
                    <a:lnTo>
                      <a:pt x="11459" y="6877"/>
                    </a:lnTo>
                    <a:lnTo>
                      <a:pt x="9609" y="6456"/>
                    </a:lnTo>
                    <a:lnTo>
                      <a:pt x="7687" y="5474"/>
                    </a:lnTo>
                    <a:lnTo>
                      <a:pt x="8470" y="5474"/>
                    </a:lnTo>
                    <a:lnTo>
                      <a:pt x="8470" y="4702"/>
                    </a:lnTo>
                    <a:lnTo>
                      <a:pt x="7402" y="5474"/>
                    </a:lnTo>
                    <a:lnTo>
                      <a:pt x="7402" y="6877"/>
                    </a:lnTo>
                    <a:lnTo>
                      <a:pt x="9609" y="9754"/>
                    </a:lnTo>
                    <a:lnTo>
                      <a:pt x="8470" y="11228"/>
                    </a:lnTo>
                    <a:lnTo>
                      <a:pt x="7402" y="11228"/>
                    </a:lnTo>
                    <a:lnTo>
                      <a:pt x="9181" y="11579"/>
                    </a:lnTo>
                    <a:lnTo>
                      <a:pt x="11459" y="13404"/>
                    </a:lnTo>
                    <a:lnTo>
                      <a:pt x="12171" y="15930"/>
                    </a:lnTo>
                    <a:lnTo>
                      <a:pt x="10320" y="14526"/>
                    </a:lnTo>
                    <a:lnTo>
                      <a:pt x="9181" y="15228"/>
                    </a:lnTo>
                    <a:lnTo>
                      <a:pt x="10320" y="17053"/>
                    </a:lnTo>
                    <a:lnTo>
                      <a:pt x="9609" y="17053"/>
                    </a:lnTo>
                    <a:lnTo>
                      <a:pt x="7687" y="15930"/>
                    </a:lnTo>
                    <a:lnTo>
                      <a:pt x="9609" y="18807"/>
                    </a:lnTo>
                    <a:lnTo>
                      <a:pt x="9609" y="19228"/>
                    </a:lnTo>
                    <a:lnTo>
                      <a:pt x="9609" y="19930"/>
                    </a:lnTo>
                    <a:lnTo>
                      <a:pt x="7687" y="18807"/>
                    </a:lnTo>
                    <a:lnTo>
                      <a:pt x="7687" y="19228"/>
                    </a:lnTo>
                    <a:lnTo>
                      <a:pt x="7687" y="19930"/>
                    </a:lnTo>
                    <a:lnTo>
                      <a:pt x="7402" y="19930"/>
                    </a:lnTo>
                    <a:lnTo>
                      <a:pt x="6619" y="18105"/>
                    </a:lnTo>
                    <a:lnTo>
                      <a:pt x="5480" y="18105"/>
                    </a:lnTo>
                    <a:lnTo>
                      <a:pt x="5907" y="19228"/>
                    </a:lnTo>
                    <a:lnTo>
                      <a:pt x="5480" y="18807"/>
                    </a:lnTo>
                    <a:lnTo>
                      <a:pt x="4769" y="17404"/>
                    </a:lnTo>
                    <a:lnTo>
                      <a:pt x="4769" y="16351"/>
                    </a:lnTo>
                    <a:lnTo>
                      <a:pt x="2918" y="15228"/>
                    </a:lnTo>
                    <a:lnTo>
                      <a:pt x="4342" y="14175"/>
                    </a:lnTo>
                    <a:lnTo>
                      <a:pt x="5907" y="13404"/>
                    </a:lnTo>
                    <a:lnTo>
                      <a:pt x="8470" y="14526"/>
                    </a:lnTo>
                    <a:lnTo>
                      <a:pt x="9181" y="14175"/>
                    </a:lnTo>
                    <a:lnTo>
                      <a:pt x="7402" y="13053"/>
                    </a:lnTo>
                    <a:lnTo>
                      <a:pt x="5907" y="13053"/>
                    </a:lnTo>
                    <a:lnTo>
                      <a:pt x="2918" y="13404"/>
                    </a:lnTo>
                    <a:lnTo>
                      <a:pt x="1851" y="11228"/>
                    </a:lnTo>
                    <a:lnTo>
                      <a:pt x="2918" y="11228"/>
                    </a:lnTo>
                    <a:lnTo>
                      <a:pt x="2918" y="10526"/>
                    </a:lnTo>
                    <a:lnTo>
                      <a:pt x="1851" y="10526"/>
                    </a:lnTo>
                    <a:lnTo>
                      <a:pt x="0" y="8702"/>
                    </a:lnTo>
                    <a:lnTo>
                      <a:pt x="1423" y="7579"/>
                    </a:lnTo>
                    <a:lnTo>
                      <a:pt x="2562" y="4702"/>
                    </a:lnTo>
                    <a:lnTo>
                      <a:pt x="3630" y="3579"/>
                    </a:lnTo>
                    <a:lnTo>
                      <a:pt x="5480" y="3579"/>
                    </a:lnTo>
                    <a:lnTo>
                      <a:pt x="5907" y="2175"/>
                    </a:lnTo>
                    <a:lnTo>
                      <a:pt x="7402" y="2877"/>
                    </a:lnTo>
                    <a:lnTo>
                      <a:pt x="8470" y="182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2" name="Freeform 247"/>
              <p:cNvSpPr>
                <a:spLocks/>
              </p:cNvSpPr>
              <p:nvPr/>
            </p:nvSpPr>
            <p:spPr bwMode="auto">
              <a:xfrm>
                <a:off x="5624513" y="3395663"/>
                <a:ext cx="76200" cy="20637"/>
              </a:xfrm>
              <a:custGeom>
                <a:avLst/>
                <a:gdLst>
                  <a:gd name="T0" fmla="*/ 10333 w 20000"/>
                  <a:gd name="T1" fmla="*/ 19375 h 20000"/>
                  <a:gd name="T2" fmla="*/ 8667 w 20000"/>
                  <a:gd name="T3" fmla="*/ 16250 h 20000"/>
                  <a:gd name="T4" fmla="*/ 3500 w 20000"/>
                  <a:gd name="T5" fmla="*/ 16250 h 20000"/>
                  <a:gd name="T6" fmla="*/ 0 w 20000"/>
                  <a:gd name="T7" fmla="*/ 16250 h 20000"/>
                  <a:gd name="T8" fmla="*/ 0 w 20000"/>
                  <a:gd name="T9" fmla="*/ 6875 h 20000"/>
                  <a:gd name="T10" fmla="*/ 3500 w 20000"/>
                  <a:gd name="T11" fmla="*/ 6875 h 20000"/>
                  <a:gd name="T12" fmla="*/ 4500 w 20000"/>
                  <a:gd name="T13" fmla="*/ 0 h 20000"/>
                  <a:gd name="T14" fmla="*/ 6167 w 20000"/>
                  <a:gd name="T15" fmla="*/ 9375 h 20000"/>
                  <a:gd name="T16" fmla="*/ 10333 w 20000"/>
                  <a:gd name="T17" fmla="*/ 9375 h 20000"/>
                  <a:gd name="T18" fmla="*/ 11333 w 20000"/>
                  <a:gd name="T19" fmla="*/ 9375 h 20000"/>
                  <a:gd name="T20" fmla="*/ 15500 w 20000"/>
                  <a:gd name="T21" fmla="*/ 9375 h 20000"/>
                  <a:gd name="T22" fmla="*/ 17167 w 20000"/>
                  <a:gd name="T23" fmla="*/ 16250 h 20000"/>
                  <a:gd name="T24" fmla="*/ 19833 w 20000"/>
                  <a:gd name="T25" fmla="*/ 16250 h 20000"/>
                  <a:gd name="T26" fmla="*/ 19833 w 20000"/>
                  <a:gd name="T27" fmla="*/ 19375 h 20000"/>
                  <a:gd name="T28" fmla="*/ 10333 w 20000"/>
                  <a:gd name="T29"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0333" y="19375"/>
                    </a:moveTo>
                    <a:lnTo>
                      <a:pt x="8667" y="16250"/>
                    </a:lnTo>
                    <a:lnTo>
                      <a:pt x="3500" y="16250"/>
                    </a:lnTo>
                    <a:lnTo>
                      <a:pt x="0" y="16250"/>
                    </a:lnTo>
                    <a:lnTo>
                      <a:pt x="0" y="6875"/>
                    </a:lnTo>
                    <a:lnTo>
                      <a:pt x="3500" y="6875"/>
                    </a:lnTo>
                    <a:lnTo>
                      <a:pt x="4500" y="0"/>
                    </a:lnTo>
                    <a:lnTo>
                      <a:pt x="6167" y="9375"/>
                    </a:lnTo>
                    <a:lnTo>
                      <a:pt x="10333" y="9375"/>
                    </a:lnTo>
                    <a:lnTo>
                      <a:pt x="11333" y="9375"/>
                    </a:lnTo>
                    <a:lnTo>
                      <a:pt x="15500" y="9375"/>
                    </a:lnTo>
                    <a:lnTo>
                      <a:pt x="17167" y="16250"/>
                    </a:lnTo>
                    <a:lnTo>
                      <a:pt x="19833" y="16250"/>
                    </a:lnTo>
                    <a:lnTo>
                      <a:pt x="19833" y="19375"/>
                    </a:lnTo>
                    <a:lnTo>
                      <a:pt x="10333"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3" name="Freeform 246"/>
              <p:cNvSpPr>
                <a:spLocks/>
              </p:cNvSpPr>
              <p:nvPr/>
            </p:nvSpPr>
            <p:spPr bwMode="auto">
              <a:xfrm>
                <a:off x="5611813" y="3284538"/>
                <a:ext cx="36512" cy="36512"/>
              </a:xfrm>
              <a:custGeom>
                <a:avLst/>
                <a:gdLst>
                  <a:gd name="T0" fmla="*/ 10690 w 20000"/>
                  <a:gd name="T1" fmla="*/ 14138 h 20000"/>
                  <a:gd name="T2" fmla="*/ 5517 w 20000"/>
                  <a:gd name="T3" fmla="*/ 8966 h 20000"/>
                  <a:gd name="T4" fmla="*/ 0 w 20000"/>
                  <a:gd name="T5" fmla="*/ 3448 h 20000"/>
                  <a:gd name="T6" fmla="*/ 2069 w 20000"/>
                  <a:gd name="T7" fmla="*/ 0 h 20000"/>
                  <a:gd name="T8" fmla="*/ 6897 w 20000"/>
                  <a:gd name="T9" fmla="*/ 5172 h 20000"/>
                  <a:gd name="T10" fmla="*/ 14138 w 20000"/>
                  <a:gd name="T11" fmla="*/ 5172 h 20000"/>
                  <a:gd name="T12" fmla="*/ 16207 w 20000"/>
                  <a:gd name="T13" fmla="*/ 14138 h 20000"/>
                  <a:gd name="T14" fmla="*/ 19655 w 20000"/>
                  <a:gd name="T15" fmla="*/ 17586 h 20000"/>
                  <a:gd name="T16" fmla="*/ 19655 w 20000"/>
                  <a:gd name="T17" fmla="*/ 19655 h 20000"/>
                  <a:gd name="T18" fmla="*/ 16207 w 20000"/>
                  <a:gd name="T19" fmla="*/ 19655 h 20000"/>
                  <a:gd name="T20" fmla="*/ 10690 w 20000"/>
                  <a:gd name="T21" fmla="*/ 1413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0690" y="14138"/>
                    </a:moveTo>
                    <a:lnTo>
                      <a:pt x="5517" y="8966"/>
                    </a:lnTo>
                    <a:lnTo>
                      <a:pt x="0" y="3448"/>
                    </a:lnTo>
                    <a:lnTo>
                      <a:pt x="2069" y="0"/>
                    </a:lnTo>
                    <a:lnTo>
                      <a:pt x="6897" y="5172"/>
                    </a:lnTo>
                    <a:lnTo>
                      <a:pt x="14138" y="5172"/>
                    </a:lnTo>
                    <a:lnTo>
                      <a:pt x="16207" y="14138"/>
                    </a:lnTo>
                    <a:lnTo>
                      <a:pt x="19655" y="17586"/>
                    </a:lnTo>
                    <a:lnTo>
                      <a:pt x="19655" y="19655"/>
                    </a:lnTo>
                    <a:lnTo>
                      <a:pt x="16207" y="19655"/>
                    </a:lnTo>
                    <a:lnTo>
                      <a:pt x="10690" y="1413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4" name="Freeform 245"/>
              <p:cNvSpPr>
                <a:spLocks/>
              </p:cNvSpPr>
              <p:nvPr/>
            </p:nvSpPr>
            <p:spPr bwMode="auto">
              <a:xfrm>
                <a:off x="5680075" y="3275013"/>
                <a:ext cx="20638" cy="11112"/>
              </a:xfrm>
              <a:custGeom>
                <a:avLst/>
                <a:gdLst>
                  <a:gd name="T0" fmla="*/ 19375 w 20000"/>
                  <a:gd name="T1" fmla="*/ 18824 h 20000"/>
                  <a:gd name="T2" fmla="*/ 9375 w 20000"/>
                  <a:gd name="T3" fmla="*/ 18824 h 20000"/>
                  <a:gd name="T4" fmla="*/ 9375 w 20000"/>
                  <a:gd name="T5" fmla="*/ 5882 h 20000"/>
                  <a:gd name="T6" fmla="*/ 3750 w 20000"/>
                  <a:gd name="T7" fmla="*/ 18824 h 20000"/>
                  <a:gd name="T8" fmla="*/ 0 w 20000"/>
                  <a:gd name="T9" fmla="*/ 5882 h 20000"/>
                  <a:gd name="T10" fmla="*/ 13125 w 20000"/>
                  <a:gd name="T11" fmla="*/ 0 h 20000"/>
                  <a:gd name="T12" fmla="*/ 19375 w 20000"/>
                  <a:gd name="T13" fmla="*/ 5882 h 20000"/>
                  <a:gd name="T14" fmla="*/ 19375 w 20000"/>
                  <a:gd name="T15" fmla="*/ 18824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375" y="18824"/>
                    </a:moveTo>
                    <a:lnTo>
                      <a:pt x="9375" y="18824"/>
                    </a:lnTo>
                    <a:lnTo>
                      <a:pt x="9375" y="5882"/>
                    </a:lnTo>
                    <a:lnTo>
                      <a:pt x="3750" y="18824"/>
                    </a:lnTo>
                    <a:lnTo>
                      <a:pt x="0" y="5882"/>
                    </a:lnTo>
                    <a:lnTo>
                      <a:pt x="13125" y="0"/>
                    </a:lnTo>
                    <a:lnTo>
                      <a:pt x="19375" y="5882"/>
                    </a:lnTo>
                    <a:lnTo>
                      <a:pt x="19375"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5" name="Freeform 244"/>
              <p:cNvSpPr>
                <a:spLocks/>
              </p:cNvSpPr>
              <p:nvPr/>
            </p:nvSpPr>
            <p:spPr bwMode="auto">
              <a:xfrm>
                <a:off x="5743575" y="3376613"/>
                <a:ext cx="11113" cy="12700"/>
              </a:xfrm>
              <a:custGeom>
                <a:avLst/>
                <a:gdLst>
                  <a:gd name="T0" fmla="*/ 0 w 20000"/>
                  <a:gd name="T1" fmla="*/ 19048 h 20000"/>
                  <a:gd name="T2" fmla="*/ 0 w 20000"/>
                  <a:gd name="T3" fmla="*/ 3810 h 20000"/>
                  <a:gd name="T4" fmla="*/ 18824 w 20000"/>
                  <a:gd name="T5" fmla="*/ 0 h 20000"/>
                  <a:gd name="T6" fmla="*/ 11765 w 20000"/>
                  <a:gd name="T7" fmla="*/ 13333 h 20000"/>
                  <a:gd name="T8" fmla="*/ 0 w 20000"/>
                  <a:gd name="T9" fmla="*/ 19048 h 20000"/>
                </a:gdLst>
                <a:ahLst/>
                <a:cxnLst>
                  <a:cxn ang="0">
                    <a:pos x="T0" y="T1"/>
                  </a:cxn>
                  <a:cxn ang="0">
                    <a:pos x="T2" y="T3"/>
                  </a:cxn>
                  <a:cxn ang="0">
                    <a:pos x="T4" y="T5"/>
                  </a:cxn>
                  <a:cxn ang="0">
                    <a:pos x="T6" y="T7"/>
                  </a:cxn>
                  <a:cxn ang="0">
                    <a:pos x="T8" y="T9"/>
                  </a:cxn>
                </a:cxnLst>
                <a:rect l="0" t="0" r="r" b="b"/>
                <a:pathLst>
                  <a:path w="20000" h="20000">
                    <a:moveTo>
                      <a:pt x="0" y="19048"/>
                    </a:moveTo>
                    <a:lnTo>
                      <a:pt x="0" y="3810"/>
                    </a:lnTo>
                    <a:lnTo>
                      <a:pt x="18824" y="0"/>
                    </a:lnTo>
                    <a:lnTo>
                      <a:pt x="11765" y="13333"/>
                    </a:lnTo>
                    <a:lnTo>
                      <a:pt x="0" y="190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6" name="Freeform 243"/>
              <p:cNvSpPr>
                <a:spLocks/>
              </p:cNvSpPr>
              <p:nvPr/>
            </p:nvSpPr>
            <p:spPr bwMode="auto">
              <a:xfrm>
                <a:off x="5683250" y="3300413"/>
                <a:ext cx="11113" cy="11112"/>
              </a:xfrm>
              <a:custGeom>
                <a:avLst/>
                <a:gdLst>
                  <a:gd name="T0" fmla="*/ 18824 w 20000"/>
                  <a:gd name="T1" fmla="*/ 18824 h 20000"/>
                  <a:gd name="T2" fmla="*/ 0 w 20000"/>
                  <a:gd name="T3" fmla="*/ 18824 h 20000"/>
                  <a:gd name="T4" fmla="*/ 11765 w 20000"/>
                  <a:gd name="T5" fmla="*/ 18824 h 20000"/>
                  <a:gd name="T6" fmla="*/ 0 w 20000"/>
                  <a:gd name="T7" fmla="*/ 0 h 20000"/>
                  <a:gd name="T8" fmla="*/ 11765 w 20000"/>
                  <a:gd name="T9" fmla="*/ 11765 h 20000"/>
                  <a:gd name="T10" fmla="*/ 18824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8824" y="18824"/>
                    </a:moveTo>
                    <a:lnTo>
                      <a:pt x="0" y="18824"/>
                    </a:lnTo>
                    <a:lnTo>
                      <a:pt x="11765" y="18824"/>
                    </a:lnTo>
                    <a:lnTo>
                      <a:pt x="0" y="0"/>
                    </a:lnTo>
                    <a:lnTo>
                      <a:pt x="11765" y="11765"/>
                    </a:lnTo>
                    <a:lnTo>
                      <a:pt x="18824"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7" name="Freeform 242"/>
              <p:cNvSpPr>
                <a:spLocks/>
              </p:cNvSpPr>
              <p:nvPr/>
            </p:nvSpPr>
            <p:spPr bwMode="auto">
              <a:xfrm>
                <a:off x="5183188" y="3127375"/>
                <a:ext cx="6350" cy="11113"/>
              </a:xfrm>
              <a:custGeom>
                <a:avLst/>
                <a:gdLst>
                  <a:gd name="T0" fmla="*/ 18182 w 20000"/>
                  <a:gd name="T1" fmla="*/ 5882 h 20000"/>
                  <a:gd name="T2" fmla="*/ 0 w 20000"/>
                  <a:gd name="T3" fmla="*/ 5882 h 20000"/>
                  <a:gd name="T4" fmla="*/ 0 w 20000"/>
                  <a:gd name="T5" fmla="*/ 18824 h 20000"/>
                  <a:gd name="T6" fmla="*/ 0 w 20000"/>
                  <a:gd name="T7" fmla="*/ 5882 h 20000"/>
                  <a:gd name="T8" fmla="*/ 0 w 20000"/>
                  <a:gd name="T9" fmla="*/ 0 h 20000"/>
                  <a:gd name="T10" fmla="*/ 18182 w 20000"/>
                  <a:gd name="T11" fmla="*/ 5882 h 20000"/>
                </a:gdLst>
                <a:ahLst/>
                <a:cxnLst>
                  <a:cxn ang="0">
                    <a:pos x="T0" y="T1"/>
                  </a:cxn>
                  <a:cxn ang="0">
                    <a:pos x="T2" y="T3"/>
                  </a:cxn>
                  <a:cxn ang="0">
                    <a:pos x="T4" y="T5"/>
                  </a:cxn>
                  <a:cxn ang="0">
                    <a:pos x="T6" y="T7"/>
                  </a:cxn>
                  <a:cxn ang="0">
                    <a:pos x="T8" y="T9"/>
                  </a:cxn>
                  <a:cxn ang="0">
                    <a:pos x="T10" y="T11"/>
                  </a:cxn>
                </a:cxnLst>
                <a:rect l="0" t="0" r="r" b="b"/>
                <a:pathLst>
                  <a:path w="20000" h="20000">
                    <a:moveTo>
                      <a:pt x="18182" y="5882"/>
                    </a:moveTo>
                    <a:lnTo>
                      <a:pt x="0" y="5882"/>
                    </a:lnTo>
                    <a:lnTo>
                      <a:pt x="0" y="18824"/>
                    </a:lnTo>
                    <a:lnTo>
                      <a:pt x="0" y="5882"/>
                    </a:lnTo>
                    <a:lnTo>
                      <a:pt x="0" y="0"/>
                    </a:lnTo>
                    <a:lnTo>
                      <a:pt x="18182" y="58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8" name="Freeform 241"/>
              <p:cNvSpPr>
                <a:spLocks/>
              </p:cNvSpPr>
              <p:nvPr/>
            </p:nvSpPr>
            <p:spPr bwMode="auto">
              <a:xfrm>
                <a:off x="5251450" y="3014663"/>
                <a:ext cx="14288" cy="4762"/>
              </a:xfrm>
              <a:custGeom>
                <a:avLst/>
                <a:gdLst>
                  <a:gd name="T0" fmla="*/ 19091 w 20000"/>
                  <a:gd name="T1" fmla="*/ 17143 h 20000"/>
                  <a:gd name="T2" fmla="*/ 10000 w 20000"/>
                  <a:gd name="T3" fmla="*/ 0 h 20000"/>
                  <a:gd name="T4" fmla="*/ 0 w 20000"/>
                  <a:gd name="T5" fmla="*/ 0 h 20000"/>
                  <a:gd name="T6" fmla="*/ 19091 w 20000"/>
                  <a:gd name="T7" fmla="*/ 0 h 20000"/>
                  <a:gd name="T8" fmla="*/ 19091 w 20000"/>
                  <a:gd name="T9" fmla="*/ 17143 h 20000"/>
                </a:gdLst>
                <a:ahLst/>
                <a:cxnLst>
                  <a:cxn ang="0">
                    <a:pos x="T0" y="T1"/>
                  </a:cxn>
                  <a:cxn ang="0">
                    <a:pos x="T2" y="T3"/>
                  </a:cxn>
                  <a:cxn ang="0">
                    <a:pos x="T4" y="T5"/>
                  </a:cxn>
                  <a:cxn ang="0">
                    <a:pos x="T6" y="T7"/>
                  </a:cxn>
                  <a:cxn ang="0">
                    <a:pos x="T8" y="T9"/>
                  </a:cxn>
                </a:cxnLst>
                <a:rect l="0" t="0" r="r" b="b"/>
                <a:pathLst>
                  <a:path w="20000" h="20000">
                    <a:moveTo>
                      <a:pt x="19091" y="17143"/>
                    </a:moveTo>
                    <a:lnTo>
                      <a:pt x="10000" y="0"/>
                    </a:lnTo>
                    <a:lnTo>
                      <a:pt x="0" y="0"/>
                    </a:lnTo>
                    <a:lnTo>
                      <a:pt x="19091" y="0"/>
                    </a:lnTo>
                    <a:lnTo>
                      <a:pt x="19091" y="1714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699" name="Freeform 240"/>
              <p:cNvSpPr>
                <a:spLocks/>
              </p:cNvSpPr>
              <p:nvPr/>
            </p:nvSpPr>
            <p:spPr bwMode="auto">
              <a:xfrm>
                <a:off x="6156325" y="3205163"/>
                <a:ext cx="119063" cy="79375"/>
              </a:xfrm>
              <a:custGeom>
                <a:avLst/>
                <a:gdLst>
                  <a:gd name="T0" fmla="*/ 8770 w 20000"/>
                  <a:gd name="T1" fmla="*/ 18095 h 20000"/>
                  <a:gd name="T2" fmla="*/ 5561 w 20000"/>
                  <a:gd name="T3" fmla="*/ 11429 h 20000"/>
                  <a:gd name="T4" fmla="*/ 1070 w 20000"/>
                  <a:gd name="T5" fmla="*/ 9048 h 20000"/>
                  <a:gd name="T6" fmla="*/ 1070 w 20000"/>
                  <a:gd name="T7" fmla="*/ 4127 h 20000"/>
                  <a:gd name="T8" fmla="*/ 0 w 20000"/>
                  <a:gd name="T9" fmla="*/ 0 h 20000"/>
                  <a:gd name="T10" fmla="*/ 15508 w 20000"/>
                  <a:gd name="T11" fmla="*/ 952 h 20000"/>
                  <a:gd name="T12" fmla="*/ 16043 w 20000"/>
                  <a:gd name="T13" fmla="*/ 8254 h 20000"/>
                  <a:gd name="T14" fmla="*/ 19893 w 20000"/>
                  <a:gd name="T15" fmla="*/ 9048 h 20000"/>
                  <a:gd name="T16" fmla="*/ 17754 w 20000"/>
                  <a:gd name="T17" fmla="*/ 11429 h 20000"/>
                  <a:gd name="T18" fmla="*/ 18824 w 20000"/>
                  <a:gd name="T19" fmla="*/ 18095 h 20000"/>
                  <a:gd name="T20" fmla="*/ 15508 w 20000"/>
                  <a:gd name="T21" fmla="*/ 19841 h 20000"/>
                  <a:gd name="T22" fmla="*/ 8770 w 20000"/>
                  <a:gd name="T23" fmla="*/ 1809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8770" y="18095"/>
                    </a:moveTo>
                    <a:lnTo>
                      <a:pt x="5561" y="11429"/>
                    </a:lnTo>
                    <a:lnTo>
                      <a:pt x="1070" y="9048"/>
                    </a:lnTo>
                    <a:lnTo>
                      <a:pt x="1070" y="4127"/>
                    </a:lnTo>
                    <a:lnTo>
                      <a:pt x="0" y="0"/>
                    </a:lnTo>
                    <a:lnTo>
                      <a:pt x="15508" y="952"/>
                    </a:lnTo>
                    <a:lnTo>
                      <a:pt x="16043" y="8254"/>
                    </a:lnTo>
                    <a:lnTo>
                      <a:pt x="19893" y="9048"/>
                    </a:lnTo>
                    <a:lnTo>
                      <a:pt x="17754" y="11429"/>
                    </a:lnTo>
                    <a:lnTo>
                      <a:pt x="18824" y="18095"/>
                    </a:lnTo>
                    <a:lnTo>
                      <a:pt x="15508" y="19841"/>
                    </a:lnTo>
                    <a:lnTo>
                      <a:pt x="8770" y="1809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0" name="Freeform 239"/>
              <p:cNvSpPr>
                <a:spLocks/>
              </p:cNvSpPr>
              <p:nvPr/>
            </p:nvSpPr>
            <p:spPr bwMode="auto">
              <a:xfrm>
                <a:off x="6248400" y="3189288"/>
                <a:ext cx="90488" cy="104775"/>
              </a:xfrm>
              <a:custGeom>
                <a:avLst/>
                <a:gdLst>
                  <a:gd name="T0" fmla="*/ 8873 w 20000"/>
                  <a:gd name="T1" fmla="*/ 0 h 20000"/>
                  <a:gd name="T2" fmla="*/ 13803 w 20000"/>
                  <a:gd name="T3" fmla="*/ 4940 h 20000"/>
                  <a:gd name="T4" fmla="*/ 19859 w 20000"/>
                  <a:gd name="T5" fmla="*/ 6867 h 20000"/>
                  <a:gd name="T6" fmla="*/ 13803 w 20000"/>
                  <a:gd name="T7" fmla="*/ 9398 h 20000"/>
                  <a:gd name="T8" fmla="*/ 13803 w 20000"/>
                  <a:gd name="T9" fmla="*/ 13012 h 20000"/>
                  <a:gd name="T10" fmla="*/ 13803 w 20000"/>
                  <a:gd name="T11" fmla="*/ 14940 h 20000"/>
                  <a:gd name="T12" fmla="*/ 12394 w 20000"/>
                  <a:gd name="T13" fmla="*/ 14337 h 20000"/>
                  <a:gd name="T14" fmla="*/ 10282 w 20000"/>
                  <a:gd name="T15" fmla="*/ 14940 h 20000"/>
                  <a:gd name="T16" fmla="*/ 12394 w 20000"/>
                  <a:gd name="T17" fmla="*/ 19880 h 20000"/>
                  <a:gd name="T18" fmla="*/ 4366 w 20000"/>
                  <a:gd name="T19" fmla="*/ 16747 h 20000"/>
                  <a:gd name="T20" fmla="*/ 2958 w 20000"/>
                  <a:gd name="T21" fmla="*/ 11807 h 20000"/>
                  <a:gd name="T22" fmla="*/ 5775 w 20000"/>
                  <a:gd name="T23" fmla="*/ 9880 h 20000"/>
                  <a:gd name="T24" fmla="*/ 845 w 20000"/>
                  <a:gd name="T25" fmla="*/ 9398 h 20000"/>
                  <a:gd name="T26" fmla="*/ 0 w 20000"/>
                  <a:gd name="T27" fmla="*/ 3735 h 20000"/>
                  <a:gd name="T28" fmla="*/ 0 w 20000"/>
                  <a:gd name="T29" fmla="*/ 1205 h 20000"/>
                  <a:gd name="T30" fmla="*/ 8873 w 20000"/>
                  <a:gd name="T3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8873" y="0"/>
                    </a:moveTo>
                    <a:lnTo>
                      <a:pt x="13803" y="4940"/>
                    </a:lnTo>
                    <a:lnTo>
                      <a:pt x="19859" y="6867"/>
                    </a:lnTo>
                    <a:lnTo>
                      <a:pt x="13803" y="9398"/>
                    </a:lnTo>
                    <a:lnTo>
                      <a:pt x="13803" y="13012"/>
                    </a:lnTo>
                    <a:lnTo>
                      <a:pt x="13803" y="14940"/>
                    </a:lnTo>
                    <a:lnTo>
                      <a:pt x="12394" y="14337"/>
                    </a:lnTo>
                    <a:lnTo>
                      <a:pt x="10282" y="14940"/>
                    </a:lnTo>
                    <a:lnTo>
                      <a:pt x="12394" y="19880"/>
                    </a:lnTo>
                    <a:lnTo>
                      <a:pt x="4366" y="16747"/>
                    </a:lnTo>
                    <a:lnTo>
                      <a:pt x="2958" y="11807"/>
                    </a:lnTo>
                    <a:lnTo>
                      <a:pt x="5775" y="9880"/>
                    </a:lnTo>
                    <a:lnTo>
                      <a:pt x="845" y="9398"/>
                    </a:lnTo>
                    <a:lnTo>
                      <a:pt x="0" y="3735"/>
                    </a:lnTo>
                    <a:lnTo>
                      <a:pt x="0" y="1205"/>
                    </a:lnTo>
                    <a:lnTo>
                      <a:pt x="8873"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1" name="Freeform 238"/>
              <p:cNvSpPr>
                <a:spLocks/>
              </p:cNvSpPr>
              <p:nvPr/>
            </p:nvSpPr>
            <p:spPr bwMode="auto">
              <a:xfrm>
                <a:off x="5581650" y="2663825"/>
                <a:ext cx="247650" cy="201613"/>
              </a:xfrm>
              <a:custGeom>
                <a:avLst/>
                <a:gdLst>
                  <a:gd name="T0" fmla="*/ 1902 w 20000"/>
                  <a:gd name="T1" fmla="*/ 18044 h 20000"/>
                  <a:gd name="T2" fmla="*/ 1337 w 20000"/>
                  <a:gd name="T3" fmla="*/ 16025 h 20000"/>
                  <a:gd name="T4" fmla="*/ 0 w 20000"/>
                  <a:gd name="T5" fmla="*/ 14385 h 20000"/>
                  <a:gd name="T6" fmla="*/ 1902 w 20000"/>
                  <a:gd name="T7" fmla="*/ 13123 h 20000"/>
                  <a:gd name="T8" fmla="*/ 1337 w 20000"/>
                  <a:gd name="T9" fmla="*/ 11104 h 20000"/>
                  <a:gd name="T10" fmla="*/ 514 w 20000"/>
                  <a:gd name="T11" fmla="*/ 9148 h 20000"/>
                  <a:gd name="T12" fmla="*/ 3445 w 20000"/>
                  <a:gd name="T13" fmla="*/ 7508 h 20000"/>
                  <a:gd name="T14" fmla="*/ 5347 w 20000"/>
                  <a:gd name="T15" fmla="*/ 5237 h 20000"/>
                  <a:gd name="T16" fmla="*/ 5861 w 20000"/>
                  <a:gd name="T17" fmla="*/ 1956 h 20000"/>
                  <a:gd name="T18" fmla="*/ 9049 w 20000"/>
                  <a:gd name="T19" fmla="*/ 631 h 20000"/>
                  <a:gd name="T20" fmla="*/ 10129 w 20000"/>
                  <a:gd name="T21" fmla="*/ 0 h 20000"/>
                  <a:gd name="T22" fmla="*/ 15681 w 20000"/>
                  <a:gd name="T23" fmla="*/ 1009 h 20000"/>
                  <a:gd name="T24" fmla="*/ 17326 w 20000"/>
                  <a:gd name="T25" fmla="*/ 6877 h 20000"/>
                  <a:gd name="T26" fmla="*/ 19177 w 20000"/>
                  <a:gd name="T27" fmla="*/ 9148 h 20000"/>
                  <a:gd name="T28" fmla="*/ 19949 w 20000"/>
                  <a:gd name="T29" fmla="*/ 12744 h 20000"/>
                  <a:gd name="T30" fmla="*/ 18098 w 20000"/>
                  <a:gd name="T31" fmla="*/ 11735 h 20000"/>
                  <a:gd name="T32" fmla="*/ 17326 w 20000"/>
                  <a:gd name="T33" fmla="*/ 12114 h 20000"/>
                  <a:gd name="T34" fmla="*/ 18612 w 20000"/>
                  <a:gd name="T35" fmla="*/ 15331 h 20000"/>
                  <a:gd name="T36" fmla="*/ 18098 w 20000"/>
                  <a:gd name="T37" fmla="*/ 18675 h 20000"/>
                  <a:gd name="T38" fmla="*/ 16504 w 20000"/>
                  <a:gd name="T39" fmla="*/ 18675 h 20000"/>
                  <a:gd name="T40" fmla="*/ 15681 w 20000"/>
                  <a:gd name="T41" fmla="*/ 19621 h 20000"/>
                  <a:gd name="T42" fmla="*/ 15681 w 20000"/>
                  <a:gd name="T43" fmla="*/ 19937 h 20000"/>
                  <a:gd name="T44" fmla="*/ 11671 w 20000"/>
                  <a:gd name="T45" fmla="*/ 18927 h 20000"/>
                  <a:gd name="T46" fmla="*/ 11671 w 20000"/>
                  <a:gd name="T47" fmla="*/ 18044 h 20000"/>
                  <a:gd name="T48" fmla="*/ 3445 w 20000"/>
                  <a:gd name="T49" fmla="*/ 18675 h 20000"/>
                  <a:gd name="T50" fmla="*/ 2674 w 20000"/>
                  <a:gd name="T51" fmla="*/ 18044 h 20000"/>
                  <a:gd name="T52" fmla="*/ 1902 w 20000"/>
                  <a:gd name="T53" fmla="*/ 1804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1902" y="18044"/>
                    </a:moveTo>
                    <a:lnTo>
                      <a:pt x="1337" y="16025"/>
                    </a:lnTo>
                    <a:lnTo>
                      <a:pt x="0" y="14385"/>
                    </a:lnTo>
                    <a:lnTo>
                      <a:pt x="1902" y="13123"/>
                    </a:lnTo>
                    <a:lnTo>
                      <a:pt x="1337" y="11104"/>
                    </a:lnTo>
                    <a:lnTo>
                      <a:pt x="514" y="9148"/>
                    </a:lnTo>
                    <a:lnTo>
                      <a:pt x="3445" y="7508"/>
                    </a:lnTo>
                    <a:lnTo>
                      <a:pt x="5347" y="5237"/>
                    </a:lnTo>
                    <a:lnTo>
                      <a:pt x="5861" y="1956"/>
                    </a:lnTo>
                    <a:lnTo>
                      <a:pt x="9049" y="631"/>
                    </a:lnTo>
                    <a:lnTo>
                      <a:pt x="10129" y="0"/>
                    </a:lnTo>
                    <a:lnTo>
                      <a:pt x="15681" y="1009"/>
                    </a:lnTo>
                    <a:lnTo>
                      <a:pt x="17326" y="6877"/>
                    </a:lnTo>
                    <a:lnTo>
                      <a:pt x="19177" y="9148"/>
                    </a:lnTo>
                    <a:lnTo>
                      <a:pt x="19949" y="12744"/>
                    </a:lnTo>
                    <a:lnTo>
                      <a:pt x="18098" y="11735"/>
                    </a:lnTo>
                    <a:lnTo>
                      <a:pt x="17326" y="12114"/>
                    </a:lnTo>
                    <a:lnTo>
                      <a:pt x="18612" y="15331"/>
                    </a:lnTo>
                    <a:lnTo>
                      <a:pt x="18098" y="18675"/>
                    </a:lnTo>
                    <a:lnTo>
                      <a:pt x="16504" y="18675"/>
                    </a:lnTo>
                    <a:lnTo>
                      <a:pt x="15681" y="19621"/>
                    </a:lnTo>
                    <a:lnTo>
                      <a:pt x="15681" y="19937"/>
                    </a:lnTo>
                    <a:lnTo>
                      <a:pt x="11671" y="18927"/>
                    </a:lnTo>
                    <a:lnTo>
                      <a:pt x="11671" y="18044"/>
                    </a:lnTo>
                    <a:lnTo>
                      <a:pt x="3445" y="18675"/>
                    </a:lnTo>
                    <a:lnTo>
                      <a:pt x="2674" y="18044"/>
                    </a:lnTo>
                    <a:lnTo>
                      <a:pt x="1902" y="1804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2" name="Freeform 237"/>
              <p:cNvSpPr>
                <a:spLocks/>
              </p:cNvSpPr>
              <p:nvPr/>
            </p:nvSpPr>
            <p:spPr bwMode="auto">
              <a:xfrm>
                <a:off x="5561013" y="2508250"/>
                <a:ext cx="112712" cy="85725"/>
              </a:xfrm>
              <a:custGeom>
                <a:avLst/>
                <a:gdLst>
                  <a:gd name="T0" fmla="*/ 4633 w 20000"/>
                  <a:gd name="T1" fmla="*/ 18235 h 20000"/>
                  <a:gd name="T2" fmla="*/ 4633 w 20000"/>
                  <a:gd name="T3" fmla="*/ 13824 h 20000"/>
                  <a:gd name="T4" fmla="*/ 3503 w 20000"/>
                  <a:gd name="T5" fmla="*/ 15294 h 20000"/>
                  <a:gd name="T6" fmla="*/ 1130 w 20000"/>
                  <a:gd name="T7" fmla="*/ 9853 h 20000"/>
                  <a:gd name="T8" fmla="*/ 0 w 20000"/>
                  <a:gd name="T9" fmla="*/ 5441 h 20000"/>
                  <a:gd name="T10" fmla="*/ 10621 w 20000"/>
                  <a:gd name="T11" fmla="*/ 0 h 20000"/>
                  <a:gd name="T12" fmla="*/ 16384 w 20000"/>
                  <a:gd name="T13" fmla="*/ 1471 h 20000"/>
                  <a:gd name="T14" fmla="*/ 15254 w 20000"/>
                  <a:gd name="T15" fmla="*/ 2353 h 20000"/>
                  <a:gd name="T16" fmla="*/ 16949 w 20000"/>
                  <a:gd name="T17" fmla="*/ 7500 h 20000"/>
                  <a:gd name="T18" fmla="*/ 16949 w 20000"/>
                  <a:gd name="T19" fmla="*/ 11471 h 20000"/>
                  <a:gd name="T20" fmla="*/ 19887 w 20000"/>
                  <a:gd name="T21" fmla="*/ 17500 h 20000"/>
                  <a:gd name="T22" fmla="*/ 15254 w 20000"/>
                  <a:gd name="T23" fmla="*/ 19853 h 20000"/>
                  <a:gd name="T24" fmla="*/ 8814 w 20000"/>
                  <a:gd name="T25" fmla="*/ 18235 h 20000"/>
                  <a:gd name="T26" fmla="*/ 4633 w 20000"/>
                  <a:gd name="T27" fmla="*/ 182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4633" y="18235"/>
                    </a:moveTo>
                    <a:lnTo>
                      <a:pt x="4633" y="13824"/>
                    </a:lnTo>
                    <a:lnTo>
                      <a:pt x="3503" y="15294"/>
                    </a:lnTo>
                    <a:lnTo>
                      <a:pt x="1130" y="9853"/>
                    </a:lnTo>
                    <a:lnTo>
                      <a:pt x="0" y="5441"/>
                    </a:lnTo>
                    <a:lnTo>
                      <a:pt x="10621" y="0"/>
                    </a:lnTo>
                    <a:lnTo>
                      <a:pt x="16384" y="1471"/>
                    </a:lnTo>
                    <a:lnTo>
                      <a:pt x="15254" y="2353"/>
                    </a:lnTo>
                    <a:lnTo>
                      <a:pt x="16949" y="7500"/>
                    </a:lnTo>
                    <a:lnTo>
                      <a:pt x="16949" y="11471"/>
                    </a:lnTo>
                    <a:lnTo>
                      <a:pt x="19887" y="17500"/>
                    </a:lnTo>
                    <a:lnTo>
                      <a:pt x="15254" y="19853"/>
                    </a:lnTo>
                    <a:lnTo>
                      <a:pt x="8814" y="18235"/>
                    </a:lnTo>
                    <a:lnTo>
                      <a:pt x="4633" y="182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3" name="Freeform 236"/>
              <p:cNvSpPr>
                <a:spLocks/>
              </p:cNvSpPr>
              <p:nvPr/>
            </p:nvSpPr>
            <p:spPr bwMode="auto">
              <a:xfrm>
                <a:off x="6051550" y="3130550"/>
                <a:ext cx="198438" cy="79375"/>
              </a:xfrm>
              <a:custGeom>
                <a:avLst/>
                <a:gdLst>
                  <a:gd name="T0" fmla="*/ 10641 w 20000"/>
                  <a:gd name="T1" fmla="*/ 18889 h 20000"/>
                  <a:gd name="T2" fmla="*/ 8654 w 20000"/>
                  <a:gd name="T3" fmla="*/ 14921 h 20000"/>
                  <a:gd name="T4" fmla="*/ 4615 w 20000"/>
                  <a:gd name="T5" fmla="*/ 16508 h 20000"/>
                  <a:gd name="T6" fmla="*/ 4615 w 20000"/>
                  <a:gd name="T7" fmla="*/ 10794 h 20000"/>
                  <a:gd name="T8" fmla="*/ 3013 w 20000"/>
                  <a:gd name="T9" fmla="*/ 4286 h 20000"/>
                  <a:gd name="T10" fmla="*/ 0 w 20000"/>
                  <a:gd name="T11" fmla="*/ 0 h 20000"/>
                  <a:gd name="T12" fmla="*/ 9615 w 20000"/>
                  <a:gd name="T13" fmla="*/ 0 h 20000"/>
                  <a:gd name="T14" fmla="*/ 17628 w 20000"/>
                  <a:gd name="T15" fmla="*/ 10794 h 20000"/>
                  <a:gd name="T16" fmla="*/ 19936 w 20000"/>
                  <a:gd name="T17" fmla="*/ 16508 h 20000"/>
                  <a:gd name="T18" fmla="*/ 19936 w 20000"/>
                  <a:gd name="T19" fmla="*/ 19841 h 20000"/>
                  <a:gd name="T20" fmla="*/ 10641 w 20000"/>
                  <a:gd name="T21" fmla="*/ 1888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0641" y="18889"/>
                    </a:moveTo>
                    <a:lnTo>
                      <a:pt x="8654" y="14921"/>
                    </a:lnTo>
                    <a:lnTo>
                      <a:pt x="4615" y="16508"/>
                    </a:lnTo>
                    <a:lnTo>
                      <a:pt x="4615" y="10794"/>
                    </a:lnTo>
                    <a:lnTo>
                      <a:pt x="3013" y="4286"/>
                    </a:lnTo>
                    <a:lnTo>
                      <a:pt x="0" y="0"/>
                    </a:lnTo>
                    <a:lnTo>
                      <a:pt x="9615" y="0"/>
                    </a:lnTo>
                    <a:lnTo>
                      <a:pt x="17628" y="10794"/>
                    </a:lnTo>
                    <a:lnTo>
                      <a:pt x="19936" y="16508"/>
                    </a:lnTo>
                    <a:lnTo>
                      <a:pt x="19936" y="19841"/>
                    </a:lnTo>
                    <a:lnTo>
                      <a:pt x="10641" y="1888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4" name="Freeform 235"/>
              <p:cNvSpPr>
                <a:spLocks/>
              </p:cNvSpPr>
              <p:nvPr/>
            </p:nvSpPr>
            <p:spPr bwMode="auto">
              <a:xfrm>
                <a:off x="5508625" y="2584450"/>
                <a:ext cx="207963" cy="98425"/>
              </a:xfrm>
              <a:custGeom>
                <a:avLst/>
                <a:gdLst>
                  <a:gd name="T0" fmla="*/ 0 w 20000"/>
                  <a:gd name="T1" fmla="*/ 13846 h 20000"/>
                  <a:gd name="T2" fmla="*/ 976 w 20000"/>
                  <a:gd name="T3" fmla="*/ 5256 h 20000"/>
                  <a:gd name="T4" fmla="*/ 3476 w 20000"/>
                  <a:gd name="T5" fmla="*/ 513 h 20000"/>
                  <a:gd name="T6" fmla="*/ 5671 w 20000"/>
                  <a:gd name="T7" fmla="*/ 7308 h 20000"/>
                  <a:gd name="T8" fmla="*/ 6585 w 20000"/>
                  <a:gd name="T9" fmla="*/ 7308 h 20000"/>
                  <a:gd name="T10" fmla="*/ 7561 w 20000"/>
                  <a:gd name="T11" fmla="*/ 6026 h 20000"/>
                  <a:gd name="T12" fmla="*/ 7561 w 20000"/>
                  <a:gd name="T13" fmla="*/ 513 h 20000"/>
                  <a:gd name="T14" fmla="*/ 9817 w 20000"/>
                  <a:gd name="T15" fmla="*/ 513 h 20000"/>
                  <a:gd name="T16" fmla="*/ 13293 w 20000"/>
                  <a:gd name="T17" fmla="*/ 2051 h 20000"/>
                  <a:gd name="T18" fmla="*/ 15793 w 20000"/>
                  <a:gd name="T19" fmla="*/ 0 h 20000"/>
                  <a:gd name="T20" fmla="*/ 17683 w 20000"/>
                  <a:gd name="T21" fmla="*/ 513 h 20000"/>
                  <a:gd name="T22" fmla="*/ 19939 w 20000"/>
                  <a:gd name="T23" fmla="*/ 6026 h 20000"/>
                  <a:gd name="T24" fmla="*/ 18963 w 20000"/>
                  <a:gd name="T25" fmla="*/ 15897 h 20000"/>
                  <a:gd name="T26" fmla="*/ 17683 w 20000"/>
                  <a:gd name="T27" fmla="*/ 17179 h 20000"/>
                  <a:gd name="T28" fmla="*/ 13902 w 20000"/>
                  <a:gd name="T29" fmla="*/ 19872 h 20000"/>
                  <a:gd name="T30" fmla="*/ 12683 w 20000"/>
                  <a:gd name="T31" fmla="*/ 17821 h 20000"/>
                  <a:gd name="T32" fmla="*/ 11707 w 20000"/>
                  <a:gd name="T33" fmla="*/ 17179 h 20000"/>
                  <a:gd name="T34" fmla="*/ 10122 w 20000"/>
                  <a:gd name="T35" fmla="*/ 14615 h 20000"/>
                  <a:gd name="T36" fmla="*/ 6585 w 20000"/>
                  <a:gd name="T37" fmla="*/ 12564 h 20000"/>
                  <a:gd name="T38" fmla="*/ 4085 w 20000"/>
                  <a:gd name="T39" fmla="*/ 12564 h 20000"/>
                  <a:gd name="T40" fmla="*/ 0 w 20000"/>
                  <a:gd name="T41" fmla="*/ 1384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0" y="13846"/>
                    </a:moveTo>
                    <a:lnTo>
                      <a:pt x="976" y="5256"/>
                    </a:lnTo>
                    <a:lnTo>
                      <a:pt x="3476" y="513"/>
                    </a:lnTo>
                    <a:lnTo>
                      <a:pt x="5671" y="7308"/>
                    </a:lnTo>
                    <a:lnTo>
                      <a:pt x="6585" y="7308"/>
                    </a:lnTo>
                    <a:lnTo>
                      <a:pt x="7561" y="6026"/>
                    </a:lnTo>
                    <a:lnTo>
                      <a:pt x="7561" y="513"/>
                    </a:lnTo>
                    <a:lnTo>
                      <a:pt x="9817" y="513"/>
                    </a:lnTo>
                    <a:lnTo>
                      <a:pt x="13293" y="2051"/>
                    </a:lnTo>
                    <a:lnTo>
                      <a:pt x="15793" y="0"/>
                    </a:lnTo>
                    <a:lnTo>
                      <a:pt x="17683" y="513"/>
                    </a:lnTo>
                    <a:lnTo>
                      <a:pt x="19939" y="6026"/>
                    </a:lnTo>
                    <a:lnTo>
                      <a:pt x="18963" y="15897"/>
                    </a:lnTo>
                    <a:lnTo>
                      <a:pt x="17683" y="17179"/>
                    </a:lnTo>
                    <a:lnTo>
                      <a:pt x="13902" y="19872"/>
                    </a:lnTo>
                    <a:lnTo>
                      <a:pt x="12683" y="17821"/>
                    </a:lnTo>
                    <a:lnTo>
                      <a:pt x="11707" y="17179"/>
                    </a:lnTo>
                    <a:lnTo>
                      <a:pt x="10122" y="14615"/>
                    </a:lnTo>
                    <a:lnTo>
                      <a:pt x="6585" y="12564"/>
                    </a:lnTo>
                    <a:lnTo>
                      <a:pt x="4085" y="12564"/>
                    </a:lnTo>
                    <a:lnTo>
                      <a:pt x="0" y="1384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5" name="Freeform 234"/>
              <p:cNvSpPr>
                <a:spLocks/>
              </p:cNvSpPr>
              <p:nvPr/>
            </p:nvSpPr>
            <p:spPr bwMode="auto">
              <a:xfrm>
                <a:off x="5486400" y="2647950"/>
                <a:ext cx="168275" cy="109538"/>
              </a:xfrm>
              <a:custGeom>
                <a:avLst/>
                <a:gdLst>
                  <a:gd name="T0" fmla="*/ 12075 w 20000"/>
                  <a:gd name="T1" fmla="*/ 19884 h 20000"/>
                  <a:gd name="T2" fmla="*/ 10189 w 20000"/>
                  <a:gd name="T3" fmla="*/ 14419 h 20000"/>
                  <a:gd name="T4" fmla="*/ 0 w 20000"/>
                  <a:gd name="T5" fmla="*/ 14419 h 20000"/>
                  <a:gd name="T6" fmla="*/ 2038 w 20000"/>
                  <a:gd name="T7" fmla="*/ 12558 h 20000"/>
                  <a:gd name="T8" fmla="*/ 0 w 20000"/>
                  <a:gd name="T9" fmla="*/ 13953 h 20000"/>
                  <a:gd name="T10" fmla="*/ 830 w 20000"/>
                  <a:gd name="T11" fmla="*/ 12093 h 20000"/>
                  <a:gd name="T12" fmla="*/ 4679 w 20000"/>
                  <a:gd name="T13" fmla="*/ 12093 h 20000"/>
                  <a:gd name="T14" fmla="*/ 2792 w 20000"/>
                  <a:gd name="T15" fmla="*/ 1163 h 20000"/>
                  <a:gd name="T16" fmla="*/ 7849 w 20000"/>
                  <a:gd name="T17" fmla="*/ 0 h 20000"/>
                  <a:gd name="T18" fmla="*/ 10943 w 20000"/>
                  <a:gd name="T19" fmla="*/ 0 h 20000"/>
                  <a:gd name="T20" fmla="*/ 15321 w 20000"/>
                  <a:gd name="T21" fmla="*/ 1860 h 20000"/>
                  <a:gd name="T22" fmla="*/ 17208 w 20000"/>
                  <a:gd name="T23" fmla="*/ 4186 h 20000"/>
                  <a:gd name="T24" fmla="*/ 18415 w 20000"/>
                  <a:gd name="T25" fmla="*/ 4767 h 20000"/>
                  <a:gd name="T26" fmla="*/ 19925 w 20000"/>
                  <a:gd name="T27" fmla="*/ 6628 h 20000"/>
                  <a:gd name="T28" fmla="*/ 19170 w 20000"/>
                  <a:gd name="T29" fmla="*/ 12558 h 20000"/>
                  <a:gd name="T30" fmla="*/ 16377 w 20000"/>
                  <a:gd name="T31" fmla="*/ 16860 h 20000"/>
                  <a:gd name="T32" fmla="*/ 12075 w 20000"/>
                  <a:gd name="T33" fmla="*/ 198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2075" y="19884"/>
                    </a:moveTo>
                    <a:lnTo>
                      <a:pt x="10189" y="14419"/>
                    </a:lnTo>
                    <a:lnTo>
                      <a:pt x="0" y="14419"/>
                    </a:lnTo>
                    <a:lnTo>
                      <a:pt x="2038" y="12558"/>
                    </a:lnTo>
                    <a:lnTo>
                      <a:pt x="0" y="13953"/>
                    </a:lnTo>
                    <a:lnTo>
                      <a:pt x="830" y="12093"/>
                    </a:lnTo>
                    <a:lnTo>
                      <a:pt x="4679" y="12093"/>
                    </a:lnTo>
                    <a:lnTo>
                      <a:pt x="2792" y="1163"/>
                    </a:lnTo>
                    <a:lnTo>
                      <a:pt x="7849" y="0"/>
                    </a:lnTo>
                    <a:lnTo>
                      <a:pt x="10943" y="0"/>
                    </a:lnTo>
                    <a:lnTo>
                      <a:pt x="15321" y="1860"/>
                    </a:lnTo>
                    <a:lnTo>
                      <a:pt x="17208" y="4186"/>
                    </a:lnTo>
                    <a:lnTo>
                      <a:pt x="18415" y="4767"/>
                    </a:lnTo>
                    <a:lnTo>
                      <a:pt x="19925" y="6628"/>
                    </a:lnTo>
                    <a:lnTo>
                      <a:pt x="19170" y="12558"/>
                    </a:lnTo>
                    <a:lnTo>
                      <a:pt x="16377" y="16860"/>
                    </a:lnTo>
                    <a:lnTo>
                      <a:pt x="12075" y="198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6" name="Freeform 233"/>
              <p:cNvSpPr>
                <a:spLocks/>
              </p:cNvSpPr>
              <p:nvPr/>
            </p:nvSpPr>
            <p:spPr bwMode="auto">
              <a:xfrm>
                <a:off x="5692775" y="2965450"/>
                <a:ext cx="92075" cy="96838"/>
              </a:xfrm>
              <a:custGeom>
                <a:avLst/>
                <a:gdLst>
                  <a:gd name="T0" fmla="*/ 0 w 20000"/>
                  <a:gd name="T1" fmla="*/ 0 h 20000"/>
                  <a:gd name="T2" fmla="*/ 6986 w 20000"/>
                  <a:gd name="T3" fmla="*/ 2105 h 20000"/>
                  <a:gd name="T4" fmla="*/ 10685 w 20000"/>
                  <a:gd name="T5" fmla="*/ 2105 h 20000"/>
                  <a:gd name="T6" fmla="*/ 14247 w 20000"/>
                  <a:gd name="T7" fmla="*/ 7500 h 20000"/>
                  <a:gd name="T8" fmla="*/ 14932 w 20000"/>
                  <a:gd name="T9" fmla="*/ 10263 h 20000"/>
                  <a:gd name="T10" fmla="*/ 19863 w 20000"/>
                  <a:gd name="T11" fmla="*/ 13684 h 20000"/>
                  <a:gd name="T12" fmla="*/ 12877 w 20000"/>
                  <a:gd name="T13" fmla="*/ 14474 h 20000"/>
                  <a:gd name="T14" fmla="*/ 10685 w 20000"/>
                  <a:gd name="T15" fmla="*/ 16447 h 20000"/>
                  <a:gd name="T16" fmla="*/ 8493 w 20000"/>
                  <a:gd name="T17" fmla="*/ 19868 h 20000"/>
                  <a:gd name="T18" fmla="*/ 6986 w 20000"/>
                  <a:gd name="T19" fmla="*/ 8947 h 20000"/>
                  <a:gd name="T20" fmla="*/ 6438 w 20000"/>
                  <a:gd name="T21" fmla="*/ 8947 h 20000"/>
                  <a:gd name="T22" fmla="*/ 0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0" y="0"/>
                    </a:moveTo>
                    <a:lnTo>
                      <a:pt x="6986" y="2105"/>
                    </a:lnTo>
                    <a:lnTo>
                      <a:pt x="10685" y="2105"/>
                    </a:lnTo>
                    <a:lnTo>
                      <a:pt x="14247" y="7500"/>
                    </a:lnTo>
                    <a:lnTo>
                      <a:pt x="14932" y="10263"/>
                    </a:lnTo>
                    <a:lnTo>
                      <a:pt x="19863" y="13684"/>
                    </a:lnTo>
                    <a:lnTo>
                      <a:pt x="12877" y="14474"/>
                    </a:lnTo>
                    <a:lnTo>
                      <a:pt x="10685" y="16447"/>
                    </a:lnTo>
                    <a:lnTo>
                      <a:pt x="8493" y="19868"/>
                    </a:lnTo>
                    <a:lnTo>
                      <a:pt x="6986" y="8947"/>
                    </a:lnTo>
                    <a:lnTo>
                      <a:pt x="6438" y="8947"/>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7" name="Freeform 232"/>
              <p:cNvSpPr>
                <a:spLocks/>
              </p:cNvSpPr>
              <p:nvPr/>
            </p:nvSpPr>
            <p:spPr bwMode="auto">
              <a:xfrm>
                <a:off x="5630863" y="1336675"/>
                <a:ext cx="3771900" cy="1860550"/>
              </a:xfrm>
              <a:custGeom>
                <a:avLst/>
                <a:gdLst>
                  <a:gd name="T0" fmla="*/ 1603 w 20000"/>
                  <a:gd name="T1" fmla="*/ 8692 h 20000"/>
                  <a:gd name="T2" fmla="*/ 1148 w 20000"/>
                  <a:gd name="T3" fmla="*/ 9710 h 20000"/>
                  <a:gd name="T4" fmla="*/ 1741 w 20000"/>
                  <a:gd name="T5" fmla="*/ 7948 h 20000"/>
                  <a:gd name="T6" fmla="*/ 2875 w 20000"/>
                  <a:gd name="T7" fmla="*/ 7812 h 20000"/>
                  <a:gd name="T8" fmla="*/ 3380 w 20000"/>
                  <a:gd name="T9" fmla="*/ 7661 h 20000"/>
                  <a:gd name="T10" fmla="*/ 4586 w 20000"/>
                  <a:gd name="T11" fmla="*/ 7033 h 20000"/>
                  <a:gd name="T12" fmla="*/ 4391 w 20000"/>
                  <a:gd name="T13" fmla="*/ 5579 h 20000"/>
                  <a:gd name="T14" fmla="*/ 5178 w 20000"/>
                  <a:gd name="T15" fmla="*/ 8228 h 20000"/>
                  <a:gd name="T16" fmla="*/ 6118 w 20000"/>
                  <a:gd name="T17" fmla="*/ 7491 h 20000"/>
                  <a:gd name="T18" fmla="*/ 4983 w 20000"/>
                  <a:gd name="T19" fmla="*/ 4841 h 20000"/>
                  <a:gd name="T20" fmla="*/ 5859 w 20000"/>
                  <a:gd name="T21" fmla="*/ 5189 h 20000"/>
                  <a:gd name="T22" fmla="*/ 6259 w 20000"/>
                  <a:gd name="T23" fmla="*/ 5934 h 20000"/>
                  <a:gd name="T24" fmla="*/ 6222 w 20000"/>
                  <a:gd name="T25" fmla="*/ 3988 h 20000"/>
                  <a:gd name="T26" fmla="*/ 6051 w 20000"/>
                  <a:gd name="T27" fmla="*/ 3073 h 20000"/>
                  <a:gd name="T28" fmla="*/ 6902 w 20000"/>
                  <a:gd name="T29" fmla="*/ 2219 h 20000"/>
                  <a:gd name="T30" fmla="*/ 7165 w 20000"/>
                  <a:gd name="T31" fmla="*/ 1311 h 20000"/>
                  <a:gd name="T32" fmla="*/ 7549 w 20000"/>
                  <a:gd name="T33" fmla="*/ 990 h 20000"/>
                  <a:gd name="T34" fmla="*/ 8700 w 20000"/>
                  <a:gd name="T35" fmla="*/ 1379 h 20000"/>
                  <a:gd name="T36" fmla="*/ 8316 w 20000"/>
                  <a:gd name="T37" fmla="*/ 2970 h 20000"/>
                  <a:gd name="T38" fmla="*/ 8818 w 20000"/>
                  <a:gd name="T39" fmla="*/ 2684 h 20000"/>
                  <a:gd name="T40" fmla="*/ 9414 w 20000"/>
                  <a:gd name="T41" fmla="*/ 2506 h 20000"/>
                  <a:gd name="T42" fmla="*/ 10202 w 20000"/>
                  <a:gd name="T43" fmla="*/ 1939 h 20000"/>
                  <a:gd name="T44" fmla="*/ 11246 w 20000"/>
                  <a:gd name="T45" fmla="*/ 2608 h 20000"/>
                  <a:gd name="T46" fmla="*/ 12364 w 20000"/>
                  <a:gd name="T47" fmla="*/ 2048 h 20000"/>
                  <a:gd name="T48" fmla="*/ 13040 w 20000"/>
                  <a:gd name="T49" fmla="*/ 990 h 20000"/>
                  <a:gd name="T50" fmla="*/ 13407 w 20000"/>
                  <a:gd name="T51" fmla="*/ 990 h 20000"/>
                  <a:gd name="T52" fmla="*/ 15502 w 20000"/>
                  <a:gd name="T53" fmla="*/ 1550 h 20000"/>
                  <a:gd name="T54" fmla="*/ 16475 w 20000"/>
                  <a:gd name="T55" fmla="*/ 669 h 20000"/>
                  <a:gd name="T56" fmla="*/ 18657 w 20000"/>
                  <a:gd name="T57" fmla="*/ 526 h 20000"/>
                  <a:gd name="T58" fmla="*/ 19354 w 20000"/>
                  <a:gd name="T59" fmla="*/ 635 h 20000"/>
                  <a:gd name="T60" fmla="*/ 19997 w 20000"/>
                  <a:gd name="T61" fmla="*/ 2581 h 20000"/>
                  <a:gd name="T62" fmla="*/ 18966 w 20000"/>
                  <a:gd name="T63" fmla="*/ 2219 h 20000"/>
                  <a:gd name="T64" fmla="*/ 18532 w 20000"/>
                  <a:gd name="T65" fmla="*/ 2970 h 20000"/>
                  <a:gd name="T66" fmla="*/ 19108 w 20000"/>
                  <a:gd name="T67" fmla="*/ 3878 h 20000"/>
                  <a:gd name="T68" fmla="*/ 18848 w 20000"/>
                  <a:gd name="T69" fmla="*/ 5900 h 20000"/>
                  <a:gd name="T70" fmla="*/ 18290 w 20000"/>
                  <a:gd name="T71" fmla="*/ 6958 h 20000"/>
                  <a:gd name="T72" fmla="*/ 18098 w 20000"/>
                  <a:gd name="T73" fmla="*/ 8863 h 20000"/>
                  <a:gd name="T74" fmla="*/ 18465 w 20000"/>
                  <a:gd name="T75" fmla="*/ 10953 h 20000"/>
                  <a:gd name="T76" fmla="*/ 17384 w 20000"/>
                  <a:gd name="T77" fmla="*/ 9990 h 20000"/>
                  <a:gd name="T78" fmla="*/ 17663 w 20000"/>
                  <a:gd name="T79" fmla="*/ 5756 h 20000"/>
                  <a:gd name="T80" fmla="*/ 17242 w 20000"/>
                  <a:gd name="T81" fmla="*/ 7060 h 20000"/>
                  <a:gd name="T82" fmla="*/ 16599 w 20000"/>
                  <a:gd name="T83" fmla="*/ 8720 h 20000"/>
                  <a:gd name="T84" fmla="*/ 15916 w 20000"/>
                  <a:gd name="T85" fmla="*/ 8904 h 20000"/>
                  <a:gd name="T86" fmla="*/ 15131 w 20000"/>
                  <a:gd name="T87" fmla="*/ 12571 h 20000"/>
                  <a:gd name="T88" fmla="*/ 15778 w 20000"/>
                  <a:gd name="T89" fmla="*/ 12714 h 20000"/>
                  <a:gd name="T90" fmla="*/ 15185 w 20000"/>
                  <a:gd name="T91" fmla="*/ 18334 h 20000"/>
                  <a:gd name="T92" fmla="*/ 15131 w 20000"/>
                  <a:gd name="T93" fmla="*/ 15575 h 20000"/>
                  <a:gd name="T94" fmla="*/ 13721 w 20000"/>
                  <a:gd name="T95" fmla="*/ 13424 h 20000"/>
                  <a:gd name="T96" fmla="*/ 12990 w 20000"/>
                  <a:gd name="T97" fmla="*/ 14906 h 20000"/>
                  <a:gd name="T98" fmla="*/ 11488 w 20000"/>
                  <a:gd name="T99" fmla="*/ 15541 h 20000"/>
                  <a:gd name="T100" fmla="*/ 10148 w 20000"/>
                  <a:gd name="T101" fmla="*/ 15753 h 20000"/>
                  <a:gd name="T102" fmla="*/ 8771 w 20000"/>
                  <a:gd name="T103" fmla="*/ 16217 h 20000"/>
                  <a:gd name="T104" fmla="*/ 4758 w 20000"/>
                  <a:gd name="T105" fmla="*/ 14660 h 20000"/>
                  <a:gd name="T106" fmla="*/ 3118 w 20000"/>
                  <a:gd name="T107" fmla="*/ 18791 h 20000"/>
                  <a:gd name="T108" fmla="*/ 2091 w 20000"/>
                  <a:gd name="T109" fmla="*/ 19078 h 20000"/>
                  <a:gd name="T110" fmla="*/ 1832 w 20000"/>
                  <a:gd name="T111" fmla="*/ 16886 h 20000"/>
                  <a:gd name="T112" fmla="*/ 455 w 20000"/>
                  <a:gd name="T113" fmla="*/ 13745 h 20000"/>
                  <a:gd name="T114" fmla="*/ 313 w 20000"/>
                  <a:gd name="T115" fmla="*/ 12332 h 20000"/>
                  <a:gd name="T116" fmla="*/ 276 w 20000"/>
                  <a:gd name="T117" fmla="*/ 99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138" y="7702"/>
                    </a:moveTo>
                    <a:lnTo>
                      <a:pt x="192" y="7702"/>
                    </a:lnTo>
                    <a:lnTo>
                      <a:pt x="259" y="7702"/>
                    </a:lnTo>
                    <a:lnTo>
                      <a:pt x="226" y="7661"/>
                    </a:lnTo>
                    <a:lnTo>
                      <a:pt x="488" y="7661"/>
                    </a:lnTo>
                    <a:lnTo>
                      <a:pt x="401" y="7702"/>
                    </a:lnTo>
                    <a:lnTo>
                      <a:pt x="542" y="7771"/>
                    </a:lnTo>
                    <a:lnTo>
                      <a:pt x="542" y="7948"/>
                    </a:lnTo>
                    <a:lnTo>
                      <a:pt x="556" y="7812"/>
                    </a:lnTo>
                    <a:lnTo>
                      <a:pt x="785" y="7812"/>
                    </a:lnTo>
                    <a:lnTo>
                      <a:pt x="1377" y="8262"/>
                    </a:lnTo>
                    <a:lnTo>
                      <a:pt x="1603" y="8692"/>
                    </a:lnTo>
                    <a:lnTo>
                      <a:pt x="1465" y="9082"/>
                    </a:lnTo>
                    <a:lnTo>
                      <a:pt x="1273" y="9252"/>
                    </a:lnTo>
                    <a:lnTo>
                      <a:pt x="488" y="8795"/>
                    </a:lnTo>
                    <a:lnTo>
                      <a:pt x="872" y="9430"/>
                    </a:lnTo>
                    <a:lnTo>
                      <a:pt x="852" y="9710"/>
                    </a:lnTo>
                    <a:lnTo>
                      <a:pt x="923" y="10174"/>
                    </a:lnTo>
                    <a:lnTo>
                      <a:pt x="1273" y="10454"/>
                    </a:lnTo>
                    <a:lnTo>
                      <a:pt x="1360" y="10386"/>
                    </a:lnTo>
                    <a:lnTo>
                      <a:pt x="1290" y="10174"/>
                    </a:lnTo>
                    <a:lnTo>
                      <a:pt x="1219" y="10099"/>
                    </a:lnTo>
                    <a:lnTo>
                      <a:pt x="1094" y="9894"/>
                    </a:lnTo>
                    <a:lnTo>
                      <a:pt x="1148" y="9710"/>
                    </a:lnTo>
                    <a:lnTo>
                      <a:pt x="1323" y="9894"/>
                    </a:lnTo>
                    <a:lnTo>
                      <a:pt x="1323" y="9990"/>
                    </a:lnTo>
                    <a:lnTo>
                      <a:pt x="1636" y="9990"/>
                    </a:lnTo>
                    <a:lnTo>
                      <a:pt x="1498" y="9464"/>
                    </a:lnTo>
                    <a:lnTo>
                      <a:pt x="1586" y="9252"/>
                    </a:lnTo>
                    <a:lnTo>
                      <a:pt x="1727" y="8972"/>
                    </a:lnTo>
                    <a:lnTo>
                      <a:pt x="1879" y="8972"/>
                    </a:lnTo>
                    <a:lnTo>
                      <a:pt x="2003" y="9150"/>
                    </a:lnTo>
                    <a:lnTo>
                      <a:pt x="2003" y="8720"/>
                    </a:lnTo>
                    <a:lnTo>
                      <a:pt x="1879" y="8549"/>
                    </a:lnTo>
                    <a:lnTo>
                      <a:pt x="1865" y="8051"/>
                    </a:lnTo>
                    <a:lnTo>
                      <a:pt x="1741" y="7948"/>
                    </a:lnTo>
                    <a:lnTo>
                      <a:pt x="2091" y="7982"/>
                    </a:lnTo>
                    <a:lnTo>
                      <a:pt x="2195" y="8228"/>
                    </a:lnTo>
                    <a:lnTo>
                      <a:pt x="2024" y="8330"/>
                    </a:lnTo>
                    <a:lnTo>
                      <a:pt x="2024" y="8440"/>
                    </a:lnTo>
                    <a:lnTo>
                      <a:pt x="2229" y="8720"/>
                    </a:lnTo>
                    <a:lnTo>
                      <a:pt x="2370" y="8617"/>
                    </a:lnTo>
                    <a:lnTo>
                      <a:pt x="2370" y="8330"/>
                    </a:lnTo>
                    <a:lnTo>
                      <a:pt x="2475" y="8262"/>
                    </a:lnTo>
                    <a:lnTo>
                      <a:pt x="2424" y="8160"/>
                    </a:lnTo>
                    <a:lnTo>
                      <a:pt x="2788" y="7771"/>
                    </a:lnTo>
                    <a:lnTo>
                      <a:pt x="2842" y="7948"/>
                    </a:lnTo>
                    <a:lnTo>
                      <a:pt x="2875" y="7812"/>
                    </a:lnTo>
                    <a:lnTo>
                      <a:pt x="2822" y="7771"/>
                    </a:lnTo>
                    <a:lnTo>
                      <a:pt x="2980" y="7525"/>
                    </a:lnTo>
                    <a:lnTo>
                      <a:pt x="3051" y="7525"/>
                    </a:lnTo>
                    <a:lnTo>
                      <a:pt x="2966" y="7593"/>
                    </a:lnTo>
                    <a:lnTo>
                      <a:pt x="3013" y="7812"/>
                    </a:lnTo>
                    <a:lnTo>
                      <a:pt x="2966" y="7982"/>
                    </a:lnTo>
                    <a:lnTo>
                      <a:pt x="2980" y="8051"/>
                    </a:lnTo>
                    <a:lnTo>
                      <a:pt x="3104" y="7880"/>
                    </a:lnTo>
                    <a:lnTo>
                      <a:pt x="3155" y="7948"/>
                    </a:lnTo>
                    <a:lnTo>
                      <a:pt x="3155" y="7702"/>
                    </a:lnTo>
                    <a:lnTo>
                      <a:pt x="3242" y="7661"/>
                    </a:lnTo>
                    <a:lnTo>
                      <a:pt x="3380" y="7661"/>
                    </a:lnTo>
                    <a:lnTo>
                      <a:pt x="3606" y="7422"/>
                    </a:lnTo>
                    <a:lnTo>
                      <a:pt x="3660" y="7702"/>
                    </a:lnTo>
                    <a:lnTo>
                      <a:pt x="3710" y="7702"/>
                    </a:lnTo>
                    <a:lnTo>
                      <a:pt x="3710" y="7525"/>
                    </a:lnTo>
                    <a:lnTo>
                      <a:pt x="3801" y="7422"/>
                    </a:lnTo>
                    <a:lnTo>
                      <a:pt x="3660" y="7060"/>
                    </a:lnTo>
                    <a:lnTo>
                      <a:pt x="3697" y="6958"/>
                    </a:lnTo>
                    <a:lnTo>
                      <a:pt x="4219" y="7060"/>
                    </a:lnTo>
                    <a:lnTo>
                      <a:pt x="4569" y="7238"/>
                    </a:lnTo>
                    <a:lnTo>
                      <a:pt x="4758" y="7525"/>
                    </a:lnTo>
                    <a:lnTo>
                      <a:pt x="4791" y="7129"/>
                    </a:lnTo>
                    <a:lnTo>
                      <a:pt x="4586" y="7033"/>
                    </a:lnTo>
                    <a:lnTo>
                      <a:pt x="4586" y="6849"/>
                    </a:lnTo>
                    <a:lnTo>
                      <a:pt x="4428" y="6849"/>
                    </a:lnTo>
                    <a:lnTo>
                      <a:pt x="4391" y="6671"/>
                    </a:lnTo>
                    <a:lnTo>
                      <a:pt x="4428" y="6671"/>
                    </a:lnTo>
                    <a:lnTo>
                      <a:pt x="4444" y="6637"/>
                    </a:lnTo>
                    <a:lnTo>
                      <a:pt x="4377" y="6221"/>
                    </a:lnTo>
                    <a:lnTo>
                      <a:pt x="4306" y="6323"/>
                    </a:lnTo>
                    <a:lnTo>
                      <a:pt x="4306" y="6111"/>
                    </a:lnTo>
                    <a:lnTo>
                      <a:pt x="4253" y="6180"/>
                    </a:lnTo>
                    <a:lnTo>
                      <a:pt x="4290" y="6002"/>
                    </a:lnTo>
                    <a:lnTo>
                      <a:pt x="4377" y="5900"/>
                    </a:lnTo>
                    <a:lnTo>
                      <a:pt x="4391" y="5579"/>
                    </a:lnTo>
                    <a:lnTo>
                      <a:pt x="4343" y="5012"/>
                    </a:lnTo>
                    <a:lnTo>
                      <a:pt x="4758" y="5012"/>
                    </a:lnTo>
                    <a:lnTo>
                      <a:pt x="4811" y="5299"/>
                    </a:lnTo>
                    <a:lnTo>
                      <a:pt x="4811" y="5722"/>
                    </a:lnTo>
                    <a:lnTo>
                      <a:pt x="4983" y="6043"/>
                    </a:lnTo>
                    <a:lnTo>
                      <a:pt x="5212" y="7060"/>
                    </a:lnTo>
                    <a:lnTo>
                      <a:pt x="5387" y="7204"/>
                    </a:lnTo>
                    <a:lnTo>
                      <a:pt x="5316" y="7313"/>
                    </a:lnTo>
                    <a:lnTo>
                      <a:pt x="5387" y="7593"/>
                    </a:lnTo>
                    <a:lnTo>
                      <a:pt x="5266" y="7982"/>
                    </a:lnTo>
                    <a:lnTo>
                      <a:pt x="5300" y="8119"/>
                    </a:lnTo>
                    <a:lnTo>
                      <a:pt x="5178" y="8228"/>
                    </a:lnTo>
                    <a:lnTo>
                      <a:pt x="5074" y="8051"/>
                    </a:lnTo>
                    <a:lnTo>
                      <a:pt x="4933" y="8160"/>
                    </a:lnTo>
                    <a:lnTo>
                      <a:pt x="5162" y="8330"/>
                    </a:lnTo>
                    <a:lnTo>
                      <a:pt x="5438" y="8262"/>
                    </a:lnTo>
                    <a:lnTo>
                      <a:pt x="5404" y="8119"/>
                    </a:lnTo>
                    <a:lnTo>
                      <a:pt x="5542" y="7880"/>
                    </a:lnTo>
                    <a:lnTo>
                      <a:pt x="5576" y="7525"/>
                    </a:lnTo>
                    <a:lnTo>
                      <a:pt x="5438" y="7060"/>
                    </a:lnTo>
                    <a:lnTo>
                      <a:pt x="5667" y="6849"/>
                    </a:lnTo>
                    <a:lnTo>
                      <a:pt x="5805" y="7033"/>
                    </a:lnTo>
                    <a:lnTo>
                      <a:pt x="5859" y="7422"/>
                    </a:lnTo>
                    <a:lnTo>
                      <a:pt x="6118" y="7491"/>
                    </a:lnTo>
                    <a:lnTo>
                      <a:pt x="5912" y="7422"/>
                    </a:lnTo>
                    <a:lnTo>
                      <a:pt x="5892" y="7204"/>
                    </a:lnTo>
                    <a:lnTo>
                      <a:pt x="5912" y="7129"/>
                    </a:lnTo>
                    <a:lnTo>
                      <a:pt x="5805" y="6849"/>
                    </a:lnTo>
                    <a:lnTo>
                      <a:pt x="5525" y="6740"/>
                    </a:lnTo>
                    <a:lnTo>
                      <a:pt x="5316" y="6924"/>
                    </a:lnTo>
                    <a:lnTo>
                      <a:pt x="5212" y="6501"/>
                    </a:lnTo>
                    <a:lnTo>
                      <a:pt x="5178" y="6002"/>
                    </a:lnTo>
                    <a:lnTo>
                      <a:pt x="4949" y="5722"/>
                    </a:lnTo>
                    <a:lnTo>
                      <a:pt x="4949" y="5469"/>
                    </a:lnTo>
                    <a:lnTo>
                      <a:pt x="5037" y="5367"/>
                    </a:lnTo>
                    <a:lnTo>
                      <a:pt x="4983" y="4841"/>
                    </a:lnTo>
                    <a:lnTo>
                      <a:pt x="5162" y="5189"/>
                    </a:lnTo>
                    <a:lnTo>
                      <a:pt x="5162" y="5442"/>
                    </a:lnTo>
                    <a:lnTo>
                      <a:pt x="5212" y="5654"/>
                    </a:lnTo>
                    <a:lnTo>
                      <a:pt x="5316" y="5722"/>
                    </a:lnTo>
                    <a:lnTo>
                      <a:pt x="5721" y="5831"/>
                    </a:lnTo>
                    <a:lnTo>
                      <a:pt x="5246" y="5367"/>
                    </a:lnTo>
                    <a:lnTo>
                      <a:pt x="5266" y="5258"/>
                    </a:lnTo>
                    <a:lnTo>
                      <a:pt x="5492" y="5258"/>
                    </a:lnTo>
                    <a:lnTo>
                      <a:pt x="5387" y="5189"/>
                    </a:lnTo>
                    <a:lnTo>
                      <a:pt x="5438" y="5012"/>
                    </a:lnTo>
                    <a:lnTo>
                      <a:pt x="5542" y="4978"/>
                    </a:lnTo>
                    <a:lnTo>
                      <a:pt x="5859" y="5189"/>
                    </a:lnTo>
                    <a:lnTo>
                      <a:pt x="6084" y="5189"/>
                    </a:lnTo>
                    <a:lnTo>
                      <a:pt x="6084" y="5367"/>
                    </a:lnTo>
                    <a:lnTo>
                      <a:pt x="6030" y="5442"/>
                    </a:lnTo>
                    <a:lnTo>
                      <a:pt x="6051" y="5579"/>
                    </a:lnTo>
                    <a:lnTo>
                      <a:pt x="6135" y="5756"/>
                    </a:lnTo>
                    <a:lnTo>
                      <a:pt x="6135" y="5654"/>
                    </a:lnTo>
                    <a:lnTo>
                      <a:pt x="6222" y="6043"/>
                    </a:lnTo>
                    <a:lnTo>
                      <a:pt x="6347" y="6111"/>
                    </a:lnTo>
                    <a:lnTo>
                      <a:pt x="6505" y="6221"/>
                    </a:lnTo>
                    <a:lnTo>
                      <a:pt x="6572" y="6111"/>
                    </a:lnTo>
                    <a:lnTo>
                      <a:pt x="6347" y="6043"/>
                    </a:lnTo>
                    <a:lnTo>
                      <a:pt x="6259" y="5934"/>
                    </a:lnTo>
                    <a:lnTo>
                      <a:pt x="6313" y="5756"/>
                    </a:lnTo>
                    <a:lnTo>
                      <a:pt x="6135" y="5469"/>
                    </a:lnTo>
                    <a:lnTo>
                      <a:pt x="6084" y="5162"/>
                    </a:lnTo>
                    <a:lnTo>
                      <a:pt x="5980" y="5087"/>
                    </a:lnTo>
                    <a:lnTo>
                      <a:pt x="5892" y="4910"/>
                    </a:lnTo>
                    <a:lnTo>
                      <a:pt x="5684" y="4841"/>
                    </a:lnTo>
                    <a:lnTo>
                      <a:pt x="5542" y="4561"/>
                    </a:lnTo>
                    <a:lnTo>
                      <a:pt x="5492" y="4268"/>
                    </a:lnTo>
                    <a:lnTo>
                      <a:pt x="6135" y="3878"/>
                    </a:lnTo>
                    <a:lnTo>
                      <a:pt x="6168" y="3960"/>
                    </a:lnTo>
                    <a:lnTo>
                      <a:pt x="6135" y="4063"/>
                    </a:lnTo>
                    <a:lnTo>
                      <a:pt x="6222" y="3988"/>
                    </a:lnTo>
                    <a:lnTo>
                      <a:pt x="6118" y="3708"/>
                    </a:lnTo>
                    <a:lnTo>
                      <a:pt x="6222" y="3776"/>
                    </a:lnTo>
                    <a:lnTo>
                      <a:pt x="6209" y="3708"/>
                    </a:lnTo>
                    <a:lnTo>
                      <a:pt x="5946" y="3598"/>
                    </a:lnTo>
                    <a:lnTo>
                      <a:pt x="6051" y="3496"/>
                    </a:lnTo>
                    <a:lnTo>
                      <a:pt x="5912" y="3428"/>
                    </a:lnTo>
                    <a:lnTo>
                      <a:pt x="5912" y="3319"/>
                    </a:lnTo>
                    <a:lnTo>
                      <a:pt x="5980" y="3319"/>
                    </a:lnTo>
                    <a:lnTo>
                      <a:pt x="5997" y="3141"/>
                    </a:lnTo>
                    <a:lnTo>
                      <a:pt x="6051" y="3141"/>
                    </a:lnTo>
                    <a:lnTo>
                      <a:pt x="5912" y="3073"/>
                    </a:lnTo>
                    <a:lnTo>
                      <a:pt x="6051" y="3073"/>
                    </a:lnTo>
                    <a:lnTo>
                      <a:pt x="6084" y="2684"/>
                    </a:lnTo>
                    <a:lnTo>
                      <a:pt x="6118" y="2786"/>
                    </a:lnTo>
                    <a:lnTo>
                      <a:pt x="6209" y="2608"/>
                    </a:lnTo>
                    <a:lnTo>
                      <a:pt x="6397" y="2581"/>
                    </a:lnTo>
                    <a:lnTo>
                      <a:pt x="6397" y="2472"/>
                    </a:lnTo>
                    <a:lnTo>
                      <a:pt x="6589" y="2301"/>
                    </a:lnTo>
                    <a:lnTo>
                      <a:pt x="6451" y="2219"/>
                    </a:lnTo>
                    <a:lnTo>
                      <a:pt x="6623" y="2117"/>
                    </a:lnTo>
                    <a:lnTo>
                      <a:pt x="6801" y="2048"/>
                    </a:lnTo>
                    <a:lnTo>
                      <a:pt x="6801" y="2219"/>
                    </a:lnTo>
                    <a:lnTo>
                      <a:pt x="6902" y="2117"/>
                    </a:lnTo>
                    <a:lnTo>
                      <a:pt x="6902" y="2219"/>
                    </a:lnTo>
                    <a:lnTo>
                      <a:pt x="6953" y="2048"/>
                    </a:lnTo>
                    <a:lnTo>
                      <a:pt x="6993" y="2048"/>
                    </a:lnTo>
                    <a:lnTo>
                      <a:pt x="7007" y="1728"/>
                    </a:lnTo>
                    <a:lnTo>
                      <a:pt x="7044" y="1871"/>
                    </a:lnTo>
                    <a:lnTo>
                      <a:pt x="7131" y="1837"/>
                    </a:lnTo>
                    <a:lnTo>
                      <a:pt x="6902" y="1482"/>
                    </a:lnTo>
                    <a:lnTo>
                      <a:pt x="7044" y="1550"/>
                    </a:lnTo>
                    <a:lnTo>
                      <a:pt x="7165" y="1407"/>
                    </a:lnTo>
                    <a:lnTo>
                      <a:pt x="7357" y="1482"/>
                    </a:lnTo>
                    <a:lnTo>
                      <a:pt x="7357" y="1202"/>
                    </a:lnTo>
                    <a:lnTo>
                      <a:pt x="7236" y="1379"/>
                    </a:lnTo>
                    <a:lnTo>
                      <a:pt x="7165" y="1311"/>
                    </a:lnTo>
                    <a:lnTo>
                      <a:pt x="7044" y="1093"/>
                    </a:lnTo>
                    <a:lnTo>
                      <a:pt x="7007" y="457"/>
                    </a:lnTo>
                    <a:lnTo>
                      <a:pt x="7077" y="348"/>
                    </a:lnTo>
                    <a:lnTo>
                      <a:pt x="7215" y="389"/>
                    </a:lnTo>
                    <a:lnTo>
                      <a:pt x="7269" y="560"/>
                    </a:lnTo>
                    <a:lnTo>
                      <a:pt x="7182" y="737"/>
                    </a:lnTo>
                    <a:lnTo>
                      <a:pt x="7303" y="813"/>
                    </a:lnTo>
                    <a:lnTo>
                      <a:pt x="7323" y="737"/>
                    </a:lnTo>
                    <a:lnTo>
                      <a:pt x="7374" y="813"/>
                    </a:lnTo>
                    <a:lnTo>
                      <a:pt x="7407" y="990"/>
                    </a:lnTo>
                    <a:lnTo>
                      <a:pt x="7461" y="847"/>
                    </a:lnTo>
                    <a:lnTo>
                      <a:pt x="7549" y="990"/>
                    </a:lnTo>
                    <a:lnTo>
                      <a:pt x="7586" y="1311"/>
                    </a:lnTo>
                    <a:lnTo>
                      <a:pt x="7670" y="1202"/>
                    </a:lnTo>
                    <a:lnTo>
                      <a:pt x="7636" y="1017"/>
                    </a:lnTo>
                    <a:lnTo>
                      <a:pt x="7862" y="847"/>
                    </a:lnTo>
                    <a:lnTo>
                      <a:pt x="7949" y="990"/>
                    </a:lnTo>
                    <a:lnTo>
                      <a:pt x="7949" y="847"/>
                    </a:lnTo>
                    <a:lnTo>
                      <a:pt x="8141" y="737"/>
                    </a:lnTo>
                    <a:lnTo>
                      <a:pt x="8455" y="915"/>
                    </a:lnTo>
                    <a:lnTo>
                      <a:pt x="8508" y="1017"/>
                    </a:lnTo>
                    <a:lnTo>
                      <a:pt x="8508" y="915"/>
                    </a:lnTo>
                    <a:lnTo>
                      <a:pt x="8680" y="1093"/>
                    </a:lnTo>
                    <a:lnTo>
                      <a:pt x="8700" y="1379"/>
                    </a:lnTo>
                    <a:lnTo>
                      <a:pt x="8542" y="1270"/>
                    </a:lnTo>
                    <a:lnTo>
                      <a:pt x="8630" y="1482"/>
                    </a:lnTo>
                    <a:lnTo>
                      <a:pt x="8680" y="1407"/>
                    </a:lnTo>
                    <a:lnTo>
                      <a:pt x="8785" y="1550"/>
                    </a:lnTo>
                    <a:lnTo>
                      <a:pt x="8771" y="1939"/>
                    </a:lnTo>
                    <a:lnTo>
                      <a:pt x="8785" y="2008"/>
                    </a:lnTo>
                    <a:lnTo>
                      <a:pt x="8700" y="2048"/>
                    </a:lnTo>
                    <a:lnTo>
                      <a:pt x="8680" y="2328"/>
                    </a:lnTo>
                    <a:lnTo>
                      <a:pt x="8542" y="2397"/>
                    </a:lnTo>
                    <a:lnTo>
                      <a:pt x="8630" y="2472"/>
                    </a:lnTo>
                    <a:lnTo>
                      <a:pt x="8404" y="2970"/>
                    </a:lnTo>
                    <a:lnTo>
                      <a:pt x="8316" y="2970"/>
                    </a:lnTo>
                    <a:lnTo>
                      <a:pt x="8333" y="3039"/>
                    </a:lnTo>
                    <a:lnTo>
                      <a:pt x="8316" y="3530"/>
                    </a:lnTo>
                    <a:lnTo>
                      <a:pt x="8475" y="3428"/>
                    </a:lnTo>
                    <a:lnTo>
                      <a:pt x="8404" y="3360"/>
                    </a:lnTo>
                    <a:lnTo>
                      <a:pt x="8542" y="3141"/>
                    </a:lnTo>
                    <a:lnTo>
                      <a:pt x="8562" y="3209"/>
                    </a:lnTo>
                    <a:lnTo>
                      <a:pt x="8562" y="3073"/>
                    </a:lnTo>
                    <a:lnTo>
                      <a:pt x="8700" y="3039"/>
                    </a:lnTo>
                    <a:lnTo>
                      <a:pt x="8680" y="2895"/>
                    </a:lnTo>
                    <a:lnTo>
                      <a:pt x="8818" y="2970"/>
                    </a:lnTo>
                    <a:lnTo>
                      <a:pt x="8963" y="2684"/>
                    </a:lnTo>
                    <a:lnTo>
                      <a:pt x="8818" y="2684"/>
                    </a:lnTo>
                    <a:lnTo>
                      <a:pt x="8700" y="2786"/>
                    </a:lnTo>
                    <a:lnTo>
                      <a:pt x="8680" y="2684"/>
                    </a:lnTo>
                    <a:lnTo>
                      <a:pt x="8700" y="2506"/>
                    </a:lnTo>
                    <a:lnTo>
                      <a:pt x="8963" y="2472"/>
                    </a:lnTo>
                    <a:lnTo>
                      <a:pt x="8963" y="2581"/>
                    </a:lnTo>
                    <a:lnTo>
                      <a:pt x="9101" y="2581"/>
                    </a:lnTo>
                    <a:lnTo>
                      <a:pt x="9101" y="2472"/>
                    </a:lnTo>
                    <a:lnTo>
                      <a:pt x="9205" y="2581"/>
                    </a:lnTo>
                    <a:lnTo>
                      <a:pt x="9327" y="2895"/>
                    </a:lnTo>
                    <a:lnTo>
                      <a:pt x="9380" y="2752"/>
                    </a:lnTo>
                    <a:lnTo>
                      <a:pt x="9273" y="2608"/>
                    </a:lnTo>
                    <a:lnTo>
                      <a:pt x="9414" y="2506"/>
                    </a:lnTo>
                    <a:lnTo>
                      <a:pt x="9781" y="2328"/>
                    </a:lnTo>
                    <a:lnTo>
                      <a:pt x="9798" y="2397"/>
                    </a:lnTo>
                    <a:lnTo>
                      <a:pt x="9747" y="2472"/>
                    </a:lnTo>
                    <a:lnTo>
                      <a:pt x="9781" y="2581"/>
                    </a:lnTo>
                    <a:lnTo>
                      <a:pt x="10007" y="2581"/>
                    </a:lnTo>
                    <a:lnTo>
                      <a:pt x="9973" y="2506"/>
                    </a:lnTo>
                    <a:lnTo>
                      <a:pt x="10057" y="2472"/>
                    </a:lnTo>
                    <a:lnTo>
                      <a:pt x="10236" y="2397"/>
                    </a:lnTo>
                    <a:lnTo>
                      <a:pt x="10340" y="2151"/>
                    </a:lnTo>
                    <a:lnTo>
                      <a:pt x="10148" y="2048"/>
                    </a:lnTo>
                    <a:lnTo>
                      <a:pt x="10148" y="1871"/>
                    </a:lnTo>
                    <a:lnTo>
                      <a:pt x="10202" y="1939"/>
                    </a:lnTo>
                    <a:lnTo>
                      <a:pt x="10202" y="1837"/>
                    </a:lnTo>
                    <a:lnTo>
                      <a:pt x="10286" y="1728"/>
                    </a:lnTo>
                    <a:lnTo>
                      <a:pt x="10428" y="1837"/>
                    </a:lnTo>
                    <a:lnTo>
                      <a:pt x="10933" y="1769"/>
                    </a:lnTo>
                    <a:lnTo>
                      <a:pt x="10966" y="1871"/>
                    </a:lnTo>
                    <a:lnTo>
                      <a:pt x="10879" y="2008"/>
                    </a:lnTo>
                    <a:lnTo>
                      <a:pt x="10896" y="2117"/>
                    </a:lnTo>
                    <a:lnTo>
                      <a:pt x="10791" y="2397"/>
                    </a:lnTo>
                    <a:lnTo>
                      <a:pt x="10896" y="2608"/>
                    </a:lnTo>
                    <a:lnTo>
                      <a:pt x="10966" y="2608"/>
                    </a:lnTo>
                    <a:lnTo>
                      <a:pt x="10879" y="2397"/>
                    </a:lnTo>
                    <a:lnTo>
                      <a:pt x="11246" y="2608"/>
                    </a:lnTo>
                    <a:lnTo>
                      <a:pt x="11246" y="2472"/>
                    </a:lnTo>
                    <a:lnTo>
                      <a:pt x="11350" y="2581"/>
                    </a:lnTo>
                    <a:lnTo>
                      <a:pt x="11296" y="2684"/>
                    </a:lnTo>
                    <a:lnTo>
                      <a:pt x="11751" y="3039"/>
                    </a:lnTo>
                    <a:lnTo>
                      <a:pt x="11785" y="2970"/>
                    </a:lnTo>
                    <a:lnTo>
                      <a:pt x="11751" y="2608"/>
                    </a:lnTo>
                    <a:lnTo>
                      <a:pt x="11626" y="2219"/>
                    </a:lnTo>
                    <a:lnTo>
                      <a:pt x="11889" y="2472"/>
                    </a:lnTo>
                    <a:lnTo>
                      <a:pt x="11993" y="2397"/>
                    </a:lnTo>
                    <a:lnTo>
                      <a:pt x="12081" y="2151"/>
                    </a:lnTo>
                    <a:lnTo>
                      <a:pt x="12431" y="2301"/>
                    </a:lnTo>
                    <a:lnTo>
                      <a:pt x="12364" y="2048"/>
                    </a:lnTo>
                    <a:lnTo>
                      <a:pt x="12397" y="1939"/>
                    </a:lnTo>
                    <a:lnTo>
                      <a:pt x="12515" y="2048"/>
                    </a:lnTo>
                    <a:lnTo>
                      <a:pt x="12569" y="1871"/>
                    </a:lnTo>
                    <a:lnTo>
                      <a:pt x="12397" y="1769"/>
                    </a:lnTo>
                    <a:lnTo>
                      <a:pt x="12431" y="1728"/>
                    </a:lnTo>
                    <a:lnTo>
                      <a:pt x="12364" y="1591"/>
                    </a:lnTo>
                    <a:lnTo>
                      <a:pt x="12310" y="1659"/>
                    </a:lnTo>
                    <a:lnTo>
                      <a:pt x="12256" y="1482"/>
                    </a:lnTo>
                    <a:lnTo>
                      <a:pt x="12397" y="1379"/>
                    </a:lnTo>
                    <a:lnTo>
                      <a:pt x="12256" y="1127"/>
                    </a:lnTo>
                    <a:lnTo>
                      <a:pt x="12256" y="1093"/>
                    </a:lnTo>
                    <a:lnTo>
                      <a:pt x="13040" y="990"/>
                    </a:lnTo>
                    <a:lnTo>
                      <a:pt x="13108" y="1093"/>
                    </a:lnTo>
                    <a:lnTo>
                      <a:pt x="12936" y="1017"/>
                    </a:lnTo>
                    <a:lnTo>
                      <a:pt x="12902" y="1270"/>
                    </a:lnTo>
                    <a:lnTo>
                      <a:pt x="13024" y="1127"/>
                    </a:lnTo>
                    <a:lnTo>
                      <a:pt x="13074" y="1270"/>
                    </a:lnTo>
                    <a:lnTo>
                      <a:pt x="12990" y="1311"/>
                    </a:lnTo>
                    <a:lnTo>
                      <a:pt x="13108" y="1482"/>
                    </a:lnTo>
                    <a:lnTo>
                      <a:pt x="13128" y="915"/>
                    </a:lnTo>
                    <a:lnTo>
                      <a:pt x="13444" y="847"/>
                    </a:lnTo>
                    <a:lnTo>
                      <a:pt x="13545" y="990"/>
                    </a:lnTo>
                    <a:lnTo>
                      <a:pt x="13545" y="1017"/>
                    </a:lnTo>
                    <a:lnTo>
                      <a:pt x="13407" y="990"/>
                    </a:lnTo>
                    <a:lnTo>
                      <a:pt x="13444" y="1093"/>
                    </a:lnTo>
                    <a:lnTo>
                      <a:pt x="13754" y="1202"/>
                    </a:lnTo>
                    <a:lnTo>
                      <a:pt x="13774" y="1379"/>
                    </a:lnTo>
                    <a:lnTo>
                      <a:pt x="13808" y="1202"/>
                    </a:lnTo>
                    <a:lnTo>
                      <a:pt x="14051" y="1311"/>
                    </a:lnTo>
                    <a:lnTo>
                      <a:pt x="14000" y="1379"/>
                    </a:lnTo>
                    <a:lnTo>
                      <a:pt x="14175" y="1407"/>
                    </a:lnTo>
                    <a:lnTo>
                      <a:pt x="14505" y="915"/>
                    </a:lnTo>
                    <a:lnTo>
                      <a:pt x="14785" y="847"/>
                    </a:lnTo>
                    <a:lnTo>
                      <a:pt x="15081" y="990"/>
                    </a:lnTo>
                    <a:lnTo>
                      <a:pt x="15273" y="1407"/>
                    </a:lnTo>
                    <a:lnTo>
                      <a:pt x="15502" y="1550"/>
                    </a:lnTo>
                    <a:lnTo>
                      <a:pt x="15502" y="1379"/>
                    </a:lnTo>
                    <a:lnTo>
                      <a:pt x="15586" y="1550"/>
                    </a:lnTo>
                    <a:lnTo>
                      <a:pt x="15586" y="1311"/>
                    </a:lnTo>
                    <a:lnTo>
                      <a:pt x="15778" y="1093"/>
                    </a:lnTo>
                    <a:lnTo>
                      <a:pt x="15916" y="1127"/>
                    </a:lnTo>
                    <a:lnTo>
                      <a:pt x="16145" y="1017"/>
                    </a:lnTo>
                    <a:lnTo>
                      <a:pt x="16178" y="813"/>
                    </a:lnTo>
                    <a:lnTo>
                      <a:pt x="16404" y="1017"/>
                    </a:lnTo>
                    <a:lnTo>
                      <a:pt x="16791" y="1127"/>
                    </a:lnTo>
                    <a:lnTo>
                      <a:pt x="16700" y="847"/>
                    </a:lnTo>
                    <a:lnTo>
                      <a:pt x="16562" y="635"/>
                    </a:lnTo>
                    <a:lnTo>
                      <a:pt x="16475" y="669"/>
                    </a:lnTo>
                    <a:lnTo>
                      <a:pt x="16475" y="526"/>
                    </a:lnTo>
                    <a:lnTo>
                      <a:pt x="16370" y="280"/>
                    </a:lnTo>
                    <a:lnTo>
                      <a:pt x="16771" y="280"/>
                    </a:lnTo>
                    <a:lnTo>
                      <a:pt x="17017" y="0"/>
                    </a:lnTo>
                    <a:lnTo>
                      <a:pt x="17101" y="68"/>
                    </a:lnTo>
                    <a:lnTo>
                      <a:pt x="17067" y="0"/>
                    </a:lnTo>
                    <a:lnTo>
                      <a:pt x="17801" y="178"/>
                    </a:lnTo>
                    <a:lnTo>
                      <a:pt x="17835" y="68"/>
                    </a:lnTo>
                    <a:lnTo>
                      <a:pt x="18098" y="280"/>
                    </a:lnTo>
                    <a:lnTo>
                      <a:pt x="18532" y="457"/>
                    </a:lnTo>
                    <a:lnTo>
                      <a:pt x="18670" y="635"/>
                    </a:lnTo>
                    <a:lnTo>
                      <a:pt x="18657" y="526"/>
                    </a:lnTo>
                    <a:lnTo>
                      <a:pt x="18882" y="669"/>
                    </a:lnTo>
                    <a:lnTo>
                      <a:pt x="19074" y="1093"/>
                    </a:lnTo>
                    <a:lnTo>
                      <a:pt x="19249" y="1270"/>
                    </a:lnTo>
                    <a:lnTo>
                      <a:pt x="19249" y="1127"/>
                    </a:lnTo>
                    <a:lnTo>
                      <a:pt x="19303" y="1311"/>
                    </a:lnTo>
                    <a:lnTo>
                      <a:pt x="19249" y="1017"/>
                    </a:lnTo>
                    <a:lnTo>
                      <a:pt x="19020" y="737"/>
                    </a:lnTo>
                    <a:lnTo>
                      <a:pt x="19108" y="737"/>
                    </a:lnTo>
                    <a:lnTo>
                      <a:pt x="19212" y="813"/>
                    </a:lnTo>
                    <a:lnTo>
                      <a:pt x="19266" y="737"/>
                    </a:lnTo>
                    <a:lnTo>
                      <a:pt x="19212" y="669"/>
                    </a:lnTo>
                    <a:lnTo>
                      <a:pt x="19354" y="635"/>
                    </a:lnTo>
                    <a:lnTo>
                      <a:pt x="19859" y="990"/>
                    </a:lnTo>
                    <a:lnTo>
                      <a:pt x="19805" y="1270"/>
                    </a:lnTo>
                    <a:lnTo>
                      <a:pt x="19896" y="1482"/>
                    </a:lnTo>
                    <a:lnTo>
                      <a:pt x="19700" y="1311"/>
                    </a:lnTo>
                    <a:lnTo>
                      <a:pt x="19859" y="1659"/>
                    </a:lnTo>
                    <a:lnTo>
                      <a:pt x="19579" y="1591"/>
                    </a:lnTo>
                    <a:lnTo>
                      <a:pt x="19717" y="1728"/>
                    </a:lnTo>
                    <a:lnTo>
                      <a:pt x="19751" y="1837"/>
                    </a:lnTo>
                    <a:lnTo>
                      <a:pt x="19717" y="1939"/>
                    </a:lnTo>
                    <a:lnTo>
                      <a:pt x="19842" y="2048"/>
                    </a:lnTo>
                    <a:lnTo>
                      <a:pt x="19791" y="2328"/>
                    </a:lnTo>
                    <a:lnTo>
                      <a:pt x="19997" y="2581"/>
                    </a:lnTo>
                    <a:lnTo>
                      <a:pt x="19929" y="2506"/>
                    </a:lnTo>
                    <a:lnTo>
                      <a:pt x="19943" y="2752"/>
                    </a:lnTo>
                    <a:lnTo>
                      <a:pt x="19805" y="2506"/>
                    </a:lnTo>
                    <a:lnTo>
                      <a:pt x="19859" y="2752"/>
                    </a:lnTo>
                    <a:lnTo>
                      <a:pt x="19579" y="2397"/>
                    </a:lnTo>
                    <a:lnTo>
                      <a:pt x="19562" y="2506"/>
                    </a:lnTo>
                    <a:lnTo>
                      <a:pt x="19421" y="2397"/>
                    </a:lnTo>
                    <a:lnTo>
                      <a:pt x="19266" y="2048"/>
                    </a:lnTo>
                    <a:lnTo>
                      <a:pt x="19125" y="2048"/>
                    </a:lnTo>
                    <a:lnTo>
                      <a:pt x="19108" y="1939"/>
                    </a:lnTo>
                    <a:lnTo>
                      <a:pt x="19108" y="2151"/>
                    </a:lnTo>
                    <a:lnTo>
                      <a:pt x="18966" y="2219"/>
                    </a:lnTo>
                    <a:lnTo>
                      <a:pt x="18795" y="1939"/>
                    </a:lnTo>
                    <a:lnTo>
                      <a:pt x="18710" y="1550"/>
                    </a:lnTo>
                    <a:lnTo>
                      <a:pt x="18744" y="1769"/>
                    </a:lnTo>
                    <a:lnTo>
                      <a:pt x="18657" y="1659"/>
                    </a:lnTo>
                    <a:lnTo>
                      <a:pt x="18670" y="1769"/>
                    </a:lnTo>
                    <a:lnTo>
                      <a:pt x="18657" y="1837"/>
                    </a:lnTo>
                    <a:lnTo>
                      <a:pt x="18882" y="2328"/>
                    </a:lnTo>
                    <a:lnTo>
                      <a:pt x="18899" y="2970"/>
                    </a:lnTo>
                    <a:lnTo>
                      <a:pt x="18882" y="3209"/>
                    </a:lnTo>
                    <a:lnTo>
                      <a:pt x="18848" y="3141"/>
                    </a:lnTo>
                    <a:lnTo>
                      <a:pt x="18761" y="3209"/>
                    </a:lnTo>
                    <a:lnTo>
                      <a:pt x="18532" y="2970"/>
                    </a:lnTo>
                    <a:lnTo>
                      <a:pt x="18481" y="3073"/>
                    </a:lnTo>
                    <a:lnTo>
                      <a:pt x="18603" y="3039"/>
                    </a:lnTo>
                    <a:lnTo>
                      <a:pt x="18620" y="3141"/>
                    </a:lnTo>
                    <a:lnTo>
                      <a:pt x="18519" y="3141"/>
                    </a:lnTo>
                    <a:lnTo>
                      <a:pt x="18566" y="3496"/>
                    </a:lnTo>
                    <a:lnTo>
                      <a:pt x="18657" y="3209"/>
                    </a:lnTo>
                    <a:lnTo>
                      <a:pt x="18828" y="3496"/>
                    </a:lnTo>
                    <a:lnTo>
                      <a:pt x="18882" y="3360"/>
                    </a:lnTo>
                    <a:lnTo>
                      <a:pt x="18966" y="3530"/>
                    </a:lnTo>
                    <a:lnTo>
                      <a:pt x="18966" y="3639"/>
                    </a:lnTo>
                    <a:lnTo>
                      <a:pt x="19020" y="3639"/>
                    </a:lnTo>
                    <a:lnTo>
                      <a:pt x="19108" y="3878"/>
                    </a:lnTo>
                    <a:lnTo>
                      <a:pt x="19074" y="3878"/>
                    </a:lnTo>
                    <a:lnTo>
                      <a:pt x="19074" y="3988"/>
                    </a:lnTo>
                    <a:lnTo>
                      <a:pt x="19125" y="3988"/>
                    </a:lnTo>
                    <a:lnTo>
                      <a:pt x="19421" y="4452"/>
                    </a:lnTo>
                    <a:lnTo>
                      <a:pt x="19441" y="4841"/>
                    </a:lnTo>
                    <a:lnTo>
                      <a:pt x="19158" y="4630"/>
                    </a:lnTo>
                    <a:lnTo>
                      <a:pt x="19195" y="4800"/>
                    </a:lnTo>
                    <a:lnTo>
                      <a:pt x="18987" y="5189"/>
                    </a:lnTo>
                    <a:lnTo>
                      <a:pt x="18966" y="5545"/>
                    </a:lnTo>
                    <a:lnTo>
                      <a:pt x="18899" y="5654"/>
                    </a:lnTo>
                    <a:lnTo>
                      <a:pt x="18848" y="5579"/>
                    </a:lnTo>
                    <a:lnTo>
                      <a:pt x="18848" y="5900"/>
                    </a:lnTo>
                    <a:lnTo>
                      <a:pt x="18828" y="5900"/>
                    </a:lnTo>
                    <a:lnTo>
                      <a:pt x="18848" y="5934"/>
                    </a:lnTo>
                    <a:lnTo>
                      <a:pt x="18828" y="6002"/>
                    </a:lnTo>
                    <a:lnTo>
                      <a:pt x="18848" y="6180"/>
                    </a:lnTo>
                    <a:lnTo>
                      <a:pt x="18795" y="6180"/>
                    </a:lnTo>
                    <a:lnTo>
                      <a:pt x="18828" y="6221"/>
                    </a:lnTo>
                    <a:lnTo>
                      <a:pt x="18744" y="6740"/>
                    </a:lnTo>
                    <a:lnTo>
                      <a:pt x="18795" y="7060"/>
                    </a:lnTo>
                    <a:lnTo>
                      <a:pt x="18710" y="7033"/>
                    </a:lnTo>
                    <a:lnTo>
                      <a:pt x="18519" y="6671"/>
                    </a:lnTo>
                    <a:lnTo>
                      <a:pt x="18394" y="6740"/>
                    </a:lnTo>
                    <a:lnTo>
                      <a:pt x="18290" y="6958"/>
                    </a:lnTo>
                    <a:lnTo>
                      <a:pt x="18256" y="7491"/>
                    </a:lnTo>
                    <a:lnTo>
                      <a:pt x="18168" y="6958"/>
                    </a:lnTo>
                    <a:lnTo>
                      <a:pt x="18098" y="7525"/>
                    </a:lnTo>
                    <a:lnTo>
                      <a:pt x="18010" y="7422"/>
                    </a:lnTo>
                    <a:lnTo>
                      <a:pt x="17926" y="7491"/>
                    </a:lnTo>
                    <a:lnTo>
                      <a:pt x="17886" y="7593"/>
                    </a:lnTo>
                    <a:lnTo>
                      <a:pt x="18010" y="8051"/>
                    </a:lnTo>
                    <a:lnTo>
                      <a:pt x="17939" y="8051"/>
                    </a:lnTo>
                    <a:lnTo>
                      <a:pt x="17976" y="8617"/>
                    </a:lnTo>
                    <a:lnTo>
                      <a:pt x="18064" y="8904"/>
                    </a:lnTo>
                    <a:lnTo>
                      <a:pt x="18114" y="8972"/>
                    </a:lnTo>
                    <a:lnTo>
                      <a:pt x="18098" y="8863"/>
                    </a:lnTo>
                    <a:lnTo>
                      <a:pt x="18236" y="8904"/>
                    </a:lnTo>
                    <a:lnTo>
                      <a:pt x="18290" y="9464"/>
                    </a:lnTo>
                    <a:lnTo>
                      <a:pt x="18306" y="9607"/>
                    </a:lnTo>
                    <a:lnTo>
                      <a:pt x="18374" y="9539"/>
                    </a:lnTo>
                    <a:lnTo>
                      <a:pt x="18465" y="9894"/>
                    </a:lnTo>
                    <a:lnTo>
                      <a:pt x="18428" y="9990"/>
                    </a:lnTo>
                    <a:lnTo>
                      <a:pt x="18374" y="9921"/>
                    </a:lnTo>
                    <a:lnTo>
                      <a:pt x="18374" y="9642"/>
                    </a:lnTo>
                    <a:lnTo>
                      <a:pt x="18306" y="9751"/>
                    </a:lnTo>
                    <a:lnTo>
                      <a:pt x="18374" y="10563"/>
                    </a:lnTo>
                    <a:lnTo>
                      <a:pt x="18481" y="10741"/>
                    </a:lnTo>
                    <a:lnTo>
                      <a:pt x="18465" y="10953"/>
                    </a:lnTo>
                    <a:lnTo>
                      <a:pt x="18374" y="10912"/>
                    </a:lnTo>
                    <a:lnTo>
                      <a:pt x="18290" y="11192"/>
                    </a:lnTo>
                    <a:lnTo>
                      <a:pt x="18306" y="11512"/>
                    </a:lnTo>
                    <a:lnTo>
                      <a:pt x="18428" y="11833"/>
                    </a:lnTo>
                    <a:lnTo>
                      <a:pt x="18340" y="11833"/>
                    </a:lnTo>
                    <a:lnTo>
                      <a:pt x="18256" y="11970"/>
                    </a:lnTo>
                    <a:lnTo>
                      <a:pt x="18202" y="11943"/>
                    </a:lnTo>
                    <a:lnTo>
                      <a:pt x="18290" y="12571"/>
                    </a:lnTo>
                    <a:lnTo>
                      <a:pt x="18290" y="12864"/>
                    </a:lnTo>
                    <a:lnTo>
                      <a:pt x="18202" y="13247"/>
                    </a:lnTo>
                    <a:lnTo>
                      <a:pt x="17556" y="10843"/>
                    </a:lnTo>
                    <a:lnTo>
                      <a:pt x="17384" y="9990"/>
                    </a:lnTo>
                    <a:lnTo>
                      <a:pt x="17438" y="9539"/>
                    </a:lnTo>
                    <a:lnTo>
                      <a:pt x="17367" y="9184"/>
                    </a:lnTo>
                    <a:lnTo>
                      <a:pt x="17438" y="9252"/>
                    </a:lnTo>
                    <a:lnTo>
                      <a:pt x="17438" y="9082"/>
                    </a:lnTo>
                    <a:lnTo>
                      <a:pt x="17505" y="9013"/>
                    </a:lnTo>
                    <a:lnTo>
                      <a:pt x="17609" y="7880"/>
                    </a:lnTo>
                    <a:lnTo>
                      <a:pt x="17609" y="7238"/>
                    </a:lnTo>
                    <a:lnTo>
                      <a:pt x="17781" y="6849"/>
                    </a:lnTo>
                    <a:lnTo>
                      <a:pt x="17697" y="6780"/>
                    </a:lnTo>
                    <a:lnTo>
                      <a:pt x="17731" y="6637"/>
                    </a:lnTo>
                    <a:lnTo>
                      <a:pt x="17556" y="5900"/>
                    </a:lnTo>
                    <a:lnTo>
                      <a:pt x="17663" y="5756"/>
                    </a:lnTo>
                    <a:lnTo>
                      <a:pt x="17697" y="5722"/>
                    </a:lnTo>
                    <a:lnTo>
                      <a:pt x="17522" y="5579"/>
                    </a:lnTo>
                    <a:lnTo>
                      <a:pt x="17418" y="5756"/>
                    </a:lnTo>
                    <a:lnTo>
                      <a:pt x="17522" y="6323"/>
                    </a:lnTo>
                    <a:lnTo>
                      <a:pt x="17576" y="6391"/>
                    </a:lnTo>
                    <a:lnTo>
                      <a:pt x="17556" y="6501"/>
                    </a:lnTo>
                    <a:lnTo>
                      <a:pt x="17505" y="6391"/>
                    </a:lnTo>
                    <a:lnTo>
                      <a:pt x="17471" y="6460"/>
                    </a:lnTo>
                    <a:lnTo>
                      <a:pt x="17384" y="7129"/>
                    </a:lnTo>
                    <a:lnTo>
                      <a:pt x="17330" y="7238"/>
                    </a:lnTo>
                    <a:lnTo>
                      <a:pt x="17293" y="7033"/>
                    </a:lnTo>
                    <a:lnTo>
                      <a:pt x="17242" y="7060"/>
                    </a:lnTo>
                    <a:lnTo>
                      <a:pt x="17141" y="6391"/>
                    </a:lnTo>
                    <a:lnTo>
                      <a:pt x="17067" y="6637"/>
                    </a:lnTo>
                    <a:lnTo>
                      <a:pt x="16963" y="6501"/>
                    </a:lnTo>
                    <a:lnTo>
                      <a:pt x="16879" y="6740"/>
                    </a:lnTo>
                    <a:lnTo>
                      <a:pt x="16791" y="6671"/>
                    </a:lnTo>
                    <a:lnTo>
                      <a:pt x="16700" y="8119"/>
                    </a:lnTo>
                    <a:lnTo>
                      <a:pt x="16737" y="8412"/>
                    </a:lnTo>
                    <a:lnTo>
                      <a:pt x="16845" y="8330"/>
                    </a:lnTo>
                    <a:lnTo>
                      <a:pt x="16912" y="8515"/>
                    </a:lnTo>
                    <a:lnTo>
                      <a:pt x="16687" y="8549"/>
                    </a:lnTo>
                    <a:lnTo>
                      <a:pt x="16650" y="8795"/>
                    </a:lnTo>
                    <a:lnTo>
                      <a:pt x="16599" y="8720"/>
                    </a:lnTo>
                    <a:lnTo>
                      <a:pt x="16458" y="8904"/>
                    </a:lnTo>
                    <a:lnTo>
                      <a:pt x="16404" y="8795"/>
                    </a:lnTo>
                    <a:lnTo>
                      <a:pt x="16549" y="8617"/>
                    </a:lnTo>
                    <a:lnTo>
                      <a:pt x="16370" y="8515"/>
                    </a:lnTo>
                    <a:lnTo>
                      <a:pt x="16320" y="8515"/>
                    </a:lnTo>
                    <a:lnTo>
                      <a:pt x="16320" y="8617"/>
                    </a:lnTo>
                    <a:lnTo>
                      <a:pt x="16108" y="8515"/>
                    </a:lnTo>
                    <a:lnTo>
                      <a:pt x="16054" y="8617"/>
                    </a:lnTo>
                    <a:lnTo>
                      <a:pt x="16054" y="8795"/>
                    </a:lnTo>
                    <a:lnTo>
                      <a:pt x="16040" y="8863"/>
                    </a:lnTo>
                    <a:lnTo>
                      <a:pt x="15970" y="8795"/>
                    </a:lnTo>
                    <a:lnTo>
                      <a:pt x="15916" y="8904"/>
                    </a:lnTo>
                    <a:lnTo>
                      <a:pt x="15744" y="8863"/>
                    </a:lnTo>
                    <a:lnTo>
                      <a:pt x="15724" y="9013"/>
                    </a:lnTo>
                    <a:lnTo>
                      <a:pt x="15673" y="8904"/>
                    </a:lnTo>
                    <a:lnTo>
                      <a:pt x="15310" y="9082"/>
                    </a:lnTo>
                    <a:lnTo>
                      <a:pt x="15013" y="10843"/>
                    </a:lnTo>
                    <a:lnTo>
                      <a:pt x="15013" y="10953"/>
                    </a:lnTo>
                    <a:lnTo>
                      <a:pt x="15081" y="11021"/>
                    </a:lnTo>
                    <a:lnTo>
                      <a:pt x="14993" y="11089"/>
                    </a:lnTo>
                    <a:lnTo>
                      <a:pt x="14822" y="12113"/>
                    </a:lnTo>
                    <a:lnTo>
                      <a:pt x="14939" y="12154"/>
                    </a:lnTo>
                    <a:lnTo>
                      <a:pt x="15081" y="12113"/>
                    </a:lnTo>
                    <a:lnTo>
                      <a:pt x="15131" y="12571"/>
                    </a:lnTo>
                    <a:lnTo>
                      <a:pt x="15185" y="12434"/>
                    </a:lnTo>
                    <a:lnTo>
                      <a:pt x="15152" y="12332"/>
                    </a:lnTo>
                    <a:lnTo>
                      <a:pt x="15219" y="12223"/>
                    </a:lnTo>
                    <a:lnTo>
                      <a:pt x="15239" y="12612"/>
                    </a:lnTo>
                    <a:lnTo>
                      <a:pt x="15360" y="12400"/>
                    </a:lnTo>
                    <a:lnTo>
                      <a:pt x="15377" y="12612"/>
                    </a:lnTo>
                    <a:lnTo>
                      <a:pt x="15414" y="12434"/>
                    </a:lnTo>
                    <a:lnTo>
                      <a:pt x="15360" y="12154"/>
                    </a:lnTo>
                    <a:lnTo>
                      <a:pt x="15515" y="12113"/>
                    </a:lnTo>
                    <a:lnTo>
                      <a:pt x="15832" y="12612"/>
                    </a:lnTo>
                    <a:lnTo>
                      <a:pt x="15832" y="12714"/>
                    </a:lnTo>
                    <a:lnTo>
                      <a:pt x="15778" y="12714"/>
                    </a:lnTo>
                    <a:lnTo>
                      <a:pt x="15953" y="13172"/>
                    </a:lnTo>
                    <a:lnTo>
                      <a:pt x="15916" y="13602"/>
                    </a:lnTo>
                    <a:lnTo>
                      <a:pt x="16108" y="15193"/>
                    </a:lnTo>
                    <a:lnTo>
                      <a:pt x="16007" y="15862"/>
                    </a:lnTo>
                    <a:lnTo>
                      <a:pt x="16007" y="16422"/>
                    </a:lnTo>
                    <a:lnTo>
                      <a:pt x="15811" y="17596"/>
                    </a:lnTo>
                    <a:lnTo>
                      <a:pt x="15640" y="17986"/>
                    </a:lnTo>
                    <a:lnTo>
                      <a:pt x="15515" y="18054"/>
                    </a:lnTo>
                    <a:lnTo>
                      <a:pt x="15414" y="17986"/>
                    </a:lnTo>
                    <a:lnTo>
                      <a:pt x="15377" y="17876"/>
                    </a:lnTo>
                    <a:lnTo>
                      <a:pt x="15310" y="17876"/>
                    </a:lnTo>
                    <a:lnTo>
                      <a:pt x="15185" y="18334"/>
                    </a:lnTo>
                    <a:lnTo>
                      <a:pt x="15185" y="18266"/>
                    </a:lnTo>
                    <a:lnTo>
                      <a:pt x="15185" y="18156"/>
                    </a:lnTo>
                    <a:lnTo>
                      <a:pt x="15219" y="17801"/>
                    </a:lnTo>
                    <a:lnTo>
                      <a:pt x="15098" y="17132"/>
                    </a:lnTo>
                    <a:lnTo>
                      <a:pt x="15185" y="16886"/>
                    </a:lnTo>
                    <a:lnTo>
                      <a:pt x="15360" y="17023"/>
                    </a:lnTo>
                    <a:lnTo>
                      <a:pt x="15360" y="16033"/>
                    </a:lnTo>
                    <a:lnTo>
                      <a:pt x="15377" y="15930"/>
                    </a:lnTo>
                    <a:lnTo>
                      <a:pt x="15377" y="15644"/>
                    </a:lnTo>
                    <a:lnTo>
                      <a:pt x="15377" y="15364"/>
                    </a:lnTo>
                    <a:lnTo>
                      <a:pt x="15273" y="15473"/>
                    </a:lnTo>
                    <a:lnTo>
                      <a:pt x="15131" y="15575"/>
                    </a:lnTo>
                    <a:lnTo>
                      <a:pt x="15081" y="15753"/>
                    </a:lnTo>
                    <a:lnTo>
                      <a:pt x="14939" y="15821"/>
                    </a:lnTo>
                    <a:lnTo>
                      <a:pt x="14872" y="15821"/>
                    </a:lnTo>
                    <a:lnTo>
                      <a:pt x="14731" y="15261"/>
                    </a:lnTo>
                    <a:lnTo>
                      <a:pt x="14505" y="15015"/>
                    </a:lnTo>
                    <a:lnTo>
                      <a:pt x="14421" y="15015"/>
                    </a:lnTo>
                    <a:lnTo>
                      <a:pt x="14279" y="15015"/>
                    </a:lnTo>
                    <a:lnTo>
                      <a:pt x="14229" y="14906"/>
                    </a:lnTo>
                    <a:lnTo>
                      <a:pt x="14175" y="14735"/>
                    </a:lnTo>
                    <a:lnTo>
                      <a:pt x="14088" y="14374"/>
                    </a:lnTo>
                    <a:lnTo>
                      <a:pt x="13983" y="14162"/>
                    </a:lnTo>
                    <a:lnTo>
                      <a:pt x="13721" y="13424"/>
                    </a:lnTo>
                    <a:lnTo>
                      <a:pt x="13670" y="13349"/>
                    </a:lnTo>
                    <a:lnTo>
                      <a:pt x="13582" y="13315"/>
                    </a:lnTo>
                    <a:lnTo>
                      <a:pt x="13407" y="13247"/>
                    </a:lnTo>
                    <a:lnTo>
                      <a:pt x="13320" y="13172"/>
                    </a:lnTo>
                    <a:lnTo>
                      <a:pt x="13253" y="13247"/>
                    </a:lnTo>
                    <a:lnTo>
                      <a:pt x="12990" y="13452"/>
                    </a:lnTo>
                    <a:lnTo>
                      <a:pt x="12936" y="13745"/>
                    </a:lnTo>
                    <a:lnTo>
                      <a:pt x="12990" y="13745"/>
                    </a:lnTo>
                    <a:lnTo>
                      <a:pt x="13040" y="13882"/>
                    </a:lnTo>
                    <a:lnTo>
                      <a:pt x="13074" y="13991"/>
                    </a:lnTo>
                    <a:lnTo>
                      <a:pt x="13024" y="14551"/>
                    </a:lnTo>
                    <a:lnTo>
                      <a:pt x="12990" y="14906"/>
                    </a:lnTo>
                    <a:lnTo>
                      <a:pt x="13040" y="15084"/>
                    </a:lnTo>
                    <a:lnTo>
                      <a:pt x="12902" y="15364"/>
                    </a:lnTo>
                    <a:lnTo>
                      <a:pt x="12798" y="15295"/>
                    </a:lnTo>
                    <a:lnTo>
                      <a:pt x="12727" y="15295"/>
                    </a:lnTo>
                    <a:lnTo>
                      <a:pt x="12569" y="15295"/>
                    </a:lnTo>
                    <a:lnTo>
                      <a:pt x="12310" y="15125"/>
                    </a:lnTo>
                    <a:lnTo>
                      <a:pt x="12219" y="15541"/>
                    </a:lnTo>
                    <a:lnTo>
                      <a:pt x="11923" y="15753"/>
                    </a:lnTo>
                    <a:lnTo>
                      <a:pt x="11717" y="15753"/>
                    </a:lnTo>
                    <a:lnTo>
                      <a:pt x="11626" y="15753"/>
                    </a:lnTo>
                    <a:lnTo>
                      <a:pt x="11525" y="15644"/>
                    </a:lnTo>
                    <a:lnTo>
                      <a:pt x="11488" y="15541"/>
                    </a:lnTo>
                    <a:lnTo>
                      <a:pt x="11246" y="15364"/>
                    </a:lnTo>
                    <a:lnTo>
                      <a:pt x="11125" y="15295"/>
                    </a:lnTo>
                    <a:lnTo>
                      <a:pt x="10879" y="15473"/>
                    </a:lnTo>
                    <a:lnTo>
                      <a:pt x="10741" y="15473"/>
                    </a:lnTo>
                    <a:lnTo>
                      <a:pt x="10532" y="15015"/>
                    </a:lnTo>
                    <a:lnTo>
                      <a:pt x="10094" y="14804"/>
                    </a:lnTo>
                    <a:lnTo>
                      <a:pt x="10094" y="14906"/>
                    </a:lnTo>
                    <a:lnTo>
                      <a:pt x="10024" y="15084"/>
                    </a:lnTo>
                    <a:lnTo>
                      <a:pt x="10007" y="15125"/>
                    </a:lnTo>
                    <a:lnTo>
                      <a:pt x="10057" y="15405"/>
                    </a:lnTo>
                    <a:lnTo>
                      <a:pt x="10094" y="15575"/>
                    </a:lnTo>
                    <a:lnTo>
                      <a:pt x="10148" y="15753"/>
                    </a:lnTo>
                    <a:lnTo>
                      <a:pt x="9886" y="15821"/>
                    </a:lnTo>
                    <a:lnTo>
                      <a:pt x="9694" y="15821"/>
                    </a:lnTo>
                    <a:lnTo>
                      <a:pt x="9569" y="15753"/>
                    </a:lnTo>
                    <a:lnTo>
                      <a:pt x="9556" y="15575"/>
                    </a:lnTo>
                    <a:lnTo>
                      <a:pt x="9380" y="15644"/>
                    </a:lnTo>
                    <a:lnTo>
                      <a:pt x="9327" y="15541"/>
                    </a:lnTo>
                    <a:lnTo>
                      <a:pt x="9155" y="15575"/>
                    </a:lnTo>
                    <a:lnTo>
                      <a:pt x="9067" y="15685"/>
                    </a:lnTo>
                    <a:lnTo>
                      <a:pt x="9047" y="15753"/>
                    </a:lnTo>
                    <a:lnTo>
                      <a:pt x="8963" y="15930"/>
                    </a:lnTo>
                    <a:lnTo>
                      <a:pt x="8963" y="16033"/>
                    </a:lnTo>
                    <a:lnTo>
                      <a:pt x="8771" y="16217"/>
                    </a:lnTo>
                    <a:lnTo>
                      <a:pt x="8734" y="16320"/>
                    </a:lnTo>
                    <a:lnTo>
                      <a:pt x="8646" y="16395"/>
                    </a:lnTo>
                    <a:lnTo>
                      <a:pt x="8404" y="16285"/>
                    </a:lnTo>
                    <a:lnTo>
                      <a:pt x="8141" y="16033"/>
                    </a:lnTo>
                    <a:lnTo>
                      <a:pt x="7737" y="15930"/>
                    </a:lnTo>
                    <a:lnTo>
                      <a:pt x="7441" y="15295"/>
                    </a:lnTo>
                    <a:lnTo>
                      <a:pt x="6953" y="14660"/>
                    </a:lnTo>
                    <a:lnTo>
                      <a:pt x="6505" y="14804"/>
                    </a:lnTo>
                    <a:lnTo>
                      <a:pt x="6209" y="14271"/>
                    </a:lnTo>
                    <a:lnTo>
                      <a:pt x="5805" y="14483"/>
                    </a:lnTo>
                    <a:lnTo>
                      <a:pt x="5387" y="14442"/>
                    </a:lnTo>
                    <a:lnTo>
                      <a:pt x="4758" y="14660"/>
                    </a:lnTo>
                    <a:lnTo>
                      <a:pt x="4653" y="15821"/>
                    </a:lnTo>
                    <a:lnTo>
                      <a:pt x="4758" y="16320"/>
                    </a:lnTo>
                    <a:lnTo>
                      <a:pt x="3835" y="16108"/>
                    </a:lnTo>
                    <a:lnTo>
                      <a:pt x="3488" y="15930"/>
                    </a:lnTo>
                    <a:lnTo>
                      <a:pt x="3189" y="16033"/>
                    </a:lnTo>
                    <a:lnTo>
                      <a:pt x="3013" y="17064"/>
                    </a:lnTo>
                    <a:lnTo>
                      <a:pt x="3155" y="17064"/>
                    </a:lnTo>
                    <a:lnTo>
                      <a:pt x="3330" y="18054"/>
                    </a:lnTo>
                    <a:lnTo>
                      <a:pt x="3468" y="18054"/>
                    </a:lnTo>
                    <a:lnTo>
                      <a:pt x="3347" y="18266"/>
                    </a:lnTo>
                    <a:lnTo>
                      <a:pt x="3209" y="18334"/>
                    </a:lnTo>
                    <a:lnTo>
                      <a:pt x="3118" y="18791"/>
                    </a:lnTo>
                    <a:lnTo>
                      <a:pt x="3209" y="18791"/>
                    </a:lnTo>
                    <a:lnTo>
                      <a:pt x="3155" y="18826"/>
                    </a:lnTo>
                    <a:lnTo>
                      <a:pt x="3242" y="18976"/>
                    </a:lnTo>
                    <a:lnTo>
                      <a:pt x="3276" y="19078"/>
                    </a:lnTo>
                    <a:lnTo>
                      <a:pt x="3276" y="19358"/>
                    </a:lnTo>
                    <a:lnTo>
                      <a:pt x="3347" y="19577"/>
                    </a:lnTo>
                    <a:lnTo>
                      <a:pt x="3488" y="19925"/>
                    </a:lnTo>
                    <a:lnTo>
                      <a:pt x="3276" y="19993"/>
                    </a:lnTo>
                    <a:lnTo>
                      <a:pt x="3155" y="19747"/>
                    </a:lnTo>
                    <a:lnTo>
                      <a:pt x="2737" y="19283"/>
                    </a:lnTo>
                    <a:lnTo>
                      <a:pt x="2229" y="19283"/>
                    </a:lnTo>
                    <a:lnTo>
                      <a:pt x="2091" y="19078"/>
                    </a:lnTo>
                    <a:lnTo>
                      <a:pt x="1970" y="18894"/>
                    </a:lnTo>
                    <a:lnTo>
                      <a:pt x="1778" y="18655"/>
                    </a:lnTo>
                    <a:lnTo>
                      <a:pt x="1778" y="18546"/>
                    </a:lnTo>
                    <a:lnTo>
                      <a:pt x="1970" y="18054"/>
                    </a:lnTo>
                    <a:lnTo>
                      <a:pt x="2057" y="18054"/>
                    </a:lnTo>
                    <a:lnTo>
                      <a:pt x="2091" y="17801"/>
                    </a:lnTo>
                    <a:lnTo>
                      <a:pt x="2024" y="17692"/>
                    </a:lnTo>
                    <a:lnTo>
                      <a:pt x="1879" y="17876"/>
                    </a:lnTo>
                    <a:lnTo>
                      <a:pt x="1832" y="17692"/>
                    </a:lnTo>
                    <a:lnTo>
                      <a:pt x="2162" y="17487"/>
                    </a:lnTo>
                    <a:lnTo>
                      <a:pt x="2057" y="16886"/>
                    </a:lnTo>
                    <a:lnTo>
                      <a:pt x="1832" y="16886"/>
                    </a:lnTo>
                    <a:lnTo>
                      <a:pt x="1586" y="16497"/>
                    </a:lnTo>
                    <a:lnTo>
                      <a:pt x="1239" y="16422"/>
                    </a:lnTo>
                    <a:lnTo>
                      <a:pt x="923" y="16285"/>
                    </a:lnTo>
                    <a:lnTo>
                      <a:pt x="956" y="15930"/>
                    </a:lnTo>
                    <a:lnTo>
                      <a:pt x="872" y="15575"/>
                    </a:lnTo>
                    <a:lnTo>
                      <a:pt x="923" y="15541"/>
                    </a:lnTo>
                    <a:lnTo>
                      <a:pt x="1044" y="15644"/>
                    </a:lnTo>
                    <a:lnTo>
                      <a:pt x="993" y="15261"/>
                    </a:lnTo>
                    <a:lnTo>
                      <a:pt x="872" y="15015"/>
                    </a:lnTo>
                    <a:lnTo>
                      <a:pt x="764" y="14374"/>
                    </a:lnTo>
                    <a:lnTo>
                      <a:pt x="401" y="14271"/>
                    </a:lnTo>
                    <a:lnTo>
                      <a:pt x="455" y="13745"/>
                    </a:lnTo>
                    <a:lnTo>
                      <a:pt x="330" y="13452"/>
                    </a:lnTo>
                    <a:lnTo>
                      <a:pt x="226" y="13424"/>
                    </a:lnTo>
                    <a:lnTo>
                      <a:pt x="138" y="13144"/>
                    </a:lnTo>
                    <a:lnTo>
                      <a:pt x="138" y="12960"/>
                    </a:lnTo>
                    <a:lnTo>
                      <a:pt x="88" y="12714"/>
                    </a:lnTo>
                    <a:lnTo>
                      <a:pt x="121" y="12680"/>
                    </a:lnTo>
                    <a:lnTo>
                      <a:pt x="192" y="12680"/>
                    </a:lnTo>
                    <a:lnTo>
                      <a:pt x="192" y="12571"/>
                    </a:lnTo>
                    <a:lnTo>
                      <a:pt x="330" y="12434"/>
                    </a:lnTo>
                    <a:lnTo>
                      <a:pt x="488" y="12503"/>
                    </a:lnTo>
                    <a:lnTo>
                      <a:pt x="418" y="12332"/>
                    </a:lnTo>
                    <a:lnTo>
                      <a:pt x="313" y="12332"/>
                    </a:lnTo>
                    <a:lnTo>
                      <a:pt x="259" y="12045"/>
                    </a:lnTo>
                    <a:lnTo>
                      <a:pt x="172" y="12154"/>
                    </a:lnTo>
                    <a:lnTo>
                      <a:pt x="455" y="11478"/>
                    </a:lnTo>
                    <a:lnTo>
                      <a:pt x="626" y="10912"/>
                    </a:lnTo>
                    <a:lnTo>
                      <a:pt x="542" y="10775"/>
                    </a:lnTo>
                    <a:lnTo>
                      <a:pt x="488" y="10741"/>
                    </a:lnTo>
                    <a:lnTo>
                      <a:pt x="364" y="10563"/>
                    </a:lnTo>
                    <a:lnTo>
                      <a:pt x="401" y="10283"/>
                    </a:lnTo>
                    <a:lnTo>
                      <a:pt x="330" y="10208"/>
                    </a:lnTo>
                    <a:lnTo>
                      <a:pt x="330" y="10099"/>
                    </a:lnTo>
                    <a:lnTo>
                      <a:pt x="330" y="9990"/>
                    </a:lnTo>
                    <a:lnTo>
                      <a:pt x="276" y="9990"/>
                    </a:lnTo>
                    <a:lnTo>
                      <a:pt x="276" y="9894"/>
                    </a:lnTo>
                    <a:lnTo>
                      <a:pt x="276" y="9819"/>
                    </a:lnTo>
                    <a:lnTo>
                      <a:pt x="313" y="9464"/>
                    </a:lnTo>
                    <a:lnTo>
                      <a:pt x="138" y="8863"/>
                    </a:lnTo>
                    <a:lnTo>
                      <a:pt x="192" y="8549"/>
                    </a:lnTo>
                    <a:lnTo>
                      <a:pt x="138" y="8440"/>
                    </a:lnTo>
                    <a:lnTo>
                      <a:pt x="54" y="8330"/>
                    </a:lnTo>
                    <a:lnTo>
                      <a:pt x="34" y="8160"/>
                    </a:lnTo>
                    <a:lnTo>
                      <a:pt x="0" y="8051"/>
                    </a:lnTo>
                    <a:lnTo>
                      <a:pt x="138" y="770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8" name="Freeform 231"/>
              <p:cNvSpPr>
                <a:spLocks/>
              </p:cNvSpPr>
              <p:nvPr/>
            </p:nvSpPr>
            <p:spPr bwMode="auto">
              <a:xfrm>
                <a:off x="5568950" y="2844800"/>
                <a:ext cx="471488" cy="257175"/>
              </a:xfrm>
              <a:custGeom>
                <a:avLst/>
                <a:gdLst>
                  <a:gd name="T0" fmla="*/ 15364 w 20000"/>
                  <a:gd name="T1" fmla="*/ 13531 h 20000"/>
                  <a:gd name="T2" fmla="*/ 15067 w 20000"/>
                  <a:gd name="T3" fmla="*/ 14074 h 20000"/>
                  <a:gd name="T4" fmla="*/ 14124 w 20000"/>
                  <a:gd name="T5" fmla="*/ 16593 h 20000"/>
                  <a:gd name="T6" fmla="*/ 16496 w 20000"/>
                  <a:gd name="T7" fmla="*/ 17630 h 20000"/>
                  <a:gd name="T8" fmla="*/ 15364 w 20000"/>
                  <a:gd name="T9" fmla="*/ 17630 h 20000"/>
                  <a:gd name="T10" fmla="*/ 13531 w 20000"/>
                  <a:gd name="T11" fmla="*/ 19951 h 20000"/>
                  <a:gd name="T12" fmla="*/ 12992 w 20000"/>
                  <a:gd name="T13" fmla="*/ 18123 h 20000"/>
                  <a:gd name="T14" fmla="*/ 11752 w 20000"/>
                  <a:gd name="T15" fmla="*/ 16840 h 20000"/>
                  <a:gd name="T16" fmla="*/ 12992 w 20000"/>
                  <a:gd name="T17" fmla="*/ 15605 h 20000"/>
                  <a:gd name="T18" fmla="*/ 11024 w 20000"/>
                  <a:gd name="T19" fmla="*/ 14815 h 20000"/>
                  <a:gd name="T20" fmla="*/ 11024 w 20000"/>
                  <a:gd name="T21" fmla="*/ 14074 h 20000"/>
                  <a:gd name="T22" fmla="*/ 10755 w 20000"/>
                  <a:gd name="T23" fmla="*/ 12790 h 20000"/>
                  <a:gd name="T24" fmla="*/ 10620 w 20000"/>
                  <a:gd name="T25" fmla="*/ 13284 h 20000"/>
                  <a:gd name="T26" fmla="*/ 9650 w 20000"/>
                  <a:gd name="T27" fmla="*/ 13531 h 20000"/>
                  <a:gd name="T28" fmla="*/ 8518 w 20000"/>
                  <a:gd name="T29" fmla="*/ 16840 h 20000"/>
                  <a:gd name="T30" fmla="*/ 7008 w 20000"/>
                  <a:gd name="T31" fmla="*/ 16840 h 20000"/>
                  <a:gd name="T32" fmla="*/ 7844 w 20000"/>
                  <a:gd name="T33" fmla="*/ 14815 h 20000"/>
                  <a:gd name="T34" fmla="*/ 8248 w 20000"/>
                  <a:gd name="T35" fmla="*/ 13284 h 20000"/>
                  <a:gd name="T36" fmla="*/ 7412 w 20000"/>
                  <a:gd name="T37" fmla="*/ 10173 h 20000"/>
                  <a:gd name="T38" fmla="*/ 5310 w 20000"/>
                  <a:gd name="T39" fmla="*/ 9432 h 20000"/>
                  <a:gd name="T40" fmla="*/ 3369 w 20000"/>
                  <a:gd name="T41" fmla="*/ 10667 h 20000"/>
                  <a:gd name="T42" fmla="*/ 836 w 20000"/>
                  <a:gd name="T43" fmla="*/ 9975 h 20000"/>
                  <a:gd name="T44" fmla="*/ 431 w 20000"/>
                  <a:gd name="T45" fmla="*/ 6864 h 20000"/>
                  <a:gd name="T46" fmla="*/ 431 w 20000"/>
                  <a:gd name="T47" fmla="*/ 5333 h 20000"/>
                  <a:gd name="T48" fmla="*/ 1563 w 20000"/>
                  <a:gd name="T49" fmla="*/ 0 h 20000"/>
                  <a:gd name="T50" fmla="*/ 2372 w 20000"/>
                  <a:gd name="T51" fmla="*/ 494 h 20000"/>
                  <a:gd name="T52" fmla="*/ 6685 w 20000"/>
                  <a:gd name="T53" fmla="*/ 741 h 20000"/>
                  <a:gd name="T54" fmla="*/ 8787 w 20000"/>
                  <a:gd name="T55" fmla="*/ 1284 h 20000"/>
                  <a:gd name="T56" fmla="*/ 10054 w 20000"/>
                  <a:gd name="T57" fmla="*/ 494 h 20000"/>
                  <a:gd name="T58" fmla="*/ 15364 w 20000"/>
                  <a:gd name="T59" fmla="*/ 2025 h 20000"/>
                  <a:gd name="T60" fmla="*/ 19137 w 20000"/>
                  <a:gd name="T61" fmla="*/ 4840 h 20000"/>
                  <a:gd name="T62" fmla="*/ 17332 w 20000"/>
                  <a:gd name="T63" fmla="*/ 1066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709" y="12000"/>
                    </a:moveTo>
                    <a:lnTo>
                      <a:pt x="15364" y="13531"/>
                    </a:lnTo>
                    <a:lnTo>
                      <a:pt x="15499" y="15605"/>
                    </a:lnTo>
                    <a:lnTo>
                      <a:pt x="15067" y="14074"/>
                    </a:lnTo>
                    <a:lnTo>
                      <a:pt x="13962" y="15309"/>
                    </a:lnTo>
                    <a:lnTo>
                      <a:pt x="14124" y="16593"/>
                    </a:lnTo>
                    <a:lnTo>
                      <a:pt x="16199" y="17333"/>
                    </a:lnTo>
                    <a:lnTo>
                      <a:pt x="16496" y="17630"/>
                    </a:lnTo>
                    <a:lnTo>
                      <a:pt x="15903" y="17630"/>
                    </a:lnTo>
                    <a:lnTo>
                      <a:pt x="15364" y="17630"/>
                    </a:lnTo>
                    <a:lnTo>
                      <a:pt x="14663" y="18617"/>
                    </a:lnTo>
                    <a:lnTo>
                      <a:pt x="13531" y="19951"/>
                    </a:lnTo>
                    <a:lnTo>
                      <a:pt x="12857" y="19407"/>
                    </a:lnTo>
                    <a:lnTo>
                      <a:pt x="12992" y="18123"/>
                    </a:lnTo>
                    <a:lnTo>
                      <a:pt x="12156" y="17333"/>
                    </a:lnTo>
                    <a:lnTo>
                      <a:pt x="11752" y="16840"/>
                    </a:lnTo>
                    <a:lnTo>
                      <a:pt x="12156" y="16593"/>
                    </a:lnTo>
                    <a:lnTo>
                      <a:pt x="12992" y="15605"/>
                    </a:lnTo>
                    <a:lnTo>
                      <a:pt x="12857" y="15309"/>
                    </a:lnTo>
                    <a:lnTo>
                      <a:pt x="11024" y="14815"/>
                    </a:lnTo>
                    <a:lnTo>
                      <a:pt x="10755" y="14074"/>
                    </a:lnTo>
                    <a:lnTo>
                      <a:pt x="11024" y="14074"/>
                    </a:lnTo>
                    <a:lnTo>
                      <a:pt x="11159" y="14074"/>
                    </a:lnTo>
                    <a:lnTo>
                      <a:pt x="10755" y="12790"/>
                    </a:lnTo>
                    <a:lnTo>
                      <a:pt x="10755" y="13531"/>
                    </a:lnTo>
                    <a:lnTo>
                      <a:pt x="10620" y="13284"/>
                    </a:lnTo>
                    <a:lnTo>
                      <a:pt x="10323" y="13284"/>
                    </a:lnTo>
                    <a:lnTo>
                      <a:pt x="9650" y="13531"/>
                    </a:lnTo>
                    <a:lnTo>
                      <a:pt x="8949" y="15605"/>
                    </a:lnTo>
                    <a:lnTo>
                      <a:pt x="8518" y="16840"/>
                    </a:lnTo>
                    <a:lnTo>
                      <a:pt x="7412" y="17630"/>
                    </a:lnTo>
                    <a:lnTo>
                      <a:pt x="7008" y="16840"/>
                    </a:lnTo>
                    <a:lnTo>
                      <a:pt x="7412" y="15605"/>
                    </a:lnTo>
                    <a:lnTo>
                      <a:pt x="7844" y="14815"/>
                    </a:lnTo>
                    <a:lnTo>
                      <a:pt x="9218" y="14568"/>
                    </a:lnTo>
                    <a:lnTo>
                      <a:pt x="8248" y="13284"/>
                    </a:lnTo>
                    <a:lnTo>
                      <a:pt x="8113" y="12247"/>
                    </a:lnTo>
                    <a:lnTo>
                      <a:pt x="7412" y="10173"/>
                    </a:lnTo>
                    <a:lnTo>
                      <a:pt x="6685" y="10173"/>
                    </a:lnTo>
                    <a:lnTo>
                      <a:pt x="5310" y="9432"/>
                    </a:lnTo>
                    <a:lnTo>
                      <a:pt x="4474" y="9975"/>
                    </a:lnTo>
                    <a:lnTo>
                      <a:pt x="3369" y="10667"/>
                    </a:lnTo>
                    <a:lnTo>
                      <a:pt x="1267" y="9975"/>
                    </a:lnTo>
                    <a:lnTo>
                      <a:pt x="836" y="9975"/>
                    </a:lnTo>
                    <a:lnTo>
                      <a:pt x="0" y="9185"/>
                    </a:lnTo>
                    <a:lnTo>
                      <a:pt x="431" y="6864"/>
                    </a:lnTo>
                    <a:lnTo>
                      <a:pt x="566" y="6617"/>
                    </a:lnTo>
                    <a:lnTo>
                      <a:pt x="431" y="5333"/>
                    </a:lnTo>
                    <a:lnTo>
                      <a:pt x="1995" y="1481"/>
                    </a:lnTo>
                    <a:lnTo>
                      <a:pt x="1563" y="0"/>
                    </a:lnTo>
                    <a:lnTo>
                      <a:pt x="1995" y="0"/>
                    </a:lnTo>
                    <a:lnTo>
                      <a:pt x="2372" y="494"/>
                    </a:lnTo>
                    <a:lnTo>
                      <a:pt x="6685" y="0"/>
                    </a:lnTo>
                    <a:lnTo>
                      <a:pt x="6685" y="741"/>
                    </a:lnTo>
                    <a:lnTo>
                      <a:pt x="8787" y="1481"/>
                    </a:lnTo>
                    <a:lnTo>
                      <a:pt x="8787" y="1284"/>
                    </a:lnTo>
                    <a:lnTo>
                      <a:pt x="9218" y="494"/>
                    </a:lnTo>
                    <a:lnTo>
                      <a:pt x="10054" y="494"/>
                    </a:lnTo>
                    <a:lnTo>
                      <a:pt x="12588" y="1481"/>
                    </a:lnTo>
                    <a:lnTo>
                      <a:pt x="15364" y="2025"/>
                    </a:lnTo>
                    <a:lnTo>
                      <a:pt x="17332" y="4840"/>
                    </a:lnTo>
                    <a:lnTo>
                      <a:pt x="19137" y="4840"/>
                    </a:lnTo>
                    <a:lnTo>
                      <a:pt x="19973" y="9185"/>
                    </a:lnTo>
                    <a:lnTo>
                      <a:pt x="17332" y="10667"/>
                    </a:lnTo>
                    <a:lnTo>
                      <a:pt x="17709" y="1200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09" name="Freeform 230"/>
              <p:cNvSpPr>
                <a:spLocks/>
              </p:cNvSpPr>
              <p:nvPr/>
            </p:nvSpPr>
            <p:spPr bwMode="auto">
              <a:xfrm>
                <a:off x="5345113" y="3014663"/>
                <a:ext cx="85725" cy="47625"/>
              </a:xfrm>
              <a:custGeom>
                <a:avLst/>
                <a:gdLst>
                  <a:gd name="T0" fmla="*/ 593 w 20000"/>
                  <a:gd name="T1" fmla="*/ 7027 h 20000"/>
                  <a:gd name="T2" fmla="*/ 6815 w 20000"/>
                  <a:gd name="T3" fmla="*/ 7027 h 20000"/>
                  <a:gd name="T4" fmla="*/ 13778 w 20000"/>
                  <a:gd name="T5" fmla="*/ 4324 h 20000"/>
                  <a:gd name="T6" fmla="*/ 16000 w 20000"/>
                  <a:gd name="T7" fmla="*/ 4324 h 20000"/>
                  <a:gd name="T8" fmla="*/ 16000 w 20000"/>
                  <a:gd name="T9" fmla="*/ 1622 h 20000"/>
                  <a:gd name="T10" fmla="*/ 18370 w 20000"/>
                  <a:gd name="T11" fmla="*/ 0 h 20000"/>
                  <a:gd name="T12" fmla="*/ 18370 w 20000"/>
                  <a:gd name="T13" fmla="*/ 4324 h 20000"/>
                  <a:gd name="T14" fmla="*/ 19852 w 20000"/>
                  <a:gd name="T15" fmla="*/ 7027 h 20000"/>
                  <a:gd name="T16" fmla="*/ 19852 w 20000"/>
                  <a:gd name="T17" fmla="*/ 11081 h 20000"/>
                  <a:gd name="T18" fmla="*/ 16000 w 20000"/>
                  <a:gd name="T19" fmla="*/ 15405 h 20000"/>
                  <a:gd name="T20" fmla="*/ 13778 w 20000"/>
                  <a:gd name="T21" fmla="*/ 19730 h 20000"/>
                  <a:gd name="T22" fmla="*/ 8444 w 20000"/>
                  <a:gd name="T23" fmla="*/ 18108 h 20000"/>
                  <a:gd name="T24" fmla="*/ 4444 w 20000"/>
                  <a:gd name="T25" fmla="*/ 19730 h 20000"/>
                  <a:gd name="T26" fmla="*/ 3852 w 20000"/>
                  <a:gd name="T27" fmla="*/ 15405 h 20000"/>
                  <a:gd name="T28" fmla="*/ 0 w 20000"/>
                  <a:gd name="T29" fmla="*/ 8378 h 20000"/>
                  <a:gd name="T30" fmla="*/ 593 w 20000"/>
                  <a:gd name="T31" fmla="*/ 70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593" y="7027"/>
                    </a:moveTo>
                    <a:lnTo>
                      <a:pt x="6815" y="7027"/>
                    </a:lnTo>
                    <a:lnTo>
                      <a:pt x="13778" y="4324"/>
                    </a:lnTo>
                    <a:lnTo>
                      <a:pt x="16000" y="4324"/>
                    </a:lnTo>
                    <a:lnTo>
                      <a:pt x="16000" y="1622"/>
                    </a:lnTo>
                    <a:lnTo>
                      <a:pt x="18370" y="0"/>
                    </a:lnTo>
                    <a:lnTo>
                      <a:pt x="18370" y="4324"/>
                    </a:lnTo>
                    <a:lnTo>
                      <a:pt x="19852" y="7027"/>
                    </a:lnTo>
                    <a:lnTo>
                      <a:pt x="19852" y="11081"/>
                    </a:lnTo>
                    <a:lnTo>
                      <a:pt x="16000" y="15405"/>
                    </a:lnTo>
                    <a:lnTo>
                      <a:pt x="13778" y="19730"/>
                    </a:lnTo>
                    <a:lnTo>
                      <a:pt x="8444" y="18108"/>
                    </a:lnTo>
                    <a:lnTo>
                      <a:pt x="4444" y="19730"/>
                    </a:lnTo>
                    <a:lnTo>
                      <a:pt x="3852" y="15405"/>
                    </a:lnTo>
                    <a:lnTo>
                      <a:pt x="0" y="8378"/>
                    </a:lnTo>
                    <a:lnTo>
                      <a:pt x="593" y="702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0" name="Freeform 229"/>
              <p:cNvSpPr>
                <a:spLocks/>
              </p:cNvSpPr>
              <p:nvPr/>
            </p:nvSpPr>
            <p:spPr bwMode="auto">
              <a:xfrm>
                <a:off x="5345113" y="3041650"/>
                <a:ext cx="149225" cy="115888"/>
              </a:xfrm>
              <a:custGeom>
                <a:avLst/>
                <a:gdLst>
                  <a:gd name="T0" fmla="*/ 11453 w 20000"/>
                  <a:gd name="T1" fmla="*/ 0 h 20000"/>
                  <a:gd name="T2" fmla="*/ 11880 w 20000"/>
                  <a:gd name="T3" fmla="*/ 0 h 20000"/>
                  <a:gd name="T4" fmla="*/ 14103 w 20000"/>
                  <a:gd name="T5" fmla="*/ 1749 h 20000"/>
                  <a:gd name="T6" fmla="*/ 17265 w 20000"/>
                  <a:gd name="T7" fmla="*/ 2842 h 20000"/>
                  <a:gd name="T8" fmla="*/ 17607 w 20000"/>
                  <a:gd name="T9" fmla="*/ 1749 h 20000"/>
                  <a:gd name="T10" fmla="*/ 18547 w 20000"/>
                  <a:gd name="T11" fmla="*/ 656 h 20000"/>
                  <a:gd name="T12" fmla="*/ 18974 w 20000"/>
                  <a:gd name="T13" fmla="*/ 3388 h 20000"/>
                  <a:gd name="T14" fmla="*/ 19915 w 20000"/>
                  <a:gd name="T15" fmla="*/ 7322 h 20000"/>
                  <a:gd name="T16" fmla="*/ 18547 w 20000"/>
                  <a:gd name="T17" fmla="*/ 7322 h 20000"/>
                  <a:gd name="T18" fmla="*/ 14103 w 20000"/>
                  <a:gd name="T19" fmla="*/ 7322 h 20000"/>
                  <a:gd name="T20" fmla="*/ 9744 w 20000"/>
                  <a:gd name="T21" fmla="*/ 7322 h 20000"/>
                  <a:gd name="T22" fmla="*/ 11453 w 20000"/>
                  <a:gd name="T23" fmla="*/ 12459 h 20000"/>
                  <a:gd name="T24" fmla="*/ 15043 w 20000"/>
                  <a:gd name="T25" fmla="*/ 16940 h 20000"/>
                  <a:gd name="T26" fmla="*/ 15043 w 20000"/>
                  <a:gd name="T27" fmla="*/ 19891 h 20000"/>
                  <a:gd name="T28" fmla="*/ 12735 w 20000"/>
                  <a:gd name="T29" fmla="*/ 16940 h 20000"/>
                  <a:gd name="T30" fmla="*/ 10598 w 20000"/>
                  <a:gd name="T31" fmla="*/ 16503 h 20000"/>
                  <a:gd name="T32" fmla="*/ 9231 w 20000"/>
                  <a:gd name="T33" fmla="*/ 16940 h 20000"/>
                  <a:gd name="T34" fmla="*/ 5726 w 20000"/>
                  <a:gd name="T35" fmla="*/ 12459 h 20000"/>
                  <a:gd name="T36" fmla="*/ 7863 w 20000"/>
                  <a:gd name="T37" fmla="*/ 11913 h 20000"/>
                  <a:gd name="T38" fmla="*/ 4872 w 20000"/>
                  <a:gd name="T39" fmla="*/ 9071 h 20000"/>
                  <a:gd name="T40" fmla="*/ 4872 w 20000"/>
                  <a:gd name="T41" fmla="*/ 7322 h 20000"/>
                  <a:gd name="T42" fmla="*/ 2564 w 20000"/>
                  <a:gd name="T43" fmla="*/ 5137 h 20000"/>
                  <a:gd name="T44" fmla="*/ 1368 w 20000"/>
                  <a:gd name="T45" fmla="*/ 7978 h 20000"/>
                  <a:gd name="T46" fmla="*/ 0 w 20000"/>
                  <a:gd name="T47" fmla="*/ 4481 h 20000"/>
                  <a:gd name="T48" fmla="*/ 342 w 20000"/>
                  <a:gd name="T49" fmla="*/ 3388 h 20000"/>
                  <a:gd name="T50" fmla="*/ 2222 w 20000"/>
                  <a:gd name="T51" fmla="*/ 4481 h 20000"/>
                  <a:gd name="T52" fmla="*/ 2564 w 20000"/>
                  <a:gd name="T53" fmla="*/ 3388 h 20000"/>
                  <a:gd name="T54" fmla="*/ 4872 w 20000"/>
                  <a:gd name="T55" fmla="*/ 2842 h 20000"/>
                  <a:gd name="T56" fmla="*/ 7863 w 20000"/>
                  <a:gd name="T57" fmla="*/ 3388 h 20000"/>
                  <a:gd name="T58" fmla="*/ 9231 w 20000"/>
                  <a:gd name="T59" fmla="*/ 1749 h 20000"/>
                  <a:gd name="T60" fmla="*/ 11453 w 20000"/>
                  <a:gd name="T6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000" h="20000">
                    <a:moveTo>
                      <a:pt x="11453" y="0"/>
                    </a:moveTo>
                    <a:lnTo>
                      <a:pt x="11880" y="0"/>
                    </a:lnTo>
                    <a:lnTo>
                      <a:pt x="14103" y="1749"/>
                    </a:lnTo>
                    <a:lnTo>
                      <a:pt x="17265" y="2842"/>
                    </a:lnTo>
                    <a:lnTo>
                      <a:pt x="17607" y="1749"/>
                    </a:lnTo>
                    <a:lnTo>
                      <a:pt x="18547" y="656"/>
                    </a:lnTo>
                    <a:lnTo>
                      <a:pt x="18974" y="3388"/>
                    </a:lnTo>
                    <a:lnTo>
                      <a:pt x="19915" y="7322"/>
                    </a:lnTo>
                    <a:lnTo>
                      <a:pt x="18547" y="7322"/>
                    </a:lnTo>
                    <a:lnTo>
                      <a:pt x="14103" y="7322"/>
                    </a:lnTo>
                    <a:lnTo>
                      <a:pt x="9744" y="7322"/>
                    </a:lnTo>
                    <a:lnTo>
                      <a:pt x="11453" y="12459"/>
                    </a:lnTo>
                    <a:lnTo>
                      <a:pt x="15043" y="16940"/>
                    </a:lnTo>
                    <a:lnTo>
                      <a:pt x="15043" y="19891"/>
                    </a:lnTo>
                    <a:lnTo>
                      <a:pt x="12735" y="16940"/>
                    </a:lnTo>
                    <a:lnTo>
                      <a:pt x="10598" y="16503"/>
                    </a:lnTo>
                    <a:lnTo>
                      <a:pt x="9231" y="16940"/>
                    </a:lnTo>
                    <a:lnTo>
                      <a:pt x="5726" y="12459"/>
                    </a:lnTo>
                    <a:lnTo>
                      <a:pt x="7863" y="11913"/>
                    </a:lnTo>
                    <a:lnTo>
                      <a:pt x="4872" y="9071"/>
                    </a:lnTo>
                    <a:lnTo>
                      <a:pt x="4872" y="7322"/>
                    </a:lnTo>
                    <a:lnTo>
                      <a:pt x="2564" y="5137"/>
                    </a:lnTo>
                    <a:lnTo>
                      <a:pt x="1368" y="7978"/>
                    </a:lnTo>
                    <a:lnTo>
                      <a:pt x="0" y="4481"/>
                    </a:lnTo>
                    <a:lnTo>
                      <a:pt x="342" y="3388"/>
                    </a:lnTo>
                    <a:lnTo>
                      <a:pt x="2222" y="4481"/>
                    </a:lnTo>
                    <a:lnTo>
                      <a:pt x="2564" y="3388"/>
                    </a:lnTo>
                    <a:lnTo>
                      <a:pt x="4872" y="2842"/>
                    </a:lnTo>
                    <a:lnTo>
                      <a:pt x="7863" y="3388"/>
                    </a:lnTo>
                    <a:lnTo>
                      <a:pt x="9231" y="1749"/>
                    </a:lnTo>
                    <a:lnTo>
                      <a:pt x="11453"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1" name="Freeform 228"/>
              <p:cNvSpPr>
                <a:spLocks/>
              </p:cNvSpPr>
              <p:nvPr/>
            </p:nvSpPr>
            <p:spPr bwMode="auto">
              <a:xfrm>
                <a:off x="5416550" y="3082925"/>
                <a:ext cx="92075" cy="85725"/>
              </a:xfrm>
              <a:custGeom>
                <a:avLst/>
                <a:gdLst>
                  <a:gd name="T0" fmla="*/ 14795 w 20000"/>
                  <a:gd name="T1" fmla="*/ 19853 h 20000"/>
                  <a:gd name="T2" fmla="*/ 10548 w 20000"/>
                  <a:gd name="T3" fmla="*/ 18382 h 20000"/>
                  <a:gd name="T4" fmla="*/ 5616 w 20000"/>
                  <a:gd name="T5" fmla="*/ 16912 h 20000"/>
                  <a:gd name="T6" fmla="*/ 5616 w 20000"/>
                  <a:gd name="T7" fmla="*/ 16029 h 20000"/>
                  <a:gd name="T8" fmla="*/ 8493 w 20000"/>
                  <a:gd name="T9" fmla="*/ 16912 h 20000"/>
                  <a:gd name="T10" fmla="*/ 8493 w 20000"/>
                  <a:gd name="T11" fmla="*/ 12941 h 20000"/>
                  <a:gd name="T12" fmla="*/ 2740 w 20000"/>
                  <a:gd name="T13" fmla="*/ 6912 h 20000"/>
                  <a:gd name="T14" fmla="*/ 0 w 20000"/>
                  <a:gd name="T15" fmla="*/ 0 h 20000"/>
                  <a:gd name="T16" fmla="*/ 6986 w 20000"/>
                  <a:gd name="T17" fmla="*/ 0 h 20000"/>
                  <a:gd name="T18" fmla="*/ 14247 w 20000"/>
                  <a:gd name="T19" fmla="*/ 0 h 20000"/>
                  <a:gd name="T20" fmla="*/ 16301 w 20000"/>
                  <a:gd name="T21" fmla="*/ 0 h 20000"/>
                  <a:gd name="T22" fmla="*/ 19863 w 20000"/>
                  <a:gd name="T23" fmla="*/ 0 h 20000"/>
                  <a:gd name="T24" fmla="*/ 18493 w 20000"/>
                  <a:gd name="T25" fmla="*/ 4559 h 20000"/>
                  <a:gd name="T26" fmla="*/ 19863 w 20000"/>
                  <a:gd name="T27" fmla="*/ 8382 h 20000"/>
                  <a:gd name="T28" fmla="*/ 19863 w 20000"/>
                  <a:gd name="T29" fmla="*/ 12353 h 20000"/>
                  <a:gd name="T30" fmla="*/ 16301 w 20000"/>
                  <a:gd name="T31" fmla="*/ 16029 h 20000"/>
                  <a:gd name="T32" fmla="*/ 14795 w 20000"/>
                  <a:gd name="T33" fmla="*/ 1985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4795" y="19853"/>
                    </a:moveTo>
                    <a:lnTo>
                      <a:pt x="10548" y="18382"/>
                    </a:lnTo>
                    <a:lnTo>
                      <a:pt x="5616" y="16912"/>
                    </a:lnTo>
                    <a:lnTo>
                      <a:pt x="5616" y="16029"/>
                    </a:lnTo>
                    <a:lnTo>
                      <a:pt x="8493" y="16912"/>
                    </a:lnTo>
                    <a:lnTo>
                      <a:pt x="8493" y="12941"/>
                    </a:lnTo>
                    <a:lnTo>
                      <a:pt x="2740" y="6912"/>
                    </a:lnTo>
                    <a:lnTo>
                      <a:pt x="0" y="0"/>
                    </a:lnTo>
                    <a:lnTo>
                      <a:pt x="6986" y="0"/>
                    </a:lnTo>
                    <a:lnTo>
                      <a:pt x="14247" y="0"/>
                    </a:lnTo>
                    <a:lnTo>
                      <a:pt x="16301" y="0"/>
                    </a:lnTo>
                    <a:lnTo>
                      <a:pt x="19863" y="0"/>
                    </a:lnTo>
                    <a:lnTo>
                      <a:pt x="18493" y="4559"/>
                    </a:lnTo>
                    <a:lnTo>
                      <a:pt x="19863" y="8382"/>
                    </a:lnTo>
                    <a:lnTo>
                      <a:pt x="19863" y="12353"/>
                    </a:lnTo>
                    <a:lnTo>
                      <a:pt x="16301" y="16029"/>
                    </a:lnTo>
                    <a:lnTo>
                      <a:pt x="14795" y="1985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2" name="Freeform 227"/>
              <p:cNvSpPr>
                <a:spLocks/>
              </p:cNvSpPr>
              <p:nvPr/>
            </p:nvSpPr>
            <p:spPr bwMode="auto">
              <a:xfrm>
                <a:off x="5483225" y="3041650"/>
                <a:ext cx="73025" cy="42863"/>
              </a:xfrm>
              <a:custGeom>
                <a:avLst/>
                <a:gdLst>
                  <a:gd name="T0" fmla="*/ 0 w 20000"/>
                  <a:gd name="T1" fmla="*/ 1765 h 20000"/>
                  <a:gd name="T2" fmla="*/ 5391 w 20000"/>
                  <a:gd name="T3" fmla="*/ 1765 h 20000"/>
                  <a:gd name="T4" fmla="*/ 7130 w 20000"/>
                  <a:gd name="T5" fmla="*/ 0 h 20000"/>
                  <a:gd name="T6" fmla="*/ 12696 w 20000"/>
                  <a:gd name="T7" fmla="*/ 0 h 20000"/>
                  <a:gd name="T8" fmla="*/ 14435 w 20000"/>
                  <a:gd name="T9" fmla="*/ 4706 h 20000"/>
                  <a:gd name="T10" fmla="*/ 14435 w 20000"/>
                  <a:gd name="T11" fmla="*/ 9118 h 20000"/>
                  <a:gd name="T12" fmla="*/ 19826 w 20000"/>
                  <a:gd name="T13" fmla="*/ 13824 h 20000"/>
                  <a:gd name="T14" fmla="*/ 19826 w 20000"/>
                  <a:gd name="T15" fmla="*/ 19706 h 20000"/>
                  <a:gd name="T16" fmla="*/ 17043 w 20000"/>
                  <a:gd name="T17" fmla="*/ 19706 h 20000"/>
                  <a:gd name="T18" fmla="*/ 12696 w 20000"/>
                  <a:gd name="T19" fmla="*/ 16765 h 20000"/>
                  <a:gd name="T20" fmla="*/ 7130 w 20000"/>
                  <a:gd name="T21" fmla="*/ 19706 h 20000"/>
                  <a:gd name="T22" fmla="*/ 2783 w 20000"/>
                  <a:gd name="T23" fmla="*/ 19706 h 20000"/>
                  <a:gd name="T24" fmla="*/ 696 w 20000"/>
                  <a:gd name="T25" fmla="*/ 9118 h 20000"/>
                  <a:gd name="T26" fmla="*/ 0 w 20000"/>
                  <a:gd name="T27" fmla="*/ 1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0" y="1765"/>
                    </a:moveTo>
                    <a:lnTo>
                      <a:pt x="5391" y="1765"/>
                    </a:lnTo>
                    <a:lnTo>
                      <a:pt x="7130" y="0"/>
                    </a:lnTo>
                    <a:lnTo>
                      <a:pt x="12696" y="0"/>
                    </a:lnTo>
                    <a:lnTo>
                      <a:pt x="14435" y="4706"/>
                    </a:lnTo>
                    <a:lnTo>
                      <a:pt x="14435" y="9118"/>
                    </a:lnTo>
                    <a:lnTo>
                      <a:pt x="19826" y="13824"/>
                    </a:lnTo>
                    <a:lnTo>
                      <a:pt x="19826" y="19706"/>
                    </a:lnTo>
                    <a:lnTo>
                      <a:pt x="17043" y="19706"/>
                    </a:lnTo>
                    <a:lnTo>
                      <a:pt x="12696" y="16765"/>
                    </a:lnTo>
                    <a:lnTo>
                      <a:pt x="7130" y="19706"/>
                    </a:lnTo>
                    <a:lnTo>
                      <a:pt x="2783" y="19706"/>
                    </a:lnTo>
                    <a:lnTo>
                      <a:pt x="696" y="9118"/>
                    </a:lnTo>
                    <a:lnTo>
                      <a:pt x="0" y="1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3" name="Freeform 226"/>
              <p:cNvSpPr>
                <a:spLocks/>
              </p:cNvSpPr>
              <p:nvPr/>
            </p:nvSpPr>
            <p:spPr bwMode="auto">
              <a:xfrm>
                <a:off x="5502275" y="3076575"/>
                <a:ext cx="95250" cy="103188"/>
              </a:xfrm>
              <a:custGeom>
                <a:avLst/>
                <a:gdLst>
                  <a:gd name="T0" fmla="*/ 10933 w 20000"/>
                  <a:gd name="T1" fmla="*/ 1235 h 20000"/>
                  <a:gd name="T2" fmla="*/ 10933 w 20000"/>
                  <a:gd name="T3" fmla="*/ 1975 h 20000"/>
                  <a:gd name="T4" fmla="*/ 13600 w 20000"/>
                  <a:gd name="T5" fmla="*/ 3210 h 20000"/>
                  <a:gd name="T6" fmla="*/ 15733 w 20000"/>
                  <a:gd name="T7" fmla="*/ 4568 h 20000"/>
                  <a:gd name="T8" fmla="*/ 16400 w 20000"/>
                  <a:gd name="T9" fmla="*/ 3210 h 20000"/>
                  <a:gd name="T10" fmla="*/ 17733 w 20000"/>
                  <a:gd name="T11" fmla="*/ 3210 h 20000"/>
                  <a:gd name="T12" fmla="*/ 16400 w 20000"/>
                  <a:gd name="T13" fmla="*/ 4568 h 20000"/>
                  <a:gd name="T14" fmla="*/ 17733 w 20000"/>
                  <a:gd name="T15" fmla="*/ 6543 h 20000"/>
                  <a:gd name="T16" fmla="*/ 17733 w 20000"/>
                  <a:gd name="T17" fmla="*/ 10247 h 20000"/>
                  <a:gd name="T18" fmla="*/ 19200 w 20000"/>
                  <a:gd name="T19" fmla="*/ 12099 h 20000"/>
                  <a:gd name="T20" fmla="*/ 19867 w 20000"/>
                  <a:gd name="T21" fmla="*/ 13457 h 20000"/>
                  <a:gd name="T22" fmla="*/ 19200 w 20000"/>
                  <a:gd name="T23" fmla="*/ 14815 h 20000"/>
                  <a:gd name="T24" fmla="*/ 17733 w 20000"/>
                  <a:gd name="T25" fmla="*/ 15432 h 20000"/>
                  <a:gd name="T26" fmla="*/ 17733 w 20000"/>
                  <a:gd name="T27" fmla="*/ 16667 h 20000"/>
                  <a:gd name="T28" fmla="*/ 19200 w 20000"/>
                  <a:gd name="T29" fmla="*/ 17901 h 20000"/>
                  <a:gd name="T30" fmla="*/ 17733 w 20000"/>
                  <a:gd name="T31" fmla="*/ 18642 h 20000"/>
                  <a:gd name="T32" fmla="*/ 12267 w 20000"/>
                  <a:gd name="T33" fmla="*/ 19877 h 20000"/>
                  <a:gd name="T34" fmla="*/ 14400 w 20000"/>
                  <a:gd name="T35" fmla="*/ 17901 h 20000"/>
                  <a:gd name="T36" fmla="*/ 12267 w 20000"/>
                  <a:gd name="T37" fmla="*/ 14815 h 20000"/>
                  <a:gd name="T38" fmla="*/ 8933 w 20000"/>
                  <a:gd name="T39" fmla="*/ 14815 h 20000"/>
                  <a:gd name="T40" fmla="*/ 8133 w 20000"/>
                  <a:gd name="T41" fmla="*/ 15432 h 20000"/>
                  <a:gd name="T42" fmla="*/ 4800 w 20000"/>
                  <a:gd name="T43" fmla="*/ 12099 h 20000"/>
                  <a:gd name="T44" fmla="*/ 1333 w 20000"/>
                  <a:gd name="T45" fmla="*/ 11605 h 20000"/>
                  <a:gd name="T46" fmla="*/ 1333 w 20000"/>
                  <a:gd name="T47" fmla="*/ 8272 h 20000"/>
                  <a:gd name="T48" fmla="*/ 0 w 20000"/>
                  <a:gd name="T49" fmla="*/ 5062 h 20000"/>
                  <a:gd name="T50" fmla="*/ 1333 w 20000"/>
                  <a:gd name="T51" fmla="*/ 1235 h 20000"/>
                  <a:gd name="T52" fmla="*/ 5467 w 20000"/>
                  <a:gd name="T53" fmla="*/ 0 h 20000"/>
                  <a:gd name="T54" fmla="*/ 8933 w 20000"/>
                  <a:gd name="T55" fmla="*/ 1235 h 20000"/>
                  <a:gd name="T56" fmla="*/ 10933 w 20000"/>
                  <a:gd name="T57" fmla="*/ 12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10933" y="1235"/>
                    </a:moveTo>
                    <a:lnTo>
                      <a:pt x="10933" y="1975"/>
                    </a:lnTo>
                    <a:lnTo>
                      <a:pt x="13600" y="3210"/>
                    </a:lnTo>
                    <a:lnTo>
                      <a:pt x="15733" y="4568"/>
                    </a:lnTo>
                    <a:lnTo>
                      <a:pt x="16400" y="3210"/>
                    </a:lnTo>
                    <a:lnTo>
                      <a:pt x="17733" y="3210"/>
                    </a:lnTo>
                    <a:lnTo>
                      <a:pt x="16400" y="4568"/>
                    </a:lnTo>
                    <a:lnTo>
                      <a:pt x="17733" y="6543"/>
                    </a:lnTo>
                    <a:lnTo>
                      <a:pt x="17733" y="10247"/>
                    </a:lnTo>
                    <a:lnTo>
                      <a:pt x="19200" y="12099"/>
                    </a:lnTo>
                    <a:lnTo>
                      <a:pt x="19867" y="13457"/>
                    </a:lnTo>
                    <a:lnTo>
                      <a:pt x="19200" y="14815"/>
                    </a:lnTo>
                    <a:lnTo>
                      <a:pt x="17733" y="15432"/>
                    </a:lnTo>
                    <a:lnTo>
                      <a:pt x="17733" y="16667"/>
                    </a:lnTo>
                    <a:lnTo>
                      <a:pt x="19200" y="17901"/>
                    </a:lnTo>
                    <a:lnTo>
                      <a:pt x="17733" y="18642"/>
                    </a:lnTo>
                    <a:lnTo>
                      <a:pt x="12267" y="19877"/>
                    </a:lnTo>
                    <a:lnTo>
                      <a:pt x="14400" y="17901"/>
                    </a:lnTo>
                    <a:lnTo>
                      <a:pt x="12267" y="14815"/>
                    </a:lnTo>
                    <a:lnTo>
                      <a:pt x="8933" y="14815"/>
                    </a:lnTo>
                    <a:lnTo>
                      <a:pt x="8133" y="15432"/>
                    </a:lnTo>
                    <a:lnTo>
                      <a:pt x="4800" y="12099"/>
                    </a:lnTo>
                    <a:lnTo>
                      <a:pt x="1333" y="11605"/>
                    </a:lnTo>
                    <a:lnTo>
                      <a:pt x="1333" y="8272"/>
                    </a:lnTo>
                    <a:lnTo>
                      <a:pt x="0" y="5062"/>
                    </a:lnTo>
                    <a:lnTo>
                      <a:pt x="1333" y="1235"/>
                    </a:lnTo>
                    <a:lnTo>
                      <a:pt x="5467" y="0"/>
                    </a:lnTo>
                    <a:lnTo>
                      <a:pt x="8933" y="1235"/>
                    </a:lnTo>
                    <a:lnTo>
                      <a:pt x="10933" y="12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4" name="Freeform 225"/>
              <p:cNvSpPr>
                <a:spLocks/>
              </p:cNvSpPr>
              <p:nvPr/>
            </p:nvSpPr>
            <p:spPr bwMode="auto">
              <a:xfrm>
                <a:off x="5483225" y="3136900"/>
                <a:ext cx="60325" cy="53975"/>
              </a:xfrm>
              <a:custGeom>
                <a:avLst/>
                <a:gdLst>
                  <a:gd name="T0" fmla="*/ 12128 w 20000"/>
                  <a:gd name="T1" fmla="*/ 9762 h 20000"/>
                  <a:gd name="T2" fmla="*/ 8723 w 20000"/>
                  <a:gd name="T3" fmla="*/ 13571 h 20000"/>
                  <a:gd name="T4" fmla="*/ 5532 w 20000"/>
                  <a:gd name="T5" fmla="*/ 19762 h 20000"/>
                  <a:gd name="T6" fmla="*/ 0 w 20000"/>
                  <a:gd name="T7" fmla="*/ 12381 h 20000"/>
                  <a:gd name="T8" fmla="*/ 851 w 20000"/>
                  <a:gd name="T9" fmla="*/ 12381 h 20000"/>
                  <a:gd name="T10" fmla="*/ 3404 w 20000"/>
                  <a:gd name="T11" fmla="*/ 6190 h 20000"/>
                  <a:gd name="T12" fmla="*/ 8723 w 20000"/>
                  <a:gd name="T13" fmla="*/ 0 h 20000"/>
                  <a:gd name="T14" fmla="*/ 14255 w 20000"/>
                  <a:gd name="T15" fmla="*/ 952 h 20000"/>
                  <a:gd name="T16" fmla="*/ 19787 w 20000"/>
                  <a:gd name="T17" fmla="*/ 7381 h 20000"/>
                  <a:gd name="T18" fmla="*/ 17660 w 20000"/>
                  <a:gd name="T19" fmla="*/ 9762 h 20000"/>
                  <a:gd name="T20" fmla="*/ 12128 w 20000"/>
                  <a:gd name="T21" fmla="*/ 976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2128" y="9762"/>
                    </a:moveTo>
                    <a:lnTo>
                      <a:pt x="8723" y="13571"/>
                    </a:lnTo>
                    <a:lnTo>
                      <a:pt x="5532" y="19762"/>
                    </a:lnTo>
                    <a:lnTo>
                      <a:pt x="0" y="12381"/>
                    </a:lnTo>
                    <a:lnTo>
                      <a:pt x="851" y="12381"/>
                    </a:lnTo>
                    <a:lnTo>
                      <a:pt x="3404" y="6190"/>
                    </a:lnTo>
                    <a:lnTo>
                      <a:pt x="8723" y="0"/>
                    </a:lnTo>
                    <a:lnTo>
                      <a:pt x="14255" y="952"/>
                    </a:lnTo>
                    <a:lnTo>
                      <a:pt x="19787" y="7381"/>
                    </a:lnTo>
                    <a:lnTo>
                      <a:pt x="17660" y="9762"/>
                    </a:lnTo>
                    <a:lnTo>
                      <a:pt x="12128" y="97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5" name="Freeform 224"/>
              <p:cNvSpPr>
                <a:spLocks/>
              </p:cNvSpPr>
              <p:nvPr/>
            </p:nvSpPr>
            <p:spPr bwMode="auto">
              <a:xfrm>
                <a:off x="5519738" y="3152775"/>
                <a:ext cx="53975" cy="42863"/>
              </a:xfrm>
              <a:custGeom>
                <a:avLst/>
                <a:gdLst>
                  <a:gd name="T0" fmla="*/ 15952 w 20000"/>
                  <a:gd name="T1" fmla="*/ 12059 h 20000"/>
                  <a:gd name="T2" fmla="*/ 8571 w 20000"/>
                  <a:gd name="T3" fmla="*/ 19706 h 20000"/>
                  <a:gd name="T4" fmla="*/ 8571 w 20000"/>
                  <a:gd name="T5" fmla="*/ 16765 h 20000"/>
                  <a:gd name="T6" fmla="*/ 8571 w 20000"/>
                  <a:gd name="T7" fmla="*/ 12059 h 20000"/>
                  <a:gd name="T8" fmla="*/ 0 w 20000"/>
                  <a:gd name="T9" fmla="*/ 4706 h 20000"/>
                  <a:gd name="T10" fmla="*/ 6190 w 20000"/>
                  <a:gd name="T11" fmla="*/ 4706 h 20000"/>
                  <a:gd name="T12" fmla="*/ 8571 w 20000"/>
                  <a:gd name="T13" fmla="*/ 1765 h 20000"/>
                  <a:gd name="T14" fmla="*/ 9762 w 20000"/>
                  <a:gd name="T15" fmla="*/ 0 h 20000"/>
                  <a:gd name="T16" fmla="*/ 15952 w 20000"/>
                  <a:gd name="T17" fmla="*/ 0 h 20000"/>
                  <a:gd name="T18" fmla="*/ 19762 w 20000"/>
                  <a:gd name="T19" fmla="*/ 7647 h 20000"/>
                  <a:gd name="T20" fmla="*/ 15952 w 20000"/>
                  <a:gd name="T21" fmla="*/ 1205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5952" y="12059"/>
                    </a:moveTo>
                    <a:lnTo>
                      <a:pt x="8571" y="19706"/>
                    </a:lnTo>
                    <a:lnTo>
                      <a:pt x="8571" y="16765"/>
                    </a:lnTo>
                    <a:lnTo>
                      <a:pt x="8571" y="12059"/>
                    </a:lnTo>
                    <a:lnTo>
                      <a:pt x="0" y="4706"/>
                    </a:lnTo>
                    <a:lnTo>
                      <a:pt x="6190" y="4706"/>
                    </a:lnTo>
                    <a:lnTo>
                      <a:pt x="8571" y="1765"/>
                    </a:lnTo>
                    <a:lnTo>
                      <a:pt x="9762" y="0"/>
                    </a:lnTo>
                    <a:lnTo>
                      <a:pt x="15952" y="0"/>
                    </a:lnTo>
                    <a:lnTo>
                      <a:pt x="19762" y="7647"/>
                    </a:lnTo>
                    <a:lnTo>
                      <a:pt x="15952" y="120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6" name="Freeform 223"/>
              <p:cNvSpPr>
                <a:spLocks/>
              </p:cNvSpPr>
              <p:nvPr/>
            </p:nvSpPr>
            <p:spPr bwMode="auto">
              <a:xfrm>
                <a:off x="5541963" y="3173413"/>
                <a:ext cx="63500" cy="60325"/>
              </a:xfrm>
              <a:custGeom>
                <a:avLst/>
                <a:gdLst>
                  <a:gd name="T0" fmla="*/ 14400 w 20000"/>
                  <a:gd name="T1" fmla="*/ 0 h 20000"/>
                  <a:gd name="T2" fmla="*/ 19800 w 20000"/>
                  <a:gd name="T3" fmla="*/ 5532 h 20000"/>
                  <a:gd name="T4" fmla="*/ 19800 w 20000"/>
                  <a:gd name="T5" fmla="*/ 10851 h 20000"/>
                  <a:gd name="T6" fmla="*/ 16600 w 20000"/>
                  <a:gd name="T7" fmla="*/ 14255 h 20000"/>
                  <a:gd name="T8" fmla="*/ 12400 w 20000"/>
                  <a:gd name="T9" fmla="*/ 12128 h 20000"/>
                  <a:gd name="T10" fmla="*/ 11400 w 20000"/>
                  <a:gd name="T11" fmla="*/ 16383 h 20000"/>
                  <a:gd name="T12" fmla="*/ 6200 w 20000"/>
                  <a:gd name="T13" fmla="*/ 16383 h 20000"/>
                  <a:gd name="T14" fmla="*/ 3200 w 20000"/>
                  <a:gd name="T15" fmla="*/ 19787 h 20000"/>
                  <a:gd name="T16" fmla="*/ 1200 w 20000"/>
                  <a:gd name="T17" fmla="*/ 14255 h 20000"/>
                  <a:gd name="T18" fmla="*/ 0 w 20000"/>
                  <a:gd name="T19" fmla="*/ 10851 h 20000"/>
                  <a:gd name="T20" fmla="*/ 0 w 20000"/>
                  <a:gd name="T21" fmla="*/ 7660 h 20000"/>
                  <a:gd name="T22" fmla="*/ 6200 w 20000"/>
                  <a:gd name="T23" fmla="*/ 2128 h 20000"/>
                  <a:gd name="T24" fmla="*/ 14400 w 20000"/>
                  <a:gd name="T2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4400" y="0"/>
                    </a:moveTo>
                    <a:lnTo>
                      <a:pt x="19800" y="5532"/>
                    </a:lnTo>
                    <a:lnTo>
                      <a:pt x="19800" y="10851"/>
                    </a:lnTo>
                    <a:lnTo>
                      <a:pt x="16600" y="14255"/>
                    </a:lnTo>
                    <a:lnTo>
                      <a:pt x="12400" y="12128"/>
                    </a:lnTo>
                    <a:lnTo>
                      <a:pt x="11400" y="16383"/>
                    </a:lnTo>
                    <a:lnTo>
                      <a:pt x="6200" y="16383"/>
                    </a:lnTo>
                    <a:lnTo>
                      <a:pt x="3200" y="19787"/>
                    </a:lnTo>
                    <a:lnTo>
                      <a:pt x="1200" y="14255"/>
                    </a:lnTo>
                    <a:lnTo>
                      <a:pt x="0" y="10851"/>
                    </a:lnTo>
                    <a:lnTo>
                      <a:pt x="0" y="7660"/>
                    </a:lnTo>
                    <a:lnTo>
                      <a:pt x="6200" y="2128"/>
                    </a:lnTo>
                    <a:lnTo>
                      <a:pt x="1440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7" name="Freeform 222"/>
              <p:cNvSpPr>
                <a:spLocks/>
              </p:cNvSpPr>
              <p:nvPr/>
            </p:nvSpPr>
            <p:spPr bwMode="auto">
              <a:xfrm>
                <a:off x="5429250" y="2906713"/>
                <a:ext cx="149225" cy="82550"/>
              </a:xfrm>
              <a:custGeom>
                <a:avLst/>
                <a:gdLst>
                  <a:gd name="T0" fmla="*/ 5812 w 20000"/>
                  <a:gd name="T1" fmla="*/ 0 h 20000"/>
                  <a:gd name="T2" fmla="*/ 7521 w 20000"/>
                  <a:gd name="T3" fmla="*/ 3077 h 20000"/>
                  <a:gd name="T4" fmla="*/ 9316 w 20000"/>
                  <a:gd name="T5" fmla="*/ 1538 h 20000"/>
                  <a:gd name="T6" fmla="*/ 9829 w 20000"/>
                  <a:gd name="T7" fmla="*/ 4000 h 20000"/>
                  <a:gd name="T8" fmla="*/ 10684 w 20000"/>
                  <a:gd name="T9" fmla="*/ 5538 h 20000"/>
                  <a:gd name="T10" fmla="*/ 12821 w 20000"/>
                  <a:gd name="T11" fmla="*/ 4000 h 20000"/>
                  <a:gd name="T12" fmla="*/ 14188 w 20000"/>
                  <a:gd name="T13" fmla="*/ 4000 h 20000"/>
                  <a:gd name="T14" fmla="*/ 15043 w 20000"/>
                  <a:gd name="T15" fmla="*/ 3077 h 20000"/>
                  <a:gd name="T16" fmla="*/ 16838 w 20000"/>
                  <a:gd name="T17" fmla="*/ 4000 h 20000"/>
                  <a:gd name="T18" fmla="*/ 19060 w 20000"/>
                  <a:gd name="T19" fmla="*/ 5538 h 20000"/>
                  <a:gd name="T20" fmla="*/ 19915 w 20000"/>
                  <a:gd name="T21" fmla="*/ 6308 h 20000"/>
                  <a:gd name="T22" fmla="*/ 18547 w 20000"/>
                  <a:gd name="T23" fmla="*/ 13538 h 20000"/>
                  <a:gd name="T24" fmla="*/ 16838 w 20000"/>
                  <a:gd name="T25" fmla="*/ 13538 h 20000"/>
                  <a:gd name="T26" fmla="*/ 16410 w 20000"/>
                  <a:gd name="T27" fmla="*/ 11846 h 20000"/>
                  <a:gd name="T28" fmla="*/ 14188 w 20000"/>
                  <a:gd name="T29" fmla="*/ 11846 h 20000"/>
                  <a:gd name="T30" fmla="*/ 13333 w 20000"/>
                  <a:gd name="T31" fmla="*/ 11846 h 20000"/>
                  <a:gd name="T32" fmla="*/ 10684 w 20000"/>
                  <a:gd name="T33" fmla="*/ 14154 h 20000"/>
                  <a:gd name="T34" fmla="*/ 9829 w 20000"/>
                  <a:gd name="T35" fmla="*/ 14154 h 20000"/>
                  <a:gd name="T36" fmla="*/ 7179 w 20000"/>
                  <a:gd name="T37" fmla="*/ 16615 h 20000"/>
                  <a:gd name="T38" fmla="*/ 4872 w 20000"/>
                  <a:gd name="T39" fmla="*/ 19846 h 20000"/>
                  <a:gd name="T40" fmla="*/ 1795 w 20000"/>
                  <a:gd name="T41" fmla="*/ 18154 h 20000"/>
                  <a:gd name="T42" fmla="*/ 1368 w 20000"/>
                  <a:gd name="T43" fmla="*/ 16615 h 20000"/>
                  <a:gd name="T44" fmla="*/ 0 w 20000"/>
                  <a:gd name="T45" fmla="*/ 14154 h 20000"/>
                  <a:gd name="T46" fmla="*/ 0 w 20000"/>
                  <a:gd name="T47" fmla="*/ 10308 h 20000"/>
                  <a:gd name="T48" fmla="*/ 5812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5812" y="0"/>
                    </a:moveTo>
                    <a:lnTo>
                      <a:pt x="7521" y="3077"/>
                    </a:lnTo>
                    <a:lnTo>
                      <a:pt x="9316" y="1538"/>
                    </a:lnTo>
                    <a:lnTo>
                      <a:pt x="9829" y="4000"/>
                    </a:lnTo>
                    <a:lnTo>
                      <a:pt x="10684" y="5538"/>
                    </a:lnTo>
                    <a:lnTo>
                      <a:pt x="12821" y="4000"/>
                    </a:lnTo>
                    <a:lnTo>
                      <a:pt x="14188" y="4000"/>
                    </a:lnTo>
                    <a:lnTo>
                      <a:pt x="15043" y="3077"/>
                    </a:lnTo>
                    <a:lnTo>
                      <a:pt x="16838" y="4000"/>
                    </a:lnTo>
                    <a:lnTo>
                      <a:pt x="19060" y="5538"/>
                    </a:lnTo>
                    <a:lnTo>
                      <a:pt x="19915" y="6308"/>
                    </a:lnTo>
                    <a:lnTo>
                      <a:pt x="18547" y="13538"/>
                    </a:lnTo>
                    <a:lnTo>
                      <a:pt x="16838" y="13538"/>
                    </a:lnTo>
                    <a:lnTo>
                      <a:pt x="16410" y="11846"/>
                    </a:lnTo>
                    <a:lnTo>
                      <a:pt x="14188" y="11846"/>
                    </a:lnTo>
                    <a:lnTo>
                      <a:pt x="13333" y="11846"/>
                    </a:lnTo>
                    <a:lnTo>
                      <a:pt x="10684" y="14154"/>
                    </a:lnTo>
                    <a:lnTo>
                      <a:pt x="9829" y="14154"/>
                    </a:lnTo>
                    <a:lnTo>
                      <a:pt x="7179" y="16615"/>
                    </a:lnTo>
                    <a:lnTo>
                      <a:pt x="4872" y="19846"/>
                    </a:lnTo>
                    <a:lnTo>
                      <a:pt x="1795" y="18154"/>
                    </a:lnTo>
                    <a:lnTo>
                      <a:pt x="1368" y="16615"/>
                    </a:lnTo>
                    <a:lnTo>
                      <a:pt x="0" y="14154"/>
                    </a:lnTo>
                    <a:lnTo>
                      <a:pt x="0" y="10308"/>
                    </a:lnTo>
                    <a:lnTo>
                      <a:pt x="581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8" name="Freeform 221"/>
              <p:cNvSpPr>
                <a:spLocks/>
              </p:cNvSpPr>
              <p:nvPr/>
            </p:nvSpPr>
            <p:spPr bwMode="auto">
              <a:xfrm>
                <a:off x="5305425" y="2863850"/>
                <a:ext cx="168275" cy="92075"/>
              </a:xfrm>
              <a:custGeom>
                <a:avLst/>
                <a:gdLst>
                  <a:gd name="T0" fmla="*/ 6943 w 20000"/>
                  <a:gd name="T1" fmla="*/ 0 h 20000"/>
                  <a:gd name="T2" fmla="*/ 8151 w 20000"/>
                  <a:gd name="T3" fmla="*/ 0 h 20000"/>
                  <a:gd name="T4" fmla="*/ 8981 w 20000"/>
                  <a:gd name="T5" fmla="*/ 0 h 20000"/>
                  <a:gd name="T6" fmla="*/ 10189 w 20000"/>
                  <a:gd name="T7" fmla="*/ 0 h 20000"/>
                  <a:gd name="T8" fmla="*/ 10189 w 20000"/>
                  <a:gd name="T9" fmla="*/ 1507 h 20000"/>
                  <a:gd name="T10" fmla="*/ 12075 w 20000"/>
                  <a:gd name="T11" fmla="*/ 2877 h 20000"/>
                  <a:gd name="T12" fmla="*/ 12830 w 20000"/>
                  <a:gd name="T13" fmla="*/ 2877 h 20000"/>
                  <a:gd name="T14" fmla="*/ 12830 w 20000"/>
                  <a:gd name="T15" fmla="*/ 3699 h 20000"/>
                  <a:gd name="T16" fmla="*/ 12830 w 20000"/>
                  <a:gd name="T17" fmla="*/ 5068 h 20000"/>
                  <a:gd name="T18" fmla="*/ 14038 w 20000"/>
                  <a:gd name="T19" fmla="*/ 6438 h 20000"/>
                  <a:gd name="T20" fmla="*/ 14792 w 20000"/>
                  <a:gd name="T21" fmla="*/ 6438 h 20000"/>
                  <a:gd name="T22" fmla="*/ 16000 w 20000"/>
                  <a:gd name="T23" fmla="*/ 5068 h 20000"/>
                  <a:gd name="T24" fmla="*/ 17132 w 20000"/>
                  <a:gd name="T25" fmla="*/ 6438 h 20000"/>
                  <a:gd name="T26" fmla="*/ 17132 w 20000"/>
                  <a:gd name="T27" fmla="*/ 7123 h 20000"/>
                  <a:gd name="T28" fmla="*/ 19925 w 20000"/>
                  <a:gd name="T29" fmla="*/ 8493 h 20000"/>
                  <a:gd name="T30" fmla="*/ 19925 w 20000"/>
                  <a:gd name="T31" fmla="*/ 9315 h 20000"/>
                  <a:gd name="T32" fmla="*/ 14792 w 20000"/>
                  <a:gd name="T33" fmla="*/ 18493 h 20000"/>
                  <a:gd name="T34" fmla="*/ 11698 w 20000"/>
                  <a:gd name="T35" fmla="*/ 17671 h 20000"/>
                  <a:gd name="T36" fmla="*/ 9736 w 20000"/>
                  <a:gd name="T37" fmla="*/ 16301 h 20000"/>
                  <a:gd name="T38" fmla="*/ 8151 w 20000"/>
                  <a:gd name="T39" fmla="*/ 19863 h 20000"/>
                  <a:gd name="T40" fmla="*/ 6943 w 20000"/>
                  <a:gd name="T41" fmla="*/ 19863 h 20000"/>
                  <a:gd name="T42" fmla="*/ 5057 w 20000"/>
                  <a:gd name="T43" fmla="*/ 18493 h 20000"/>
                  <a:gd name="T44" fmla="*/ 5057 w 20000"/>
                  <a:gd name="T45" fmla="*/ 17671 h 20000"/>
                  <a:gd name="T46" fmla="*/ 3849 w 20000"/>
                  <a:gd name="T47" fmla="*/ 14932 h 20000"/>
                  <a:gd name="T48" fmla="*/ 3547 w 20000"/>
                  <a:gd name="T49" fmla="*/ 14247 h 20000"/>
                  <a:gd name="T50" fmla="*/ 1509 w 20000"/>
                  <a:gd name="T51" fmla="*/ 12055 h 20000"/>
                  <a:gd name="T52" fmla="*/ 1509 w 20000"/>
                  <a:gd name="T53" fmla="*/ 9315 h 20000"/>
                  <a:gd name="T54" fmla="*/ 0 w 20000"/>
                  <a:gd name="T55" fmla="*/ 8493 h 20000"/>
                  <a:gd name="T56" fmla="*/ 0 w 20000"/>
                  <a:gd name="T57" fmla="*/ 6438 h 20000"/>
                  <a:gd name="T58" fmla="*/ 0 w 20000"/>
                  <a:gd name="T59" fmla="*/ 5068 h 20000"/>
                  <a:gd name="T60" fmla="*/ 755 w 20000"/>
                  <a:gd name="T61" fmla="*/ 6438 h 20000"/>
                  <a:gd name="T62" fmla="*/ 6642 w 20000"/>
                  <a:gd name="T63" fmla="*/ 1507 h 20000"/>
                  <a:gd name="T64" fmla="*/ 6943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6943" y="0"/>
                    </a:moveTo>
                    <a:lnTo>
                      <a:pt x="8151" y="0"/>
                    </a:lnTo>
                    <a:lnTo>
                      <a:pt x="8981" y="0"/>
                    </a:lnTo>
                    <a:lnTo>
                      <a:pt x="10189" y="0"/>
                    </a:lnTo>
                    <a:lnTo>
                      <a:pt x="10189" y="1507"/>
                    </a:lnTo>
                    <a:lnTo>
                      <a:pt x="12075" y="2877"/>
                    </a:lnTo>
                    <a:lnTo>
                      <a:pt x="12830" y="2877"/>
                    </a:lnTo>
                    <a:lnTo>
                      <a:pt x="12830" y="3699"/>
                    </a:lnTo>
                    <a:lnTo>
                      <a:pt x="12830" y="5068"/>
                    </a:lnTo>
                    <a:lnTo>
                      <a:pt x="14038" y="6438"/>
                    </a:lnTo>
                    <a:lnTo>
                      <a:pt x="14792" y="6438"/>
                    </a:lnTo>
                    <a:lnTo>
                      <a:pt x="16000" y="5068"/>
                    </a:lnTo>
                    <a:lnTo>
                      <a:pt x="17132" y="6438"/>
                    </a:lnTo>
                    <a:lnTo>
                      <a:pt x="17132" y="7123"/>
                    </a:lnTo>
                    <a:lnTo>
                      <a:pt x="19925" y="8493"/>
                    </a:lnTo>
                    <a:lnTo>
                      <a:pt x="19925" y="9315"/>
                    </a:lnTo>
                    <a:lnTo>
                      <a:pt x="14792" y="18493"/>
                    </a:lnTo>
                    <a:lnTo>
                      <a:pt x="11698" y="17671"/>
                    </a:lnTo>
                    <a:lnTo>
                      <a:pt x="9736" y="16301"/>
                    </a:lnTo>
                    <a:lnTo>
                      <a:pt x="8151" y="19863"/>
                    </a:lnTo>
                    <a:lnTo>
                      <a:pt x="6943" y="19863"/>
                    </a:lnTo>
                    <a:lnTo>
                      <a:pt x="5057" y="18493"/>
                    </a:lnTo>
                    <a:lnTo>
                      <a:pt x="5057" y="17671"/>
                    </a:lnTo>
                    <a:lnTo>
                      <a:pt x="3849" y="14932"/>
                    </a:lnTo>
                    <a:lnTo>
                      <a:pt x="3547" y="14247"/>
                    </a:lnTo>
                    <a:lnTo>
                      <a:pt x="1509" y="12055"/>
                    </a:lnTo>
                    <a:lnTo>
                      <a:pt x="1509" y="9315"/>
                    </a:lnTo>
                    <a:lnTo>
                      <a:pt x="0" y="8493"/>
                    </a:lnTo>
                    <a:lnTo>
                      <a:pt x="0" y="6438"/>
                    </a:lnTo>
                    <a:lnTo>
                      <a:pt x="0" y="5068"/>
                    </a:lnTo>
                    <a:lnTo>
                      <a:pt x="755" y="6438"/>
                    </a:lnTo>
                    <a:lnTo>
                      <a:pt x="6642" y="1507"/>
                    </a:lnTo>
                    <a:lnTo>
                      <a:pt x="6943"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19" name="Freeform 220"/>
              <p:cNvSpPr>
                <a:spLocks/>
              </p:cNvSpPr>
              <p:nvPr/>
            </p:nvSpPr>
            <p:spPr bwMode="auto">
              <a:xfrm>
                <a:off x="6646863" y="3278188"/>
                <a:ext cx="371475" cy="309562"/>
              </a:xfrm>
              <a:custGeom>
                <a:avLst/>
                <a:gdLst>
                  <a:gd name="T0" fmla="*/ 14471 w 20000"/>
                  <a:gd name="T1" fmla="*/ 861 h 20000"/>
                  <a:gd name="T2" fmla="*/ 15358 w 20000"/>
                  <a:gd name="T3" fmla="*/ 4262 h 20000"/>
                  <a:gd name="T4" fmla="*/ 17133 w 20000"/>
                  <a:gd name="T5" fmla="*/ 2787 h 20000"/>
                  <a:gd name="T6" fmla="*/ 19078 w 20000"/>
                  <a:gd name="T7" fmla="*/ 2541 h 20000"/>
                  <a:gd name="T8" fmla="*/ 19966 w 20000"/>
                  <a:gd name="T9" fmla="*/ 2787 h 20000"/>
                  <a:gd name="T10" fmla="*/ 19625 w 20000"/>
                  <a:gd name="T11" fmla="*/ 3197 h 20000"/>
                  <a:gd name="T12" fmla="*/ 17679 w 20000"/>
                  <a:gd name="T13" fmla="*/ 3607 h 20000"/>
                  <a:gd name="T14" fmla="*/ 15904 w 20000"/>
                  <a:gd name="T15" fmla="*/ 4467 h 20000"/>
                  <a:gd name="T16" fmla="*/ 15904 w 20000"/>
                  <a:gd name="T17" fmla="*/ 6967 h 20000"/>
                  <a:gd name="T18" fmla="*/ 15358 w 20000"/>
                  <a:gd name="T19" fmla="*/ 8893 h 20000"/>
                  <a:gd name="T20" fmla="*/ 14471 w 20000"/>
                  <a:gd name="T21" fmla="*/ 9959 h 20000"/>
                  <a:gd name="T22" fmla="*/ 14334 w 20000"/>
                  <a:gd name="T23" fmla="*/ 10820 h 20000"/>
                  <a:gd name="T24" fmla="*/ 13618 w 20000"/>
                  <a:gd name="T25" fmla="*/ 12090 h 20000"/>
                  <a:gd name="T26" fmla="*/ 13413 w 20000"/>
                  <a:gd name="T27" fmla="*/ 13770 h 20000"/>
                  <a:gd name="T28" fmla="*/ 13072 w 20000"/>
                  <a:gd name="T29" fmla="*/ 15492 h 20000"/>
                  <a:gd name="T30" fmla="*/ 12218 w 20000"/>
                  <a:gd name="T31" fmla="*/ 15287 h 20000"/>
                  <a:gd name="T32" fmla="*/ 11331 w 20000"/>
                  <a:gd name="T33" fmla="*/ 15287 h 20000"/>
                  <a:gd name="T34" fmla="*/ 10273 w 20000"/>
                  <a:gd name="T35" fmla="*/ 15902 h 20000"/>
                  <a:gd name="T36" fmla="*/ 9727 w 20000"/>
                  <a:gd name="T37" fmla="*/ 16107 h 20000"/>
                  <a:gd name="T38" fmla="*/ 9386 w 20000"/>
                  <a:gd name="T39" fmla="*/ 18689 h 20000"/>
                  <a:gd name="T40" fmla="*/ 6212 w 20000"/>
                  <a:gd name="T41" fmla="*/ 19713 h 20000"/>
                  <a:gd name="T42" fmla="*/ 4778 w 20000"/>
                  <a:gd name="T43" fmla="*/ 19959 h 20000"/>
                  <a:gd name="T44" fmla="*/ 1604 w 20000"/>
                  <a:gd name="T45" fmla="*/ 19303 h 20000"/>
                  <a:gd name="T46" fmla="*/ 2457 w 20000"/>
                  <a:gd name="T47" fmla="*/ 16967 h 20000"/>
                  <a:gd name="T48" fmla="*/ 922 w 20000"/>
                  <a:gd name="T49" fmla="*/ 15492 h 20000"/>
                  <a:gd name="T50" fmla="*/ 205 w 20000"/>
                  <a:gd name="T51" fmla="*/ 12090 h 20000"/>
                  <a:gd name="T52" fmla="*/ 205 w 20000"/>
                  <a:gd name="T53" fmla="*/ 11066 h 20000"/>
                  <a:gd name="T54" fmla="*/ 546 w 20000"/>
                  <a:gd name="T55" fmla="*/ 9754 h 20000"/>
                  <a:gd name="T56" fmla="*/ 546 w 20000"/>
                  <a:gd name="T57" fmla="*/ 8074 h 20000"/>
                  <a:gd name="T58" fmla="*/ 2321 w 20000"/>
                  <a:gd name="T59" fmla="*/ 7213 h 20000"/>
                  <a:gd name="T60" fmla="*/ 3720 w 20000"/>
                  <a:gd name="T61" fmla="*/ 6557 h 20000"/>
                  <a:gd name="T62" fmla="*/ 5666 w 20000"/>
                  <a:gd name="T63" fmla="*/ 4877 h 20000"/>
                  <a:gd name="T64" fmla="*/ 6724 w 20000"/>
                  <a:gd name="T65" fmla="*/ 2787 h 20000"/>
                  <a:gd name="T66" fmla="*/ 9898 w 20000"/>
                  <a:gd name="T67" fmla="*/ 3852 h 20000"/>
                  <a:gd name="T68" fmla="*/ 11672 w 20000"/>
                  <a:gd name="T69" fmla="*/ 3197 h 20000"/>
                  <a:gd name="T70" fmla="*/ 13413 w 20000"/>
                  <a:gd name="T71" fmla="*/ 1926 h 20000"/>
                  <a:gd name="T72" fmla="*/ 13618 w 20000"/>
                  <a:gd name="T7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13618" y="0"/>
                    </a:moveTo>
                    <a:lnTo>
                      <a:pt x="14471" y="861"/>
                    </a:lnTo>
                    <a:lnTo>
                      <a:pt x="14881" y="1066"/>
                    </a:lnTo>
                    <a:lnTo>
                      <a:pt x="15358" y="4262"/>
                    </a:lnTo>
                    <a:lnTo>
                      <a:pt x="16280" y="3607"/>
                    </a:lnTo>
                    <a:lnTo>
                      <a:pt x="17133" y="2787"/>
                    </a:lnTo>
                    <a:lnTo>
                      <a:pt x="18225" y="2131"/>
                    </a:lnTo>
                    <a:lnTo>
                      <a:pt x="19078" y="2541"/>
                    </a:lnTo>
                    <a:lnTo>
                      <a:pt x="19420" y="2541"/>
                    </a:lnTo>
                    <a:lnTo>
                      <a:pt x="19966" y="2787"/>
                    </a:lnTo>
                    <a:lnTo>
                      <a:pt x="19420" y="2787"/>
                    </a:lnTo>
                    <a:lnTo>
                      <a:pt x="19625" y="3197"/>
                    </a:lnTo>
                    <a:lnTo>
                      <a:pt x="19966" y="3607"/>
                    </a:lnTo>
                    <a:lnTo>
                      <a:pt x="17679" y="3607"/>
                    </a:lnTo>
                    <a:lnTo>
                      <a:pt x="16792" y="3852"/>
                    </a:lnTo>
                    <a:lnTo>
                      <a:pt x="15904" y="4467"/>
                    </a:lnTo>
                    <a:lnTo>
                      <a:pt x="15734" y="5287"/>
                    </a:lnTo>
                    <a:lnTo>
                      <a:pt x="15904" y="6967"/>
                    </a:lnTo>
                    <a:lnTo>
                      <a:pt x="15734" y="8279"/>
                    </a:lnTo>
                    <a:lnTo>
                      <a:pt x="15358" y="8893"/>
                    </a:lnTo>
                    <a:lnTo>
                      <a:pt x="15734" y="9959"/>
                    </a:lnTo>
                    <a:lnTo>
                      <a:pt x="14471" y="9959"/>
                    </a:lnTo>
                    <a:lnTo>
                      <a:pt x="13959" y="9959"/>
                    </a:lnTo>
                    <a:lnTo>
                      <a:pt x="14334" y="10820"/>
                    </a:lnTo>
                    <a:lnTo>
                      <a:pt x="14471" y="11475"/>
                    </a:lnTo>
                    <a:lnTo>
                      <a:pt x="13618" y="12090"/>
                    </a:lnTo>
                    <a:lnTo>
                      <a:pt x="13618" y="13156"/>
                    </a:lnTo>
                    <a:lnTo>
                      <a:pt x="13413" y="13770"/>
                    </a:lnTo>
                    <a:lnTo>
                      <a:pt x="13618" y="14836"/>
                    </a:lnTo>
                    <a:lnTo>
                      <a:pt x="13072" y="15492"/>
                    </a:lnTo>
                    <a:lnTo>
                      <a:pt x="12560" y="15287"/>
                    </a:lnTo>
                    <a:lnTo>
                      <a:pt x="12218" y="15287"/>
                    </a:lnTo>
                    <a:lnTo>
                      <a:pt x="11672" y="14836"/>
                    </a:lnTo>
                    <a:lnTo>
                      <a:pt x="11331" y="15287"/>
                    </a:lnTo>
                    <a:lnTo>
                      <a:pt x="11126" y="15902"/>
                    </a:lnTo>
                    <a:lnTo>
                      <a:pt x="10273" y="15902"/>
                    </a:lnTo>
                    <a:lnTo>
                      <a:pt x="9898" y="15902"/>
                    </a:lnTo>
                    <a:lnTo>
                      <a:pt x="9727" y="16107"/>
                    </a:lnTo>
                    <a:lnTo>
                      <a:pt x="9386" y="16516"/>
                    </a:lnTo>
                    <a:lnTo>
                      <a:pt x="9386" y="18689"/>
                    </a:lnTo>
                    <a:lnTo>
                      <a:pt x="7611" y="19303"/>
                    </a:lnTo>
                    <a:lnTo>
                      <a:pt x="6212" y="19713"/>
                    </a:lnTo>
                    <a:lnTo>
                      <a:pt x="5666" y="19959"/>
                    </a:lnTo>
                    <a:lnTo>
                      <a:pt x="4778" y="19959"/>
                    </a:lnTo>
                    <a:lnTo>
                      <a:pt x="3720" y="19959"/>
                    </a:lnTo>
                    <a:lnTo>
                      <a:pt x="1604" y="19303"/>
                    </a:lnTo>
                    <a:lnTo>
                      <a:pt x="1945" y="17828"/>
                    </a:lnTo>
                    <a:lnTo>
                      <a:pt x="2457" y="16967"/>
                    </a:lnTo>
                    <a:lnTo>
                      <a:pt x="2321" y="15902"/>
                    </a:lnTo>
                    <a:lnTo>
                      <a:pt x="922" y="15492"/>
                    </a:lnTo>
                    <a:lnTo>
                      <a:pt x="922" y="13770"/>
                    </a:lnTo>
                    <a:lnTo>
                      <a:pt x="205" y="12090"/>
                    </a:lnTo>
                    <a:lnTo>
                      <a:pt x="546" y="11475"/>
                    </a:lnTo>
                    <a:lnTo>
                      <a:pt x="205" y="11066"/>
                    </a:lnTo>
                    <a:lnTo>
                      <a:pt x="0" y="9959"/>
                    </a:lnTo>
                    <a:lnTo>
                      <a:pt x="546" y="9754"/>
                    </a:lnTo>
                    <a:lnTo>
                      <a:pt x="205" y="9344"/>
                    </a:lnTo>
                    <a:lnTo>
                      <a:pt x="546" y="8074"/>
                    </a:lnTo>
                    <a:lnTo>
                      <a:pt x="546" y="6557"/>
                    </a:lnTo>
                    <a:lnTo>
                      <a:pt x="2321" y="7213"/>
                    </a:lnTo>
                    <a:lnTo>
                      <a:pt x="2321" y="8074"/>
                    </a:lnTo>
                    <a:lnTo>
                      <a:pt x="3720" y="6557"/>
                    </a:lnTo>
                    <a:lnTo>
                      <a:pt x="3379" y="6393"/>
                    </a:lnTo>
                    <a:lnTo>
                      <a:pt x="5666" y="4877"/>
                    </a:lnTo>
                    <a:lnTo>
                      <a:pt x="5666" y="3197"/>
                    </a:lnTo>
                    <a:lnTo>
                      <a:pt x="6724" y="2787"/>
                    </a:lnTo>
                    <a:lnTo>
                      <a:pt x="7952" y="3197"/>
                    </a:lnTo>
                    <a:lnTo>
                      <a:pt x="9898" y="3852"/>
                    </a:lnTo>
                    <a:lnTo>
                      <a:pt x="11331" y="2787"/>
                    </a:lnTo>
                    <a:lnTo>
                      <a:pt x="11672" y="3197"/>
                    </a:lnTo>
                    <a:lnTo>
                      <a:pt x="12014" y="2541"/>
                    </a:lnTo>
                    <a:lnTo>
                      <a:pt x="13413" y="1926"/>
                    </a:lnTo>
                    <a:lnTo>
                      <a:pt x="13072" y="1516"/>
                    </a:lnTo>
                    <a:lnTo>
                      <a:pt x="1361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0" name="Freeform 219"/>
              <p:cNvSpPr>
                <a:spLocks/>
              </p:cNvSpPr>
              <p:nvPr/>
            </p:nvSpPr>
            <p:spPr bwMode="auto">
              <a:xfrm>
                <a:off x="7442200" y="3665538"/>
                <a:ext cx="138113" cy="171450"/>
              </a:xfrm>
              <a:custGeom>
                <a:avLst/>
                <a:gdLst>
                  <a:gd name="T0" fmla="*/ 6147 w 20000"/>
                  <a:gd name="T1" fmla="*/ 17704 h 20000"/>
                  <a:gd name="T2" fmla="*/ 3303 w 20000"/>
                  <a:gd name="T3" fmla="*/ 10741 h 20000"/>
                  <a:gd name="T4" fmla="*/ 3761 w 20000"/>
                  <a:gd name="T5" fmla="*/ 8815 h 20000"/>
                  <a:gd name="T6" fmla="*/ 1284 w 20000"/>
                  <a:gd name="T7" fmla="*/ 8074 h 20000"/>
                  <a:gd name="T8" fmla="*/ 0 w 20000"/>
                  <a:gd name="T9" fmla="*/ 6963 h 20000"/>
                  <a:gd name="T10" fmla="*/ 1284 w 20000"/>
                  <a:gd name="T11" fmla="*/ 6519 h 20000"/>
                  <a:gd name="T12" fmla="*/ 1284 w 20000"/>
                  <a:gd name="T13" fmla="*/ 4963 h 20000"/>
                  <a:gd name="T14" fmla="*/ 3761 w 20000"/>
                  <a:gd name="T15" fmla="*/ 4963 h 20000"/>
                  <a:gd name="T16" fmla="*/ 2385 w 20000"/>
                  <a:gd name="T17" fmla="*/ 3778 h 20000"/>
                  <a:gd name="T18" fmla="*/ 1284 w 20000"/>
                  <a:gd name="T19" fmla="*/ 3778 h 20000"/>
                  <a:gd name="T20" fmla="*/ 0 w 20000"/>
                  <a:gd name="T21" fmla="*/ 2741 h 20000"/>
                  <a:gd name="T22" fmla="*/ 917 w 20000"/>
                  <a:gd name="T23" fmla="*/ 0 h 20000"/>
                  <a:gd name="T24" fmla="*/ 2385 w 20000"/>
                  <a:gd name="T25" fmla="*/ 0 h 20000"/>
                  <a:gd name="T26" fmla="*/ 4679 w 20000"/>
                  <a:gd name="T27" fmla="*/ 1556 h 20000"/>
                  <a:gd name="T28" fmla="*/ 7064 w 20000"/>
                  <a:gd name="T29" fmla="*/ 2741 h 20000"/>
                  <a:gd name="T30" fmla="*/ 7523 w 20000"/>
                  <a:gd name="T31" fmla="*/ 4593 h 20000"/>
                  <a:gd name="T32" fmla="*/ 7064 w 20000"/>
                  <a:gd name="T33" fmla="*/ 4963 h 20000"/>
                  <a:gd name="T34" fmla="*/ 16147 w 20000"/>
                  <a:gd name="T35" fmla="*/ 4593 h 20000"/>
                  <a:gd name="T36" fmla="*/ 17064 w 20000"/>
                  <a:gd name="T37" fmla="*/ 5778 h 20000"/>
                  <a:gd name="T38" fmla="*/ 16147 w 20000"/>
                  <a:gd name="T39" fmla="*/ 6519 h 20000"/>
                  <a:gd name="T40" fmla="*/ 16147 w 20000"/>
                  <a:gd name="T41" fmla="*/ 7704 h 20000"/>
                  <a:gd name="T42" fmla="*/ 13670 w 20000"/>
                  <a:gd name="T43" fmla="*/ 8074 h 20000"/>
                  <a:gd name="T44" fmla="*/ 13303 w 20000"/>
                  <a:gd name="T45" fmla="*/ 9556 h 20000"/>
                  <a:gd name="T46" fmla="*/ 12202 w 20000"/>
                  <a:gd name="T47" fmla="*/ 10000 h 20000"/>
                  <a:gd name="T48" fmla="*/ 13303 w 20000"/>
                  <a:gd name="T49" fmla="*/ 12667 h 20000"/>
                  <a:gd name="T50" fmla="*/ 13670 w 20000"/>
                  <a:gd name="T51" fmla="*/ 12667 h 20000"/>
                  <a:gd name="T52" fmla="*/ 14679 w 20000"/>
                  <a:gd name="T53" fmla="*/ 13037 h 20000"/>
                  <a:gd name="T54" fmla="*/ 15138 w 20000"/>
                  <a:gd name="T55" fmla="*/ 13037 h 20000"/>
                  <a:gd name="T56" fmla="*/ 17064 w 20000"/>
                  <a:gd name="T57" fmla="*/ 11481 h 20000"/>
                  <a:gd name="T58" fmla="*/ 17064 w 20000"/>
                  <a:gd name="T59" fmla="*/ 13037 h 20000"/>
                  <a:gd name="T60" fmla="*/ 18440 w 20000"/>
                  <a:gd name="T61" fmla="*/ 14519 h 20000"/>
                  <a:gd name="T62" fmla="*/ 19358 w 20000"/>
                  <a:gd name="T63" fmla="*/ 16148 h 20000"/>
                  <a:gd name="T64" fmla="*/ 19908 w 20000"/>
                  <a:gd name="T65" fmla="*/ 19926 h 20000"/>
                  <a:gd name="T66" fmla="*/ 18440 w 20000"/>
                  <a:gd name="T67" fmla="*/ 19556 h 20000"/>
                  <a:gd name="T68" fmla="*/ 17431 w 20000"/>
                  <a:gd name="T69" fmla="*/ 19926 h 20000"/>
                  <a:gd name="T70" fmla="*/ 17064 w 20000"/>
                  <a:gd name="T71" fmla="*/ 18000 h 20000"/>
                  <a:gd name="T72" fmla="*/ 16147 w 20000"/>
                  <a:gd name="T73" fmla="*/ 15704 h 20000"/>
                  <a:gd name="T74" fmla="*/ 13670 w 20000"/>
                  <a:gd name="T75" fmla="*/ 13778 h 20000"/>
                  <a:gd name="T76" fmla="*/ 11284 w 20000"/>
                  <a:gd name="T77" fmla="*/ 13037 h 20000"/>
                  <a:gd name="T78" fmla="*/ 10826 w 20000"/>
                  <a:gd name="T79" fmla="*/ 11481 h 20000"/>
                  <a:gd name="T80" fmla="*/ 8440 w 20000"/>
                  <a:gd name="T81" fmla="*/ 10741 h 20000"/>
                  <a:gd name="T82" fmla="*/ 8440 w 20000"/>
                  <a:gd name="T83" fmla="*/ 11926 h 20000"/>
                  <a:gd name="T84" fmla="*/ 9908 w 20000"/>
                  <a:gd name="T85" fmla="*/ 11926 h 20000"/>
                  <a:gd name="T86" fmla="*/ 10826 w 20000"/>
                  <a:gd name="T87" fmla="*/ 13778 h 20000"/>
                  <a:gd name="T88" fmla="*/ 9908 w 20000"/>
                  <a:gd name="T89" fmla="*/ 14519 h 20000"/>
                  <a:gd name="T90" fmla="*/ 10826 w 20000"/>
                  <a:gd name="T91" fmla="*/ 15704 h 20000"/>
                  <a:gd name="T92" fmla="*/ 9908 w 20000"/>
                  <a:gd name="T93" fmla="*/ 17704 h 20000"/>
                  <a:gd name="T94" fmla="*/ 8440 w 20000"/>
                  <a:gd name="T95" fmla="*/ 16148 h 20000"/>
                  <a:gd name="T96" fmla="*/ 8440 w 20000"/>
                  <a:gd name="T97" fmla="*/ 15704 h 20000"/>
                  <a:gd name="T98" fmla="*/ 7523 w 20000"/>
                  <a:gd name="T99" fmla="*/ 16148 h 20000"/>
                  <a:gd name="T100" fmla="*/ 8440 w 20000"/>
                  <a:gd name="T101" fmla="*/ 17704 h 20000"/>
                  <a:gd name="T102" fmla="*/ 7064 w 20000"/>
                  <a:gd name="T103" fmla="*/ 17704 h 20000"/>
                  <a:gd name="T104" fmla="*/ 6147 w 20000"/>
                  <a:gd name="T105" fmla="*/ 177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6147" y="17704"/>
                    </a:moveTo>
                    <a:lnTo>
                      <a:pt x="3303" y="10741"/>
                    </a:lnTo>
                    <a:lnTo>
                      <a:pt x="3761" y="8815"/>
                    </a:lnTo>
                    <a:lnTo>
                      <a:pt x="1284" y="8074"/>
                    </a:lnTo>
                    <a:lnTo>
                      <a:pt x="0" y="6963"/>
                    </a:lnTo>
                    <a:lnTo>
                      <a:pt x="1284" y="6519"/>
                    </a:lnTo>
                    <a:lnTo>
                      <a:pt x="1284" y="4963"/>
                    </a:lnTo>
                    <a:lnTo>
                      <a:pt x="3761" y="4963"/>
                    </a:lnTo>
                    <a:lnTo>
                      <a:pt x="2385" y="3778"/>
                    </a:lnTo>
                    <a:lnTo>
                      <a:pt x="1284" y="3778"/>
                    </a:lnTo>
                    <a:lnTo>
                      <a:pt x="0" y="2741"/>
                    </a:lnTo>
                    <a:lnTo>
                      <a:pt x="917" y="0"/>
                    </a:lnTo>
                    <a:lnTo>
                      <a:pt x="2385" y="0"/>
                    </a:lnTo>
                    <a:lnTo>
                      <a:pt x="4679" y="1556"/>
                    </a:lnTo>
                    <a:lnTo>
                      <a:pt x="7064" y="2741"/>
                    </a:lnTo>
                    <a:lnTo>
                      <a:pt x="7523" y="4593"/>
                    </a:lnTo>
                    <a:lnTo>
                      <a:pt x="7064" y="4963"/>
                    </a:lnTo>
                    <a:lnTo>
                      <a:pt x="16147" y="4593"/>
                    </a:lnTo>
                    <a:lnTo>
                      <a:pt x="17064" y="5778"/>
                    </a:lnTo>
                    <a:lnTo>
                      <a:pt x="16147" y="6519"/>
                    </a:lnTo>
                    <a:lnTo>
                      <a:pt x="16147" y="7704"/>
                    </a:lnTo>
                    <a:lnTo>
                      <a:pt x="13670" y="8074"/>
                    </a:lnTo>
                    <a:lnTo>
                      <a:pt x="13303" y="9556"/>
                    </a:lnTo>
                    <a:lnTo>
                      <a:pt x="12202" y="10000"/>
                    </a:lnTo>
                    <a:lnTo>
                      <a:pt x="13303" y="12667"/>
                    </a:lnTo>
                    <a:lnTo>
                      <a:pt x="13670" y="12667"/>
                    </a:lnTo>
                    <a:lnTo>
                      <a:pt x="14679" y="13037"/>
                    </a:lnTo>
                    <a:lnTo>
                      <a:pt x="15138" y="13037"/>
                    </a:lnTo>
                    <a:lnTo>
                      <a:pt x="17064" y="11481"/>
                    </a:lnTo>
                    <a:lnTo>
                      <a:pt x="17064" y="13037"/>
                    </a:lnTo>
                    <a:lnTo>
                      <a:pt x="18440" y="14519"/>
                    </a:lnTo>
                    <a:lnTo>
                      <a:pt x="19358" y="16148"/>
                    </a:lnTo>
                    <a:lnTo>
                      <a:pt x="19908" y="19926"/>
                    </a:lnTo>
                    <a:lnTo>
                      <a:pt x="18440" y="19556"/>
                    </a:lnTo>
                    <a:lnTo>
                      <a:pt x="17431" y="19926"/>
                    </a:lnTo>
                    <a:lnTo>
                      <a:pt x="17064" y="18000"/>
                    </a:lnTo>
                    <a:lnTo>
                      <a:pt x="16147" y="15704"/>
                    </a:lnTo>
                    <a:lnTo>
                      <a:pt x="13670" y="13778"/>
                    </a:lnTo>
                    <a:lnTo>
                      <a:pt x="11284" y="13037"/>
                    </a:lnTo>
                    <a:lnTo>
                      <a:pt x="10826" y="11481"/>
                    </a:lnTo>
                    <a:lnTo>
                      <a:pt x="8440" y="10741"/>
                    </a:lnTo>
                    <a:lnTo>
                      <a:pt x="8440" y="11926"/>
                    </a:lnTo>
                    <a:lnTo>
                      <a:pt x="9908" y="11926"/>
                    </a:lnTo>
                    <a:lnTo>
                      <a:pt x="10826" y="13778"/>
                    </a:lnTo>
                    <a:lnTo>
                      <a:pt x="9908" y="14519"/>
                    </a:lnTo>
                    <a:lnTo>
                      <a:pt x="10826" y="15704"/>
                    </a:lnTo>
                    <a:lnTo>
                      <a:pt x="9908" y="17704"/>
                    </a:lnTo>
                    <a:lnTo>
                      <a:pt x="8440" y="16148"/>
                    </a:lnTo>
                    <a:lnTo>
                      <a:pt x="8440" y="15704"/>
                    </a:lnTo>
                    <a:lnTo>
                      <a:pt x="7523" y="16148"/>
                    </a:lnTo>
                    <a:lnTo>
                      <a:pt x="8440" y="17704"/>
                    </a:lnTo>
                    <a:lnTo>
                      <a:pt x="7064" y="17704"/>
                    </a:lnTo>
                    <a:lnTo>
                      <a:pt x="6147" y="1770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1" name="Freeform 218"/>
              <p:cNvSpPr>
                <a:spLocks/>
              </p:cNvSpPr>
              <p:nvPr/>
            </p:nvSpPr>
            <p:spPr bwMode="auto">
              <a:xfrm>
                <a:off x="7451725" y="3613150"/>
                <a:ext cx="93663" cy="42863"/>
              </a:xfrm>
              <a:custGeom>
                <a:avLst/>
                <a:gdLst>
                  <a:gd name="T0" fmla="*/ 0 w 20000"/>
                  <a:gd name="T1" fmla="*/ 10588 h 20000"/>
                  <a:gd name="T2" fmla="*/ 3673 w 20000"/>
                  <a:gd name="T3" fmla="*/ 7647 h 20000"/>
                  <a:gd name="T4" fmla="*/ 5034 w 20000"/>
                  <a:gd name="T5" fmla="*/ 0 h 20000"/>
                  <a:gd name="T6" fmla="*/ 8435 w 20000"/>
                  <a:gd name="T7" fmla="*/ 2941 h 20000"/>
                  <a:gd name="T8" fmla="*/ 12789 w 20000"/>
                  <a:gd name="T9" fmla="*/ 2941 h 20000"/>
                  <a:gd name="T10" fmla="*/ 14150 w 20000"/>
                  <a:gd name="T11" fmla="*/ 0 h 20000"/>
                  <a:gd name="T12" fmla="*/ 16190 w 20000"/>
                  <a:gd name="T13" fmla="*/ 4706 h 20000"/>
                  <a:gd name="T14" fmla="*/ 16190 w 20000"/>
                  <a:gd name="T15" fmla="*/ 10588 h 20000"/>
                  <a:gd name="T16" fmla="*/ 18367 w 20000"/>
                  <a:gd name="T17" fmla="*/ 12059 h 20000"/>
                  <a:gd name="T18" fmla="*/ 19864 w 20000"/>
                  <a:gd name="T19" fmla="*/ 19706 h 20000"/>
                  <a:gd name="T20" fmla="*/ 10612 w 20000"/>
                  <a:gd name="T21" fmla="*/ 19706 h 20000"/>
                  <a:gd name="T22" fmla="*/ 10612 w 20000"/>
                  <a:gd name="T23" fmla="*/ 17941 h 20000"/>
                  <a:gd name="T24" fmla="*/ 7075 w 20000"/>
                  <a:gd name="T25" fmla="*/ 19706 h 20000"/>
                  <a:gd name="T26" fmla="*/ 2857 w 20000"/>
                  <a:gd name="T27" fmla="*/ 17941 h 20000"/>
                  <a:gd name="T28" fmla="*/ 0 w 20000"/>
                  <a:gd name="T29" fmla="*/ 15000 h 20000"/>
                  <a:gd name="T30" fmla="*/ 0 w 20000"/>
                  <a:gd name="T31" fmla="*/ 1058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0" y="10588"/>
                    </a:moveTo>
                    <a:lnTo>
                      <a:pt x="3673" y="7647"/>
                    </a:lnTo>
                    <a:lnTo>
                      <a:pt x="5034" y="0"/>
                    </a:lnTo>
                    <a:lnTo>
                      <a:pt x="8435" y="2941"/>
                    </a:lnTo>
                    <a:lnTo>
                      <a:pt x="12789" y="2941"/>
                    </a:lnTo>
                    <a:lnTo>
                      <a:pt x="14150" y="0"/>
                    </a:lnTo>
                    <a:lnTo>
                      <a:pt x="16190" y="4706"/>
                    </a:lnTo>
                    <a:lnTo>
                      <a:pt x="16190" y="10588"/>
                    </a:lnTo>
                    <a:lnTo>
                      <a:pt x="18367" y="12059"/>
                    </a:lnTo>
                    <a:lnTo>
                      <a:pt x="19864" y="19706"/>
                    </a:lnTo>
                    <a:lnTo>
                      <a:pt x="10612" y="19706"/>
                    </a:lnTo>
                    <a:lnTo>
                      <a:pt x="10612" y="17941"/>
                    </a:lnTo>
                    <a:lnTo>
                      <a:pt x="7075" y="19706"/>
                    </a:lnTo>
                    <a:lnTo>
                      <a:pt x="2857" y="17941"/>
                    </a:lnTo>
                    <a:lnTo>
                      <a:pt x="0" y="15000"/>
                    </a:lnTo>
                    <a:lnTo>
                      <a:pt x="0" y="1058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2" name="Freeform 217"/>
              <p:cNvSpPr>
                <a:spLocks/>
              </p:cNvSpPr>
              <p:nvPr/>
            </p:nvSpPr>
            <p:spPr bwMode="auto">
              <a:xfrm>
                <a:off x="7564438" y="3603625"/>
                <a:ext cx="257175" cy="568325"/>
              </a:xfrm>
              <a:custGeom>
                <a:avLst/>
                <a:gdLst>
                  <a:gd name="T0" fmla="*/ 1823 w 20000"/>
                  <a:gd name="T1" fmla="*/ 7031 h 20000"/>
                  <a:gd name="T2" fmla="*/ 2069 w 20000"/>
                  <a:gd name="T3" fmla="*/ 6004 h 20000"/>
                  <a:gd name="T4" fmla="*/ 3350 w 20000"/>
                  <a:gd name="T5" fmla="*/ 5067 h 20000"/>
                  <a:gd name="T6" fmla="*/ 4138 w 20000"/>
                  <a:gd name="T7" fmla="*/ 3683 h 20000"/>
                  <a:gd name="T8" fmla="*/ 5123 w 20000"/>
                  <a:gd name="T9" fmla="*/ 3013 h 20000"/>
                  <a:gd name="T10" fmla="*/ 6650 w 20000"/>
                  <a:gd name="T11" fmla="*/ 1496 h 20000"/>
                  <a:gd name="T12" fmla="*/ 8670 w 20000"/>
                  <a:gd name="T13" fmla="*/ 1496 h 20000"/>
                  <a:gd name="T14" fmla="*/ 8670 w 20000"/>
                  <a:gd name="T15" fmla="*/ 692 h 20000"/>
                  <a:gd name="T16" fmla="*/ 9458 w 20000"/>
                  <a:gd name="T17" fmla="*/ 357 h 20000"/>
                  <a:gd name="T18" fmla="*/ 10788 w 20000"/>
                  <a:gd name="T19" fmla="*/ 0 h 20000"/>
                  <a:gd name="T20" fmla="*/ 11773 w 20000"/>
                  <a:gd name="T21" fmla="*/ 915 h 20000"/>
                  <a:gd name="T22" fmla="*/ 13300 w 20000"/>
                  <a:gd name="T23" fmla="*/ 2768 h 20000"/>
                  <a:gd name="T24" fmla="*/ 12808 w 20000"/>
                  <a:gd name="T25" fmla="*/ 3326 h 20000"/>
                  <a:gd name="T26" fmla="*/ 11281 w 20000"/>
                  <a:gd name="T27" fmla="*/ 3683 h 20000"/>
                  <a:gd name="T28" fmla="*/ 10788 w 20000"/>
                  <a:gd name="T29" fmla="*/ 4152 h 20000"/>
                  <a:gd name="T30" fmla="*/ 11773 w 20000"/>
                  <a:gd name="T31" fmla="*/ 5067 h 20000"/>
                  <a:gd name="T32" fmla="*/ 12808 w 20000"/>
                  <a:gd name="T33" fmla="*/ 4844 h 20000"/>
                  <a:gd name="T34" fmla="*/ 13793 w 20000"/>
                  <a:gd name="T35" fmla="*/ 5067 h 20000"/>
                  <a:gd name="T36" fmla="*/ 14581 w 20000"/>
                  <a:gd name="T37" fmla="*/ 6004 h 20000"/>
                  <a:gd name="T38" fmla="*/ 15813 w 20000"/>
                  <a:gd name="T39" fmla="*/ 6563 h 20000"/>
                  <a:gd name="T40" fmla="*/ 17340 w 20000"/>
                  <a:gd name="T41" fmla="*/ 7254 h 20000"/>
                  <a:gd name="T42" fmla="*/ 17340 w 20000"/>
                  <a:gd name="T43" fmla="*/ 7612 h 20000"/>
                  <a:gd name="T44" fmla="*/ 18670 w 20000"/>
                  <a:gd name="T45" fmla="*/ 7857 h 20000"/>
                  <a:gd name="T46" fmla="*/ 19163 w 20000"/>
                  <a:gd name="T47" fmla="*/ 8080 h 20000"/>
                  <a:gd name="T48" fmla="*/ 19163 w 20000"/>
                  <a:gd name="T49" fmla="*/ 8438 h 20000"/>
                  <a:gd name="T50" fmla="*/ 17931 w 20000"/>
                  <a:gd name="T51" fmla="*/ 8772 h 20000"/>
                  <a:gd name="T52" fmla="*/ 16108 w 20000"/>
                  <a:gd name="T53" fmla="*/ 9353 h 20000"/>
                  <a:gd name="T54" fmla="*/ 15813 w 20000"/>
                  <a:gd name="T55" fmla="*/ 9442 h 20000"/>
                  <a:gd name="T56" fmla="*/ 13300 w 20000"/>
                  <a:gd name="T57" fmla="*/ 9933 h 20000"/>
                  <a:gd name="T58" fmla="*/ 12808 w 20000"/>
                  <a:gd name="T59" fmla="*/ 10848 h 20000"/>
                  <a:gd name="T60" fmla="*/ 12512 w 20000"/>
                  <a:gd name="T61" fmla="*/ 11183 h 20000"/>
                  <a:gd name="T62" fmla="*/ 13300 w 20000"/>
                  <a:gd name="T63" fmla="*/ 11540 h 20000"/>
                  <a:gd name="T64" fmla="*/ 15320 w 20000"/>
                  <a:gd name="T65" fmla="*/ 13036 h 20000"/>
                  <a:gd name="T66" fmla="*/ 15320 w 20000"/>
                  <a:gd name="T67" fmla="*/ 13862 h 20000"/>
                  <a:gd name="T68" fmla="*/ 14828 w 20000"/>
                  <a:gd name="T69" fmla="*/ 14777 h 20000"/>
                  <a:gd name="T70" fmla="*/ 17143 w 20000"/>
                  <a:gd name="T71" fmla="*/ 16272 h 20000"/>
                  <a:gd name="T72" fmla="*/ 17931 w 20000"/>
                  <a:gd name="T73" fmla="*/ 17879 h 20000"/>
                  <a:gd name="T74" fmla="*/ 16601 w 20000"/>
                  <a:gd name="T75" fmla="*/ 19397 h 20000"/>
                  <a:gd name="T76" fmla="*/ 16108 w 20000"/>
                  <a:gd name="T77" fmla="*/ 19978 h 20000"/>
                  <a:gd name="T78" fmla="*/ 16108 w 20000"/>
                  <a:gd name="T79" fmla="*/ 19063 h 20000"/>
                  <a:gd name="T80" fmla="*/ 15813 w 20000"/>
                  <a:gd name="T81" fmla="*/ 18125 h 20000"/>
                  <a:gd name="T82" fmla="*/ 16108 w 20000"/>
                  <a:gd name="T83" fmla="*/ 16964 h 20000"/>
                  <a:gd name="T84" fmla="*/ 14828 w 20000"/>
                  <a:gd name="T85" fmla="*/ 16272 h 20000"/>
                  <a:gd name="T86" fmla="*/ 14089 w 20000"/>
                  <a:gd name="T87" fmla="*/ 15357 h 20000"/>
                  <a:gd name="T88" fmla="*/ 13300 w 20000"/>
                  <a:gd name="T89" fmla="*/ 13638 h 20000"/>
                  <a:gd name="T90" fmla="*/ 12512 w 20000"/>
                  <a:gd name="T91" fmla="*/ 13036 h 20000"/>
                  <a:gd name="T92" fmla="*/ 11773 w 20000"/>
                  <a:gd name="T93" fmla="*/ 12366 h 20000"/>
                  <a:gd name="T94" fmla="*/ 11281 w 20000"/>
                  <a:gd name="T95" fmla="*/ 13036 h 20000"/>
                  <a:gd name="T96" fmla="*/ 8670 w 20000"/>
                  <a:gd name="T97" fmla="*/ 13862 h 20000"/>
                  <a:gd name="T98" fmla="*/ 7438 w 20000"/>
                  <a:gd name="T99" fmla="*/ 13862 h 20000"/>
                  <a:gd name="T100" fmla="*/ 7438 w 20000"/>
                  <a:gd name="T101" fmla="*/ 13862 h 20000"/>
                  <a:gd name="T102" fmla="*/ 6650 w 20000"/>
                  <a:gd name="T103" fmla="*/ 13638 h 20000"/>
                  <a:gd name="T104" fmla="*/ 5862 w 20000"/>
                  <a:gd name="T105" fmla="*/ 12679 h 20000"/>
                  <a:gd name="T106" fmla="*/ 5862 w 20000"/>
                  <a:gd name="T107" fmla="*/ 11183 h 20000"/>
                  <a:gd name="T108" fmla="*/ 4631 w 20000"/>
                  <a:gd name="T109" fmla="*/ 10625 h 20000"/>
                  <a:gd name="T110" fmla="*/ 4138 w 20000"/>
                  <a:gd name="T111" fmla="*/ 10268 h 20000"/>
                  <a:gd name="T112" fmla="*/ 3350 w 20000"/>
                  <a:gd name="T113" fmla="*/ 9710 h 20000"/>
                  <a:gd name="T114" fmla="*/ 2562 w 20000"/>
                  <a:gd name="T115" fmla="*/ 9129 h 20000"/>
                  <a:gd name="T116" fmla="*/ 1330 w 20000"/>
                  <a:gd name="T117" fmla="*/ 8996 h 20000"/>
                  <a:gd name="T118" fmla="*/ 542 w 20000"/>
                  <a:gd name="T119" fmla="*/ 8080 h 20000"/>
                  <a:gd name="T120" fmla="*/ 1034 w 20000"/>
                  <a:gd name="T121" fmla="*/ 70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1034" y="7031"/>
                    </a:moveTo>
                    <a:lnTo>
                      <a:pt x="1823" y="7031"/>
                    </a:lnTo>
                    <a:lnTo>
                      <a:pt x="1330" y="6116"/>
                    </a:lnTo>
                    <a:lnTo>
                      <a:pt x="2069" y="6004"/>
                    </a:lnTo>
                    <a:lnTo>
                      <a:pt x="2069" y="5067"/>
                    </a:lnTo>
                    <a:lnTo>
                      <a:pt x="3350" y="5067"/>
                    </a:lnTo>
                    <a:lnTo>
                      <a:pt x="4138" y="4286"/>
                    </a:lnTo>
                    <a:lnTo>
                      <a:pt x="4138" y="3683"/>
                    </a:lnTo>
                    <a:lnTo>
                      <a:pt x="4138" y="3326"/>
                    </a:lnTo>
                    <a:lnTo>
                      <a:pt x="5123" y="3013"/>
                    </a:lnTo>
                    <a:lnTo>
                      <a:pt x="5123" y="2188"/>
                    </a:lnTo>
                    <a:lnTo>
                      <a:pt x="6650" y="1496"/>
                    </a:lnTo>
                    <a:lnTo>
                      <a:pt x="8473" y="1272"/>
                    </a:lnTo>
                    <a:lnTo>
                      <a:pt x="8670" y="1496"/>
                    </a:lnTo>
                    <a:lnTo>
                      <a:pt x="9212" y="1272"/>
                    </a:lnTo>
                    <a:lnTo>
                      <a:pt x="8670" y="692"/>
                    </a:lnTo>
                    <a:lnTo>
                      <a:pt x="9212" y="357"/>
                    </a:lnTo>
                    <a:lnTo>
                      <a:pt x="9458" y="357"/>
                    </a:lnTo>
                    <a:lnTo>
                      <a:pt x="9458" y="0"/>
                    </a:lnTo>
                    <a:lnTo>
                      <a:pt x="10788" y="0"/>
                    </a:lnTo>
                    <a:lnTo>
                      <a:pt x="11773" y="580"/>
                    </a:lnTo>
                    <a:lnTo>
                      <a:pt x="11773" y="915"/>
                    </a:lnTo>
                    <a:lnTo>
                      <a:pt x="12512" y="915"/>
                    </a:lnTo>
                    <a:lnTo>
                      <a:pt x="13300" y="2768"/>
                    </a:lnTo>
                    <a:lnTo>
                      <a:pt x="12808" y="3237"/>
                    </a:lnTo>
                    <a:lnTo>
                      <a:pt x="12808" y="3326"/>
                    </a:lnTo>
                    <a:lnTo>
                      <a:pt x="12512" y="3326"/>
                    </a:lnTo>
                    <a:lnTo>
                      <a:pt x="11281" y="3683"/>
                    </a:lnTo>
                    <a:lnTo>
                      <a:pt x="11773" y="4152"/>
                    </a:lnTo>
                    <a:lnTo>
                      <a:pt x="10788" y="4152"/>
                    </a:lnTo>
                    <a:lnTo>
                      <a:pt x="11281" y="4621"/>
                    </a:lnTo>
                    <a:lnTo>
                      <a:pt x="11773" y="5067"/>
                    </a:lnTo>
                    <a:lnTo>
                      <a:pt x="12512" y="4844"/>
                    </a:lnTo>
                    <a:lnTo>
                      <a:pt x="12808" y="4844"/>
                    </a:lnTo>
                    <a:lnTo>
                      <a:pt x="14089" y="4844"/>
                    </a:lnTo>
                    <a:lnTo>
                      <a:pt x="13793" y="5067"/>
                    </a:lnTo>
                    <a:lnTo>
                      <a:pt x="14089" y="5201"/>
                    </a:lnTo>
                    <a:lnTo>
                      <a:pt x="14581" y="6004"/>
                    </a:lnTo>
                    <a:lnTo>
                      <a:pt x="15813" y="6004"/>
                    </a:lnTo>
                    <a:lnTo>
                      <a:pt x="15813" y="6563"/>
                    </a:lnTo>
                    <a:lnTo>
                      <a:pt x="15320" y="7031"/>
                    </a:lnTo>
                    <a:lnTo>
                      <a:pt x="17340" y="7254"/>
                    </a:lnTo>
                    <a:lnTo>
                      <a:pt x="17340" y="7522"/>
                    </a:lnTo>
                    <a:lnTo>
                      <a:pt x="17340" y="7612"/>
                    </a:lnTo>
                    <a:lnTo>
                      <a:pt x="17931" y="7612"/>
                    </a:lnTo>
                    <a:lnTo>
                      <a:pt x="18670" y="7857"/>
                    </a:lnTo>
                    <a:lnTo>
                      <a:pt x="19951" y="7857"/>
                    </a:lnTo>
                    <a:lnTo>
                      <a:pt x="19163" y="8080"/>
                    </a:lnTo>
                    <a:lnTo>
                      <a:pt x="18670" y="8192"/>
                    </a:lnTo>
                    <a:lnTo>
                      <a:pt x="19163" y="8438"/>
                    </a:lnTo>
                    <a:lnTo>
                      <a:pt x="18128" y="8527"/>
                    </a:lnTo>
                    <a:lnTo>
                      <a:pt x="17931" y="8772"/>
                    </a:lnTo>
                    <a:lnTo>
                      <a:pt x="16601" y="8996"/>
                    </a:lnTo>
                    <a:lnTo>
                      <a:pt x="16108" y="9353"/>
                    </a:lnTo>
                    <a:lnTo>
                      <a:pt x="15320" y="9129"/>
                    </a:lnTo>
                    <a:lnTo>
                      <a:pt x="15813" y="9442"/>
                    </a:lnTo>
                    <a:lnTo>
                      <a:pt x="13793" y="9710"/>
                    </a:lnTo>
                    <a:lnTo>
                      <a:pt x="13300" y="9933"/>
                    </a:lnTo>
                    <a:lnTo>
                      <a:pt x="12808" y="10268"/>
                    </a:lnTo>
                    <a:lnTo>
                      <a:pt x="12808" y="10848"/>
                    </a:lnTo>
                    <a:lnTo>
                      <a:pt x="12512" y="10960"/>
                    </a:lnTo>
                    <a:lnTo>
                      <a:pt x="12512" y="11183"/>
                    </a:lnTo>
                    <a:lnTo>
                      <a:pt x="12808" y="11183"/>
                    </a:lnTo>
                    <a:lnTo>
                      <a:pt x="13300" y="11540"/>
                    </a:lnTo>
                    <a:lnTo>
                      <a:pt x="14828" y="12679"/>
                    </a:lnTo>
                    <a:lnTo>
                      <a:pt x="15320" y="13036"/>
                    </a:lnTo>
                    <a:lnTo>
                      <a:pt x="15813" y="13638"/>
                    </a:lnTo>
                    <a:lnTo>
                      <a:pt x="15320" y="13862"/>
                    </a:lnTo>
                    <a:lnTo>
                      <a:pt x="15320" y="14308"/>
                    </a:lnTo>
                    <a:lnTo>
                      <a:pt x="14828" y="14777"/>
                    </a:lnTo>
                    <a:lnTo>
                      <a:pt x="14828" y="15134"/>
                    </a:lnTo>
                    <a:lnTo>
                      <a:pt x="17143" y="16272"/>
                    </a:lnTo>
                    <a:lnTo>
                      <a:pt x="17143" y="16741"/>
                    </a:lnTo>
                    <a:lnTo>
                      <a:pt x="17931" y="17879"/>
                    </a:lnTo>
                    <a:lnTo>
                      <a:pt x="17340" y="18482"/>
                    </a:lnTo>
                    <a:lnTo>
                      <a:pt x="16601" y="19397"/>
                    </a:lnTo>
                    <a:lnTo>
                      <a:pt x="16601" y="19754"/>
                    </a:lnTo>
                    <a:lnTo>
                      <a:pt x="16108" y="19978"/>
                    </a:lnTo>
                    <a:lnTo>
                      <a:pt x="15813" y="19397"/>
                    </a:lnTo>
                    <a:lnTo>
                      <a:pt x="16108" y="19063"/>
                    </a:lnTo>
                    <a:lnTo>
                      <a:pt x="16108" y="18125"/>
                    </a:lnTo>
                    <a:lnTo>
                      <a:pt x="15813" y="18125"/>
                    </a:lnTo>
                    <a:lnTo>
                      <a:pt x="16108" y="17879"/>
                    </a:lnTo>
                    <a:lnTo>
                      <a:pt x="16108" y="16964"/>
                    </a:lnTo>
                    <a:lnTo>
                      <a:pt x="14828" y="15826"/>
                    </a:lnTo>
                    <a:lnTo>
                      <a:pt x="14828" y="16272"/>
                    </a:lnTo>
                    <a:lnTo>
                      <a:pt x="14581" y="16272"/>
                    </a:lnTo>
                    <a:lnTo>
                      <a:pt x="14089" y="15357"/>
                    </a:lnTo>
                    <a:lnTo>
                      <a:pt x="13793" y="14308"/>
                    </a:lnTo>
                    <a:lnTo>
                      <a:pt x="13300" y="13638"/>
                    </a:lnTo>
                    <a:lnTo>
                      <a:pt x="13300" y="13036"/>
                    </a:lnTo>
                    <a:lnTo>
                      <a:pt x="12512" y="13036"/>
                    </a:lnTo>
                    <a:lnTo>
                      <a:pt x="12020" y="12679"/>
                    </a:lnTo>
                    <a:lnTo>
                      <a:pt x="11773" y="12366"/>
                    </a:lnTo>
                    <a:lnTo>
                      <a:pt x="11281" y="12455"/>
                    </a:lnTo>
                    <a:lnTo>
                      <a:pt x="11281" y="13036"/>
                    </a:lnTo>
                    <a:lnTo>
                      <a:pt x="10493" y="13393"/>
                    </a:lnTo>
                    <a:lnTo>
                      <a:pt x="8670" y="13862"/>
                    </a:lnTo>
                    <a:lnTo>
                      <a:pt x="8473" y="13973"/>
                    </a:lnTo>
                    <a:lnTo>
                      <a:pt x="7438" y="13862"/>
                    </a:lnTo>
                    <a:lnTo>
                      <a:pt x="7931" y="13638"/>
                    </a:lnTo>
                    <a:lnTo>
                      <a:pt x="7438" y="13862"/>
                    </a:lnTo>
                    <a:lnTo>
                      <a:pt x="6650" y="13862"/>
                    </a:lnTo>
                    <a:lnTo>
                      <a:pt x="6650" y="13638"/>
                    </a:lnTo>
                    <a:lnTo>
                      <a:pt x="5862" y="13862"/>
                    </a:lnTo>
                    <a:lnTo>
                      <a:pt x="5862" y="12679"/>
                    </a:lnTo>
                    <a:lnTo>
                      <a:pt x="6453" y="11763"/>
                    </a:lnTo>
                    <a:lnTo>
                      <a:pt x="5862" y="11183"/>
                    </a:lnTo>
                    <a:lnTo>
                      <a:pt x="4631" y="10491"/>
                    </a:lnTo>
                    <a:lnTo>
                      <a:pt x="4631" y="10625"/>
                    </a:lnTo>
                    <a:lnTo>
                      <a:pt x="3350" y="10045"/>
                    </a:lnTo>
                    <a:lnTo>
                      <a:pt x="4138" y="10268"/>
                    </a:lnTo>
                    <a:lnTo>
                      <a:pt x="4631" y="10045"/>
                    </a:lnTo>
                    <a:lnTo>
                      <a:pt x="3350" y="9710"/>
                    </a:lnTo>
                    <a:lnTo>
                      <a:pt x="3054" y="9353"/>
                    </a:lnTo>
                    <a:lnTo>
                      <a:pt x="2562" y="9129"/>
                    </a:lnTo>
                    <a:lnTo>
                      <a:pt x="1823" y="8996"/>
                    </a:lnTo>
                    <a:lnTo>
                      <a:pt x="1330" y="8996"/>
                    </a:lnTo>
                    <a:lnTo>
                      <a:pt x="0" y="8192"/>
                    </a:lnTo>
                    <a:lnTo>
                      <a:pt x="542" y="8080"/>
                    </a:lnTo>
                    <a:lnTo>
                      <a:pt x="1330" y="8192"/>
                    </a:lnTo>
                    <a:lnTo>
                      <a:pt x="1034" y="703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3" name="Freeform 216"/>
              <p:cNvSpPr>
                <a:spLocks/>
              </p:cNvSpPr>
              <p:nvPr/>
            </p:nvSpPr>
            <p:spPr bwMode="auto">
              <a:xfrm>
                <a:off x="8224838" y="4319588"/>
                <a:ext cx="26987" cy="33337"/>
              </a:xfrm>
              <a:custGeom>
                <a:avLst/>
                <a:gdLst>
                  <a:gd name="T0" fmla="*/ 0 w 20000"/>
                  <a:gd name="T1" fmla="*/ 5769 h 20000"/>
                  <a:gd name="T2" fmla="*/ 11905 w 20000"/>
                  <a:gd name="T3" fmla="*/ 0 h 20000"/>
                  <a:gd name="T4" fmla="*/ 11905 w 20000"/>
                  <a:gd name="T5" fmla="*/ 5769 h 20000"/>
                  <a:gd name="T6" fmla="*/ 19524 w 20000"/>
                  <a:gd name="T7" fmla="*/ 13462 h 20000"/>
                  <a:gd name="T8" fmla="*/ 11905 w 20000"/>
                  <a:gd name="T9" fmla="*/ 13462 h 20000"/>
                  <a:gd name="T10" fmla="*/ 2857 w 20000"/>
                  <a:gd name="T11" fmla="*/ 19615 h 20000"/>
                  <a:gd name="T12" fmla="*/ 0 w 20000"/>
                  <a:gd name="T13" fmla="*/ 5769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5769"/>
                    </a:moveTo>
                    <a:lnTo>
                      <a:pt x="11905" y="0"/>
                    </a:lnTo>
                    <a:lnTo>
                      <a:pt x="11905" y="5769"/>
                    </a:lnTo>
                    <a:lnTo>
                      <a:pt x="19524" y="13462"/>
                    </a:lnTo>
                    <a:lnTo>
                      <a:pt x="11905" y="13462"/>
                    </a:lnTo>
                    <a:lnTo>
                      <a:pt x="2857" y="19615"/>
                    </a:lnTo>
                    <a:lnTo>
                      <a:pt x="0" y="57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4" name="Freeform 215"/>
              <p:cNvSpPr>
                <a:spLocks/>
              </p:cNvSpPr>
              <p:nvPr/>
            </p:nvSpPr>
            <p:spPr bwMode="auto">
              <a:xfrm>
                <a:off x="8340725" y="3689350"/>
                <a:ext cx="50800" cy="115888"/>
              </a:xfrm>
              <a:custGeom>
                <a:avLst/>
                <a:gdLst>
                  <a:gd name="T0" fmla="*/ 10380 w 20000"/>
                  <a:gd name="T1" fmla="*/ 19890 h 20000"/>
                  <a:gd name="T2" fmla="*/ 9114 w 20000"/>
                  <a:gd name="T3" fmla="*/ 19890 h 20000"/>
                  <a:gd name="T4" fmla="*/ 9114 w 20000"/>
                  <a:gd name="T5" fmla="*/ 18132 h 20000"/>
                  <a:gd name="T6" fmla="*/ 4051 w 20000"/>
                  <a:gd name="T7" fmla="*/ 16484 h 20000"/>
                  <a:gd name="T8" fmla="*/ 0 w 20000"/>
                  <a:gd name="T9" fmla="*/ 12967 h 20000"/>
                  <a:gd name="T10" fmla="*/ 0 w 20000"/>
                  <a:gd name="T11" fmla="*/ 10220 h 20000"/>
                  <a:gd name="T12" fmla="*/ 2532 w 20000"/>
                  <a:gd name="T13" fmla="*/ 8022 h 20000"/>
                  <a:gd name="T14" fmla="*/ 9114 w 20000"/>
                  <a:gd name="T15" fmla="*/ 1648 h 20000"/>
                  <a:gd name="T16" fmla="*/ 12911 w 20000"/>
                  <a:gd name="T17" fmla="*/ 0 h 20000"/>
                  <a:gd name="T18" fmla="*/ 19747 w 20000"/>
                  <a:gd name="T19" fmla="*/ 1648 h 20000"/>
                  <a:gd name="T20" fmla="*/ 19747 w 20000"/>
                  <a:gd name="T21" fmla="*/ 4505 h 20000"/>
                  <a:gd name="T22" fmla="*/ 16962 w 20000"/>
                  <a:gd name="T23" fmla="*/ 6264 h 20000"/>
                  <a:gd name="T24" fmla="*/ 15696 w 20000"/>
                  <a:gd name="T25" fmla="*/ 12967 h 20000"/>
                  <a:gd name="T26" fmla="*/ 12911 w 20000"/>
                  <a:gd name="T27" fmla="*/ 16484 h 20000"/>
                  <a:gd name="T28" fmla="*/ 10380 w 20000"/>
                  <a:gd name="T29" fmla="*/ 198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0380" y="19890"/>
                    </a:moveTo>
                    <a:lnTo>
                      <a:pt x="9114" y="19890"/>
                    </a:lnTo>
                    <a:lnTo>
                      <a:pt x="9114" y="18132"/>
                    </a:lnTo>
                    <a:lnTo>
                      <a:pt x="4051" y="16484"/>
                    </a:lnTo>
                    <a:lnTo>
                      <a:pt x="0" y="12967"/>
                    </a:lnTo>
                    <a:lnTo>
                      <a:pt x="0" y="10220"/>
                    </a:lnTo>
                    <a:lnTo>
                      <a:pt x="2532" y="8022"/>
                    </a:lnTo>
                    <a:lnTo>
                      <a:pt x="9114" y="1648"/>
                    </a:lnTo>
                    <a:lnTo>
                      <a:pt x="12911" y="0"/>
                    </a:lnTo>
                    <a:lnTo>
                      <a:pt x="19747" y="1648"/>
                    </a:lnTo>
                    <a:lnTo>
                      <a:pt x="19747" y="4505"/>
                    </a:lnTo>
                    <a:lnTo>
                      <a:pt x="16962" y="6264"/>
                    </a:lnTo>
                    <a:lnTo>
                      <a:pt x="15696" y="12967"/>
                    </a:lnTo>
                    <a:lnTo>
                      <a:pt x="12911" y="16484"/>
                    </a:lnTo>
                    <a:lnTo>
                      <a:pt x="10380" y="198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5" name="Freeform 214"/>
              <p:cNvSpPr>
                <a:spLocks/>
              </p:cNvSpPr>
              <p:nvPr/>
            </p:nvSpPr>
            <p:spPr bwMode="auto">
              <a:xfrm>
                <a:off x="6975475" y="2562225"/>
                <a:ext cx="1555750" cy="1298575"/>
              </a:xfrm>
              <a:custGeom>
                <a:avLst/>
                <a:gdLst>
                  <a:gd name="T0" fmla="*/ 16612 w 20000"/>
                  <a:gd name="T1" fmla="*/ 1418 h 20000"/>
                  <a:gd name="T2" fmla="*/ 18424 w 20000"/>
                  <a:gd name="T3" fmla="*/ 2983 h 20000"/>
                  <a:gd name="T4" fmla="*/ 19992 w 20000"/>
                  <a:gd name="T5" fmla="*/ 3540 h 20000"/>
                  <a:gd name="T6" fmla="*/ 19527 w 20000"/>
                  <a:gd name="T7" fmla="*/ 7139 h 20000"/>
                  <a:gd name="T8" fmla="*/ 18939 w 20000"/>
                  <a:gd name="T9" fmla="*/ 7697 h 20000"/>
                  <a:gd name="T10" fmla="*/ 18220 w 20000"/>
                  <a:gd name="T11" fmla="*/ 7941 h 20000"/>
                  <a:gd name="T12" fmla="*/ 17159 w 20000"/>
                  <a:gd name="T13" fmla="*/ 9418 h 20000"/>
                  <a:gd name="T14" fmla="*/ 16743 w 20000"/>
                  <a:gd name="T15" fmla="*/ 9418 h 20000"/>
                  <a:gd name="T16" fmla="*/ 15853 w 20000"/>
                  <a:gd name="T17" fmla="*/ 9672 h 20000"/>
                  <a:gd name="T18" fmla="*/ 16057 w 20000"/>
                  <a:gd name="T19" fmla="*/ 10836 h 20000"/>
                  <a:gd name="T20" fmla="*/ 17331 w 20000"/>
                  <a:gd name="T21" fmla="*/ 10631 h 20000"/>
                  <a:gd name="T22" fmla="*/ 16400 w 20000"/>
                  <a:gd name="T23" fmla="*/ 12293 h 20000"/>
                  <a:gd name="T24" fmla="*/ 17290 w 20000"/>
                  <a:gd name="T25" fmla="*/ 13819 h 20000"/>
                  <a:gd name="T26" fmla="*/ 17412 w 20000"/>
                  <a:gd name="T27" fmla="*/ 14680 h 20000"/>
                  <a:gd name="T28" fmla="*/ 17837 w 20000"/>
                  <a:gd name="T29" fmla="*/ 14973 h 20000"/>
                  <a:gd name="T30" fmla="*/ 17673 w 20000"/>
                  <a:gd name="T31" fmla="*/ 15531 h 20000"/>
                  <a:gd name="T32" fmla="*/ 17331 w 20000"/>
                  <a:gd name="T33" fmla="*/ 16597 h 20000"/>
                  <a:gd name="T34" fmla="*/ 17078 w 20000"/>
                  <a:gd name="T35" fmla="*/ 17614 h 20000"/>
                  <a:gd name="T36" fmla="*/ 16269 w 20000"/>
                  <a:gd name="T37" fmla="*/ 18670 h 20000"/>
                  <a:gd name="T38" fmla="*/ 15216 w 20000"/>
                  <a:gd name="T39" fmla="*/ 18670 h 20000"/>
                  <a:gd name="T40" fmla="*/ 14416 w 20000"/>
                  <a:gd name="T41" fmla="*/ 19491 h 20000"/>
                  <a:gd name="T42" fmla="*/ 13951 w 20000"/>
                  <a:gd name="T43" fmla="*/ 19491 h 20000"/>
                  <a:gd name="T44" fmla="*/ 13437 w 20000"/>
                  <a:gd name="T45" fmla="*/ 19374 h 20000"/>
                  <a:gd name="T46" fmla="*/ 12433 w 20000"/>
                  <a:gd name="T47" fmla="*/ 18670 h 20000"/>
                  <a:gd name="T48" fmla="*/ 11535 w 20000"/>
                  <a:gd name="T49" fmla="*/ 18826 h 20000"/>
                  <a:gd name="T50" fmla="*/ 11078 w 20000"/>
                  <a:gd name="T51" fmla="*/ 19589 h 20000"/>
                  <a:gd name="T52" fmla="*/ 10441 w 20000"/>
                  <a:gd name="T53" fmla="*/ 19227 h 20000"/>
                  <a:gd name="T54" fmla="*/ 9894 w 20000"/>
                  <a:gd name="T55" fmla="*/ 18171 h 20000"/>
                  <a:gd name="T56" fmla="*/ 9429 w 20000"/>
                  <a:gd name="T57" fmla="*/ 17653 h 20000"/>
                  <a:gd name="T58" fmla="*/ 9510 w 20000"/>
                  <a:gd name="T59" fmla="*/ 16293 h 20000"/>
                  <a:gd name="T60" fmla="*/ 8751 w 20000"/>
                  <a:gd name="T61" fmla="*/ 16039 h 20000"/>
                  <a:gd name="T62" fmla="*/ 8408 w 20000"/>
                  <a:gd name="T63" fmla="*/ 15736 h 20000"/>
                  <a:gd name="T64" fmla="*/ 7445 w 20000"/>
                  <a:gd name="T65" fmla="*/ 16293 h 20000"/>
                  <a:gd name="T66" fmla="*/ 6343 w 20000"/>
                  <a:gd name="T67" fmla="*/ 16450 h 20000"/>
                  <a:gd name="T68" fmla="*/ 4906 w 20000"/>
                  <a:gd name="T69" fmla="*/ 16196 h 20000"/>
                  <a:gd name="T70" fmla="*/ 4139 w 20000"/>
                  <a:gd name="T71" fmla="*/ 15795 h 20000"/>
                  <a:gd name="T72" fmla="*/ 2318 w 20000"/>
                  <a:gd name="T73" fmla="*/ 14416 h 20000"/>
                  <a:gd name="T74" fmla="*/ 2449 w 20000"/>
                  <a:gd name="T75" fmla="*/ 13770 h 20000"/>
                  <a:gd name="T76" fmla="*/ 1437 w 20000"/>
                  <a:gd name="T77" fmla="*/ 12293 h 20000"/>
                  <a:gd name="T78" fmla="*/ 669 w 20000"/>
                  <a:gd name="T79" fmla="*/ 11540 h 20000"/>
                  <a:gd name="T80" fmla="*/ 416 w 20000"/>
                  <a:gd name="T81" fmla="*/ 9917 h 20000"/>
                  <a:gd name="T82" fmla="*/ 2114 w 20000"/>
                  <a:gd name="T83" fmla="*/ 8900 h 20000"/>
                  <a:gd name="T84" fmla="*/ 2449 w 20000"/>
                  <a:gd name="T85" fmla="*/ 6778 h 20000"/>
                  <a:gd name="T86" fmla="*/ 3673 w 20000"/>
                  <a:gd name="T87" fmla="*/ 4606 h 20000"/>
                  <a:gd name="T88" fmla="*/ 4571 w 20000"/>
                  <a:gd name="T89" fmla="*/ 5115 h 20000"/>
                  <a:gd name="T90" fmla="*/ 5322 w 20000"/>
                  <a:gd name="T91" fmla="*/ 6377 h 20000"/>
                  <a:gd name="T92" fmla="*/ 7012 w 20000"/>
                  <a:gd name="T93" fmla="*/ 7394 h 20000"/>
                  <a:gd name="T94" fmla="*/ 8751 w 20000"/>
                  <a:gd name="T95" fmla="*/ 8196 h 20000"/>
                  <a:gd name="T96" fmla="*/ 10784 w 20000"/>
                  <a:gd name="T97" fmla="*/ 8597 h 20000"/>
                  <a:gd name="T98" fmla="*/ 12767 w 20000"/>
                  <a:gd name="T99" fmla="*/ 6885 h 20000"/>
                  <a:gd name="T100" fmla="*/ 13437 w 20000"/>
                  <a:gd name="T101" fmla="*/ 6328 h 20000"/>
                  <a:gd name="T102" fmla="*/ 14286 w 20000"/>
                  <a:gd name="T103" fmla="*/ 5418 h 20000"/>
                  <a:gd name="T104" fmla="*/ 15176 w 20000"/>
                  <a:gd name="T105" fmla="*/ 4919 h 20000"/>
                  <a:gd name="T106" fmla="*/ 13951 w 20000"/>
                  <a:gd name="T107" fmla="*/ 4362 h 20000"/>
                  <a:gd name="T108" fmla="*/ 13567 w 20000"/>
                  <a:gd name="T109" fmla="*/ 3042 h 20000"/>
                  <a:gd name="T110" fmla="*/ 14335 w 20000"/>
                  <a:gd name="T111" fmla="*/ 10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00" h="20000">
                    <a:moveTo>
                      <a:pt x="14841" y="108"/>
                    </a:moveTo>
                    <a:lnTo>
                      <a:pt x="15004" y="0"/>
                    </a:lnTo>
                    <a:lnTo>
                      <a:pt x="15216" y="108"/>
                    </a:lnTo>
                    <a:lnTo>
                      <a:pt x="15641" y="205"/>
                    </a:lnTo>
                    <a:lnTo>
                      <a:pt x="15853" y="254"/>
                    </a:lnTo>
                    <a:lnTo>
                      <a:pt x="15976" y="362"/>
                    </a:lnTo>
                    <a:lnTo>
                      <a:pt x="16612" y="1418"/>
                    </a:lnTo>
                    <a:lnTo>
                      <a:pt x="16873" y="1721"/>
                    </a:lnTo>
                    <a:lnTo>
                      <a:pt x="17078" y="2230"/>
                    </a:lnTo>
                    <a:lnTo>
                      <a:pt x="17208" y="2484"/>
                    </a:lnTo>
                    <a:lnTo>
                      <a:pt x="17331" y="2641"/>
                    </a:lnTo>
                    <a:lnTo>
                      <a:pt x="17673" y="2641"/>
                    </a:lnTo>
                    <a:lnTo>
                      <a:pt x="17878" y="2641"/>
                    </a:lnTo>
                    <a:lnTo>
                      <a:pt x="18424" y="2983"/>
                    </a:lnTo>
                    <a:lnTo>
                      <a:pt x="18776" y="3795"/>
                    </a:lnTo>
                    <a:lnTo>
                      <a:pt x="18939" y="3795"/>
                    </a:lnTo>
                    <a:lnTo>
                      <a:pt x="19273" y="3697"/>
                    </a:lnTo>
                    <a:lnTo>
                      <a:pt x="19396" y="3443"/>
                    </a:lnTo>
                    <a:lnTo>
                      <a:pt x="19739" y="3296"/>
                    </a:lnTo>
                    <a:lnTo>
                      <a:pt x="19992" y="3139"/>
                    </a:lnTo>
                    <a:lnTo>
                      <a:pt x="19992" y="3540"/>
                    </a:lnTo>
                    <a:lnTo>
                      <a:pt x="19992" y="3941"/>
                    </a:lnTo>
                    <a:lnTo>
                      <a:pt x="19951" y="4098"/>
                    </a:lnTo>
                    <a:lnTo>
                      <a:pt x="19951" y="5516"/>
                    </a:lnTo>
                    <a:lnTo>
                      <a:pt x="19527" y="5320"/>
                    </a:lnTo>
                    <a:lnTo>
                      <a:pt x="19314" y="5672"/>
                    </a:lnTo>
                    <a:lnTo>
                      <a:pt x="19608" y="6631"/>
                    </a:lnTo>
                    <a:lnTo>
                      <a:pt x="19527" y="7139"/>
                    </a:lnTo>
                    <a:lnTo>
                      <a:pt x="19527" y="7296"/>
                    </a:lnTo>
                    <a:lnTo>
                      <a:pt x="19396" y="7139"/>
                    </a:lnTo>
                    <a:lnTo>
                      <a:pt x="19273" y="7042"/>
                    </a:lnTo>
                    <a:lnTo>
                      <a:pt x="19273" y="7296"/>
                    </a:lnTo>
                    <a:lnTo>
                      <a:pt x="19110" y="7443"/>
                    </a:lnTo>
                    <a:lnTo>
                      <a:pt x="19061" y="7638"/>
                    </a:lnTo>
                    <a:lnTo>
                      <a:pt x="18939" y="7697"/>
                    </a:lnTo>
                    <a:lnTo>
                      <a:pt x="18776" y="7795"/>
                    </a:lnTo>
                    <a:lnTo>
                      <a:pt x="18776" y="7844"/>
                    </a:lnTo>
                    <a:lnTo>
                      <a:pt x="18857" y="8039"/>
                    </a:lnTo>
                    <a:lnTo>
                      <a:pt x="18727" y="8039"/>
                    </a:lnTo>
                    <a:lnTo>
                      <a:pt x="18514" y="8039"/>
                    </a:lnTo>
                    <a:lnTo>
                      <a:pt x="18392" y="7844"/>
                    </a:lnTo>
                    <a:lnTo>
                      <a:pt x="18220" y="7941"/>
                    </a:lnTo>
                    <a:lnTo>
                      <a:pt x="18220" y="8196"/>
                    </a:lnTo>
                    <a:lnTo>
                      <a:pt x="18180" y="8352"/>
                    </a:lnTo>
                    <a:lnTo>
                      <a:pt x="18049" y="8499"/>
                    </a:lnTo>
                    <a:lnTo>
                      <a:pt x="17755" y="8753"/>
                    </a:lnTo>
                    <a:lnTo>
                      <a:pt x="17624" y="9164"/>
                    </a:lnTo>
                    <a:lnTo>
                      <a:pt x="17331" y="9262"/>
                    </a:lnTo>
                    <a:lnTo>
                      <a:pt x="17159" y="9418"/>
                    </a:lnTo>
                    <a:lnTo>
                      <a:pt x="16955" y="9672"/>
                    </a:lnTo>
                    <a:lnTo>
                      <a:pt x="16743" y="9917"/>
                    </a:lnTo>
                    <a:lnTo>
                      <a:pt x="16653" y="9819"/>
                    </a:lnTo>
                    <a:lnTo>
                      <a:pt x="16776" y="9672"/>
                    </a:lnTo>
                    <a:lnTo>
                      <a:pt x="16776" y="9565"/>
                    </a:lnTo>
                    <a:lnTo>
                      <a:pt x="16873" y="9516"/>
                    </a:lnTo>
                    <a:lnTo>
                      <a:pt x="16743" y="9418"/>
                    </a:lnTo>
                    <a:lnTo>
                      <a:pt x="16653" y="9262"/>
                    </a:lnTo>
                    <a:lnTo>
                      <a:pt x="16873" y="8753"/>
                    </a:lnTo>
                    <a:lnTo>
                      <a:pt x="16612" y="8499"/>
                    </a:lnTo>
                    <a:lnTo>
                      <a:pt x="16318" y="8704"/>
                    </a:lnTo>
                    <a:lnTo>
                      <a:pt x="16106" y="9164"/>
                    </a:lnTo>
                    <a:lnTo>
                      <a:pt x="15894" y="9418"/>
                    </a:lnTo>
                    <a:lnTo>
                      <a:pt x="15853" y="9672"/>
                    </a:lnTo>
                    <a:lnTo>
                      <a:pt x="15722" y="9770"/>
                    </a:lnTo>
                    <a:lnTo>
                      <a:pt x="15429" y="9770"/>
                    </a:lnTo>
                    <a:lnTo>
                      <a:pt x="15510" y="10171"/>
                    </a:lnTo>
                    <a:lnTo>
                      <a:pt x="15641" y="10474"/>
                    </a:lnTo>
                    <a:lnTo>
                      <a:pt x="15771" y="10435"/>
                    </a:lnTo>
                    <a:lnTo>
                      <a:pt x="15976" y="10572"/>
                    </a:lnTo>
                    <a:lnTo>
                      <a:pt x="16057" y="10836"/>
                    </a:lnTo>
                    <a:lnTo>
                      <a:pt x="16188" y="10983"/>
                    </a:lnTo>
                    <a:lnTo>
                      <a:pt x="16318" y="10875"/>
                    </a:lnTo>
                    <a:lnTo>
                      <a:pt x="16522" y="10631"/>
                    </a:lnTo>
                    <a:lnTo>
                      <a:pt x="16653" y="10474"/>
                    </a:lnTo>
                    <a:lnTo>
                      <a:pt x="16955" y="10631"/>
                    </a:lnTo>
                    <a:lnTo>
                      <a:pt x="17159" y="10631"/>
                    </a:lnTo>
                    <a:lnTo>
                      <a:pt x="17331" y="10631"/>
                    </a:lnTo>
                    <a:lnTo>
                      <a:pt x="17331" y="10983"/>
                    </a:lnTo>
                    <a:lnTo>
                      <a:pt x="17159" y="10875"/>
                    </a:lnTo>
                    <a:lnTo>
                      <a:pt x="16776" y="11139"/>
                    </a:lnTo>
                    <a:lnTo>
                      <a:pt x="16873" y="11237"/>
                    </a:lnTo>
                    <a:lnTo>
                      <a:pt x="16612" y="11638"/>
                    </a:lnTo>
                    <a:lnTo>
                      <a:pt x="16400" y="12039"/>
                    </a:lnTo>
                    <a:lnTo>
                      <a:pt x="16400" y="12293"/>
                    </a:lnTo>
                    <a:lnTo>
                      <a:pt x="16776" y="12557"/>
                    </a:lnTo>
                    <a:lnTo>
                      <a:pt x="17078" y="13154"/>
                    </a:lnTo>
                    <a:lnTo>
                      <a:pt x="17208" y="13262"/>
                    </a:lnTo>
                    <a:lnTo>
                      <a:pt x="17290" y="13516"/>
                    </a:lnTo>
                    <a:lnTo>
                      <a:pt x="17494" y="13770"/>
                    </a:lnTo>
                    <a:lnTo>
                      <a:pt x="17624" y="13917"/>
                    </a:lnTo>
                    <a:lnTo>
                      <a:pt x="17290" y="13819"/>
                    </a:lnTo>
                    <a:lnTo>
                      <a:pt x="17159" y="13770"/>
                    </a:lnTo>
                    <a:lnTo>
                      <a:pt x="17078" y="13819"/>
                    </a:lnTo>
                    <a:lnTo>
                      <a:pt x="17208" y="13819"/>
                    </a:lnTo>
                    <a:lnTo>
                      <a:pt x="17412" y="14073"/>
                    </a:lnTo>
                    <a:lnTo>
                      <a:pt x="17673" y="14416"/>
                    </a:lnTo>
                    <a:lnTo>
                      <a:pt x="17494" y="14474"/>
                    </a:lnTo>
                    <a:lnTo>
                      <a:pt x="17412" y="14680"/>
                    </a:lnTo>
                    <a:lnTo>
                      <a:pt x="17208" y="14680"/>
                    </a:lnTo>
                    <a:lnTo>
                      <a:pt x="17159" y="14826"/>
                    </a:lnTo>
                    <a:lnTo>
                      <a:pt x="17290" y="14729"/>
                    </a:lnTo>
                    <a:lnTo>
                      <a:pt x="17290" y="14875"/>
                    </a:lnTo>
                    <a:lnTo>
                      <a:pt x="17543" y="14729"/>
                    </a:lnTo>
                    <a:lnTo>
                      <a:pt x="17755" y="14875"/>
                    </a:lnTo>
                    <a:lnTo>
                      <a:pt x="17837" y="14973"/>
                    </a:lnTo>
                    <a:lnTo>
                      <a:pt x="17673" y="15130"/>
                    </a:lnTo>
                    <a:lnTo>
                      <a:pt x="17837" y="15130"/>
                    </a:lnTo>
                    <a:lnTo>
                      <a:pt x="17837" y="15276"/>
                    </a:lnTo>
                    <a:lnTo>
                      <a:pt x="17673" y="15276"/>
                    </a:lnTo>
                    <a:lnTo>
                      <a:pt x="17755" y="15374"/>
                    </a:lnTo>
                    <a:lnTo>
                      <a:pt x="17755" y="15531"/>
                    </a:lnTo>
                    <a:lnTo>
                      <a:pt x="17673" y="15531"/>
                    </a:lnTo>
                    <a:lnTo>
                      <a:pt x="17673" y="15638"/>
                    </a:lnTo>
                    <a:lnTo>
                      <a:pt x="17837" y="15736"/>
                    </a:lnTo>
                    <a:lnTo>
                      <a:pt x="17673" y="15795"/>
                    </a:lnTo>
                    <a:lnTo>
                      <a:pt x="17673" y="15736"/>
                    </a:lnTo>
                    <a:lnTo>
                      <a:pt x="17624" y="15795"/>
                    </a:lnTo>
                    <a:lnTo>
                      <a:pt x="17494" y="16196"/>
                    </a:lnTo>
                    <a:lnTo>
                      <a:pt x="17331" y="16597"/>
                    </a:lnTo>
                    <a:lnTo>
                      <a:pt x="17208" y="16597"/>
                    </a:lnTo>
                    <a:lnTo>
                      <a:pt x="17208" y="16694"/>
                    </a:lnTo>
                    <a:lnTo>
                      <a:pt x="17290" y="16792"/>
                    </a:lnTo>
                    <a:lnTo>
                      <a:pt x="17208" y="16949"/>
                    </a:lnTo>
                    <a:lnTo>
                      <a:pt x="17208" y="17213"/>
                    </a:lnTo>
                    <a:lnTo>
                      <a:pt x="17208" y="17359"/>
                    </a:lnTo>
                    <a:lnTo>
                      <a:pt x="17078" y="17614"/>
                    </a:lnTo>
                    <a:lnTo>
                      <a:pt x="16955" y="17770"/>
                    </a:lnTo>
                    <a:lnTo>
                      <a:pt x="16743" y="17868"/>
                    </a:lnTo>
                    <a:lnTo>
                      <a:pt x="16776" y="17917"/>
                    </a:lnTo>
                    <a:lnTo>
                      <a:pt x="16612" y="18171"/>
                    </a:lnTo>
                    <a:lnTo>
                      <a:pt x="16441" y="18269"/>
                    </a:lnTo>
                    <a:lnTo>
                      <a:pt x="16400" y="18269"/>
                    </a:lnTo>
                    <a:lnTo>
                      <a:pt x="16269" y="18670"/>
                    </a:lnTo>
                    <a:lnTo>
                      <a:pt x="15976" y="18729"/>
                    </a:lnTo>
                    <a:lnTo>
                      <a:pt x="15894" y="18826"/>
                    </a:lnTo>
                    <a:lnTo>
                      <a:pt x="15771" y="18729"/>
                    </a:lnTo>
                    <a:lnTo>
                      <a:pt x="15722" y="18826"/>
                    </a:lnTo>
                    <a:lnTo>
                      <a:pt x="15641" y="18729"/>
                    </a:lnTo>
                    <a:lnTo>
                      <a:pt x="15429" y="18924"/>
                    </a:lnTo>
                    <a:lnTo>
                      <a:pt x="15216" y="18670"/>
                    </a:lnTo>
                    <a:lnTo>
                      <a:pt x="15306" y="19071"/>
                    </a:lnTo>
                    <a:lnTo>
                      <a:pt x="14955" y="19227"/>
                    </a:lnTo>
                    <a:lnTo>
                      <a:pt x="14873" y="19130"/>
                    </a:lnTo>
                    <a:lnTo>
                      <a:pt x="14873" y="19227"/>
                    </a:lnTo>
                    <a:lnTo>
                      <a:pt x="14751" y="19335"/>
                    </a:lnTo>
                    <a:lnTo>
                      <a:pt x="14620" y="19374"/>
                    </a:lnTo>
                    <a:lnTo>
                      <a:pt x="14416" y="19491"/>
                    </a:lnTo>
                    <a:lnTo>
                      <a:pt x="14204" y="19589"/>
                    </a:lnTo>
                    <a:lnTo>
                      <a:pt x="14204" y="19491"/>
                    </a:lnTo>
                    <a:lnTo>
                      <a:pt x="14122" y="19736"/>
                    </a:lnTo>
                    <a:lnTo>
                      <a:pt x="14286" y="19892"/>
                    </a:lnTo>
                    <a:lnTo>
                      <a:pt x="14073" y="19990"/>
                    </a:lnTo>
                    <a:lnTo>
                      <a:pt x="13992" y="19628"/>
                    </a:lnTo>
                    <a:lnTo>
                      <a:pt x="13951" y="19491"/>
                    </a:lnTo>
                    <a:lnTo>
                      <a:pt x="14073" y="19374"/>
                    </a:lnTo>
                    <a:lnTo>
                      <a:pt x="13869" y="19227"/>
                    </a:lnTo>
                    <a:lnTo>
                      <a:pt x="13780" y="19374"/>
                    </a:lnTo>
                    <a:lnTo>
                      <a:pt x="13649" y="19335"/>
                    </a:lnTo>
                    <a:lnTo>
                      <a:pt x="13527" y="19227"/>
                    </a:lnTo>
                    <a:lnTo>
                      <a:pt x="13437" y="19227"/>
                    </a:lnTo>
                    <a:lnTo>
                      <a:pt x="13437" y="19374"/>
                    </a:lnTo>
                    <a:lnTo>
                      <a:pt x="13314" y="19374"/>
                    </a:lnTo>
                    <a:lnTo>
                      <a:pt x="13233" y="19335"/>
                    </a:lnTo>
                    <a:lnTo>
                      <a:pt x="13061" y="19374"/>
                    </a:lnTo>
                    <a:lnTo>
                      <a:pt x="12767" y="18973"/>
                    </a:lnTo>
                    <a:lnTo>
                      <a:pt x="12849" y="18729"/>
                    </a:lnTo>
                    <a:lnTo>
                      <a:pt x="12767" y="18729"/>
                    </a:lnTo>
                    <a:lnTo>
                      <a:pt x="12433" y="18670"/>
                    </a:lnTo>
                    <a:lnTo>
                      <a:pt x="12302" y="18513"/>
                    </a:lnTo>
                    <a:lnTo>
                      <a:pt x="12090" y="18572"/>
                    </a:lnTo>
                    <a:lnTo>
                      <a:pt x="12090" y="18729"/>
                    </a:lnTo>
                    <a:lnTo>
                      <a:pt x="11878" y="18826"/>
                    </a:lnTo>
                    <a:lnTo>
                      <a:pt x="11796" y="18973"/>
                    </a:lnTo>
                    <a:lnTo>
                      <a:pt x="11665" y="18826"/>
                    </a:lnTo>
                    <a:lnTo>
                      <a:pt x="11535" y="18826"/>
                    </a:lnTo>
                    <a:lnTo>
                      <a:pt x="11453" y="18924"/>
                    </a:lnTo>
                    <a:lnTo>
                      <a:pt x="11331" y="18924"/>
                    </a:lnTo>
                    <a:lnTo>
                      <a:pt x="11282" y="18924"/>
                    </a:lnTo>
                    <a:lnTo>
                      <a:pt x="11200" y="18973"/>
                    </a:lnTo>
                    <a:lnTo>
                      <a:pt x="11078" y="18973"/>
                    </a:lnTo>
                    <a:lnTo>
                      <a:pt x="10988" y="19071"/>
                    </a:lnTo>
                    <a:lnTo>
                      <a:pt x="11078" y="19589"/>
                    </a:lnTo>
                    <a:lnTo>
                      <a:pt x="10865" y="19589"/>
                    </a:lnTo>
                    <a:lnTo>
                      <a:pt x="10865" y="19491"/>
                    </a:lnTo>
                    <a:lnTo>
                      <a:pt x="10653" y="19491"/>
                    </a:lnTo>
                    <a:lnTo>
                      <a:pt x="10531" y="19374"/>
                    </a:lnTo>
                    <a:lnTo>
                      <a:pt x="10441" y="19374"/>
                    </a:lnTo>
                    <a:lnTo>
                      <a:pt x="10441" y="19335"/>
                    </a:lnTo>
                    <a:lnTo>
                      <a:pt x="10441" y="19227"/>
                    </a:lnTo>
                    <a:lnTo>
                      <a:pt x="10098" y="19130"/>
                    </a:lnTo>
                    <a:lnTo>
                      <a:pt x="10180" y="18924"/>
                    </a:lnTo>
                    <a:lnTo>
                      <a:pt x="10180" y="18670"/>
                    </a:lnTo>
                    <a:lnTo>
                      <a:pt x="9976" y="18670"/>
                    </a:lnTo>
                    <a:lnTo>
                      <a:pt x="9894" y="18318"/>
                    </a:lnTo>
                    <a:lnTo>
                      <a:pt x="9845" y="18269"/>
                    </a:lnTo>
                    <a:lnTo>
                      <a:pt x="9894" y="18171"/>
                    </a:lnTo>
                    <a:lnTo>
                      <a:pt x="9682" y="18171"/>
                    </a:lnTo>
                    <a:lnTo>
                      <a:pt x="9633" y="18171"/>
                    </a:lnTo>
                    <a:lnTo>
                      <a:pt x="9510" y="18269"/>
                    </a:lnTo>
                    <a:lnTo>
                      <a:pt x="9429" y="18073"/>
                    </a:lnTo>
                    <a:lnTo>
                      <a:pt x="9347" y="17868"/>
                    </a:lnTo>
                    <a:lnTo>
                      <a:pt x="9510" y="17868"/>
                    </a:lnTo>
                    <a:lnTo>
                      <a:pt x="9429" y="17653"/>
                    </a:lnTo>
                    <a:lnTo>
                      <a:pt x="9633" y="17506"/>
                    </a:lnTo>
                    <a:lnTo>
                      <a:pt x="9682" y="17506"/>
                    </a:lnTo>
                    <a:lnTo>
                      <a:pt x="9682" y="17457"/>
                    </a:lnTo>
                    <a:lnTo>
                      <a:pt x="9763" y="17252"/>
                    </a:lnTo>
                    <a:lnTo>
                      <a:pt x="9633" y="16450"/>
                    </a:lnTo>
                    <a:lnTo>
                      <a:pt x="9510" y="16450"/>
                    </a:lnTo>
                    <a:lnTo>
                      <a:pt x="9510" y="16293"/>
                    </a:lnTo>
                    <a:lnTo>
                      <a:pt x="9347" y="16039"/>
                    </a:lnTo>
                    <a:lnTo>
                      <a:pt x="9127" y="16039"/>
                    </a:lnTo>
                    <a:lnTo>
                      <a:pt x="9127" y="16196"/>
                    </a:lnTo>
                    <a:lnTo>
                      <a:pt x="8996" y="16039"/>
                    </a:lnTo>
                    <a:lnTo>
                      <a:pt x="8873" y="16039"/>
                    </a:lnTo>
                    <a:lnTo>
                      <a:pt x="8873" y="15941"/>
                    </a:lnTo>
                    <a:lnTo>
                      <a:pt x="8751" y="16039"/>
                    </a:lnTo>
                    <a:lnTo>
                      <a:pt x="8792" y="15892"/>
                    </a:lnTo>
                    <a:lnTo>
                      <a:pt x="8792" y="15736"/>
                    </a:lnTo>
                    <a:lnTo>
                      <a:pt x="8661" y="15736"/>
                    </a:lnTo>
                    <a:lnTo>
                      <a:pt x="8751" y="15531"/>
                    </a:lnTo>
                    <a:lnTo>
                      <a:pt x="8661" y="15491"/>
                    </a:lnTo>
                    <a:lnTo>
                      <a:pt x="8539" y="15531"/>
                    </a:lnTo>
                    <a:lnTo>
                      <a:pt x="8408" y="15736"/>
                    </a:lnTo>
                    <a:lnTo>
                      <a:pt x="8073" y="15638"/>
                    </a:lnTo>
                    <a:lnTo>
                      <a:pt x="7910" y="15736"/>
                    </a:lnTo>
                    <a:lnTo>
                      <a:pt x="7861" y="15892"/>
                    </a:lnTo>
                    <a:lnTo>
                      <a:pt x="7559" y="15941"/>
                    </a:lnTo>
                    <a:lnTo>
                      <a:pt x="7559" y="16137"/>
                    </a:lnTo>
                    <a:lnTo>
                      <a:pt x="7527" y="16196"/>
                    </a:lnTo>
                    <a:lnTo>
                      <a:pt x="7445" y="16293"/>
                    </a:lnTo>
                    <a:lnTo>
                      <a:pt x="7224" y="16352"/>
                    </a:lnTo>
                    <a:lnTo>
                      <a:pt x="7094" y="16352"/>
                    </a:lnTo>
                    <a:lnTo>
                      <a:pt x="6971" y="16196"/>
                    </a:lnTo>
                    <a:lnTo>
                      <a:pt x="6890" y="16293"/>
                    </a:lnTo>
                    <a:lnTo>
                      <a:pt x="6637" y="16293"/>
                    </a:lnTo>
                    <a:lnTo>
                      <a:pt x="6424" y="16196"/>
                    </a:lnTo>
                    <a:lnTo>
                      <a:pt x="6343" y="16450"/>
                    </a:lnTo>
                    <a:lnTo>
                      <a:pt x="6122" y="16548"/>
                    </a:lnTo>
                    <a:lnTo>
                      <a:pt x="6122" y="16293"/>
                    </a:lnTo>
                    <a:lnTo>
                      <a:pt x="5918" y="16352"/>
                    </a:lnTo>
                    <a:lnTo>
                      <a:pt x="5535" y="16352"/>
                    </a:lnTo>
                    <a:lnTo>
                      <a:pt x="5322" y="16293"/>
                    </a:lnTo>
                    <a:lnTo>
                      <a:pt x="5241" y="16352"/>
                    </a:lnTo>
                    <a:lnTo>
                      <a:pt x="4906" y="16196"/>
                    </a:lnTo>
                    <a:lnTo>
                      <a:pt x="4776" y="16196"/>
                    </a:lnTo>
                    <a:lnTo>
                      <a:pt x="4776" y="15941"/>
                    </a:lnTo>
                    <a:lnTo>
                      <a:pt x="4653" y="16039"/>
                    </a:lnTo>
                    <a:lnTo>
                      <a:pt x="4441" y="15941"/>
                    </a:lnTo>
                    <a:lnTo>
                      <a:pt x="4351" y="15736"/>
                    </a:lnTo>
                    <a:lnTo>
                      <a:pt x="4220" y="15736"/>
                    </a:lnTo>
                    <a:lnTo>
                      <a:pt x="4139" y="15795"/>
                    </a:lnTo>
                    <a:lnTo>
                      <a:pt x="4016" y="15531"/>
                    </a:lnTo>
                    <a:lnTo>
                      <a:pt x="3420" y="15237"/>
                    </a:lnTo>
                    <a:lnTo>
                      <a:pt x="3208" y="15130"/>
                    </a:lnTo>
                    <a:lnTo>
                      <a:pt x="2751" y="14826"/>
                    </a:lnTo>
                    <a:lnTo>
                      <a:pt x="2669" y="14729"/>
                    </a:lnTo>
                    <a:lnTo>
                      <a:pt x="2449" y="14826"/>
                    </a:lnTo>
                    <a:lnTo>
                      <a:pt x="2318" y="14416"/>
                    </a:lnTo>
                    <a:lnTo>
                      <a:pt x="2318" y="14220"/>
                    </a:lnTo>
                    <a:lnTo>
                      <a:pt x="2237" y="14220"/>
                    </a:lnTo>
                    <a:lnTo>
                      <a:pt x="2196" y="14073"/>
                    </a:lnTo>
                    <a:lnTo>
                      <a:pt x="2237" y="14015"/>
                    </a:lnTo>
                    <a:lnTo>
                      <a:pt x="2367" y="14171"/>
                    </a:lnTo>
                    <a:lnTo>
                      <a:pt x="2571" y="13917"/>
                    </a:lnTo>
                    <a:lnTo>
                      <a:pt x="2449" y="13770"/>
                    </a:lnTo>
                    <a:lnTo>
                      <a:pt x="2318" y="13672"/>
                    </a:lnTo>
                    <a:lnTo>
                      <a:pt x="2237" y="13359"/>
                    </a:lnTo>
                    <a:lnTo>
                      <a:pt x="2196" y="13154"/>
                    </a:lnTo>
                    <a:lnTo>
                      <a:pt x="2114" y="12958"/>
                    </a:lnTo>
                    <a:lnTo>
                      <a:pt x="1853" y="12597"/>
                    </a:lnTo>
                    <a:lnTo>
                      <a:pt x="1771" y="12597"/>
                    </a:lnTo>
                    <a:lnTo>
                      <a:pt x="1437" y="12293"/>
                    </a:lnTo>
                    <a:lnTo>
                      <a:pt x="1224" y="12039"/>
                    </a:lnTo>
                    <a:lnTo>
                      <a:pt x="759" y="11795"/>
                    </a:lnTo>
                    <a:lnTo>
                      <a:pt x="547" y="11892"/>
                    </a:lnTo>
                    <a:lnTo>
                      <a:pt x="465" y="11795"/>
                    </a:lnTo>
                    <a:lnTo>
                      <a:pt x="416" y="11697"/>
                    </a:lnTo>
                    <a:lnTo>
                      <a:pt x="547" y="11697"/>
                    </a:lnTo>
                    <a:lnTo>
                      <a:pt x="669" y="11540"/>
                    </a:lnTo>
                    <a:lnTo>
                      <a:pt x="465" y="10983"/>
                    </a:lnTo>
                    <a:lnTo>
                      <a:pt x="253" y="10875"/>
                    </a:lnTo>
                    <a:lnTo>
                      <a:pt x="131" y="10875"/>
                    </a:lnTo>
                    <a:lnTo>
                      <a:pt x="0" y="10474"/>
                    </a:lnTo>
                    <a:lnTo>
                      <a:pt x="131" y="10474"/>
                    </a:lnTo>
                    <a:lnTo>
                      <a:pt x="82" y="10171"/>
                    </a:lnTo>
                    <a:lnTo>
                      <a:pt x="416" y="9917"/>
                    </a:lnTo>
                    <a:lnTo>
                      <a:pt x="588" y="9819"/>
                    </a:lnTo>
                    <a:lnTo>
                      <a:pt x="669" y="9917"/>
                    </a:lnTo>
                    <a:lnTo>
                      <a:pt x="971" y="9819"/>
                    </a:lnTo>
                    <a:lnTo>
                      <a:pt x="1012" y="9565"/>
                    </a:lnTo>
                    <a:lnTo>
                      <a:pt x="1437" y="9516"/>
                    </a:lnTo>
                    <a:lnTo>
                      <a:pt x="1567" y="9262"/>
                    </a:lnTo>
                    <a:lnTo>
                      <a:pt x="2114" y="8900"/>
                    </a:lnTo>
                    <a:lnTo>
                      <a:pt x="2196" y="8196"/>
                    </a:lnTo>
                    <a:lnTo>
                      <a:pt x="1853" y="7296"/>
                    </a:lnTo>
                    <a:lnTo>
                      <a:pt x="1690" y="7296"/>
                    </a:lnTo>
                    <a:lnTo>
                      <a:pt x="2237" y="6983"/>
                    </a:lnTo>
                    <a:lnTo>
                      <a:pt x="2449" y="7042"/>
                    </a:lnTo>
                    <a:lnTo>
                      <a:pt x="2571" y="6885"/>
                    </a:lnTo>
                    <a:lnTo>
                      <a:pt x="2449" y="6778"/>
                    </a:lnTo>
                    <a:lnTo>
                      <a:pt x="2539" y="5917"/>
                    </a:lnTo>
                    <a:lnTo>
                      <a:pt x="3257" y="5917"/>
                    </a:lnTo>
                    <a:lnTo>
                      <a:pt x="3420" y="5721"/>
                    </a:lnTo>
                    <a:lnTo>
                      <a:pt x="3257" y="5115"/>
                    </a:lnTo>
                    <a:lnTo>
                      <a:pt x="3469" y="5017"/>
                    </a:lnTo>
                    <a:lnTo>
                      <a:pt x="3633" y="4919"/>
                    </a:lnTo>
                    <a:lnTo>
                      <a:pt x="3673" y="4606"/>
                    </a:lnTo>
                    <a:lnTo>
                      <a:pt x="3886" y="4499"/>
                    </a:lnTo>
                    <a:lnTo>
                      <a:pt x="3886" y="4763"/>
                    </a:lnTo>
                    <a:lnTo>
                      <a:pt x="4016" y="4861"/>
                    </a:lnTo>
                    <a:lnTo>
                      <a:pt x="4098" y="4919"/>
                    </a:lnTo>
                    <a:lnTo>
                      <a:pt x="4220" y="5017"/>
                    </a:lnTo>
                    <a:lnTo>
                      <a:pt x="4441" y="5320"/>
                    </a:lnTo>
                    <a:lnTo>
                      <a:pt x="4571" y="5115"/>
                    </a:lnTo>
                    <a:lnTo>
                      <a:pt x="4653" y="5164"/>
                    </a:lnTo>
                    <a:lnTo>
                      <a:pt x="4694" y="5320"/>
                    </a:lnTo>
                    <a:lnTo>
                      <a:pt x="4776" y="5262"/>
                    </a:lnTo>
                    <a:lnTo>
                      <a:pt x="5029" y="5565"/>
                    </a:lnTo>
                    <a:lnTo>
                      <a:pt x="5241" y="5917"/>
                    </a:lnTo>
                    <a:lnTo>
                      <a:pt x="5241" y="6181"/>
                    </a:lnTo>
                    <a:lnTo>
                      <a:pt x="5322" y="6377"/>
                    </a:lnTo>
                    <a:lnTo>
                      <a:pt x="5241" y="6474"/>
                    </a:lnTo>
                    <a:lnTo>
                      <a:pt x="5322" y="6738"/>
                    </a:lnTo>
                    <a:lnTo>
                      <a:pt x="5657" y="6885"/>
                    </a:lnTo>
                    <a:lnTo>
                      <a:pt x="6122" y="6983"/>
                    </a:lnTo>
                    <a:lnTo>
                      <a:pt x="6343" y="6983"/>
                    </a:lnTo>
                    <a:lnTo>
                      <a:pt x="6678" y="7237"/>
                    </a:lnTo>
                    <a:lnTo>
                      <a:pt x="7012" y="7394"/>
                    </a:lnTo>
                    <a:lnTo>
                      <a:pt x="7094" y="7394"/>
                    </a:lnTo>
                    <a:lnTo>
                      <a:pt x="7224" y="7540"/>
                    </a:lnTo>
                    <a:lnTo>
                      <a:pt x="7445" y="8039"/>
                    </a:lnTo>
                    <a:lnTo>
                      <a:pt x="7649" y="8303"/>
                    </a:lnTo>
                    <a:lnTo>
                      <a:pt x="7992" y="8303"/>
                    </a:lnTo>
                    <a:lnTo>
                      <a:pt x="8073" y="8196"/>
                    </a:lnTo>
                    <a:lnTo>
                      <a:pt x="8751" y="8196"/>
                    </a:lnTo>
                    <a:lnTo>
                      <a:pt x="8873" y="8098"/>
                    </a:lnTo>
                    <a:lnTo>
                      <a:pt x="9429" y="8098"/>
                    </a:lnTo>
                    <a:lnTo>
                      <a:pt x="9551" y="8303"/>
                    </a:lnTo>
                    <a:lnTo>
                      <a:pt x="10229" y="8499"/>
                    </a:lnTo>
                    <a:lnTo>
                      <a:pt x="10441" y="8499"/>
                    </a:lnTo>
                    <a:lnTo>
                      <a:pt x="10563" y="8597"/>
                    </a:lnTo>
                    <a:lnTo>
                      <a:pt x="10784" y="8597"/>
                    </a:lnTo>
                    <a:lnTo>
                      <a:pt x="11200" y="8196"/>
                    </a:lnTo>
                    <a:lnTo>
                      <a:pt x="12212" y="8039"/>
                    </a:lnTo>
                    <a:lnTo>
                      <a:pt x="12335" y="7844"/>
                    </a:lnTo>
                    <a:lnTo>
                      <a:pt x="12514" y="7697"/>
                    </a:lnTo>
                    <a:lnTo>
                      <a:pt x="12555" y="7394"/>
                    </a:lnTo>
                    <a:lnTo>
                      <a:pt x="12767" y="7237"/>
                    </a:lnTo>
                    <a:lnTo>
                      <a:pt x="12767" y="6885"/>
                    </a:lnTo>
                    <a:lnTo>
                      <a:pt x="12637" y="6738"/>
                    </a:lnTo>
                    <a:lnTo>
                      <a:pt x="12637" y="6474"/>
                    </a:lnTo>
                    <a:lnTo>
                      <a:pt x="12686" y="6328"/>
                    </a:lnTo>
                    <a:lnTo>
                      <a:pt x="12849" y="6377"/>
                    </a:lnTo>
                    <a:lnTo>
                      <a:pt x="13102" y="6377"/>
                    </a:lnTo>
                    <a:lnTo>
                      <a:pt x="13404" y="6377"/>
                    </a:lnTo>
                    <a:lnTo>
                      <a:pt x="13437" y="6328"/>
                    </a:lnTo>
                    <a:lnTo>
                      <a:pt x="13527" y="5976"/>
                    </a:lnTo>
                    <a:lnTo>
                      <a:pt x="13739" y="5976"/>
                    </a:lnTo>
                    <a:lnTo>
                      <a:pt x="13992" y="5672"/>
                    </a:lnTo>
                    <a:lnTo>
                      <a:pt x="13992" y="5516"/>
                    </a:lnTo>
                    <a:lnTo>
                      <a:pt x="14122" y="5320"/>
                    </a:lnTo>
                    <a:lnTo>
                      <a:pt x="14204" y="5320"/>
                    </a:lnTo>
                    <a:lnTo>
                      <a:pt x="14286" y="5418"/>
                    </a:lnTo>
                    <a:lnTo>
                      <a:pt x="14335" y="5418"/>
                    </a:lnTo>
                    <a:lnTo>
                      <a:pt x="14335" y="5262"/>
                    </a:lnTo>
                    <a:lnTo>
                      <a:pt x="14416" y="5262"/>
                    </a:lnTo>
                    <a:lnTo>
                      <a:pt x="14539" y="5017"/>
                    </a:lnTo>
                    <a:lnTo>
                      <a:pt x="14841" y="4919"/>
                    </a:lnTo>
                    <a:lnTo>
                      <a:pt x="15086" y="5017"/>
                    </a:lnTo>
                    <a:lnTo>
                      <a:pt x="15176" y="4919"/>
                    </a:lnTo>
                    <a:lnTo>
                      <a:pt x="15004" y="4655"/>
                    </a:lnTo>
                    <a:lnTo>
                      <a:pt x="14873" y="4499"/>
                    </a:lnTo>
                    <a:lnTo>
                      <a:pt x="14620" y="4254"/>
                    </a:lnTo>
                    <a:lnTo>
                      <a:pt x="14416" y="4098"/>
                    </a:lnTo>
                    <a:lnTo>
                      <a:pt x="14204" y="4205"/>
                    </a:lnTo>
                    <a:lnTo>
                      <a:pt x="14073" y="4460"/>
                    </a:lnTo>
                    <a:lnTo>
                      <a:pt x="13951" y="4362"/>
                    </a:lnTo>
                    <a:lnTo>
                      <a:pt x="13739" y="4362"/>
                    </a:lnTo>
                    <a:lnTo>
                      <a:pt x="13649" y="4460"/>
                    </a:lnTo>
                    <a:lnTo>
                      <a:pt x="13437" y="4205"/>
                    </a:lnTo>
                    <a:lnTo>
                      <a:pt x="13527" y="4098"/>
                    </a:lnTo>
                    <a:lnTo>
                      <a:pt x="13527" y="3941"/>
                    </a:lnTo>
                    <a:lnTo>
                      <a:pt x="13527" y="3296"/>
                    </a:lnTo>
                    <a:lnTo>
                      <a:pt x="13567" y="3042"/>
                    </a:lnTo>
                    <a:lnTo>
                      <a:pt x="13739" y="3042"/>
                    </a:lnTo>
                    <a:lnTo>
                      <a:pt x="13992" y="3139"/>
                    </a:lnTo>
                    <a:lnTo>
                      <a:pt x="14335" y="2738"/>
                    </a:lnTo>
                    <a:lnTo>
                      <a:pt x="14204" y="2484"/>
                    </a:lnTo>
                    <a:lnTo>
                      <a:pt x="14286" y="1976"/>
                    </a:lnTo>
                    <a:lnTo>
                      <a:pt x="14416" y="1164"/>
                    </a:lnTo>
                    <a:lnTo>
                      <a:pt x="14335" y="1017"/>
                    </a:lnTo>
                    <a:lnTo>
                      <a:pt x="14204" y="822"/>
                    </a:lnTo>
                    <a:lnTo>
                      <a:pt x="14073" y="822"/>
                    </a:lnTo>
                    <a:lnTo>
                      <a:pt x="14204" y="401"/>
                    </a:lnTo>
                    <a:lnTo>
                      <a:pt x="14841" y="1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6" name="Freeform 213"/>
              <p:cNvSpPr>
                <a:spLocks/>
              </p:cNvSpPr>
              <p:nvPr/>
            </p:nvSpPr>
            <p:spPr bwMode="auto">
              <a:xfrm>
                <a:off x="6896100" y="3379788"/>
                <a:ext cx="790575" cy="850900"/>
              </a:xfrm>
              <a:custGeom>
                <a:avLst/>
                <a:gdLst>
                  <a:gd name="T0" fmla="*/ 6318 w 20000"/>
                  <a:gd name="T1" fmla="*/ 850 h 20000"/>
                  <a:gd name="T2" fmla="*/ 7074 w 20000"/>
                  <a:gd name="T3" fmla="*/ 2013 h 20000"/>
                  <a:gd name="T4" fmla="*/ 6415 w 20000"/>
                  <a:gd name="T5" fmla="*/ 2476 h 20000"/>
                  <a:gd name="T6" fmla="*/ 7251 w 20000"/>
                  <a:gd name="T7" fmla="*/ 3236 h 20000"/>
                  <a:gd name="T8" fmla="*/ 7926 w 20000"/>
                  <a:gd name="T9" fmla="*/ 4638 h 20000"/>
                  <a:gd name="T10" fmla="*/ 8585 w 20000"/>
                  <a:gd name="T11" fmla="*/ 5488 h 20000"/>
                  <a:gd name="T12" fmla="*/ 11158 w 20000"/>
                  <a:gd name="T13" fmla="*/ 6249 h 20000"/>
                  <a:gd name="T14" fmla="*/ 12235 w 20000"/>
                  <a:gd name="T15" fmla="*/ 6711 h 20000"/>
                  <a:gd name="T16" fmla="*/ 12990 w 20000"/>
                  <a:gd name="T17" fmla="*/ 6861 h 20000"/>
                  <a:gd name="T18" fmla="*/ 14068 w 20000"/>
                  <a:gd name="T19" fmla="*/ 5638 h 20000"/>
                  <a:gd name="T20" fmla="*/ 14904 w 20000"/>
                  <a:gd name="T21" fmla="*/ 6488 h 20000"/>
                  <a:gd name="T22" fmla="*/ 16238 w 20000"/>
                  <a:gd name="T23" fmla="*/ 6100 h 20000"/>
                  <a:gd name="T24" fmla="*/ 16672 w 20000"/>
                  <a:gd name="T25" fmla="*/ 5638 h 20000"/>
                  <a:gd name="T26" fmla="*/ 17492 w 20000"/>
                  <a:gd name="T27" fmla="*/ 5026 h 20000"/>
                  <a:gd name="T28" fmla="*/ 18810 w 20000"/>
                  <a:gd name="T29" fmla="*/ 4474 h 20000"/>
                  <a:gd name="T30" fmla="*/ 19325 w 20000"/>
                  <a:gd name="T31" fmla="*/ 4787 h 20000"/>
                  <a:gd name="T32" fmla="*/ 19486 w 20000"/>
                  <a:gd name="T33" fmla="*/ 5250 h 20000"/>
                  <a:gd name="T34" fmla="*/ 19727 w 20000"/>
                  <a:gd name="T35" fmla="*/ 5712 h 20000"/>
                  <a:gd name="T36" fmla="*/ 19068 w 20000"/>
                  <a:gd name="T37" fmla="*/ 6249 h 20000"/>
                  <a:gd name="T38" fmla="*/ 18248 w 20000"/>
                  <a:gd name="T39" fmla="*/ 7711 h 20000"/>
                  <a:gd name="T40" fmla="*/ 17588 w 20000"/>
                  <a:gd name="T41" fmla="*/ 9262 h 20000"/>
                  <a:gd name="T42" fmla="*/ 17074 w 20000"/>
                  <a:gd name="T43" fmla="*/ 9650 h 20000"/>
                  <a:gd name="T44" fmla="*/ 16415 w 20000"/>
                  <a:gd name="T45" fmla="*/ 9336 h 20000"/>
                  <a:gd name="T46" fmla="*/ 16158 w 20000"/>
                  <a:gd name="T47" fmla="*/ 8650 h 20000"/>
                  <a:gd name="T48" fmla="*/ 16833 w 20000"/>
                  <a:gd name="T49" fmla="*/ 7875 h 20000"/>
                  <a:gd name="T50" fmla="*/ 15064 w 20000"/>
                  <a:gd name="T51" fmla="*/ 7263 h 20000"/>
                  <a:gd name="T52" fmla="*/ 13842 w 20000"/>
                  <a:gd name="T53" fmla="*/ 7263 h 20000"/>
                  <a:gd name="T54" fmla="*/ 14068 w 20000"/>
                  <a:gd name="T55" fmla="*/ 7711 h 20000"/>
                  <a:gd name="T56" fmla="*/ 14502 w 20000"/>
                  <a:gd name="T57" fmla="*/ 8501 h 20000"/>
                  <a:gd name="T58" fmla="*/ 14502 w 20000"/>
                  <a:gd name="T59" fmla="*/ 10112 h 20000"/>
                  <a:gd name="T60" fmla="*/ 14003 w 20000"/>
                  <a:gd name="T61" fmla="*/ 9963 h 20000"/>
                  <a:gd name="T62" fmla="*/ 13151 w 20000"/>
                  <a:gd name="T63" fmla="*/ 10723 h 20000"/>
                  <a:gd name="T64" fmla="*/ 12910 w 20000"/>
                  <a:gd name="T65" fmla="*/ 11738 h 20000"/>
                  <a:gd name="T66" fmla="*/ 12235 w 20000"/>
                  <a:gd name="T67" fmla="*/ 11887 h 20000"/>
                  <a:gd name="T68" fmla="*/ 10161 w 20000"/>
                  <a:gd name="T69" fmla="*/ 13900 h 20000"/>
                  <a:gd name="T70" fmla="*/ 9244 w 20000"/>
                  <a:gd name="T71" fmla="*/ 14601 h 20000"/>
                  <a:gd name="T72" fmla="*/ 8842 w 20000"/>
                  <a:gd name="T73" fmla="*/ 15600 h 20000"/>
                  <a:gd name="T74" fmla="*/ 9003 w 20000"/>
                  <a:gd name="T75" fmla="*/ 16585 h 20000"/>
                  <a:gd name="T76" fmla="*/ 8328 w 20000"/>
                  <a:gd name="T77" fmla="*/ 18449 h 20000"/>
                  <a:gd name="T78" fmla="*/ 7749 w 20000"/>
                  <a:gd name="T79" fmla="*/ 19224 h 20000"/>
                  <a:gd name="T80" fmla="*/ 6158 w 20000"/>
                  <a:gd name="T81" fmla="*/ 18747 h 20000"/>
                  <a:gd name="T82" fmla="*/ 4839 w 20000"/>
                  <a:gd name="T83" fmla="*/ 16122 h 20000"/>
                  <a:gd name="T84" fmla="*/ 3328 w 20000"/>
                  <a:gd name="T85" fmla="*/ 12349 h 20000"/>
                  <a:gd name="T86" fmla="*/ 3087 w 20000"/>
                  <a:gd name="T87" fmla="*/ 10664 h 20000"/>
                  <a:gd name="T88" fmla="*/ 3167 w 20000"/>
                  <a:gd name="T89" fmla="*/ 10112 h 20000"/>
                  <a:gd name="T90" fmla="*/ 2508 w 20000"/>
                  <a:gd name="T91" fmla="*/ 10336 h 20000"/>
                  <a:gd name="T92" fmla="*/ 1350 w 20000"/>
                  <a:gd name="T93" fmla="*/ 10887 h 20000"/>
                  <a:gd name="T94" fmla="*/ 1350 w 20000"/>
                  <a:gd name="T95" fmla="*/ 9500 h 20000"/>
                  <a:gd name="T96" fmla="*/ 96 w 20000"/>
                  <a:gd name="T97" fmla="*/ 8874 h 20000"/>
                  <a:gd name="T98" fmla="*/ 257 w 20000"/>
                  <a:gd name="T99" fmla="*/ 8650 h 20000"/>
                  <a:gd name="T100" fmla="*/ 1592 w 20000"/>
                  <a:gd name="T101" fmla="*/ 8650 h 20000"/>
                  <a:gd name="T102" fmla="*/ 1093 w 20000"/>
                  <a:gd name="T103" fmla="*/ 7412 h 20000"/>
                  <a:gd name="T104" fmla="*/ 1093 w 20000"/>
                  <a:gd name="T105" fmla="*/ 5861 h 20000"/>
                  <a:gd name="T106" fmla="*/ 2251 w 20000"/>
                  <a:gd name="T107" fmla="*/ 5638 h 20000"/>
                  <a:gd name="T108" fmla="*/ 3087 w 20000"/>
                  <a:gd name="T109" fmla="*/ 4400 h 20000"/>
                  <a:gd name="T110" fmla="*/ 3585 w 20000"/>
                  <a:gd name="T111" fmla="*/ 3013 h 20000"/>
                  <a:gd name="T112" fmla="*/ 3585 w 20000"/>
                  <a:gd name="T113" fmla="*/ 2237 h 20000"/>
                  <a:gd name="T114" fmla="*/ 2830 w 20000"/>
                  <a:gd name="T115" fmla="*/ 850 h 20000"/>
                  <a:gd name="T116" fmla="*/ 4839 w 20000"/>
                  <a:gd name="T117" fmla="*/ 5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5498" y="0"/>
                    </a:moveTo>
                    <a:lnTo>
                      <a:pt x="5659" y="0"/>
                    </a:lnTo>
                    <a:lnTo>
                      <a:pt x="6158" y="552"/>
                    </a:lnTo>
                    <a:lnTo>
                      <a:pt x="6318" y="850"/>
                    </a:lnTo>
                    <a:lnTo>
                      <a:pt x="6415" y="1163"/>
                    </a:lnTo>
                    <a:lnTo>
                      <a:pt x="6576" y="1626"/>
                    </a:lnTo>
                    <a:lnTo>
                      <a:pt x="6833" y="1775"/>
                    </a:lnTo>
                    <a:lnTo>
                      <a:pt x="7074" y="2013"/>
                    </a:lnTo>
                    <a:lnTo>
                      <a:pt x="6672" y="2401"/>
                    </a:lnTo>
                    <a:lnTo>
                      <a:pt x="6415" y="2163"/>
                    </a:lnTo>
                    <a:lnTo>
                      <a:pt x="6318" y="2237"/>
                    </a:lnTo>
                    <a:lnTo>
                      <a:pt x="6415" y="2476"/>
                    </a:lnTo>
                    <a:lnTo>
                      <a:pt x="6576" y="2476"/>
                    </a:lnTo>
                    <a:lnTo>
                      <a:pt x="6576" y="2774"/>
                    </a:lnTo>
                    <a:lnTo>
                      <a:pt x="6833" y="3386"/>
                    </a:lnTo>
                    <a:lnTo>
                      <a:pt x="7251" y="3236"/>
                    </a:lnTo>
                    <a:lnTo>
                      <a:pt x="7412" y="3386"/>
                    </a:lnTo>
                    <a:lnTo>
                      <a:pt x="8328" y="3863"/>
                    </a:lnTo>
                    <a:lnTo>
                      <a:pt x="8087" y="4400"/>
                    </a:lnTo>
                    <a:lnTo>
                      <a:pt x="7926" y="4638"/>
                    </a:lnTo>
                    <a:lnTo>
                      <a:pt x="8087" y="4877"/>
                    </a:lnTo>
                    <a:lnTo>
                      <a:pt x="7749" y="5026"/>
                    </a:lnTo>
                    <a:lnTo>
                      <a:pt x="8087" y="5250"/>
                    </a:lnTo>
                    <a:lnTo>
                      <a:pt x="8585" y="5488"/>
                    </a:lnTo>
                    <a:lnTo>
                      <a:pt x="9164" y="5712"/>
                    </a:lnTo>
                    <a:lnTo>
                      <a:pt x="9662" y="5861"/>
                    </a:lnTo>
                    <a:lnTo>
                      <a:pt x="10498" y="6100"/>
                    </a:lnTo>
                    <a:lnTo>
                      <a:pt x="11158" y="6249"/>
                    </a:lnTo>
                    <a:lnTo>
                      <a:pt x="11254" y="6398"/>
                    </a:lnTo>
                    <a:lnTo>
                      <a:pt x="11672" y="6637"/>
                    </a:lnTo>
                    <a:lnTo>
                      <a:pt x="11913" y="6488"/>
                    </a:lnTo>
                    <a:lnTo>
                      <a:pt x="12235" y="6711"/>
                    </a:lnTo>
                    <a:lnTo>
                      <a:pt x="12331" y="6711"/>
                    </a:lnTo>
                    <a:lnTo>
                      <a:pt x="12749" y="6711"/>
                    </a:lnTo>
                    <a:lnTo>
                      <a:pt x="12990" y="6711"/>
                    </a:lnTo>
                    <a:lnTo>
                      <a:pt x="12990" y="6861"/>
                    </a:lnTo>
                    <a:lnTo>
                      <a:pt x="13650" y="6861"/>
                    </a:lnTo>
                    <a:lnTo>
                      <a:pt x="13585" y="6100"/>
                    </a:lnTo>
                    <a:lnTo>
                      <a:pt x="13650" y="5712"/>
                    </a:lnTo>
                    <a:lnTo>
                      <a:pt x="14068" y="5638"/>
                    </a:lnTo>
                    <a:lnTo>
                      <a:pt x="14068" y="6025"/>
                    </a:lnTo>
                    <a:lnTo>
                      <a:pt x="14068" y="6249"/>
                    </a:lnTo>
                    <a:lnTo>
                      <a:pt x="14405" y="6398"/>
                    </a:lnTo>
                    <a:lnTo>
                      <a:pt x="14904" y="6488"/>
                    </a:lnTo>
                    <a:lnTo>
                      <a:pt x="15322" y="6398"/>
                    </a:lnTo>
                    <a:lnTo>
                      <a:pt x="15322" y="6488"/>
                    </a:lnTo>
                    <a:lnTo>
                      <a:pt x="16415" y="6488"/>
                    </a:lnTo>
                    <a:lnTo>
                      <a:pt x="16238" y="6100"/>
                    </a:lnTo>
                    <a:lnTo>
                      <a:pt x="15981" y="6025"/>
                    </a:lnTo>
                    <a:lnTo>
                      <a:pt x="15981" y="5712"/>
                    </a:lnTo>
                    <a:lnTo>
                      <a:pt x="16238" y="5712"/>
                    </a:lnTo>
                    <a:lnTo>
                      <a:pt x="16672" y="5638"/>
                    </a:lnTo>
                    <a:lnTo>
                      <a:pt x="16833" y="5488"/>
                    </a:lnTo>
                    <a:lnTo>
                      <a:pt x="16897" y="5399"/>
                    </a:lnTo>
                    <a:lnTo>
                      <a:pt x="16897" y="5101"/>
                    </a:lnTo>
                    <a:lnTo>
                      <a:pt x="17492" y="5026"/>
                    </a:lnTo>
                    <a:lnTo>
                      <a:pt x="17588" y="4787"/>
                    </a:lnTo>
                    <a:lnTo>
                      <a:pt x="17910" y="4638"/>
                    </a:lnTo>
                    <a:lnTo>
                      <a:pt x="18569" y="4787"/>
                    </a:lnTo>
                    <a:lnTo>
                      <a:pt x="18810" y="4474"/>
                    </a:lnTo>
                    <a:lnTo>
                      <a:pt x="19068" y="4400"/>
                    </a:lnTo>
                    <a:lnTo>
                      <a:pt x="19244" y="4474"/>
                    </a:lnTo>
                    <a:lnTo>
                      <a:pt x="19068" y="4787"/>
                    </a:lnTo>
                    <a:lnTo>
                      <a:pt x="19325" y="4787"/>
                    </a:lnTo>
                    <a:lnTo>
                      <a:pt x="19325" y="5026"/>
                    </a:lnTo>
                    <a:lnTo>
                      <a:pt x="19244" y="5250"/>
                    </a:lnTo>
                    <a:lnTo>
                      <a:pt x="19486" y="5101"/>
                    </a:lnTo>
                    <a:lnTo>
                      <a:pt x="19486" y="5250"/>
                    </a:lnTo>
                    <a:lnTo>
                      <a:pt x="19727" y="5250"/>
                    </a:lnTo>
                    <a:lnTo>
                      <a:pt x="19984" y="5488"/>
                    </a:lnTo>
                    <a:lnTo>
                      <a:pt x="19904" y="5488"/>
                    </a:lnTo>
                    <a:lnTo>
                      <a:pt x="19727" y="5712"/>
                    </a:lnTo>
                    <a:lnTo>
                      <a:pt x="19904" y="6100"/>
                    </a:lnTo>
                    <a:lnTo>
                      <a:pt x="19727" y="6249"/>
                    </a:lnTo>
                    <a:lnTo>
                      <a:pt x="19662" y="6100"/>
                    </a:lnTo>
                    <a:lnTo>
                      <a:pt x="19068" y="6249"/>
                    </a:lnTo>
                    <a:lnTo>
                      <a:pt x="18569" y="6711"/>
                    </a:lnTo>
                    <a:lnTo>
                      <a:pt x="18569" y="7263"/>
                    </a:lnTo>
                    <a:lnTo>
                      <a:pt x="18248" y="7487"/>
                    </a:lnTo>
                    <a:lnTo>
                      <a:pt x="18248" y="7711"/>
                    </a:lnTo>
                    <a:lnTo>
                      <a:pt x="18248" y="8113"/>
                    </a:lnTo>
                    <a:lnTo>
                      <a:pt x="17990" y="8650"/>
                    </a:lnTo>
                    <a:lnTo>
                      <a:pt x="17588" y="8650"/>
                    </a:lnTo>
                    <a:lnTo>
                      <a:pt x="17588" y="9262"/>
                    </a:lnTo>
                    <a:lnTo>
                      <a:pt x="17331" y="9336"/>
                    </a:lnTo>
                    <a:lnTo>
                      <a:pt x="17492" y="9963"/>
                    </a:lnTo>
                    <a:lnTo>
                      <a:pt x="17235" y="9963"/>
                    </a:lnTo>
                    <a:lnTo>
                      <a:pt x="17074" y="9650"/>
                    </a:lnTo>
                    <a:lnTo>
                      <a:pt x="16833" y="9336"/>
                    </a:lnTo>
                    <a:lnTo>
                      <a:pt x="16833" y="9023"/>
                    </a:lnTo>
                    <a:lnTo>
                      <a:pt x="16495" y="9336"/>
                    </a:lnTo>
                    <a:lnTo>
                      <a:pt x="16415" y="9336"/>
                    </a:lnTo>
                    <a:lnTo>
                      <a:pt x="16238" y="9262"/>
                    </a:lnTo>
                    <a:lnTo>
                      <a:pt x="16158" y="9262"/>
                    </a:lnTo>
                    <a:lnTo>
                      <a:pt x="15981" y="8725"/>
                    </a:lnTo>
                    <a:lnTo>
                      <a:pt x="16158" y="8650"/>
                    </a:lnTo>
                    <a:lnTo>
                      <a:pt x="16238" y="8352"/>
                    </a:lnTo>
                    <a:lnTo>
                      <a:pt x="16672" y="8262"/>
                    </a:lnTo>
                    <a:lnTo>
                      <a:pt x="16672" y="8024"/>
                    </a:lnTo>
                    <a:lnTo>
                      <a:pt x="16833" y="7875"/>
                    </a:lnTo>
                    <a:lnTo>
                      <a:pt x="16672" y="7651"/>
                    </a:lnTo>
                    <a:lnTo>
                      <a:pt x="15064" y="7711"/>
                    </a:lnTo>
                    <a:lnTo>
                      <a:pt x="15161" y="7651"/>
                    </a:lnTo>
                    <a:lnTo>
                      <a:pt x="15064" y="7263"/>
                    </a:lnTo>
                    <a:lnTo>
                      <a:pt x="14662" y="7040"/>
                    </a:lnTo>
                    <a:lnTo>
                      <a:pt x="14244" y="6711"/>
                    </a:lnTo>
                    <a:lnTo>
                      <a:pt x="14003" y="6711"/>
                    </a:lnTo>
                    <a:lnTo>
                      <a:pt x="13842" y="7263"/>
                    </a:lnTo>
                    <a:lnTo>
                      <a:pt x="14068" y="7487"/>
                    </a:lnTo>
                    <a:lnTo>
                      <a:pt x="14244" y="7487"/>
                    </a:lnTo>
                    <a:lnTo>
                      <a:pt x="14502" y="7711"/>
                    </a:lnTo>
                    <a:lnTo>
                      <a:pt x="14068" y="7711"/>
                    </a:lnTo>
                    <a:lnTo>
                      <a:pt x="14068" y="8024"/>
                    </a:lnTo>
                    <a:lnTo>
                      <a:pt x="13842" y="8113"/>
                    </a:lnTo>
                    <a:lnTo>
                      <a:pt x="14068" y="8352"/>
                    </a:lnTo>
                    <a:lnTo>
                      <a:pt x="14502" y="8501"/>
                    </a:lnTo>
                    <a:lnTo>
                      <a:pt x="14405" y="8874"/>
                    </a:lnTo>
                    <a:lnTo>
                      <a:pt x="14904" y="10276"/>
                    </a:lnTo>
                    <a:lnTo>
                      <a:pt x="14502" y="10336"/>
                    </a:lnTo>
                    <a:lnTo>
                      <a:pt x="14502" y="10112"/>
                    </a:lnTo>
                    <a:lnTo>
                      <a:pt x="14244" y="10500"/>
                    </a:lnTo>
                    <a:lnTo>
                      <a:pt x="14068" y="10336"/>
                    </a:lnTo>
                    <a:lnTo>
                      <a:pt x="14068" y="9963"/>
                    </a:lnTo>
                    <a:lnTo>
                      <a:pt x="14003" y="9963"/>
                    </a:lnTo>
                    <a:lnTo>
                      <a:pt x="14003" y="10276"/>
                    </a:lnTo>
                    <a:lnTo>
                      <a:pt x="13408" y="10500"/>
                    </a:lnTo>
                    <a:lnTo>
                      <a:pt x="13151" y="10664"/>
                    </a:lnTo>
                    <a:lnTo>
                      <a:pt x="13151" y="10723"/>
                    </a:lnTo>
                    <a:lnTo>
                      <a:pt x="13328" y="11126"/>
                    </a:lnTo>
                    <a:lnTo>
                      <a:pt x="13151" y="11350"/>
                    </a:lnTo>
                    <a:lnTo>
                      <a:pt x="12990" y="11499"/>
                    </a:lnTo>
                    <a:lnTo>
                      <a:pt x="12910" y="11738"/>
                    </a:lnTo>
                    <a:lnTo>
                      <a:pt x="12331" y="11887"/>
                    </a:lnTo>
                    <a:lnTo>
                      <a:pt x="12331" y="11738"/>
                    </a:lnTo>
                    <a:lnTo>
                      <a:pt x="12074" y="11887"/>
                    </a:lnTo>
                    <a:lnTo>
                      <a:pt x="12235" y="11887"/>
                    </a:lnTo>
                    <a:lnTo>
                      <a:pt x="11576" y="12737"/>
                    </a:lnTo>
                    <a:lnTo>
                      <a:pt x="10997" y="13125"/>
                    </a:lnTo>
                    <a:lnTo>
                      <a:pt x="10498" y="13587"/>
                    </a:lnTo>
                    <a:lnTo>
                      <a:pt x="10161" y="13900"/>
                    </a:lnTo>
                    <a:lnTo>
                      <a:pt x="10322" y="13960"/>
                    </a:lnTo>
                    <a:lnTo>
                      <a:pt x="9839" y="14198"/>
                    </a:lnTo>
                    <a:lnTo>
                      <a:pt x="9502" y="14362"/>
                    </a:lnTo>
                    <a:lnTo>
                      <a:pt x="9244" y="14601"/>
                    </a:lnTo>
                    <a:lnTo>
                      <a:pt x="9164" y="14601"/>
                    </a:lnTo>
                    <a:lnTo>
                      <a:pt x="8842" y="14750"/>
                    </a:lnTo>
                    <a:lnTo>
                      <a:pt x="8746" y="15213"/>
                    </a:lnTo>
                    <a:lnTo>
                      <a:pt x="8842" y="15600"/>
                    </a:lnTo>
                    <a:lnTo>
                      <a:pt x="8842" y="15824"/>
                    </a:lnTo>
                    <a:lnTo>
                      <a:pt x="8842" y="16212"/>
                    </a:lnTo>
                    <a:lnTo>
                      <a:pt x="8746" y="16212"/>
                    </a:lnTo>
                    <a:lnTo>
                      <a:pt x="9003" y="16585"/>
                    </a:lnTo>
                    <a:lnTo>
                      <a:pt x="8746" y="17136"/>
                    </a:lnTo>
                    <a:lnTo>
                      <a:pt x="8585" y="17435"/>
                    </a:lnTo>
                    <a:lnTo>
                      <a:pt x="8746" y="18449"/>
                    </a:lnTo>
                    <a:lnTo>
                      <a:pt x="8328" y="18449"/>
                    </a:lnTo>
                    <a:lnTo>
                      <a:pt x="8087" y="18986"/>
                    </a:lnTo>
                    <a:lnTo>
                      <a:pt x="8424" y="19075"/>
                    </a:lnTo>
                    <a:lnTo>
                      <a:pt x="8328" y="19224"/>
                    </a:lnTo>
                    <a:lnTo>
                      <a:pt x="7749" y="19224"/>
                    </a:lnTo>
                    <a:lnTo>
                      <a:pt x="7492" y="19448"/>
                    </a:lnTo>
                    <a:lnTo>
                      <a:pt x="7492" y="19687"/>
                    </a:lnTo>
                    <a:lnTo>
                      <a:pt x="7074" y="19985"/>
                    </a:lnTo>
                    <a:lnTo>
                      <a:pt x="6158" y="18747"/>
                    </a:lnTo>
                    <a:lnTo>
                      <a:pt x="6318" y="18837"/>
                    </a:lnTo>
                    <a:lnTo>
                      <a:pt x="5756" y="17763"/>
                    </a:lnTo>
                    <a:lnTo>
                      <a:pt x="5338" y="17136"/>
                    </a:lnTo>
                    <a:lnTo>
                      <a:pt x="4839" y="16122"/>
                    </a:lnTo>
                    <a:lnTo>
                      <a:pt x="4582" y="15362"/>
                    </a:lnTo>
                    <a:lnTo>
                      <a:pt x="4180" y="14750"/>
                    </a:lnTo>
                    <a:lnTo>
                      <a:pt x="3489" y="12886"/>
                    </a:lnTo>
                    <a:lnTo>
                      <a:pt x="3328" y="12349"/>
                    </a:lnTo>
                    <a:lnTo>
                      <a:pt x="3167" y="11499"/>
                    </a:lnTo>
                    <a:lnTo>
                      <a:pt x="3167" y="10962"/>
                    </a:lnTo>
                    <a:lnTo>
                      <a:pt x="3087" y="10723"/>
                    </a:lnTo>
                    <a:lnTo>
                      <a:pt x="3087" y="10664"/>
                    </a:lnTo>
                    <a:lnTo>
                      <a:pt x="3167" y="10500"/>
                    </a:lnTo>
                    <a:lnTo>
                      <a:pt x="3087" y="10336"/>
                    </a:lnTo>
                    <a:lnTo>
                      <a:pt x="2926" y="10112"/>
                    </a:lnTo>
                    <a:lnTo>
                      <a:pt x="3167" y="10112"/>
                    </a:lnTo>
                    <a:lnTo>
                      <a:pt x="3167" y="9963"/>
                    </a:lnTo>
                    <a:lnTo>
                      <a:pt x="2830" y="9963"/>
                    </a:lnTo>
                    <a:lnTo>
                      <a:pt x="2830" y="10276"/>
                    </a:lnTo>
                    <a:lnTo>
                      <a:pt x="2508" y="10336"/>
                    </a:lnTo>
                    <a:lnTo>
                      <a:pt x="2830" y="10500"/>
                    </a:lnTo>
                    <a:lnTo>
                      <a:pt x="2669" y="10887"/>
                    </a:lnTo>
                    <a:lnTo>
                      <a:pt x="1849" y="11126"/>
                    </a:lnTo>
                    <a:lnTo>
                      <a:pt x="1350" y="10887"/>
                    </a:lnTo>
                    <a:lnTo>
                      <a:pt x="434" y="9963"/>
                    </a:lnTo>
                    <a:lnTo>
                      <a:pt x="675" y="9963"/>
                    </a:lnTo>
                    <a:lnTo>
                      <a:pt x="1350" y="9724"/>
                    </a:lnTo>
                    <a:lnTo>
                      <a:pt x="1350" y="9500"/>
                    </a:lnTo>
                    <a:lnTo>
                      <a:pt x="756" y="9724"/>
                    </a:lnTo>
                    <a:lnTo>
                      <a:pt x="96" y="9336"/>
                    </a:lnTo>
                    <a:lnTo>
                      <a:pt x="0" y="9023"/>
                    </a:lnTo>
                    <a:lnTo>
                      <a:pt x="96" y="8874"/>
                    </a:lnTo>
                    <a:lnTo>
                      <a:pt x="0" y="8874"/>
                    </a:lnTo>
                    <a:lnTo>
                      <a:pt x="0" y="8725"/>
                    </a:lnTo>
                    <a:lnTo>
                      <a:pt x="257" y="8725"/>
                    </a:lnTo>
                    <a:lnTo>
                      <a:pt x="257" y="8650"/>
                    </a:lnTo>
                    <a:lnTo>
                      <a:pt x="916" y="8650"/>
                    </a:lnTo>
                    <a:lnTo>
                      <a:pt x="1158" y="8650"/>
                    </a:lnTo>
                    <a:lnTo>
                      <a:pt x="1415" y="8501"/>
                    </a:lnTo>
                    <a:lnTo>
                      <a:pt x="1592" y="8650"/>
                    </a:lnTo>
                    <a:lnTo>
                      <a:pt x="1752" y="8501"/>
                    </a:lnTo>
                    <a:lnTo>
                      <a:pt x="1752" y="8352"/>
                    </a:lnTo>
                    <a:lnTo>
                      <a:pt x="1350" y="7487"/>
                    </a:lnTo>
                    <a:lnTo>
                      <a:pt x="1093" y="7412"/>
                    </a:lnTo>
                    <a:lnTo>
                      <a:pt x="1093" y="6711"/>
                    </a:lnTo>
                    <a:lnTo>
                      <a:pt x="498" y="6637"/>
                    </a:lnTo>
                    <a:lnTo>
                      <a:pt x="916" y="6025"/>
                    </a:lnTo>
                    <a:lnTo>
                      <a:pt x="1093" y="5861"/>
                    </a:lnTo>
                    <a:lnTo>
                      <a:pt x="1158" y="5712"/>
                    </a:lnTo>
                    <a:lnTo>
                      <a:pt x="1350" y="6025"/>
                    </a:lnTo>
                    <a:lnTo>
                      <a:pt x="2170" y="5712"/>
                    </a:lnTo>
                    <a:lnTo>
                      <a:pt x="2251" y="5638"/>
                    </a:lnTo>
                    <a:lnTo>
                      <a:pt x="2412" y="5488"/>
                    </a:lnTo>
                    <a:lnTo>
                      <a:pt x="2412" y="5101"/>
                    </a:lnTo>
                    <a:lnTo>
                      <a:pt x="3087" y="4787"/>
                    </a:lnTo>
                    <a:lnTo>
                      <a:pt x="3087" y="4400"/>
                    </a:lnTo>
                    <a:lnTo>
                      <a:pt x="3328" y="4087"/>
                    </a:lnTo>
                    <a:lnTo>
                      <a:pt x="3585" y="3624"/>
                    </a:lnTo>
                    <a:lnTo>
                      <a:pt x="3923" y="3386"/>
                    </a:lnTo>
                    <a:lnTo>
                      <a:pt x="3585" y="3013"/>
                    </a:lnTo>
                    <a:lnTo>
                      <a:pt x="3923" y="2774"/>
                    </a:lnTo>
                    <a:lnTo>
                      <a:pt x="4180" y="2625"/>
                    </a:lnTo>
                    <a:lnTo>
                      <a:pt x="4180" y="2401"/>
                    </a:lnTo>
                    <a:lnTo>
                      <a:pt x="3585" y="2237"/>
                    </a:lnTo>
                    <a:lnTo>
                      <a:pt x="3489" y="2013"/>
                    </a:lnTo>
                    <a:lnTo>
                      <a:pt x="3167" y="1864"/>
                    </a:lnTo>
                    <a:lnTo>
                      <a:pt x="3167" y="1223"/>
                    </a:lnTo>
                    <a:lnTo>
                      <a:pt x="2830" y="850"/>
                    </a:lnTo>
                    <a:lnTo>
                      <a:pt x="3087" y="611"/>
                    </a:lnTo>
                    <a:lnTo>
                      <a:pt x="3746" y="611"/>
                    </a:lnTo>
                    <a:lnTo>
                      <a:pt x="4180" y="776"/>
                    </a:lnTo>
                    <a:lnTo>
                      <a:pt x="4839" y="552"/>
                    </a:lnTo>
                    <a:lnTo>
                      <a:pt x="5338" y="149"/>
                    </a:lnTo>
                    <a:lnTo>
                      <a:pt x="549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7" name="Freeform 212"/>
              <p:cNvSpPr>
                <a:spLocks/>
              </p:cNvSpPr>
              <p:nvPr/>
            </p:nvSpPr>
            <p:spPr bwMode="auto">
              <a:xfrm>
                <a:off x="7683500" y="4303713"/>
                <a:ext cx="309563" cy="334962"/>
              </a:xfrm>
              <a:custGeom>
                <a:avLst/>
                <a:gdLst>
                  <a:gd name="T0" fmla="*/ 16140 w 20000"/>
                  <a:gd name="T1" fmla="*/ 18409 h 20000"/>
                  <a:gd name="T2" fmla="*/ 14661 w 20000"/>
                  <a:gd name="T3" fmla="*/ 17424 h 20000"/>
                  <a:gd name="T4" fmla="*/ 12936 w 20000"/>
                  <a:gd name="T5" fmla="*/ 15871 h 20000"/>
                  <a:gd name="T6" fmla="*/ 10637 w 20000"/>
                  <a:gd name="T7" fmla="*/ 13295 h 20000"/>
                  <a:gd name="T8" fmla="*/ 9569 w 20000"/>
                  <a:gd name="T9" fmla="*/ 11742 h 20000"/>
                  <a:gd name="T10" fmla="*/ 8501 w 20000"/>
                  <a:gd name="T11" fmla="*/ 10152 h 20000"/>
                  <a:gd name="T12" fmla="*/ 7433 w 20000"/>
                  <a:gd name="T13" fmla="*/ 9205 h 20000"/>
                  <a:gd name="T14" fmla="*/ 6776 w 20000"/>
                  <a:gd name="T15" fmla="*/ 6629 h 20000"/>
                  <a:gd name="T16" fmla="*/ 4435 w 20000"/>
                  <a:gd name="T17" fmla="*/ 4886 h 20000"/>
                  <a:gd name="T18" fmla="*/ 2957 w 20000"/>
                  <a:gd name="T19" fmla="*/ 3485 h 20000"/>
                  <a:gd name="T20" fmla="*/ 164 w 20000"/>
                  <a:gd name="T21" fmla="*/ 1553 h 20000"/>
                  <a:gd name="T22" fmla="*/ 0 w 20000"/>
                  <a:gd name="T23" fmla="*/ 0 h 20000"/>
                  <a:gd name="T24" fmla="*/ 2752 w 20000"/>
                  <a:gd name="T25" fmla="*/ 758 h 20000"/>
                  <a:gd name="T26" fmla="*/ 5503 w 20000"/>
                  <a:gd name="T27" fmla="*/ 1932 h 20000"/>
                  <a:gd name="T28" fmla="*/ 7885 w 20000"/>
                  <a:gd name="T29" fmla="*/ 4091 h 20000"/>
                  <a:gd name="T30" fmla="*/ 9979 w 20000"/>
                  <a:gd name="T31" fmla="*/ 6061 h 20000"/>
                  <a:gd name="T32" fmla="*/ 11047 w 20000"/>
                  <a:gd name="T33" fmla="*/ 6061 h 20000"/>
                  <a:gd name="T34" fmla="*/ 11910 w 20000"/>
                  <a:gd name="T35" fmla="*/ 7045 h 20000"/>
                  <a:gd name="T36" fmla="*/ 12936 w 20000"/>
                  <a:gd name="T37" fmla="*/ 8030 h 20000"/>
                  <a:gd name="T38" fmla="*/ 14456 w 20000"/>
                  <a:gd name="T39" fmla="*/ 8977 h 20000"/>
                  <a:gd name="T40" fmla="*/ 14456 w 20000"/>
                  <a:gd name="T41" fmla="*/ 9205 h 20000"/>
                  <a:gd name="T42" fmla="*/ 15524 w 20000"/>
                  <a:gd name="T43" fmla="*/ 9205 h 20000"/>
                  <a:gd name="T44" fmla="*/ 15113 w 20000"/>
                  <a:gd name="T45" fmla="*/ 10152 h 20000"/>
                  <a:gd name="T46" fmla="*/ 15113 w 20000"/>
                  <a:gd name="T47" fmla="*/ 10758 h 20000"/>
                  <a:gd name="T48" fmla="*/ 16797 w 20000"/>
                  <a:gd name="T49" fmla="*/ 11364 h 20000"/>
                  <a:gd name="T50" fmla="*/ 17864 w 20000"/>
                  <a:gd name="T51" fmla="*/ 13295 h 20000"/>
                  <a:gd name="T52" fmla="*/ 18070 w 20000"/>
                  <a:gd name="T53" fmla="*/ 13712 h 20000"/>
                  <a:gd name="T54" fmla="*/ 19548 w 20000"/>
                  <a:gd name="T55" fmla="*/ 14697 h 20000"/>
                  <a:gd name="T56" fmla="*/ 19138 w 20000"/>
                  <a:gd name="T57" fmla="*/ 15871 h 20000"/>
                  <a:gd name="T58" fmla="*/ 19548 w 20000"/>
                  <a:gd name="T59" fmla="*/ 17197 h 20000"/>
                  <a:gd name="T60" fmla="*/ 18070 w 20000"/>
                  <a:gd name="T61" fmla="*/ 18977 h 20000"/>
                  <a:gd name="T62" fmla="*/ 17207 w 20000"/>
                  <a:gd name="T63" fmla="*/ 193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207" y="19962"/>
                    </a:moveTo>
                    <a:lnTo>
                      <a:pt x="16140" y="18409"/>
                    </a:lnTo>
                    <a:lnTo>
                      <a:pt x="15524" y="18030"/>
                    </a:lnTo>
                    <a:lnTo>
                      <a:pt x="14661" y="17424"/>
                    </a:lnTo>
                    <a:lnTo>
                      <a:pt x="12936" y="16439"/>
                    </a:lnTo>
                    <a:lnTo>
                      <a:pt x="12936" y="15871"/>
                    </a:lnTo>
                    <a:lnTo>
                      <a:pt x="11663" y="14848"/>
                    </a:lnTo>
                    <a:lnTo>
                      <a:pt x="10637" y="13295"/>
                    </a:lnTo>
                    <a:lnTo>
                      <a:pt x="10637" y="13106"/>
                    </a:lnTo>
                    <a:lnTo>
                      <a:pt x="9569" y="11742"/>
                    </a:lnTo>
                    <a:lnTo>
                      <a:pt x="9569" y="11364"/>
                    </a:lnTo>
                    <a:lnTo>
                      <a:pt x="8501" y="10152"/>
                    </a:lnTo>
                    <a:lnTo>
                      <a:pt x="8296" y="9583"/>
                    </a:lnTo>
                    <a:lnTo>
                      <a:pt x="7433" y="9205"/>
                    </a:lnTo>
                    <a:lnTo>
                      <a:pt x="6571" y="7045"/>
                    </a:lnTo>
                    <a:lnTo>
                      <a:pt x="6776" y="6629"/>
                    </a:lnTo>
                    <a:lnTo>
                      <a:pt x="4682" y="5644"/>
                    </a:lnTo>
                    <a:lnTo>
                      <a:pt x="4435" y="4886"/>
                    </a:lnTo>
                    <a:lnTo>
                      <a:pt x="4025" y="4886"/>
                    </a:lnTo>
                    <a:lnTo>
                      <a:pt x="2957" y="3485"/>
                    </a:lnTo>
                    <a:lnTo>
                      <a:pt x="2752" y="3485"/>
                    </a:lnTo>
                    <a:lnTo>
                      <a:pt x="164" y="1553"/>
                    </a:lnTo>
                    <a:lnTo>
                      <a:pt x="0" y="758"/>
                    </a:lnTo>
                    <a:lnTo>
                      <a:pt x="0" y="0"/>
                    </a:lnTo>
                    <a:lnTo>
                      <a:pt x="1068" y="0"/>
                    </a:lnTo>
                    <a:lnTo>
                      <a:pt x="2752" y="758"/>
                    </a:lnTo>
                    <a:lnTo>
                      <a:pt x="4025" y="758"/>
                    </a:lnTo>
                    <a:lnTo>
                      <a:pt x="5503" y="1932"/>
                    </a:lnTo>
                    <a:lnTo>
                      <a:pt x="5503" y="2538"/>
                    </a:lnTo>
                    <a:lnTo>
                      <a:pt x="7885" y="4091"/>
                    </a:lnTo>
                    <a:lnTo>
                      <a:pt x="8912" y="4886"/>
                    </a:lnTo>
                    <a:lnTo>
                      <a:pt x="9979" y="6061"/>
                    </a:lnTo>
                    <a:lnTo>
                      <a:pt x="10637" y="5644"/>
                    </a:lnTo>
                    <a:lnTo>
                      <a:pt x="11047" y="6061"/>
                    </a:lnTo>
                    <a:lnTo>
                      <a:pt x="11253" y="7045"/>
                    </a:lnTo>
                    <a:lnTo>
                      <a:pt x="11910" y="7045"/>
                    </a:lnTo>
                    <a:lnTo>
                      <a:pt x="12320" y="7652"/>
                    </a:lnTo>
                    <a:lnTo>
                      <a:pt x="12936" y="8030"/>
                    </a:lnTo>
                    <a:lnTo>
                      <a:pt x="14004" y="8598"/>
                    </a:lnTo>
                    <a:lnTo>
                      <a:pt x="14456" y="8977"/>
                    </a:lnTo>
                    <a:lnTo>
                      <a:pt x="13593" y="9205"/>
                    </a:lnTo>
                    <a:lnTo>
                      <a:pt x="14456" y="9205"/>
                    </a:lnTo>
                    <a:lnTo>
                      <a:pt x="15113" y="8977"/>
                    </a:lnTo>
                    <a:lnTo>
                      <a:pt x="15524" y="9205"/>
                    </a:lnTo>
                    <a:lnTo>
                      <a:pt x="15688" y="9773"/>
                    </a:lnTo>
                    <a:lnTo>
                      <a:pt x="15113" y="10152"/>
                    </a:lnTo>
                    <a:lnTo>
                      <a:pt x="15688" y="10152"/>
                    </a:lnTo>
                    <a:lnTo>
                      <a:pt x="15113" y="10758"/>
                    </a:lnTo>
                    <a:lnTo>
                      <a:pt x="15688" y="11136"/>
                    </a:lnTo>
                    <a:lnTo>
                      <a:pt x="16797" y="11364"/>
                    </a:lnTo>
                    <a:lnTo>
                      <a:pt x="17207" y="12311"/>
                    </a:lnTo>
                    <a:lnTo>
                      <a:pt x="17864" y="13295"/>
                    </a:lnTo>
                    <a:lnTo>
                      <a:pt x="17454" y="13864"/>
                    </a:lnTo>
                    <a:lnTo>
                      <a:pt x="18070" y="13712"/>
                    </a:lnTo>
                    <a:lnTo>
                      <a:pt x="18891" y="13712"/>
                    </a:lnTo>
                    <a:lnTo>
                      <a:pt x="19548" y="14697"/>
                    </a:lnTo>
                    <a:lnTo>
                      <a:pt x="19959" y="14848"/>
                    </a:lnTo>
                    <a:lnTo>
                      <a:pt x="19138" y="15871"/>
                    </a:lnTo>
                    <a:lnTo>
                      <a:pt x="19548" y="16250"/>
                    </a:lnTo>
                    <a:lnTo>
                      <a:pt x="19548" y="17197"/>
                    </a:lnTo>
                    <a:lnTo>
                      <a:pt x="19138" y="19583"/>
                    </a:lnTo>
                    <a:lnTo>
                      <a:pt x="18070" y="18977"/>
                    </a:lnTo>
                    <a:lnTo>
                      <a:pt x="17864" y="19583"/>
                    </a:lnTo>
                    <a:lnTo>
                      <a:pt x="17207" y="19356"/>
                    </a:lnTo>
                    <a:lnTo>
                      <a:pt x="17207" y="199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8" name="Freeform 211"/>
              <p:cNvSpPr>
                <a:spLocks/>
              </p:cNvSpPr>
              <p:nvPr/>
            </p:nvSpPr>
            <p:spPr bwMode="auto">
              <a:xfrm>
                <a:off x="8699500" y="4473575"/>
                <a:ext cx="279400" cy="266700"/>
              </a:xfrm>
              <a:custGeom>
                <a:avLst/>
                <a:gdLst>
                  <a:gd name="T0" fmla="*/ 19683 w 20000"/>
                  <a:gd name="T1" fmla="*/ 19952 h 20000"/>
                  <a:gd name="T2" fmla="*/ 16689 w 20000"/>
                  <a:gd name="T3" fmla="*/ 18000 h 20000"/>
                  <a:gd name="T4" fmla="*/ 15737 w 20000"/>
                  <a:gd name="T5" fmla="*/ 16238 h 20000"/>
                  <a:gd name="T6" fmla="*/ 15057 w 20000"/>
                  <a:gd name="T7" fmla="*/ 14048 h 20000"/>
                  <a:gd name="T8" fmla="*/ 12426 w 20000"/>
                  <a:gd name="T9" fmla="*/ 10810 h 20000"/>
                  <a:gd name="T10" fmla="*/ 8254 w 20000"/>
                  <a:gd name="T11" fmla="*/ 9143 h 20000"/>
                  <a:gd name="T12" fmla="*/ 7800 w 20000"/>
                  <a:gd name="T13" fmla="*/ 8381 h 20000"/>
                  <a:gd name="T14" fmla="*/ 7528 w 20000"/>
                  <a:gd name="T15" fmla="*/ 7905 h 20000"/>
                  <a:gd name="T16" fmla="*/ 6349 w 20000"/>
                  <a:gd name="T17" fmla="*/ 7619 h 20000"/>
                  <a:gd name="T18" fmla="*/ 5170 w 20000"/>
                  <a:gd name="T19" fmla="*/ 7143 h 20000"/>
                  <a:gd name="T20" fmla="*/ 5669 w 20000"/>
                  <a:gd name="T21" fmla="*/ 5905 h 20000"/>
                  <a:gd name="T22" fmla="*/ 4943 w 20000"/>
                  <a:gd name="T23" fmla="*/ 7143 h 20000"/>
                  <a:gd name="T24" fmla="*/ 3810 w 20000"/>
                  <a:gd name="T25" fmla="*/ 8381 h 20000"/>
                  <a:gd name="T26" fmla="*/ 3810 w 20000"/>
                  <a:gd name="T27" fmla="*/ 6619 h 20000"/>
                  <a:gd name="T28" fmla="*/ 2812 w 20000"/>
                  <a:gd name="T29" fmla="*/ 5905 h 20000"/>
                  <a:gd name="T30" fmla="*/ 2585 w 20000"/>
                  <a:gd name="T31" fmla="*/ 5667 h 20000"/>
                  <a:gd name="T32" fmla="*/ 4490 w 20000"/>
                  <a:gd name="T33" fmla="*/ 5143 h 20000"/>
                  <a:gd name="T34" fmla="*/ 5170 w 20000"/>
                  <a:gd name="T35" fmla="*/ 5143 h 20000"/>
                  <a:gd name="T36" fmla="*/ 5170 w 20000"/>
                  <a:gd name="T37" fmla="*/ 4476 h 20000"/>
                  <a:gd name="T38" fmla="*/ 2585 w 20000"/>
                  <a:gd name="T39" fmla="*/ 4667 h 20000"/>
                  <a:gd name="T40" fmla="*/ 2132 w 20000"/>
                  <a:gd name="T41" fmla="*/ 3190 h 20000"/>
                  <a:gd name="T42" fmla="*/ 0 w 20000"/>
                  <a:gd name="T43" fmla="*/ 2429 h 20000"/>
                  <a:gd name="T44" fmla="*/ 272 w 20000"/>
                  <a:gd name="T45" fmla="*/ 1238 h 20000"/>
                  <a:gd name="T46" fmla="*/ 2812 w 20000"/>
                  <a:gd name="T47" fmla="*/ 0 h 20000"/>
                  <a:gd name="T48" fmla="*/ 5669 w 20000"/>
                  <a:gd name="T49" fmla="*/ 1238 h 20000"/>
                  <a:gd name="T50" fmla="*/ 6349 w 20000"/>
                  <a:gd name="T51" fmla="*/ 2714 h 20000"/>
                  <a:gd name="T52" fmla="*/ 6803 w 20000"/>
                  <a:gd name="T53" fmla="*/ 5667 h 20000"/>
                  <a:gd name="T54" fmla="*/ 7075 w 20000"/>
                  <a:gd name="T55" fmla="*/ 5143 h 20000"/>
                  <a:gd name="T56" fmla="*/ 7528 w 20000"/>
                  <a:gd name="T57" fmla="*/ 5905 h 20000"/>
                  <a:gd name="T58" fmla="*/ 8254 w 20000"/>
                  <a:gd name="T59" fmla="*/ 7143 h 20000"/>
                  <a:gd name="T60" fmla="*/ 10567 w 20000"/>
                  <a:gd name="T61" fmla="*/ 4667 h 20000"/>
                  <a:gd name="T62" fmla="*/ 11973 w 20000"/>
                  <a:gd name="T63" fmla="*/ 3714 h 20000"/>
                  <a:gd name="T64" fmla="*/ 16689 w 20000"/>
                  <a:gd name="T65" fmla="*/ 4476 h 20000"/>
                  <a:gd name="T66" fmla="*/ 19955 w 20000"/>
                  <a:gd name="T67" fmla="*/ 566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9955" y="5667"/>
                    </a:moveTo>
                    <a:lnTo>
                      <a:pt x="19683" y="19952"/>
                    </a:lnTo>
                    <a:lnTo>
                      <a:pt x="17642" y="17524"/>
                    </a:lnTo>
                    <a:lnTo>
                      <a:pt x="16689" y="18000"/>
                    </a:lnTo>
                    <a:lnTo>
                      <a:pt x="15737" y="17524"/>
                    </a:lnTo>
                    <a:lnTo>
                      <a:pt x="15737" y="16238"/>
                    </a:lnTo>
                    <a:lnTo>
                      <a:pt x="15057" y="14810"/>
                    </a:lnTo>
                    <a:lnTo>
                      <a:pt x="15057" y="14048"/>
                    </a:lnTo>
                    <a:lnTo>
                      <a:pt x="13832" y="11810"/>
                    </a:lnTo>
                    <a:lnTo>
                      <a:pt x="12426" y="10810"/>
                    </a:lnTo>
                    <a:lnTo>
                      <a:pt x="9841" y="9619"/>
                    </a:lnTo>
                    <a:lnTo>
                      <a:pt x="8254" y="9143"/>
                    </a:lnTo>
                    <a:lnTo>
                      <a:pt x="7528" y="8381"/>
                    </a:lnTo>
                    <a:lnTo>
                      <a:pt x="7800" y="8381"/>
                    </a:lnTo>
                    <a:lnTo>
                      <a:pt x="7800" y="7905"/>
                    </a:lnTo>
                    <a:lnTo>
                      <a:pt x="7528" y="7905"/>
                    </a:lnTo>
                    <a:lnTo>
                      <a:pt x="6349" y="7905"/>
                    </a:lnTo>
                    <a:lnTo>
                      <a:pt x="6349" y="7619"/>
                    </a:lnTo>
                    <a:lnTo>
                      <a:pt x="5850" y="7905"/>
                    </a:lnTo>
                    <a:lnTo>
                      <a:pt x="5170" y="7143"/>
                    </a:lnTo>
                    <a:lnTo>
                      <a:pt x="5669" y="6429"/>
                    </a:lnTo>
                    <a:lnTo>
                      <a:pt x="5669" y="5905"/>
                    </a:lnTo>
                    <a:lnTo>
                      <a:pt x="5170" y="6429"/>
                    </a:lnTo>
                    <a:lnTo>
                      <a:pt x="4943" y="7143"/>
                    </a:lnTo>
                    <a:lnTo>
                      <a:pt x="4490" y="7905"/>
                    </a:lnTo>
                    <a:lnTo>
                      <a:pt x="3810" y="8381"/>
                    </a:lnTo>
                    <a:lnTo>
                      <a:pt x="3265" y="7619"/>
                    </a:lnTo>
                    <a:lnTo>
                      <a:pt x="3810" y="6619"/>
                    </a:lnTo>
                    <a:lnTo>
                      <a:pt x="3265" y="6429"/>
                    </a:lnTo>
                    <a:lnTo>
                      <a:pt x="2812" y="5905"/>
                    </a:lnTo>
                    <a:lnTo>
                      <a:pt x="1859" y="5905"/>
                    </a:lnTo>
                    <a:lnTo>
                      <a:pt x="2585" y="5667"/>
                    </a:lnTo>
                    <a:lnTo>
                      <a:pt x="3265" y="5667"/>
                    </a:lnTo>
                    <a:lnTo>
                      <a:pt x="4490" y="5143"/>
                    </a:lnTo>
                    <a:lnTo>
                      <a:pt x="4943" y="5143"/>
                    </a:lnTo>
                    <a:lnTo>
                      <a:pt x="5170" y="5143"/>
                    </a:lnTo>
                    <a:lnTo>
                      <a:pt x="5669" y="4667"/>
                    </a:lnTo>
                    <a:lnTo>
                      <a:pt x="5170" y="4476"/>
                    </a:lnTo>
                    <a:lnTo>
                      <a:pt x="3991" y="4476"/>
                    </a:lnTo>
                    <a:lnTo>
                      <a:pt x="2585" y="4667"/>
                    </a:lnTo>
                    <a:lnTo>
                      <a:pt x="2132" y="3714"/>
                    </a:lnTo>
                    <a:lnTo>
                      <a:pt x="2132" y="3190"/>
                    </a:lnTo>
                    <a:lnTo>
                      <a:pt x="1406" y="2714"/>
                    </a:lnTo>
                    <a:lnTo>
                      <a:pt x="0" y="2429"/>
                    </a:lnTo>
                    <a:lnTo>
                      <a:pt x="0" y="1952"/>
                    </a:lnTo>
                    <a:lnTo>
                      <a:pt x="272" y="1238"/>
                    </a:lnTo>
                    <a:lnTo>
                      <a:pt x="1406" y="762"/>
                    </a:lnTo>
                    <a:lnTo>
                      <a:pt x="2812" y="0"/>
                    </a:lnTo>
                    <a:lnTo>
                      <a:pt x="3991" y="762"/>
                    </a:lnTo>
                    <a:lnTo>
                      <a:pt x="5669" y="1238"/>
                    </a:lnTo>
                    <a:lnTo>
                      <a:pt x="5850" y="1476"/>
                    </a:lnTo>
                    <a:lnTo>
                      <a:pt x="6349" y="2714"/>
                    </a:lnTo>
                    <a:lnTo>
                      <a:pt x="5850" y="3714"/>
                    </a:lnTo>
                    <a:lnTo>
                      <a:pt x="6803" y="5667"/>
                    </a:lnTo>
                    <a:lnTo>
                      <a:pt x="6803" y="5143"/>
                    </a:lnTo>
                    <a:lnTo>
                      <a:pt x="7075" y="5143"/>
                    </a:lnTo>
                    <a:lnTo>
                      <a:pt x="7528" y="5667"/>
                    </a:lnTo>
                    <a:lnTo>
                      <a:pt x="7528" y="5905"/>
                    </a:lnTo>
                    <a:lnTo>
                      <a:pt x="7528" y="6429"/>
                    </a:lnTo>
                    <a:lnTo>
                      <a:pt x="8254" y="7143"/>
                    </a:lnTo>
                    <a:lnTo>
                      <a:pt x="8934" y="6619"/>
                    </a:lnTo>
                    <a:lnTo>
                      <a:pt x="10567" y="4667"/>
                    </a:lnTo>
                    <a:lnTo>
                      <a:pt x="12426" y="4476"/>
                    </a:lnTo>
                    <a:lnTo>
                      <a:pt x="11973" y="3714"/>
                    </a:lnTo>
                    <a:lnTo>
                      <a:pt x="13651" y="2714"/>
                    </a:lnTo>
                    <a:lnTo>
                      <a:pt x="16689" y="4476"/>
                    </a:lnTo>
                    <a:lnTo>
                      <a:pt x="18549" y="4667"/>
                    </a:lnTo>
                    <a:lnTo>
                      <a:pt x="19955" y="566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29" name="Freeform 210"/>
              <p:cNvSpPr>
                <a:spLocks/>
              </p:cNvSpPr>
              <p:nvPr/>
            </p:nvSpPr>
            <p:spPr bwMode="auto">
              <a:xfrm>
                <a:off x="8347075" y="4414838"/>
                <a:ext cx="184150" cy="217487"/>
              </a:xfrm>
              <a:custGeom>
                <a:avLst/>
                <a:gdLst>
                  <a:gd name="T0" fmla="*/ 2131 w 20000"/>
                  <a:gd name="T1" fmla="*/ 19592 h 20000"/>
                  <a:gd name="T2" fmla="*/ 2818 w 20000"/>
                  <a:gd name="T3" fmla="*/ 17201 h 20000"/>
                  <a:gd name="T4" fmla="*/ 2131 w 20000"/>
                  <a:gd name="T5" fmla="*/ 14227 h 20000"/>
                  <a:gd name="T6" fmla="*/ 412 w 20000"/>
                  <a:gd name="T7" fmla="*/ 12653 h 20000"/>
                  <a:gd name="T8" fmla="*/ 1100 w 20000"/>
                  <a:gd name="T9" fmla="*/ 11778 h 20000"/>
                  <a:gd name="T10" fmla="*/ 2131 w 20000"/>
                  <a:gd name="T11" fmla="*/ 10029 h 20000"/>
                  <a:gd name="T12" fmla="*/ 2131 w 20000"/>
                  <a:gd name="T13" fmla="*/ 7289 h 20000"/>
                  <a:gd name="T14" fmla="*/ 3918 w 20000"/>
                  <a:gd name="T15" fmla="*/ 4898 h 20000"/>
                  <a:gd name="T16" fmla="*/ 4674 w 20000"/>
                  <a:gd name="T17" fmla="*/ 2449 h 20000"/>
                  <a:gd name="T18" fmla="*/ 5704 w 20000"/>
                  <a:gd name="T19" fmla="*/ 3032 h 20000"/>
                  <a:gd name="T20" fmla="*/ 6735 w 20000"/>
                  <a:gd name="T21" fmla="*/ 1574 h 20000"/>
                  <a:gd name="T22" fmla="*/ 8591 w 20000"/>
                  <a:gd name="T23" fmla="*/ 2157 h 20000"/>
                  <a:gd name="T24" fmla="*/ 13883 w 20000"/>
                  <a:gd name="T25" fmla="*/ 2449 h 20000"/>
                  <a:gd name="T26" fmla="*/ 18832 w 20000"/>
                  <a:gd name="T27" fmla="*/ 933 h 20000"/>
                  <a:gd name="T28" fmla="*/ 19931 w 20000"/>
                  <a:gd name="T29" fmla="*/ 641 h 20000"/>
                  <a:gd name="T30" fmla="*/ 18557 w 20000"/>
                  <a:gd name="T31" fmla="*/ 3032 h 20000"/>
                  <a:gd name="T32" fmla="*/ 14914 w 20000"/>
                  <a:gd name="T33" fmla="*/ 3965 h 20000"/>
                  <a:gd name="T34" fmla="*/ 11065 w 20000"/>
                  <a:gd name="T35" fmla="*/ 3965 h 20000"/>
                  <a:gd name="T36" fmla="*/ 7835 w 20000"/>
                  <a:gd name="T37" fmla="*/ 3615 h 20000"/>
                  <a:gd name="T38" fmla="*/ 4948 w 20000"/>
                  <a:gd name="T39" fmla="*/ 3615 h 20000"/>
                  <a:gd name="T40" fmla="*/ 4674 w 20000"/>
                  <a:gd name="T41" fmla="*/ 6939 h 20000"/>
                  <a:gd name="T42" fmla="*/ 6460 w 20000"/>
                  <a:gd name="T43" fmla="*/ 8455 h 20000"/>
                  <a:gd name="T44" fmla="*/ 8591 w 20000"/>
                  <a:gd name="T45" fmla="*/ 6939 h 20000"/>
                  <a:gd name="T46" fmla="*/ 10378 w 20000"/>
                  <a:gd name="T47" fmla="*/ 7289 h 20000"/>
                  <a:gd name="T48" fmla="*/ 12509 w 20000"/>
                  <a:gd name="T49" fmla="*/ 6939 h 20000"/>
                  <a:gd name="T50" fmla="*/ 13883 w 20000"/>
                  <a:gd name="T51" fmla="*/ 6356 h 20000"/>
                  <a:gd name="T52" fmla="*/ 14227 w 20000"/>
                  <a:gd name="T53" fmla="*/ 7289 h 20000"/>
                  <a:gd name="T54" fmla="*/ 11409 w 20000"/>
                  <a:gd name="T55" fmla="*/ 8455 h 20000"/>
                  <a:gd name="T56" fmla="*/ 7835 w 20000"/>
                  <a:gd name="T57" fmla="*/ 10029 h 20000"/>
                  <a:gd name="T58" fmla="*/ 11409 w 20000"/>
                  <a:gd name="T59" fmla="*/ 13586 h 20000"/>
                  <a:gd name="T60" fmla="*/ 12096 w 20000"/>
                  <a:gd name="T61" fmla="*/ 14810 h 20000"/>
                  <a:gd name="T62" fmla="*/ 13196 w 20000"/>
                  <a:gd name="T63" fmla="*/ 15743 h 20000"/>
                  <a:gd name="T64" fmla="*/ 11409 w 20000"/>
                  <a:gd name="T65" fmla="*/ 16618 h 20000"/>
                  <a:gd name="T66" fmla="*/ 10378 w 20000"/>
                  <a:gd name="T67" fmla="*/ 17551 h 20000"/>
                  <a:gd name="T68" fmla="*/ 9278 w 20000"/>
                  <a:gd name="T69" fmla="*/ 15743 h 20000"/>
                  <a:gd name="T70" fmla="*/ 6735 w 20000"/>
                  <a:gd name="T71" fmla="*/ 13586 h 20000"/>
                  <a:gd name="T72" fmla="*/ 6735 w 20000"/>
                  <a:gd name="T73" fmla="*/ 11778 h 20000"/>
                  <a:gd name="T74" fmla="*/ 4948 w 20000"/>
                  <a:gd name="T75" fmla="*/ 12653 h 20000"/>
                  <a:gd name="T76" fmla="*/ 4948 w 20000"/>
                  <a:gd name="T77" fmla="*/ 14810 h 20000"/>
                  <a:gd name="T78" fmla="*/ 4948 w 20000"/>
                  <a:gd name="T79" fmla="*/ 18134 h 20000"/>
                  <a:gd name="T80" fmla="*/ 3918 w 20000"/>
                  <a:gd name="T81" fmla="*/ 195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3574" y="19942"/>
                    </a:moveTo>
                    <a:lnTo>
                      <a:pt x="2131" y="19592"/>
                    </a:lnTo>
                    <a:lnTo>
                      <a:pt x="2131" y="18717"/>
                    </a:lnTo>
                    <a:lnTo>
                      <a:pt x="2818" y="17201"/>
                    </a:lnTo>
                    <a:lnTo>
                      <a:pt x="2131" y="15102"/>
                    </a:lnTo>
                    <a:lnTo>
                      <a:pt x="2131" y="14227"/>
                    </a:lnTo>
                    <a:lnTo>
                      <a:pt x="412" y="14227"/>
                    </a:lnTo>
                    <a:lnTo>
                      <a:pt x="412" y="12653"/>
                    </a:lnTo>
                    <a:lnTo>
                      <a:pt x="0" y="12420"/>
                    </a:lnTo>
                    <a:lnTo>
                      <a:pt x="1100" y="11778"/>
                    </a:lnTo>
                    <a:lnTo>
                      <a:pt x="1787" y="10904"/>
                    </a:lnTo>
                    <a:lnTo>
                      <a:pt x="2131" y="10029"/>
                    </a:lnTo>
                    <a:lnTo>
                      <a:pt x="1787" y="8746"/>
                    </a:lnTo>
                    <a:lnTo>
                      <a:pt x="2131" y="7289"/>
                    </a:lnTo>
                    <a:lnTo>
                      <a:pt x="3574" y="6939"/>
                    </a:lnTo>
                    <a:lnTo>
                      <a:pt x="3918" y="4898"/>
                    </a:lnTo>
                    <a:lnTo>
                      <a:pt x="3918" y="4548"/>
                    </a:lnTo>
                    <a:lnTo>
                      <a:pt x="4674" y="2449"/>
                    </a:lnTo>
                    <a:lnTo>
                      <a:pt x="4948" y="2157"/>
                    </a:lnTo>
                    <a:lnTo>
                      <a:pt x="5704" y="3032"/>
                    </a:lnTo>
                    <a:lnTo>
                      <a:pt x="6460" y="2449"/>
                    </a:lnTo>
                    <a:lnTo>
                      <a:pt x="6735" y="1574"/>
                    </a:lnTo>
                    <a:lnTo>
                      <a:pt x="8591" y="1574"/>
                    </a:lnTo>
                    <a:lnTo>
                      <a:pt x="8591" y="2157"/>
                    </a:lnTo>
                    <a:lnTo>
                      <a:pt x="11065" y="2157"/>
                    </a:lnTo>
                    <a:lnTo>
                      <a:pt x="13883" y="2449"/>
                    </a:lnTo>
                    <a:lnTo>
                      <a:pt x="17113" y="2449"/>
                    </a:lnTo>
                    <a:lnTo>
                      <a:pt x="18832" y="933"/>
                    </a:lnTo>
                    <a:lnTo>
                      <a:pt x="19588" y="0"/>
                    </a:lnTo>
                    <a:lnTo>
                      <a:pt x="19931" y="641"/>
                    </a:lnTo>
                    <a:lnTo>
                      <a:pt x="19588" y="2157"/>
                    </a:lnTo>
                    <a:lnTo>
                      <a:pt x="18557" y="3032"/>
                    </a:lnTo>
                    <a:lnTo>
                      <a:pt x="17801" y="3965"/>
                    </a:lnTo>
                    <a:lnTo>
                      <a:pt x="14914" y="3965"/>
                    </a:lnTo>
                    <a:lnTo>
                      <a:pt x="13883" y="3965"/>
                    </a:lnTo>
                    <a:lnTo>
                      <a:pt x="11065" y="3965"/>
                    </a:lnTo>
                    <a:lnTo>
                      <a:pt x="9278" y="3615"/>
                    </a:lnTo>
                    <a:lnTo>
                      <a:pt x="7835" y="3615"/>
                    </a:lnTo>
                    <a:lnTo>
                      <a:pt x="6460" y="3615"/>
                    </a:lnTo>
                    <a:lnTo>
                      <a:pt x="4948" y="3615"/>
                    </a:lnTo>
                    <a:lnTo>
                      <a:pt x="4674" y="4898"/>
                    </a:lnTo>
                    <a:lnTo>
                      <a:pt x="4674" y="6939"/>
                    </a:lnTo>
                    <a:lnTo>
                      <a:pt x="5704" y="7289"/>
                    </a:lnTo>
                    <a:lnTo>
                      <a:pt x="6460" y="8455"/>
                    </a:lnTo>
                    <a:lnTo>
                      <a:pt x="7491" y="8455"/>
                    </a:lnTo>
                    <a:lnTo>
                      <a:pt x="8591" y="6939"/>
                    </a:lnTo>
                    <a:lnTo>
                      <a:pt x="9622" y="7289"/>
                    </a:lnTo>
                    <a:lnTo>
                      <a:pt x="10378" y="7289"/>
                    </a:lnTo>
                    <a:lnTo>
                      <a:pt x="11065" y="6939"/>
                    </a:lnTo>
                    <a:lnTo>
                      <a:pt x="12509" y="6939"/>
                    </a:lnTo>
                    <a:lnTo>
                      <a:pt x="13196" y="6356"/>
                    </a:lnTo>
                    <a:lnTo>
                      <a:pt x="13883" y="6356"/>
                    </a:lnTo>
                    <a:lnTo>
                      <a:pt x="14914" y="6939"/>
                    </a:lnTo>
                    <a:lnTo>
                      <a:pt x="14227" y="7289"/>
                    </a:lnTo>
                    <a:lnTo>
                      <a:pt x="13196" y="7289"/>
                    </a:lnTo>
                    <a:lnTo>
                      <a:pt x="11409" y="8455"/>
                    </a:lnTo>
                    <a:lnTo>
                      <a:pt x="9278" y="10029"/>
                    </a:lnTo>
                    <a:lnTo>
                      <a:pt x="7835" y="10029"/>
                    </a:lnTo>
                    <a:lnTo>
                      <a:pt x="11409" y="12653"/>
                    </a:lnTo>
                    <a:lnTo>
                      <a:pt x="11409" y="13586"/>
                    </a:lnTo>
                    <a:lnTo>
                      <a:pt x="11065" y="14810"/>
                    </a:lnTo>
                    <a:lnTo>
                      <a:pt x="12096" y="14810"/>
                    </a:lnTo>
                    <a:lnTo>
                      <a:pt x="12096" y="15743"/>
                    </a:lnTo>
                    <a:lnTo>
                      <a:pt x="13196" y="15743"/>
                    </a:lnTo>
                    <a:lnTo>
                      <a:pt x="13196" y="16618"/>
                    </a:lnTo>
                    <a:lnTo>
                      <a:pt x="11409" y="16618"/>
                    </a:lnTo>
                    <a:lnTo>
                      <a:pt x="10378" y="17201"/>
                    </a:lnTo>
                    <a:lnTo>
                      <a:pt x="10378" y="17551"/>
                    </a:lnTo>
                    <a:lnTo>
                      <a:pt x="8591" y="17551"/>
                    </a:lnTo>
                    <a:lnTo>
                      <a:pt x="9278" y="15743"/>
                    </a:lnTo>
                    <a:lnTo>
                      <a:pt x="6735" y="14227"/>
                    </a:lnTo>
                    <a:lnTo>
                      <a:pt x="6735" y="13586"/>
                    </a:lnTo>
                    <a:lnTo>
                      <a:pt x="7491" y="12653"/>
                    </a:lnTo>
                    <a:lnTo>
                      <a:pt x="6735" y="11778"/>
                    </a:lnTo>
                    <a:lnTo>
                      <a:pt x="6460" y="12420"/>
                    </a:lnTo>
                    <a:lnTo>
                      <a:pt x="4948" y="12653"/>
                    </a:lnTo>
                    <a:lnTo>
                      <a:pt x="4948" y="13294"/>
                    </a:lnTo>
                    <a:lnTo>
                      <a:pt x="4948" y="14810"/>
                    </a:lnTo>
                    <a:lnTo>
                      <a:pt x="4948" y="16618"/>
                    </a:lnTo>
                    <a:lnTo>
                      <a:pt x="4948" y="18134"/>
                    </a:lnTo>
                    <a:lnTo>
                      <a:pt x="4948" y="19942"/>
                    </a:lnTo>
                    <a:lnTo>
                      <a:pt x="3918" y="19592"/>
                    </a:lnTo>
                    <a:lnTo>
                      <a:pt x="3574" y="1994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0" name="Freeform 209"/>
              <p:cNvSpPr>
                <a:spLocks/>
              </p:cNvSpPr>
              <p:nvPr/>
            </p:nvSpPr>
            <p:spPr bwMode="auto">
              <a:xfrm>
                <a:off x="7962900" y="4638675"/>
                <a:ext cx="263525" cy="85725"/>
              </a:xfrm>
              <a:custGeom>
                <a:avLst/>
                <a:gdLst>
                  <a:gd name="T0" fmla="*/ 19952 w 20000"/>
                  <a:gd name="T1" fmla="*/ 19853 h 20000"/>
                  <a:gd name="T2" fmla="*/ 18699 w 20000"/>
                  <a:gd name="T3" fmla="*/ 18382 h 20000"/>
                  <a:gd name="T4" fmla="*/ 16916 w 20000"/>
                  <a:gd name="T5" fmla="*/ 16029 h 20000"/>
                  <a:gd name="T6" fmla="*/ 15952 w 20000"/>
                  <a:gd name="T7" fmla="*/ 17500 h 20000"/>
                  <a:gd name="T8" fmla="*/ 14747 w 20000"/>
                  <a:gd name="T9" fmla="*/ 16029 h 20000"/>
                  <a:gd name="T10" fmla="*/ 13687 w 20000"/>
                  <a:gd name="T11" fmla="*/ 16029 h 20000"/>
                  <a:gd name="T12" fmla="*/ 12193 w 20000"/>
                  <a:gd name="T13" fmla="*/ 15294 h 20000"/>
                  <a:gd name="T14" fmla="*/ 10988 w 20000"/>
                  <a:gd name="T15" fmla="*/ 13824 h 20000"/>
                  <a:gd name="T16" fmla="*/ 8482 w 20000"/>
                  <a:gd name="T17" fmla="*/ 11471 h 20000"/>
                  <a:gd name="T18" fmla="*/ 6988 w 20000"/>
                  <a:gd name="T19" fmla="*/ 12059 h 20000"/>
                  <a:gd name="T20" fmla="*/ 5012 w 20000"/>
                  <a:gd name="T21" fmla="*/ 9853 h 20000"/>
                  <a:gd name="T22" fmla="*/ 2458 w 20000"/>
                  <a:gd name="T23" fmla="*/ 8382 h 20000"/>
                  <a:gd name="T24" fmla="*/ 2940 w 20000"/>
                  <a:gd name="T25" fmla="*/ 7647 h 20000"/>
                  <a:gd name="T26" fmla="*/ 1253 w 20000"/>
                  <a:gd name="T27" fmla="*/ 6029 h 20000"/>
                  <a:gd name="T28" fmla="*/ 0 w 20000"/>
                  <a:gd name="T29" fmla="*/ 5441 h 20000"/>
                  <a:gd name="T30" fmla="*/ 482 w 20000"/>
                  <a:gd name="T31" fmla="*/ 5441 h 20000"/>
                  <a:gd name="T32" fmla="*/ 964 w 20000"/>
                  <a:gd name="T33" fmla="*/ 5441 h 20000"/>
                  <a:gd name="T34" fmla="*/ 1735 w 20000"/>
                  <a:gd name="T35" fmla="*/ 2353 h 20000"/>
                  <a:gd name="T36" fmla="*/ 2217 w 20000"/>
                  <a:gd name="T37" fmla="*/ 0 h 20000"/>
                  <a:gd name="T38" fmla="*/ 4241 w 20000"/>
                  <a:gd name="T39" fmla="*/ 1471 h 20000"/>
                  <a:gd name="T40" fmla="*/ 4241 w 20000"/>
                  <a:gd name="T41" fmla="*/ 0 h 20000"/>
                  <a:gd name="T42" fmla="*/ 5012 w 20000"/>
                  <a:gd name="T43" fmla="*/ 0 h 20000"/>
                  <a:gd name="T44" fmla="*/ 5687 w 20000"/>
                  <a:gd name="T45" fmla="*/ 1471 h 20000"/>
                  <a:gd name="T46" fmla="*/ 6217 w 20000"/>
                  <a:gd name="T47" fmla="*/ 2353 h 20000"/>
                  <a:gd name="T48" fmla="*/ 6988 w 20000"/>
                  <a:gd name="T49" fmla="*/ 1471 h 20000"/>
                  <a:gd name="T50" fmla="*/ 7470 w 20000"/>
                  <a:gd name="T51" fmla="*/ 5441 h 20000"/>
                  <a:gd name="T52" fmla="*/ 10699 w 20000"/>
                  <a:gd name="T53" fmla="*/ 6029 h 20000"/>
                  <a:gd name="T54" fmla="*/ 11470 w 20000"/>
                  <a:gd name="T55" fmla="*/ 6029 h 20000"/>
                  <a:gd name="T56" fmla="*/ 11711 w 20000"/>
                  <a:gd name="T57" fmla="*/ 3824 h 20000"/>
                  <a:gd name="T58" fmla="*/ 12723 w 20000"/>
                  <a:gd name="T59" fmla="*/ 3824 h 20000"/>
                  <a:gd name="T60" fmla="*/ 12964 w 20000"/>
                  <a:gd name="T61" fmla="*/ 5441 h 20000"/>
                  <a:gd name="T62" fmla="*/ 13446 w 20000"/>
                  <a:gd name="T63" fmla="*/ 5441 h 20000"/>
                  <a:gd name="T64" fmla="*/ 14747 w 20000"/>
                  <a:gd name="T65" fmla="*/ 5441 h 20000"/>
                  <a:gd name="T66" fmla="*/ 15470 w 20000"/>
                  <a:gd name="T67" fmla="*/ 6029 h 20000"/>
                  <a:gd name="T68" fmla="*/ 16241 w 20000"/>
                  <a:gd name="T69" fmla="*/ 9853 h 20000"/>
                  <a:gd name="T70" fmla="*/ 17494 w 20000"/>
                  <a:gd name="T71" fmla="*/ 12059 h 20000"/>
                  <a:gd name="T72" fmla="*/ 17976 w 20000"/>
                  <a:gd name="T73" fmla="*/ 11471 h 20000"/>
                  <a:gd name="T74" fmla="*/ 18988 w 20000"/>
                  <a:gd name="T75" fmla="*/ 11471 h 20000"/>
                  <a:gd name="T76" fmla="*/ 19952 w 20000"/>
                  <a:gd name="T77" fmla="*/ 12059 h 20000"/>
                  <a:gd name="T78" fmla="*/ 19470 w 20000"/>
                  <a:gd name="T79" fmla="*/ 13824 h 20000"/>
                  <a:gd name="T80" fmla="*/ 19470 w 20000"/>
                  <a:gd name="T81" fmla="*/ 16029 h 20000"/>
                  <a:gd name="T82" fmla="*/ 19952 w 20000"/>
                  <a:gd name="T83" fmla="*/ 18382 h 20000"/>
                  <a:gd name="T84" fmla="*/ 19952 w 20000"/>
                  <a:gd name="T85" fmla="*/ 1985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952" y="19853"/>
                    </a:moveTo>
                    <a:lnTo>
                      <a:pt x="18699" y="18382"/>
                    </a:lnTo>
                    <a:lnTo>
                      <a:pt x="16916" y="16029"/>
                    </a:lnTo>
                    <a:lnTo>
                      <a:pt x="15952" y="17500"/>
                    </a:lnTo>
                    <a:lnTo>
                      <a:pt x="14747" y="16029"/>
                    </a:lnTo>
                    <a:lnTo>
                      <a:pt x="13687" y="16029"/>
                    </a:lnTo>
                    <a:lnTo>
                      <a:pt x="12193" y="15294"/>
                    </a:lnTo>
                    <a:lnTo>
                      <a:pt x="10988" y="13824"/>
                    </a:lnTo>
                    <a:lnTo>
                      <a:pt x="8482" y="11471"/>
                    </a:lnTo>
                    <a:lnTo>
                      <a:pt x="6988" y="12059"/>
                    </a:lnTo>
                    <a:lnTo>
                      <a:pt x="5012" y="9853"/>
                    </a:lnTo>
                    <a:lnTo>
                      <a:pt x="2458" y="8382"/>
                    </a:lnTo>
                    <a:lnTo>
                      <a:pt x="2940" y="7647"/>
                    </a:lnTo>
                    <a:lnTo>
                      <a:pt x="1253" y="6029"/>
                    </a:lnTo>
                    <a:lnTo>
                      <a:pt x="0" y="5441"/>
                    </a:lnTo>
                    <a:lnTo>
                      <a:pt x="482" y="5441"/>
                    </a:lnTo>
                    <a:lnTo>
                      <a:pt x="964" y="5441"/>
                    </a:lnTo>
                    <a:lnTo>
                      <a:pt x="1735" y="2353"/>
                    </a:lnTo>
                    <a:lnTo>
                      <a:pt x="2217" y="0"/>
                    </a:lnTo>
                    <a:lnTo>
                      <a:pt x="4241" y="1471"/>
                    </a:lnTo>
                    <a:lnTo>
                      <a:pt x="4241" y="0"/>
                    </a:lnTo>
                    <a:lnTo>
                      <a:pt x="5012" y="0"/>
                    </a:lnTo>
                    <a:lnTo>
                      <a:pt x="5687" y="1471"/>
                    </a:lnTo>
                    <a:lnTo>
                      <a:pt x="6217" y="2353"/>
                    </a:lnTo>
                    <a:lnTo>
                      <a:pt x="6988" y="1471"/>
                    </a:lnTo>
                    <a:lnTo>
                      <a:pt x="7470" y="5441"/>
                    </a:lnTo>
                    <a:lnTo>
                      <a:pt x="10699" y="6029"/>
                    </a:lnTo>
                    <a:lnTo>
                      <a:pt x="11470" y="6029"/>
                    </a:lnTo>
                    <a:lnTo>
                      <a:pt x="11711" y="3824"/>
                    </a:lnTo>
                    <a:lnTo>
                      <a:pt x="12723" y="3824"/>
                    </a:lnTo>
                    <a:lnTo>
                      <a:pt x="12964" y="5441"/>
                    </a:lnTo>
                    <a:lnTo>
                      <a:pt x="13446" y="5441"/>
                    </a:lnTo>
                    <a:lnTo>
                      <a:pt x="14747" y="5441"/>
                    </a:lnTo>
                    <a:lnTo>
                      <a:pt x="15470" y="6029"/>
                    </a:lnTo>
                    <a:lnTo>
                      <a:pt x="16241" y="9853"/>
                    </a:lnTo>
                    <a:lnTo>
                      <a:pt x="17494" y="12059"/>
                    </a:lnTo>
                    <a:lnTo>
                      <a:pt x="17976" y="11471"/>
                    </a:lnTo>
                    <a:lnTo>
                      <a:pt x="18988" y="11471"/>
                    </a:lnTo>
                    <a:lnTo>
                      <a:pt x="19952" y="12059"/>
                    </a:lnTo>
                    <a:lnTo>
                      <a:pt x="19470" y="13824"/>
                    </a:lnTo>
                    <a:lnTo>
                      <a:pt x="19470" y="16029"/>
                    </a:lnTo>
                    <a:lnTo>
                      <a:pt x="19952" y="18382"/>
                    </a:lnTo>
                    <a:lnTo>
                      <a:pt x="19952" y="1985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1" name="Freeform 208"/>
              <p:cNvSpPr>
                <a:spLocks/>
              </p:cNvSpPr>
              <p:nvPr/>
            </p:nvSpPr>
            <p:spPr bwMode="auto">
              <a:xfrm>
                <a:off x="8474075" y="4713288"/>
                <a:ext cx="112713" cy="60325"/>
              </a:xfrm>
              <a:custGeom>
                <a:avLst/>
                <a:gdLst>
                  <a:gd name="T0" fmla="*/ 2373 w 20000"/>
                  <a:gd name="T1" fmla="*/ 19787 h 20000"/>
                  <a:gd name="T2" fmla="*/ 0 w 20000"/>
                  <a:gd name="T3" fmla="*/ 19787 h 20000"/>
                  <a:gd name="T4" fmla="*/ 678 w 20000"/>
                  <a:gd name="T5" fmla="*/ 15532 h 20000"/>
                  <a:gd name="T6" fmla="*/ 1808 w 20000"/>
                  <a:gd name="T7" fmla="*/ 12128 h 20000"/>
                  <a:gd name="T8" fmla="*/ 4633 w 20000"/>
                  <a:gd name="T9" fmla="*/ 8723 h 20000"/>
                  <a:gd name="T10" fmla="*/ 7684 w 20000"/>
                  <a:gd name="T11" fmla="*/ 6596 h 20000"/>
                  <a:gd name="T12" fmla="*/ 9379 w 20000"/>
                  <a:gd name="T13" fmla="*/ 3404 h 20000"/>
                  <a:gd name="T14" fmla="*/ 14124 w 20000"/>
                  <a:gd name="T15" fmla="*/ 0 h 20000"/>
                  <a:gd name="T16" fmla="*/ 19887 w 20000"/>
                  <a:gd name="T17" fmla="*/ 0 h 20000"/>
                  <a:gd name="T18" fmla="*/ 17627 w 20000"/>
                  <a:gd name="T19" fmla="*/ 3404 h 20000"/>
                  <a:gd name="T20" fmla="*/ 16949 w 20000"/>
                  <a:gd name="T21" fmla="*/ 3404 h 20000"/>
                  <a:gd name="T22" fmla="*/ 14576 w 20000"/>
                  <a:gd name="T23" fmla="*/ 5532 h 20000"/>
                  <a:gd name="T24" fmla="*/ 7684 w 20000"/>
                  <a:gd name="T25" fmla="*/ 12128 h 20000"/>
                  <a:gd name="T26" fmla="*/ 4633 w 20000"/>
                  <a:gd name="T27" fmla="*/ 17660 h 20000"/>
                  <a:gd name="T28" fmla="*/ 3503 w 20000"/>
                  <a:gd name="T29" fmla="*/ 17660 h 20000"/>
                  <a:gd name="T30" fmla="*/ 2373 w 20000"/>
                  <a:gd name="T31" fmla="*/ 197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2373" y="19787"/>
                    </a:moveTo>
                    <a:lnTo>
                      <a:pt x="0" y="19787"/>
                    </a:lnTo>
                    <a:lnTo>
                      <a:pt x="678" y="15532"/>
                    </a:lnTo>
                    <a:lnTo>
                      <a:pt x="1808" y="12128"/>
                    </a:lnTo>
                    <a:lnTo>
                      <a:pt x="4633" y="8723"/>
                    </a:lnTo>
                    <a:lnTo>
                      <a:pt x="7684" y="6596"/>
                    </a:lnTo>
                    <a:lnTo>
                      <a:pt x="9379" y="3404"/>
                    </a:lnTo>
                    <a:lnTo>
                      <a:pt x="14124" y="0"/>
                    </a:lnTo>
                    <a:lnTo>
                      <a:pt x="19887" y="0"/>
                    </a:lnTo>
                    <a:lnTo>
                      <a:pt x="17627" y="3404"/>
                    </a:lnTo>
                    <a:lnTo>
                      <a:pt x="16949" y="3404"/>
                    </a:lnTo>
                    <a:lnTo>
                      <a:pt x="14576" y="5532"/>
                    </a:lnTo>
                    <a:lnTo>
                      <a:pt x="7684" y="12128"/>
                    </a:lnTo>
                    <a:lnTo>
                      <a:pt x="4633" y="17660"/>
                    </a:lnTo>
                    <a:lnTo>
                      <a:pt x="3503" y="17660"/>
                    </a:lnTo>
                    <a:lnTo>
                      <a:pt x="2373" y="197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2" name="Freeform 207"/>
              <p:cNvSpPr>
                <a:spLocks/>
              </p:cNvSpPr>
              <p:nvPr/>
            </p:nvSpPr>
            <p:spPr bwMode="auto">
              <a:xfrm>
                <a:off x="8596313" y="4405313"/>
                <a:ext cx="44450" cy="88900"/>
              </a:xfrm>
              <a:custGeom>
                <a:avLst/>
                <a:gdLst>
                  <a:gd name="T0" fmla="*/ 8986 w 20000"/>
                  <a:gd name="T1" fmla="*/ 19857 h 20000"/>
                  <a:gd name="T2" fmla="*/ 4638 w 20000"/>
                  <a:gd name="T3" fmla="*/ 16857 h 20000"/>
                  <a:gd name="T4" fmla="*/ 1739 w 20000"/>
                  <a:gd name="T5" fmla="*/ 13143 h 20000"/>
                  <a:gd name="T6" fmla="*/ 1739 w 20000"/>
                  <a:gd name="T7" fmla="*/ 11714 h 20000"/>
                  <a:gd name="T8" fmla="*/ 0 w 20000"/>
                  <a:gd name="T9" fmla="*/ 9571 h 20000"/>
                  <a:gd name="T10" fmla="*/ 0 w 20000"/>
                  <a:gd name="T11" fmla="*/ 7286 h 20000"/>
                  <a:gd name="T12" fmla="*/ 1739 w 20000"/>
                  <a:gd name="T13" fmla="*/ 3714 h 20000"/>
                  <a:gd name="T14" fmla="*/ 7536 w 20000"/>
                  <a:gd name="T15" fmla="*/ 0 h 20000"/>
                  <a:gd name="T16" fmla="*/ 4638 w 20000"/>
                  <a:gd name="T17" fmla="*/ 2000 h 20000"/>
                  <a:gd name="T18" fmla="*/ 7536 w 20000"/>
                  <a:gd name="T19" fmla="*/ 5857 h 20000"/>
                  <a:gd name="T20" fmla="*/ 1739 w 20000"/>
                  <a:gd name="T21" fmla="*/ 7286 h 20000"/>
                  <a:gd name="T22" fmla="*/ 4638 w 20000"/>
                  <a:gd name="T23" fmla="*/ 8143 h 20000"/>
                  <a:gd name="T24" fmla="*/ 7536 w 20000"/>
                  <a:gd name="T25" fmla="*/ 7286 h 20000"/>
                  <a:gd name="T26" fmla="*/ 8986 w 20000"/>
                  <a:gd name="T27" fmla="*/ 7286 h 20000"/>
                  <a:gd name="T28" fmla="*/ 8986 w 20000"/>
                  <a:gd name="T29" fmla="*/ 5857 h 20000"/>
                  <a:gd name="T30" fmla="*/ 16522 w 20000"/>
                  <a:gd name="T31" fmla="*/ 4286 h 20000"/>
                  <a:gd name="T32" fmla="*/ 16522 w 20000"/>
                  <a:gd name="T33" fmla="*/ 7286 h 20000"/>
                  <a:gd name="T34" fmla="*/ 8986 w 20000"/>
                  <a:gd name="T35" fmla="*/ 9571 h 20000"/>
                  <a:gd name="T36" fmla="*/ 19710 w 20000"/>
                  <a:gd name="T37" fmla="*/ 13143 h 20000"/>
                  <a:gd name="T38" fmla="*/ 7536 w 20000"/>
                  <a:gd name="T39" fmla="*/ 11714 h 20000"/>
                  <a:gd name="T40" fmla="*/ 7536 w 20000"/>
                  <a:gd name="T41" fmla="*/ 13143 h 20000"/>
                  <a:gd name="T42" fmla="*/ 8986 w 20000"/>
                  <a:gd name="T43" fmla="*/ 1985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8986" y="19857"/>
                    </a:moveTo>
                    <a:lnTo>
                      <a:pt x="4638" y="16857"/>
                    </a:lnTo>
                    <a:lnTo>
                      <a:pt x="1739" y="13143"/>
                    </a:lnTo>
                    <a:lnTo>
                      <a:pt x="1739" y="11714"/>
                    </a:lnTo>
                    <a:lnTo>
                      <a:pt x="0" y="9571"/>
                    </a:lnTo>
                    <a:lnTo>
                      <a:pt x="0" y="7286"/>
                    </a:lnTo>
                    <a:lnTo>
                      <a:pt x="1739" y="3714"/>
                    </a:lnTo>
                    <a:lnTo>
                      <a:pt x="7536" y="0"/>
                    </a:lnTo>
                    <a:lnTo>
                      <a:pt x="4638" y="2000"/>
                    </a:lnTo>
                    <a:lnTo>
                      <a:pt x="7536" y="5857"/>
                    </a:lnTo>
                    <a:lnTo>
                      <a:pt x="1739" y="7286"/>
                    </a:lnTo>
                    <a:lnTo>
                      <a:pt x="4638" y="8143"/>
                    </a:lnTo>
                    <a:lnTo>
                      <a:pt x="7536" y="7286"/>
                    </a:lnTo>
                    <a:lnTo>
                      <a:pt x="8986" y="7286"/>
                    </a:lnTo>
                    <a:lnTo>
                      <a:pt x="8986" y="5857"/>
                    </a:lnTo>
                    <a:lnTo>
                      <a:pt x="16522" y="4286"/>
                    </a:lnTo>
                    <a:lnTo>
                      <a:pt x="16522" y="7286"/>
                    </a:lnTo>
                    <a:lnTo>
                      <a:pt x="8986" y="9571"/>
                    </a:lnTo>
                    <a:lnTo>
                      <a:pt x="19710" y="13143"/>
                    </a:lnTo>
                    <a:lnTo>
                      <a:pt x="7536" y="11714"/>
                    </a:lnTo>
                    <a:lnTo>
                      <a:pt x="7536" y="13143"/>
                    </a:lnTo>
                    <a:lnTo>
                      <a:pt x="8986" y="1985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3" name="Freeform 206"/>
              <p:cNvSpPr>
                <a:spLocks/>
              </p:cNvSpPr>
              <p:nvPr/>
            </p:nvSpPr>
            <p:spPr bwMode="auto">
              <a:xfrm>
                <a:off x="8607425" y="4552950"/>
                <a:ext cx="85725" cy="26988"/>
              </a:xfrm>
              <a:custGeom>
                <a:avLst/>
                <a:gdLst>
                  <a:gd name="T0" fmla="*/ 19853 w 20000"/>
                  <a:gd name="T1" fmla="*/ 19535 h 20000"/>
                  <a:gd name="T2" fmla="*/ 13824 w 20000"/>
                  <a:gd name="T3" fmla="*/ 12093 h 20000"/>
                  <a:gd name="T4" fmla="*/ 11471 w 20000"/>
                  <a:gd name="T5" fmla="*/ 6977 h 20000"/>
                  <a:gd name="T6" fmla="*/ 11471 w 20000"/>
                  <a:gd name="T7" fmla="*/ 12093 h 20000"/>
                  <a:gd name="T8" fmla="*/ 7647 w 20000"/>
                  <a:gd name="T9" fmla="*/ 12093 h 20000"/>
                  <a:gd name="T10" fmla="*/ 7647 w 20000"/>
                  <a:gd name="T11" fmla="*/ 6977 h 20000"/>
                  <a:gd name="T12" fmla="*/ 4559 w 20000"/>
                  <a:gd name="T13" fmla="*/ 12093 h 20000"/>
                  <a:gd name="T14" fmla="*/ 2353 w 20000"/>
                  <a:gd name="T15" fmla="*/ 6977 h 20000"/>
                  <a:gd name="T16" fmla="*/ 1471 w 20000"/>
                  <a:gd name="T17" fmla="*/ 12093 h 20000"/>
                  <a:gd name="T18" fmla="*/ 0 w 20000"/>
                  <a:gd name="T19" fmla="*/ 6977 h 20000"/>
                  <a:gd name="T20" fmla="*/ 2353 w 20000"/>
                  <a:gd name="T21" fmla="*/ 0 h 20000"/>
                  <a:gd name="T22" fmla="*/ 7647 w 20000"/>
                  <a:gd name="T23" fmla="*/ 0 h 20000"/>
                  <a:gd name="T24" fmla="*/ 10000 w 20000"/>
                  <a:gd name="T25" fmla="*/ 0 h 20000"/>
                  <a:gd name="T26" fmla="*/ 11471 w 20000"/>
                  <a:gd name="T27" fmla="*/ 0 h 20000"/>
                  <a:gd name="T28" fmla="*/ 13824 w 20000"/>
                  <a:gd name="T29" fmla="*/ 0 h 20000"/>
                  <a:gd name="T30" fmla="*/ 16029 w 20000"/>
                  <a:gd name="T31" fmla="*/ 0 h 20000"/>
                  <a:gd name="T32" fmla="*/ 18382 w 20000"/>
                  <a:gd name="T33" fmla="*/ 6977 h 20000"/>
                  <a:gd name="T34" fmla="*/ 19853 w 20000"/>
                  <a:gd name="T35" fmla="*/ 12093 h 20000"/>
                  <a:gd name="T36" fmla="*/ 19853 w 20000"/>
                  <a:gd name="T37" fmla="*/ 195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19853" y="19535"/>
                    </a:moveTo>
                    <a:lnTo>
                      <a:pt x="13824" y="12093"/>
                    </a:lnTo>
                    <a:lnTo>
                      <a:pt x="11471" y="6977"/>
                    </a:lnTo>
                    <a:lnTo>
                      <a:pt x="11471" y="12093"/>
                    </a:lnTo>
                    <a:lnTo>
                      <a:pt x="7647" y="12093"/>
                    </a:lnTo>
                    <a:lnTo>
                      <a:pt x="7647" y="6977"/>
                    </a:lnTo>
                    <a:lnTo>
                      <a:pt x="4559" y="12093"/>
                    </a:lnTo>
                    <a:lnTo>
                      <a:pt x="2353" y="6977"/>
                    </a:lnTo>
                    <a:lnTo>
                      <a:pt x="1471" y="12093"/>
                    </a:lnTo>
                    <a:lnTo>
                      <a:pt x="0" y="6977"/>
                    </a:lnTo>
                    <a:lnTo>
                      <a:pt x="2353" y="0"/>
                    </a:lnTo>
                    <a:lnTo>
                      <a:pt x="7647" y="0"/>
                    </a:lnTo>
                    <a:lnTo>
                      <a:pt x="10000" y="0"/>
                    </a:lnTo>
                    <a:lnTo>
                      <a:pt x="11471" y="0"/>
                    </a:lnTo>
                    <a:lnTo>
                      <a:pt x="13824" y="0"/>
                    </a:lnTo>
                    <a:lnTo>
                      <a:pt x="16029" y="0"/>
                    </a:lnTo>
                    <a:lnTo>
                      <a:pt x="18382" y="6977"/>
                    </a:lnTo>
                    <a:lnTo>
                      <a:pt x="19853" y="12093"/>
                    </a:lnTo>
                    <a:lnTo>
                      <a:pt x="19853" y="195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4" name="Freeform 205"/>
              <p:cNvSpPr>
                <a:spLocks/>
              </p:cNvSpPr>
              <p:nvPr/>
            </p:nvSpPr>
            <p:spPr bwMode="auto">
              <a:xfrm>
                <a:off x="8372475" y="4703763"/>
                <a:ext cx="96838" cy="26987"/>
              </a:xfrm>
              <a:custGeom>
                <a:avLst/>
                <a:gdLst>
                  <a:gd name="T0" fmla="*/ 8947 w 20000"/>
                  <a:gd name="T1" fmla="*/ 19524 h 20000"/>
                  <a:gd name="T2" fmla="*/ 5395 w 20000"/>
                  <a:gd name="T3" fmla="*/ 19524 h 20000"/>
                  <a:gd name="T4" fmla="*/ 4079 w 20000"/>
                  <a:gd name="T5" fmla="*/ 14762 h 20000"/>
                  <a:gd name="T6" fmla="*/ 0 w 20000"/>
                  <a:gd name="T7" fmla="*/ 14762 h 20000"/>
                  <a:gd name="T8" fmla="*/ 0 w 20000"/>
                  <a:gd name="T9" fmla="*/ 10000 h 20000"/>
                  <a:gd name="T10" fmla="*/ 1447 w 20000"/>
                  <a:gd name="T11" fmla="*/ 7143 h 20000"/>
                  <a:gd name="T12" fmla="*/ 4079 w 20000"/>
                  <a:gd name="T13" fmla="*/ 2857 h 20000"/>
                  <a:gd name="T14" fmla="*/ 7500 w 20000"/>
                  <a:gd name="T15" fmla="*/ 7143 h 20000"/>
                  <a:gd name="T16" fmla="*/ 9605 w 20000"/>
                  <a:gd name="T17" fmla="*/ 10000 h 20000"/>
                  <a:gd name="T18" fmla="*/ 11053 w 20000"/>
                  <a:gd name="T19" fmla="*/ 7143 h 20000"/>
                  <a:gd name="T20" fmla="*/ 15789 w 20000"/>
                  <a:gd name="T21" fmla="*/ 10000 h 20000"/>
                  <a:gd name="T22" fmla="*/ 16447 w 20000"/>
                  <a:gd name="T23" fmla="*/ 7143 h 20000"/>
                  <a:gd name="T24" fmla="*/ 17763 w 20000"/>
                  <a:gd name="T25" fmla="*/ 7143 h 20000"/>
                  <a:gd name="T26" fmla="*/ 17763 w 20000"/>
                  <a:gd name="T27" fmla="*/ 2857 h 20000"/>
                  <a:gd name="T28" fmla="*/ 18553 w 20000"/>
                  <a:gd name="T29" fmla="*/ 0 h 20000"/>
                  <a:gd name="T30" fmla="*/ 19868 w 20000"/>
                  <a:gd name="T31" fmla="*/ 2857 h 20000"/>
                  <a:gd name="T32" fmla="*/ 17763 w 20000"/>
                  <a:gd name="T33" fmla="*/ 10000 h 20000"/>
                  <a:gd name="T34" fmla="*/ 13026 w 20000"/>
                  <a:gd name="T35" fmla="*/ 14762 h 20000"/>
                  <a:gd name="T36" fmla="*/ 12368 w 20000"/>
                  <a:gd name="T37" fmla="*/ 19524 h 20000"/>
                  <a:gd name="T38" fmla="*/ 9605 w 20000"/>
                  <a:gd name="T39" fmla="*/ 14762 h 20000"/>
                  <a:gd name="T40" fmla="*/ 8947 w 20000"/>
                  <a:gd name="T41"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8947" y="19524"/>
                    </a:moveTo>
                    <a:lnTo>
                      <a:pt x="5395" y="19524"/>
                    </a:lnTo>
                    <a:lnTo>
                      <a:pt x="4079" y="14762"/>
                    </a:lnTo>
                    <a:lnTo>
                      <a:pt x="0" y="14762"/>
                    </a:lnTo>
                    <a:lnTo>
                      <a:pt x="0" y="10000"/>
                    </a:lnTo>
                    <a:lnTo>
                      <a:pt x="1447" y="7143"/>
                    </a:lnTo>
                    <a:lnTo>
                      <a:pt x="4079" y="2857"/>
                    </a:lnTo>
                    <a:lnTo>
                      <a:pt x="7500" y="7143"/>
                    </a:lnTo>
                    <a:lnTo>
                      <a:pt x="9605" y="10000"/>
                    </a:lnTo>
                    <a:lnTo>
                      <a:pt x="11053" y="7143"/>
                    </a:lnTo>
                    <a:lnTo>
                      <a:pt x="15789" y="10000"/>
                    </a:lnTo>
                    <a:lnTo>
                      <a:pt x="16447" y="7143"/>
                    </a:lnTo>
                    <a:lnTo>
                      <a:pt x="17763" y="7143"/>
                    </a:lnTo>
                    <a:lnTo>
                      <a:pt x="17763" y="2857"/>
                    </a:lnTo>
                    <a:lnTo>
                      <a:pt x="18553" y="0"/>
                    </a:lnTo>
                    <a:lnTo>
                      <a:pt x="19868" y="2857"/>
                    </a:lnTo>
                    <a:lnTo>
                      <a:pt x="17763" y="10000"/>
                    </a:lnTo>
                    <a:lnTo>
                      <a:pt x="13026" y="14762"/>
                    </a:lnTo>
                    <a:lnTo>
                      <a:pt x="12368" y="19524"/>
                    </a:lnTo>
                    <a:lnTo>
                      <a:pt x="9605" y="14762"/>
                    </a:lnTo>
                    <a:lnTo>
                      <a:pt x="8947"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5" name="Freeform 204"/>
              <p:cNvSpPr>
                <a:spLocks/>
              </p:cNvSpPr>
              <p:nvPr/>
            </p:nvSpPr>
            <p:spPr bwMode="auto">
              <a:xfrm>
                <a:off x="8288338" y="4703763"/>
                <a:ext cx="69850" cy="26987"/>
              </a:xfrm>
              <a:custGeom>
                <a:avLst/>
                <a:gdLst>
                  <a:gd name="T0" fmla="*/ 0 w 20000"/>
                  <a:gd name="T1" fmla="*/ 19524 h 20000"/>
                  <a:gd name="T2" fmla="*/ 0 w 20000"/>
                  <a:gd name="T3" fmla="*/ 10000 h 20000"/>
                  <a:gd name="T4" fmla="*/ 2569 w 20000"/>
                  <a:gd name="T5" fmla="*/ 7143 h 20000"/>
                  <a:gd name="T6" fmla="*/ 6606 w 20000"/>
                  <a:gd name="T7" fmla="*/ 7143 h 20000"/>
                  <a:gd name="T8" fmla="*/ 7523 w 20000"/>
                  <a:gd name="T9" fmla="*/ 10000 h 20000"/>
                  <a:gd name="T10" fmla="*/ 9358 w 20000"/>
                  <a:gd name="T11" fmla="*/ 10000 h 20000"/>
                  <a:gd name="T12" fmla="*/ 10459 w 20000"/>
                  <a:gd name="T13" fmla="*/ 7143 h 20000"/>
                  <a:gd name="T14" fmla="*/ 7523 w 20000"/>
                  <a:gd name="T15" fmla="*/ 2857 h 20000"/>
                  <a:gd name="T16" fmla="*/ 10459 w 20000"/>
                  <a:gd name="T17" fmla="*/ 0 h 20000"/>
                  <a:gd name="T18" fmla="*/ 12294 w 20000"/>
                  <a:gd name="T19" fmla="*/ 2857 h 20000"/>
                  <a:gd name="T20" fmla="*/ 14128 w 20000"/>
                  <a:gd name="T21" fmla="*/ 2857 h 20000"/>
                  <a:gd name="T22" fmla="*/ 16881 w 20000"/>
                  <a:gd name="T23" fmla="*/ 7143 h 20000"/>
                  <a:gd name="T24" fmla="*/ 17982 w 20000"/>
                  <a:gd name="T25" fmla="*/ 2857 h 20000"/>
                  <a:gd name="T26" fmla="*/ 19817 w 20000"/>
                  <a:gd name="T27" fmla="*/ 14762 h 20000"/>
                  <a:gd name="T28" fmla="*/ 14128 w 20000"/>
                  <a:gd name="T29" fmla="*/ 14762 h 20000"/>
                  <a:gd name="T30" fmla="*/ 14128 w 20000"/>
                  <a:gd name="T31" fmla="*/ 10000 h 20000"/>
                  <a:gd name="T32" fmla="*/ 12294 w 20000"/>
                  <a:gd name="T33" fmla="*/ 10000 h 20000"/>
                  <a:gd name="T34" fmla="*/ 10459 w 20000"/>
                  <a:gd name="T35" fmla="*/ 19524 h 20000"/>
                  <a:gd name="T36" fmla="*/ 7523 w 20000"/>
                  <a:gd name="T37" fmla="*/ 19524 h 20000"/>
                  <a:gd name="T38" fmla="*/ 0 w 20000"/>
                  <a:gd name="T39"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0" y="19524"/>
                    </a:moveTo>
                    <a:lnTo>
                      <a:pt x="0" y="10000"/>
                    </a:lnTo>
                    <a:lnTo>
                      <a:pt x="2569" y="7143"/>
                    </a:lnTo>
                    <a:lnTo>
                      <a:pt x="6606" y="7143"/>
                    </a:lnTo>
                    <a:lnTo>
                      <a:pt x="7523" y="10000"/>
                    </a:lnTo>
                    <a:lnTo>
                      <a:pt x="9358" y="10000"/>
                    </a:lnTo>
                    <a:lnTo>
                      <a:pt x="10459" y="7143"/>
                    </a:lnTo>
                    <a:lnTo>
                      <a:pt x="7523" y="2857"/>
                    </a:lnTo>
                    <a:lnTo>
                      <a:pt x="10459" y="0"/>
                    </a:lnTo>
                    <a:lnTo>
                      <a:pt x="12294" y="2857"/>
                    </a:lnTo>
                    <a:lnTo>
                      <a:pt x="14128" y="2857"/>
                    </a:lnTo>
                    <a:lnTo>
                      <a:pt x="16881" y="7143"/>
                    </a:lnTo>
                    <a:lnTo>
                      <a:pt x="17982" y="2857"/>
                    </a:lnTo>
                    <a:lnTo>
                      <a:pt x="19817" y="14762"/>
                    </a:lnTo>
                    <a:lnTo>
                      <a:pt x="14128" y="14762"/>
                    </a:lnTo>
                    <a:lnTo>
                      <a:pt x="14128" y="10000"/>
                    </a:lnTo>
                    <a:lnTo>
                      <a:pt x="12294" y="10000"/>
                    </a:lnTo>
                    <a:lnTo>
                      <a:pt x="10459" y="19524"/>
                    </a:lnTo>
                    <a:lnTo>
                      <a:pt x="7523" y="19524"/>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6" name="Freeform 203"/>
              <p:cNvSpPr>
                <a:spLocks/>
              </p:cNvSpPr>
              <p:nvPr/>
            </p:nvSpPr>
            <p:spPr bwMode="auto">
              <a:xfrm>
                <a:off x="7962900" y="4510088"/>
                <a:ext cx="49213" cy="42862"/>
              </a:xfrm>
              <a:custGeom>
                <a:avLst/>
                <a:gdLst>
                  <a:gd name="T0" fmla="*/ 19744 w 20000"/>
                  <a:gd name="T1" fmla="*/ 19706 h 20000"/>
                  <a:gd name="T2" fmla="*/ 11795 w 20000"/>
                  <a:gd name="T3" fmla="*/ 18235 h 20000"/>
                  <a:gd name="T4" fmla="*/ 9231 w 20000"/>
                  <a:gd name="T5" fmla="*/ 10882 h 20000"/>
                  <a:gd name="T6" fmla="*/ 5128 w 20000"/>
                  <a:gd name="T7" fmla="*/ 6176 h 20000"/>
                  <a:gd name="T8" fmla="*/ 0 w 20000"/>
                  <a:gd name="T9" fmla="*/ 6176 h 20000"/>
                  <a:gd name="T10" fmla="*/ 5128 w 20000"/>
                  <a:gd name="T11" fmla="*/ 6176 h 20000"/>
                  <a:gd name="T12" fmla="*/ 5128 w 20000"/>
                  <a:gd name="T13" fmla="*/ 0 h 20000"/>
                  <a:gd name="T14" fmla="*/ 6667 w 20000"/>
                  <a:gd name="T15" fmla="*/ 0 h 20000"/>
                  <a:gd name="T16" fmla="*/ 6667 w 20000"/>
                  <a:gd name="T17" fmla="*/ 2941 h 20000"/>
                  <a:gd name="T18" fmla="*/ 9231 w 20000"/>
                  <a:gd name="T19" fmla="*/ 2941 h 20000"/>
                  <a:gd name="T20" fmla="*/ 9231 w 20000"/>
                  <a:gd name="T21" fmla="*/ 0 h 20000"/>
                  <a:gd name="T22" fmla="*/ 11795 w 20000"/>
                  <a:gd name="T23" fmla="*/ 0 h 20000"/>
                  <a:gd name="T24" fmla="*/ 13077 w 20000"/>
                  <a:gd name="T25" fmla="*/ 2941 h 20000"/>
                  <a:gd name="T26" fmla="*/ 13077 w 20000"/>
                  <a:gd name="T27" fmla="*/ 12059 h 20000"/>
                  <a:gd name="T28" fmla="*/ 19744 w 20000"/>
                  <a:gd name="T29" fmla="*/ 15000 h 20000"/>
                  <a:gd name="T30" fmla="*/ 17179 w 20000"/>
                  <a:gd name="T31" fmla="*/ 18235 h 20000"/>
                  <a:gd name="T32" fmla="*/ 19744 w 20000"/>
                  <a:gd name="T33"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9744" y="19706"/>
                    </a:moveTo>
                    <a:lnTo>
                      <a:pt x="11795" y="18235"/>
                    </a:lnTo>
                    <a:lnTo>
                      <a:pt x="9231" y="10882"/>
                    </a:lnTo>
                    <a:lnTo>
                      <a:pt x="5128" y="6176"/>
                    </a:lnTo>
                    <a:lnTo>
                      <a:pt x="0" y="6176"/>
                    </a:lnTo>
                    <a:lnTo>
                      <a:pt x="5128" y="6176"/>
                    </a:lnTo>
                    <a:lnTo>
                      <a:pt x="5128" y="0"/>
                    </a:lnTo>
                    <a:lnTo>
                      <a:pt x="6667" y="0"/>
                    </a:lnTo>
                    <a:lnTo>
                      <a:pt x="6667" y="2941"/>
                    </a:lnTo>
                    <a:lnTo>
                      <a:pt x="9231" y="2941"/>
                    </a:lnTo>
                    <a:lnTo>
                      <a:pt x="9231" y="0"/>
                    </a:lnTo>
                    <a:lnTo>
                      <a:pt x="11795" y="0"/>
                    </a:lnTo>
                    <a:lnTo>
                      <a:pt x="13077" y="2941"/>
                    </a:lnTo>
                    <a:lnTo>
                      <a:pt x="13077" y="12059"/>
                    </a:lnTo>
                    <a:lnTo>
                      <a:pt x="19744" y="15000"/>
                    </a:lnTo>
                    <a:lnTo>
                      <a:pt x="17179" y="18235"/>
                    </a:lnTo>
                    <a:lnTo>
                      <a:pt x="19744"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7" name="Freeform 202"/>
              <p:cNvSpPr>
                <a:spLocks/>
              </p:cNvSpPr>
              <p:nvPr/>
            </p:nvSpPr>
            <p:spPr bwMode="auto">
              <a:xfrm>
                <a:off x="8875713" y="4687888"/>
                <a:ext cx="41275" cy="30162"/>
              </a:xfrm>
              <a:custGeom>
                <a:avLst/>
                <a:gdLst>
                  <a:gd name="T0" fmla="*/ 0 w 20000"/>
                  <a:gd name="T1" fmla="*/ 19583 h 20000"/>
                  <a:gd name="T2" fmla="*/ 6563 w 20000"/>
                  <a:gd name="T3" fmla="*/ 6667 h 20000"/>
                  <a:gd name="T4" fmla="*/ 16563 w 20000"/>
                  <a:gd name="T5" fmla="*/ 0 h 20000"/>
                  <a:gd name="T6" fmla="*/ 19688 w 20000"/>
                  <a:gd name="T7" fmla="*/ 1667 h 20000"/>
                  <a:gd name="T8" fmla="*/ 19688 w 20000"/>
                  <a:gd name="T9" fmla="*/ 10833 h 20000"/>
                  <a:gd name="T10" fmla="*/ 14688 w 20000"/>
                  <a:gd name="T11" fmla="*/ 17083 h 20000"/>
                  <a:gd name="T12" fmla="*/ 0 w 20000"/>
                  <a:gd name="T13" fmla="*/ 19583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19583"/>
                    </a:moveTo>
                    <a:lnTo>
                      <a:pt x="6563" y="6667"/>
                    </a:lnTo>
                    <a:lnTo>
                      <a:pt x="16563" y="0"/>
                    </a:lnTo>
                    <a:lnTo>
                      <a:pt x="19688" y="1667"/>
                    </a:lnTo>
                    <a:lnTo>
                      <a:pt x="19688" y="10833"/>
                    </a:lnTo>
                    <a:lnTo>
                      <a:pt x="14688" y="17083"/>
                    </a:lnTo>
                    <a:lnTo>
                      <a:pt x="0" y="1958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8" name="Freeform 201"/>
              <p:cNvSpPr>
                <a:spLocks/>
              </p:cNvSpPr>
              <p:nvPr/>
            </p:nvSpPr>
            <p:spPr bwMode="auto">
              <a:xfrm>
                <a:off x="8350250" y="4740275"/>
                <a:ext cx="49213" cy="33338"/>
              </a:xfrm>
              <a:custGeom>
                <a:avLst/>
                <a:gdLst>
                  <a:gd name="T0" fmla="*/ 15897 w 20000"/>
                  <a:gd name="T1" fmla="*/ 19615 h 20000"/>
                  <a:gd name="T2" fmla="*/ 12051 w 20000"/>
                  <a:gd name="T3" fmla="*/ 11923 h 20000"/>
                  <a:gd name="T4" fmla="*/ 5128 w 20000"/>
                  <a:gd name="T5" fmla="*/ 5769 h 20000"/>
                  <a:gd name="T6" fmla="*/ 0 w 20000"/>
                  <a:gd name="T7" fmla="*/ 5769 h 20000"/>
                  <a:gd name="T8" fmla="*/ 0 w 20000"/>
                  <a:gd name="T9" fmla="*/ 2308 h 20000"/>
                  <a:gd name="T10" fmla="*/ 6667 w 20000"/>
                  <a:gd name="T11" fmla="*/ 2308 h 20000"/>
                  <a:gd name="T12" fmla="*/ 12051 w 20000"/>
                  <a:gd name="T13" fmla="*/ 0 h 20000"/>
                  <a:gd name="T14" fmla="*/ 13077 w 20000"/>
                  <a:gd name="T15" fmla="*/ 5769 h 20000"/>
                  <a:gd name="T16" fmla="*/ 17179 w 20000"/>
                  <a:gd name="T17" fmla="*/ 5769 h 20000"/>
                  <a:gd name="T18" fmla="*/ 19744 w 20000"/>
                  <a:gd name="T19" fmla="*/ 11923 h 20000"/>
                  <a:gd name="T20" fmla="*/ 17179 w 20000"/>
                  <a:gd name="T21" fmla="*/ 15769 h 20000"/>
                  <a:gd name="T22" fmla="*/ 15897 w 20000"/>
                  <a:gd name="T23" fmla="*/ 19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5897" y="19615"/>
                    </a:moveTo>
                    <a:lnTo>
                      <a:pt x="12051" y="11923"/>
                    </a:lnTo>
                    <a:lnTo>
                      <a:pt x="5128" y="5769"/>
                    </a:lnTo>
                    <a:lnTo>
                      <a:pt x="0" y="5769"/>
                    </a:lnTo>
                    <a:lnTo>
                      <a:pt x="0" y="2308"/>
                    </a:lnTo>
                    <a:lnTo>
                      <a:pt x="6667" y="2308"/>
                    </a:lnTo>
                    <a:lnTo>
                      <a:pt x="12051" y="0"/>
                    </a:lnTo>
                    <a:lnTo>
                      <a:pt x="13077" y="5769"/>
                    </a:lnTo>
                    <a:lnTo>
                      <a:pt x="17179" y="5769"/>
                    </a:lnTo>
                    <a:lnTo>
                      <a:pt x="19744" y="11923"/>
                    </a:lnTo>
                    <a:lnTo>
                      <a:pt x="17179" y="15769"/>
                    </a:lnTo>
                    <a:lnTo>
                      <a:pt x="15897"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39" name="Freeform 200"/>
              <p:cNvSpPr>
                <a:spLocks/>
              </p:cNvSpPr>
              <p:nvPr/>
            </p:nvSpPr>
            <p:spPr bwMode="auto">
              <a:xfrm>
                <a:off x="8556625" y="4559300"/>
                <a:ext cx="34925" cy="20638"/>
              </a:xfrm>
              <a:custGeom>
                <a:avLst/>
                <a:gdLst>
                  <a:gd name="T0" fmla="*/ 10000 w 20000"/>
                  <a:gd name="T1" fmla="*/ 19375 h 20000"/>
                  <a:gd name="T2" fmla="*/ 0 w 20000"/>
                  <a:gd name="T3" fmla="*/ 2500 h 20000"/>
                  <a:gd name="T4" fmla="*/ 0 w 20000"/>
                  <a:gd name="T5" fmla="*/ 0 h 20000"/>
                  <a:gd name="T6" fmla="*/ 17407 w 20000"/>
                  <a:gd name="T7" fmla="*/ 0 h 20000"/>
                  <a:gd name="T8" fmla="*/ 19630 w 20000"/>
                  <a:gd name="T9" fmla="*/ 15625 h 20000"/>
                  <a:gd name="T10" fmla="*/ 10000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10000" y="19375"/>
                    </a:moveTo>
                    <a:lnTo>
                      <a:pt x="0" y="2500"/>
                    </a:lnTo>
                    <a:lnTo>
                      <a:pt x="0" y="0"/>
                    </a:lnTo>
                    <a:lnTo>
                      <a:pt x="17407" y="0"/>
                    </a:lnTo>
                    <a:lnTo>
                      <a:pt x="19630" y="15625"/>
                    </a:lnTo>
                    <a:lnTo>
                      <a:pt x="10000"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0" name="Freeform 199"/>
              <p:cNvSpPr>
                <a:spLocks/>
              </p:cNvSpPr>
              <p:nvPr/>
            </p:nvSpPr>
            <p:spPr bwMode="auto">
              <a:xfrm>
                <a:off x="8224838" y="4703763"/>
                <a:ext cx="36512" cy="14287"/>
              </a:xfrm>
              <a:custGeom>
                <a:avLst/>
                <a:gdLst>
                  <a:gd name="T0" fmla="*/ 10690 w 20000"/>
                  <a:gd name="T1" fmla="*/ 19091 h 20000"/>
                  <a:gd name="T2" fmla="*/ 5517 w 20000"/>
                  <a:gd name="T3" fmla="*/ 13636 h 20000"/>
                  <a:gd name="T4" fmla="*/ 0 w 20000"/>
                  <a:gd name="T5" fmla="*/ 13636 h 20000"/>
                  <a:gd name="T6" fmla="*/ 0 w 20000"/>
                  <a:gd name="T7" fmla="*/ 0 h 20000"/>
                  <a:gd name="T8" fmla="*/ 5517 w 20000"/>
                  <a:gd name="T9" fmla="*/ 5455 h 20000"/>
                  <a:gd name="T10" fmla="*/ 10690 w 20000"/>
                  <a:gd name="T11" fmla="*/ 0 h 20000"/>
                  <a:gd name="T12" fmla="*/ 19655 w 20000"/>
                  <a:gd name="T13" fmla="*/ 13636 h 20000"/>
                  <a:gd name="T14" fmla="*/ 10690 w 20000"/>
                  <a:gd name="T15" fmla="*/ 13636 h 20000"/>
                  <a:gd name="T16" fmla="*/ 10690 w 20000"/>
                  <a:gd name="T17" fmla="*/ 1909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0690" y="19091"/>
                    </a:moveTo>
                    <a:lnTo>
                      <a:pt x="5517" y="13636"/>
                    </a:lnTo>
                    <a:lnTo>
                      <a:pt x="0" y="13636"/>
                    </a:lnTo>
                    <a:lnTo>
                      <a:pt x="0" y="0"/>
                    </a:lnTo>
                    <a:lnTo>
                      <a:pt x="5517" y="5455"/>
                    </a:lnTo>
                    <a:lnTo>
                      <a:pt x="10690" y="0"/>
                    </a:lnTo>
                    <a:lnTo>
                      <a:pt x="19655" y="13636"/>
                    </a:lnTo>
                    <a:lnTo>
                      <a:pt x="10690" y="13636"/>
                    </a:lnTo>
                    <a:lnTo>
                      <a:pt x="10690" y="1909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1" name="Freeform 198"/>
              <p:cNvSpPr>
                <a:spLocks/>
              </p:cNvSpPr>
              <p:nvPr/>
            </p:nvSpPr>
            <p:spPr bwMode="auto">
              <a:xfrm>
                <a:off x="8181975" y="4664075"/>
                <a:ext cx="30163" cy="11113"/>
              </a:xfrm>
              <a:custGeom>
                <a:avLst/>
                <a:gdLst>
                  <a:gd name="T0" fmla="*/ 10833 w 20000"/>
                  <a:gd name="T1" fmla="*/ 18824 h 20000"/>
                  <a:gd name="T2" fmla="*/ 0 w 20000"/>
                  <a:gd name="T3" fmla="*/ 12941 h 20000"/>
                  <a:gd name="T4" fmla="*/ 0 w 20000"/>
                  <a:gd name="T5" fmla="*/ 0 h 20000"/>
                  <a:gd name="T6" fmla="*/ 19583 w 20000"/>
                  <a:gd name="T7" fmla="*/ 0 h 20000"/>
                  <a:gd name="T8" fmla="*/ 17083 w 20000"/>
                  <a:gd name="T9" fmla="*/ 12941 h 20000"/>
                  <a:gd name="T10" fmla="*/ 12917 w 20000"/>
                  <a:gd name="T11" fmla="*/ 12941 h 20000"/>
                  <a:gd name="T12" fmla="*/ 10833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0833" y="18824"/>
                    </a:moveTo>
                    <a:lnTo>
                      <a:pt x="0" y="12941"/>
                    </a:lnTo>
                    <a:lnTo>
                      <a:pt x="0" y="0"/>
                    </a:lnTo>
                    <a:lnTo>
                      <a:pt x="19583" y="0"/>
                    </a:lnTo>
                    <a:lnTo>
                      <a:pt x="17083" y="12941"/>
                    </a:lnTo>
                    <a:lnTo>
                      <a:pt x="12917" y="12941"/>
                    </a:lnTo>
                    <a:lnTo>
                      <a:pt x="1083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2" name="Freeform 197"/>
              <p:cNvSpPr>
                <a:spLocks/>
              </p:cNvSpPr>
              <p:nvPr/>
            </p:nvSpPr>
            <p:spPr bwMode="auto">
              <a:xfrm>
                <a:off x="8261350" y="4706938"/>
                <a:ext cx="20638" cy="23812"/>
              </a:xfrm>
              <a:custGeom>
                <a:avLst/>
                <a:gdLst>
                  <a:gd name="T0" fmla="*/ 16250 w 20000"/>
                  <a:gd name="T1" fmla="*/ 19459 h 20000"/>
                  <a:gd name="T2" fmla="*/ 0 w 20000"/>
                  <a:gd name="T3" fmla="*/ 14054 h 20000"/>
                  <a:gd name="T4" fmla="*/ 0 w 20000"/>
                  <a:gd name="T5" fmla="*/ 8649 h 20000"/>
                  <a:gd name="T6" fmla="*/ 9375 w 20000"/>
                  <a:gd name="T7" fmla="*/ 14054 h 20000"/>
                  <a:gd name="T8" fmla="*/ 6875 w 20000"/>
                  <a:gd name="T9" fmla="*/ 5405 h 20000"/>
                  <a:gd name="T10" fmla="*/ 9375 w 20000"/>
                  <a:gd name="T11" fmla="*/ 0 h 20000"/>
                  <a:gd name="T12" fmla="*/ 19375 w 20000"/>
                  <a:gd name="T13" fmla="*/ 0 h 20000"/>
                  <a:gd name="T14" fmla="*/ 16250 w 20000"/>
                  <a:gd name="T15" fmla="*/ 19459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6250" y="19459"/>
                    </a:moveTo>
                    <a:lnTo>
                      <a:pt x="0" y="14054"/>
                    </a:lnTo>
                    <a:lnTo>
                      <a:pt x="0" y="8649"/>
                    </a:lnTo>
                    <a:lnTo>
                      <a:pt x="9375" y="14054"/>
                    </a:lnTo>
                    <a:lnTo>
                      <a:pt x="6875" y="5405"/>
                    </a:lnTo>
                    <a:lnTo>
                      <a:pt x="9375" y="0"/>
                    </a:lnTo>
                    <a:lnTo>
                      <a:pt x="19375" y="0"/>
                    </a:lnTo>
                    <a:lnTo>
                      <a:pt x="16250" y="194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3" name="Freeform 196"/>
              <p:cNvSpPr>
                <a:spLocks/>
              </p:cNvSpPr>
              <p:nvPr/>
            </p:nvSpPr>
            <p:spPr bwMode="auto">
              <a:xfrm>
                <a:off x="8031163" y="4543425"/>
                <a:ext cx="23812" cy="17463"/>
              </a:xfrm>
              <a:custGeom>
                <a:avLst/>
                <a:gdLst>
                  <a:gd name="T0" fmla="*/ 0 w 20000"/>
                  <a:gd name="T1" fmla="*/ 19286 h 20000"/>
                  <a:gd name="T2" fmla="*/ 5263 w 20000"/>
                  <a:gd name="T3" fmla="*/ 0 h 20000"/>
                  <a:gd name="T4" fmla="*/ 19474 w 20000"/>
                  <a:gd name="T5" fmla="*/ 0 h 20000"/>
                  <a:gd name="T6" fmla="*/ 19474 w 20000"/>
                  <a:gd name="T7" fmla="*/ 19286 h 20000"/>
                  <a:gd name="T8" fmla="*/ 11053 w 20000"/>
                  <a:gd name="T9" fmla="*/ 11429 h 20000"/>
                  <a:gd name="T10" fmla="*/ 0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0" y="19286"/>
                    </a:moveTo>
                    <a:lnTo>
                      <a:pt x="5263" y="0"/>
                    </a:lnTo>
                    <a:lnTo>
                      <a:pt x="19474" y="0"/>
                    </a:lnTo>
                    <a:lnTo>
                      <a:pt x="19474" y="19286"/>
                    </a:lnTo>
                    <a:lnTo>
                      <a:pt x="11053" y="11429"/>
                    </a:lnTo>
                    <a:lnTo>
                      <a:pt x="0"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4" name="Freeform 195"/>
              <p:cNvSpPr>
                <a:spLocks/>
              </p:cNvSpPr>
              <p:nvPr/>
            </p:nvSpPr>
            <p:spPr bwMode="auto">
              <a:xfrm>
                <a:off x="7742238" y="4421188"/>
                <a:ext cx="20637" cy="33337"/>
              </a:xfrm>
              <a:custGeom>
                <a:avLst/>
                <a:gdLst>
                  <a:gd name="T0" fmla="*/ 13125 w 20000"/>
                  <a:gd name="T1" fmla="*/ 19615 h 20000"/>
                  <a:gd name="T2" fmla="*/ 0 w 20000"/>
                  <a:gd name="T3" fmla="*/ 1538 h 20000"/>
                  <a:gd name="T4" fmla="*/ 3750 w 20000"/>
                  <a:gd name="T5" fmla="*/ 0 h 20000"/>
                  <a:gd name="T6" fmla="*/ 19375 w 20000"/>
                  <a:gd name="T7" fmla="*/ 9615 h 20000"/>
                  <a:gd name="T8" fmla="*/ 13125 w 20000"/>
                  <a:gd name="T9" fmla="*/ 19615 h 20000"/>
                </a:gdLst>
                <a:ahLst/>
                <a:cxnLst>
                  <a:cxn ang="0">
                    <a:pos x="T0" y="T1"/>
                  </a:cxn>
                  <a:cxn ang="0">
                    <a:pos x="T2" y="T3"/>
                  </a:cxn>
                  <a:cxn ang="0">
                    <a:pos x="T4" y="T5"/>
                  </a:cxn>
                  <a:cxn ang="0">
                    <a:pos x="T6" y="T7"/>
                  </a:cxn>
                  <a:cxn ang="0">
                    <a:pos x="T8" y="T9"/>
                  </a:cxn>
                </a:cxnLst>
                <a:rect l="0" t="0" r="r" b="b"/>
                <a:pathLst>
                  <a:path w="20000" h="20000">
                    <a:moveTo>
                      <a:pt x="13125" y="19615"/>
                    </a:moveTo>
                    <a:lnTo>
                      <a:pt x="0" y="1538"/>
                    </a:lnTo>
                    <a:lnTo>
                      <a:pt x="3750" y="0"/>
                    </a:lnTo>
                    <a:lnTo>
                      <a:pt x="19375" y="9615"/>
                    </a:lnTo>
                    <a:lnTo>
                      <a:pt x="13125"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5" name="Freeform 194"/>
              <p:cNvSpPr>
                <a:spLocks/>
              </p:cNvSpPr>
              <p:nvPr/>
            </p:nvSpPr>
            <p:spPr bwMode="auto">
              <a:xfrm>
                <a:off x="7785100" y="4494213"/>
                <a:ext cx="12700" cy="23812"/>
              </a:xfrm>
              <a:custGeom>
                <a:avLst/>
                <a:gdLst>
                  <a:gd name="T0" fmla="*/ 14286 w 20000"/>
                  <a:gd name="T1" fmla="*/ 19459 h 20000"/>
                  <a:gd name="T2" fmla="*/ 0 w 20000"/>
                  <a:gd name="T3" fmla="*/ 5405 h 20000"/>
                  <a:gd name="T4" fmla="*/ 0 w 20000"/>
                  <a:gd name="T5" fmla="*/ 0 h 20000"/>
                  <a:gd name="T6" fmla="*/ 3810 w 20000"/>
                  <a:gd name="T7" fmla="*/ 0 h 20000"/>
                  <a:gd name="T8" fmla="*/ 19048 w 20000"/>
                  <a:gd name="T9" fmla="*/ 14054 h 20000"/>
                  <a:gd name="T10" fmla="*/ 14286 w 20000"/>
                  <a:gd name="T11" fmla="*/ 19459 h 20000"/>
                </a:gdLst>
                <a:ahLst/>
                <a:cxnLst>
                  <a:cxn ang="0">
                    <a:pos x="T0" y="T1"/>
                  </a:cxn>
                  <a:cxn ang="0">
                    <a:pos x="T2" y="T3"/>
                  </a:cxn>
                  <a:cxn ang="0">
                    <a:pos x="T4" y="T5"/>
                  </a:cxn>
                  <a:cxn ang="0">
                    <a:pos x="T6" y="T7"/>
                  </a:cxn>
                  <a:cxn ang="0">
                    <a:pos x="T8" y="T9"/>
                  </a:cxn>
                  <a:cxn ang="0">
                    <a:pos x="T10" y="T11"/>
                  </a:cxn>
                </a:cxnLst>
                <a:rect l="0" t="0" r="r" b="b"/>
                <a:pathLst>
                  <a:path w="20000" h="20000">
                    <a:moveTo>
                      <a:pt x="14286" y="19459"/>
                    </a:moveTo>
                    <a:lnTo>
                      <a:pt x="0" y="5405"/>
                    </a:lnTo>
                    <a:lnTo>
                      <a:pt x="0" y="0"/>
                    </a:lnTo>
                    <a:lnTo>
                      <a:pt x="3810" y="0"/>
                    </a:lnTo>
                    <a:lnTo>
                      <a:pt x="19048" y="14054"/>
                    </a:lnTo>
                    <a:lnTo>
                      <a:pt x="14286" y="194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6" name="Freeform 193"/>
              <p:cNvSpPr>
                <a:spLocks/>
              </p:cNvSpPr>
              <p:nvPr/>
            </p:nvSpPr>
            <p:spPr bwMode="auto">
              <a:xfrm>
                <a:off x="8693150" y="4673600"/>
                <a:ext cx="20638" cy="30163"/>
              </a:xfrm>
              <a:custGeom>
                <a:avLst/>
                <a:gdLst>
                  <a:gd name="T0" fmla="*/ 6250 w 20000"/>
                  <a:gd name="T1" fmla="*/ 19583 h 20000"/>
                  <a:gd name="T2" fmla="*/ 0 w 20000"/>
                  <a:gd name="T3" fmla="*/ 15417 h 20000"/>
                  <a:gd name="T4" fmla="*/ 15625 w 20000"/>
                  <a:gd name="T5" fmla="*/ 0 h 20000"/>
                  <a:gd name="T6" fmla="*/ 19375 w 20000"/>
                  <a:gd name="T7" fmla="*/ 8750 h 20000"/>
                  <a:gd name="T8" fmla="*/ 6250 w 20000"/>
                  <a:gd name="T9" fmla="*/ 19583 h 20000"/>
                </a:gdLst>
                <a:ahLst/>
                <a:cxnLst>
                  <a:cxn ang="0">
                    <a:pos x="T0" y="T1"/>
                  </a:cxn>
                  <a:cxn ang="0">
                    <a:pos x="T2" y="T3"/>
                  </a:cxn>
                  <a:cxn ang="0">
                    <a:pos x="T4" y="T5"/>
                  </a:cxn>
                  <a:cxn ang="0">
                    <a:pos x="T6" y="T7"/>
                  </a:cxn>
                  <a:cxn ang="0">
                    <a:pos x="T8" y="T9"/>
                  </a:cxn>
                </a:cxnLst>
                <a:rect l="0" t="0" r="r" b="b"/>
                <a:pathLst>
                  <a:path w="20000" h="20000">
                    <a:moveTo>
                      <a:pt x="6250" y="19583"/>
                    </a:moveTo>
                    <a:lnTo>
                      <a:pt x="0" y="15417"/>
                    </a:lnTo>
                    <a:lnTo>
                      <a:pt x="15625" y="0"/>
                    </a:lnTo>
                    <a:lnTo>
                      <a:pt x="19375" y="8750"/>
                    </a:lnTo>
                    <a:lnTo>
                      <a:pt x="6250" y="1958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7" name="Freeform 192"/>
              <p:cNvSpPr>
                <a:spLocks/>
              </p:cNvSpPr>
              <p:nvPr/>
            </p:nvSpPr>
            <p:spPr bwMode="auto">
              <a:xfrm>
                <a:off x="7699375" y="4378325"/>
                <a:ext cx="20638" cy="20638"/>
              </a:xfrm>
              <a:custGeom>
                <a:avLst/>
                <a:gdLst>
                  <a:gd name="T0" fmla="*/ 19375 w 20000"/>
                  <a:gd name="T1" fmla="*/ 19375 h 20000"/>
                  <a:gd name="T2" fmla="*/ 0 w 20000"/>
                  <a:gd name="T3" fmla="*/ 6875 h 20000"/>
                  <a:gd name="T4" fmla="*/ 0 w 20000"/>
                  <a:gd name="T5" fmla="*/ 0 h 20000"/>
                  <a:gd name="T6" fmla="*/ 19375 w 20000"/>
                  <a:gd name="T7" fmla="*/ 16250 h 20000"/>
                  <a:gd name="T8" fmla="*/ 19375 w 20000"/>
                  <a:gd name="T9" fmla="*/ 19375 h 20000"/>
                </a:gdLst>
                <a:ahLst/>
                <a:cxnLst>
                  <a:cxn ang="0">
                    <a:pos x="T0" y="T1"/>
                  </a:cxn>
                  <a:cxn ang="0">
                    <a:pos x="T2" y="T3"/>
                  </a:cxn>
                  <a:cxn ang="0">
                    <a:pos x="T4" y="T5"/>
                  </a:cxn>
                  <a:cxn ang="0">
                    <a:pos x="T6" y="T7"/>
                  </a:cxn>
                  <a:cxn ang="0">
                    <a:pos x="T8" y="T9"/>
                  </a:cxn>
                </a:cxnLst>
                <a:rect l="0" t="0" r="r" b="b"/>
                <a:pathLst>
                  <a:path w="20000" h="20000">
                    <a:moveTo>
                      <a:pt x="19375" y="19375"/>
                    </a:moveTo>
                    <a:lnTo>
                      <a:pt x="0" y="6875"/>
                    </a:lnTo>
                    <a:lnTo>
                      <a:pt x="0" y="0"/>
                    </a:lnTo>
                    <a:lnTo>
                      <a:pt x="19375" y="16250"/>
                    </a:lnTo>
                    <a:lnTo>
                      <a:pt x="19375"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8" name="Freeform 191"/>
              <p:cNvSpPr>
                <a:spLocks/>
              </p:cNvSpPr>
              <p:nvPr/>
            </p:nvSpPr>
            <p:spPr bwMode="auto">
              <a:xfrm>
                <a:off x="8045450" y="4346575"/>
                <a:ext cx="17463" cy="17463"/>
              </a:xfrm>
              <a:custGeom>
                <a:avLst/>
                <a:gdLst>
                  <a:gd name="T0" fmla="*/ 3704 w 20000"/>
                  <a:gd name="T1" fmla="*/ 19259 h 20000"/>
                  <a:gd name="T2" fmla="*/ 0 w 20000"/>
                  <a:gd name="T3" fmla="*/ 7407 h 20000"/>
                  <a:gd name="T4" fmla="*/ 3704 w 20000"/>
                  <a:gd name="T5" fmla="*/ 0 h 20000"/>
                  <a:gd name="T6" fmla="*/ 11852 w 20000"/>
                  <a:gd name="T7" fmla="*/ 7407 h 20000"/>
                  <a:gd name="T8" fmla="*/ 19259 w 20000"/>
                  <a:gd name="T9" fmla="*/ 19259 h 20000"/>
                  <a:gd name="T10" fmla="*/ 3704 w 20000"/>
                  <a:gd name="T11" fmla="*/ 19259 h 20000"/>
                </a:gdLst>
                <a:ahLst/>
                <a:cxnLst>
                  <a:cxn ang="0">
                    <a:pos x="T0" y="T1"/>
                  </a:cxn>
                  <a:cxn ang="0">
                    <a:pos x="T2" y="T3"/>
                  </a:cxn>
                  <a:cxn ang="0">
                    <a:pos x="T4" y="T5"/>
                  </a:cxn>
                  <a:cxn ang="0">
                    <a:pos x="T6" y="T7"/>
                  </a:cxn>
                  <a:cxn ang="0">
                    <a:pos x="T8" y="T9"/>
                  </a:cxn>
                  <a:cxn ang="0">
                    <a:pos x="T10" y="T11"/>
                  </a:cxn>
                </a:cxnLst>
                <a:rect l="0" t="0" r="r" b="b"/>
                <a:pathLst>
                  <a:path w="20000" h="20000">
                    <a:moveTo>
                      <a:pt x="3704" y="19259"/>
                    </a:moveTo>
                    <a:lnTo>
                      <a:pt x="0" y="7407"/>
                    </a:lnTo>
                    <a:lnTo>
                      <a:pt x="3704" y="0"/>
                    </a:lnTo>
                    <a:lnTo>
                      <a:pt x="11852" y="7407"/>
                    </a:lnTo>
                    <a:lnTo>
                      <a:pt x="19259" y="19259"/>
                    </a:lnTo>
                    <a:lnTo>
                      <a:pt x="3704"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49" name="Freeform 190"/>
              <p:cNvSpPr>
                <a:spLocks/>
              </p:cNvSpPr>
              <p:nvPr/>
            </p:nvSpPr>
            <p:spPr bwMode="auto">
              <a:xfrm>
                <a:off x="7916863" y="4424363"/>
                <a:ext cx="9525" cy="7937"/>
              </a:xfrm>
              <a:custGeom>
                <a:avLst/>
                <a:gdLst>
                  <a:gd name="T0" fmla="*/ 0 w 20000"/>
                  <a:gd name="T1" fmla="*/ 0 h 20000"/>
                  <a:gd name="T2" fmla="*/ 12500 w 20000"/>
                  <a:gd name="T3" fmla="*/ 18333 h 20000"/>
                  <a:gd name="T4" fmla="*/ 18750 w 20000"/>
                  <a:gd name="T5" fmla="*/ 0 h 20000"/>
                  <a:gd name="T6" fmla="*/ 12500 w 20000"/>
                  <a:gd name="T7" fmla="*/ 18333 h 20000"/>
                  <a:gd name="T8" fmla="*/ 0 w 20000"/>
                  <a:gd name="T9" fmla="*/ 0 h 20000"/>
                </a:gdLst>
                <a:ahLst/>
                <a:cxnLst>
                  <a:cxn ang="0">
                    <a:pos x="T0" y="T1"/>
                  </a:cxn>
                  <a:cxn ang="0">
                    <a:pos x="T2" y="T3"/>
                  </a:cxn>
                  <a:cxn ang="0">
                    <a:pos x="T4" y="T5"/>
                  </a:cxn>
                  <a:cxn ang="0">
                    <a:pos x="T6" y="T7"/>
                  </a:cxn>
                  <a:cxn ang="0">
                    <a:pos x="T8" y="T9"/>
                  </a:cxn>
                </a:cxnLst>
                <a:rect l="0" t="0" r="r" b="b"/>
                <a:pathLst>
                  <a:path w="20000" h="20000">
                    <a:moveTo>
                      <a:pt x="0" y="0"/>
                    </a:moveTo>
                    <a:lnTo>
                      <a:pt x="12500" y="18333"/>
                    </a:lnTo>
                    <a:lnTo>
                      <a:pt x="18750" y="0"/>
                    </a:lnTo>
                    <a:lnTo>
                      <a:pt x="12500" y="18333"/>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0" name="Freeform 189"/>
              <p:cNvSpPr>
                <a:spLocks/>
              </p:cNvSpPr>
              <p:nvPr/>
            </p:nvSpPr>
            <p:spPr bwMode="auto">
              <a:xfrm>
                <a:off x="6051550" y="3333750"/>
                <a:ext cx="269875" cy="263525"/>
              </a:xfrm>
              <a:custGeom>
                <a:avLst/>
                <a:gdLst>
                  <a:gd name="T0" fmla="*/ 6338 w 20000"/>
                  <a:gd name="T1" fmla="*/ 769 h 20000"/>
                  <a:gd name="T2" fmla="*/ 7324 w 20000"/>
                  <a:gd name="T3" fmla="*/ 0 h 20000"/>
                  <a:gd name="T4" fmla="*/ 8545 w 20000"/>
                  <a:gd name="T5" fmla="*/ 288 h 20000"/>
                  <a:gd name="T6" fmla="*/ 10469 w 20000"/>
                  <a:gd name="T7" fmla="*/ 769 h 20000"/>
                  <a:gd name="T8" fmla="*/ 11455 w 20000"/>
                  <a:gd name="T9" fmla="*/ 769 h 20000"/>
                  <a:gd name="T10" fmla="*/ 11690 w 20000"/>
                  <a:gd name="T11" fmla="*/ 1490 h 20000"/>
                  <a:gd name="T12" fmla="*/ 12207 w 20000"/>
                  <a:gd name="T13" fmla="*/ 2260 h 20000"/>
                  <a:gd name="T14" fmla="*/ 12911 w 20000"/>
                  <a:gd name="T15" fmla="*/ 3462 h 20000"/>
                  <a:gd name="T16" fmla="*/ 13662 w 20000"/>
                  <a:gd name="T17" fmla="*/ 3462 h 20000"/>
                  <a:gd name="T18" fmla="*/ 14601 w 20000"/>
                  <a:gd name="T19" fmla="*/ 3462 h 20000"/>
                  <a:gd name="T20" fmla="*/ 14883 w 20000"/>
                  <a:gd name="T21" fmla="*/ 3990 h 20000"/>
                  <a:gd name="T22" fmla="*/ 14131 w 20000"/>
                  <a:gd name="T23" fmla="*/ 4231 h 20000"/>
                  <a:gd name="T24" fmla="*/ 14601 w 20000"/>
                  <a:gd name="T25" fmla="*/ 5481 h 20000"/>
                  <a:gd name="T26" fmla="*/ 13662 w 20000"/>
                  <a:gd name="T27" fmla="*/ 6010 h 20000"/>
                  <a:gd name="T28" fmla="*/ 13662 w 20000"/>
                  <a:gd name="T29" fmla="*/ 6779 h 20000"/>
                  <a:gd name="T30" fmla="*/ 13380 w 20000"/>
                  <a:gd name="T31" fmla="*/ 7260 h 20000"/>
                  <a:gd name="T32" fmla="*/ 13380 w 20000"/>
                  <a:gd name="T33" fmla="*/ 8462 h 20000"/>
                  <a:gd name="T34" fmla="*/ 14601 w 20000"/>
                  <a:gd name="T35" fmla="*/ 9471 h 20000"/>
                  <a:gd name="T36" fmla="*/ 14883 w 20000"/>
                  <a:gd name="T37" fmla="*/ 10433 h 20000"/>
                  <a:gd name="T38" fmla="*/ 16526 w 20000"/>
                  <a:gd name="T39" fmla="*/ 11490 h 20000"/>
                  <a:gd name="T40" fmla="*/ 17559 w 20000"/>
                  <a:gd name="T41" fmla="*/ 11971 h 20000"/>
                  <a:gd name="T42" fmla="*/ 18498 w 20000"/>
                  <a:gd name="T43" fmla="*/ 13750 h 20000"/>
                  <a:gd name="T44" fmla="*/ 18498 w 20000"/>
                  <a:gd name="T45" fmla="*/ 13942 h 20000"/>
                  <a:gd name="T46" fmla="*/ 18498 w 20000"/>
                  <a:gd name="T47" fmla="*/ 15192 h 20000"/>
                  <a:gd name="T48" fmla="*/ 19202 w 20000"/>
                  <a:gd name="T49" fmla="*/ 15721 h 20000"/>
                  <a:gd name="T50" fmla="*/ 19202 w 20000"/>
                  <a:gd name="T51" fmla="*/ 16683 h 20000"/>
                  <a:gd name="T52" fmla="*/ 19953 w 20000"/>
                  <a:gd name="T53" fmla="*/ 17933 h 20000"/>
                  <a:gd name="T54" fmla="*/ 19718 w 20000"/>
                  <a:gd name="T55" fmla="*/ 17933 h 20000"/>
                  <a:gd name="T56" fmla="*/ 18732 w 20000"/>
                  <a:gd name="T57" fmla="*/ 17933 h 20000"/>
                  <a:gd name="T58" fmla="*/ 17559 w 20000"/>
                  <a:gd name="T59" fmla="*/ 17933 h 20000"/>
                  <a:gd name="T60" fmla="*/ 17277 w 20000"/>
                  <a:gd name="T61" fmla="*/ 19183 h 20000"/>
                  <a:gd name="T62" fmla="*/ 16808 w 20000"/>
                  <a:gd name="T63" fmla="*/ 19952 h 20000"/>
                  <a:gd name="T64" fmla="*/ 12911 w 20000"/>
                  <a:gd name="T65" fmla="*/ 19952 h 20000"/>
                  <a:gd name="T66" fmla="*/ 10469 w 20000"/>
                  <a:gd name="T67" fmla="*/ 18942 h 20000"/>
                  <a:gd name="T68" fmla="*/ 10469 w 20000"/>
                  <a:gd name="T69" fmla="*/ 17163 h 20000"/>
                  <a:gd name="T70" fmla="*/ 9249 w 20000"/>
                  <a:gd name="T71" fmla="*/ 16683 h 20000"/>
                  <a:gd name="T72" fmla="*/ 9014 w 20000"/>
                  <a:gd name="T73" fmla="*/ 16442 h 20000"/>
                  <a:gd name="T74" fmla="*/ 7324 w 20000"/>
                  <a:gd name="T75" fmla="*/ 15721 h 20000"/>
                  <a:gd name="T76" fmla="*/ 3192 w 20000"/>
                  <a:gd name="T77" fmla="*/ 13173 h 20000"/>
                  <a:gd name="T78" fmla="*/ 1268 w 20000"/>
                  <a:gd name="T79" fmla="*/ 12692 h 20000"/>
                  <a:gd name="T80" fmla="*/ 0 w 20000"/>
                  <a:gd name="T81" fmla="*/ 9952 h 20000"/>
                  <a:gd name="T82" fmla="*/ 2723 w 20000"/>
                  <a:gd name="T83" fmla="*/ 8462 h 20000"/>
                  <a:gd name="T84" fmla="*/ 4131 w 20000"/>
                  <a:gd name="T85" fmla="*/ 7260 h 20000"/>
                  <a:gd name="T86" fmla="*/ 4648 w 20000"/>
                  <a:gd name="T87" fmla="*/ 6010 h 20000"/>
                  <a:gd name="T88" fmla="*/ 4648 w 20000"/>
                  <a:gd name="T89" fmla="*/ 4231 h 20000"/>
                  <a:gd name="T90" fmla="*/ 4648 w 20000"/>
                  <a:gd name="T91" fmla="*/ 3269 h 20000"/>
                  <a:gd name="T92" fmla="*/ 4648 w 20000"/>
                  <a:gd name="T93" fmla="*/ 2260 h 20000"/>
                  <a:gd name="T94" fmla="*/ 5869 w 20000"/>
                  <a:gd name="T95" fmla="*/ 1490 h 20000"/>
                  <a:gd name="T96" fmla="*/ 6338 w 20000"/>
                  <a:gd name="T97" fmla="*/ 7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6338" y="769"/>
                    </a:moveTo>
                    <a:lnTo>
                      <a:pt x="7324" y="0"/>
                    </a:lnTo>
                    <a:lnTo>
                      <a:pt x="8545" y="288"/>
                    </a:lnTo>
                    <a:lnTo>
                      <a:pt x="10469" y="769"/>
                    </a:lnTo>
                    <a:lnTo>
                      <a:pt x="11455" y="769"/>
                    </a:lnTo>
                    <a:lnTo>
                      <a:pt x="11690" y="1490"/>
                    </a:lnTo>
                    <a:lnTo>
                      <a:pt x="12207" y="2260"/>
                    </a:lnTo>
                    <a:lnTo>
                      <a:pt x="12911" y="3462"/>
                    </a:lnTo>
                    <a:lnTo>
                      <a:pt x="13662" y="3462"/>
                    </a:lnTo>
                    <a:lnTo>
                      <a:pt x="14601" y="3462"/>
                    </a:lnTo>
                    <a:lnTo>
                      <a:pt x="14883" y="3990"/>
                    </a:lnTo>
                    <a:lnTo>
                      <a:pt x="14131" y="4231"/>
                    </a:lnTo>
                    <a:lnTo>
                      <a:pt x="14601" y="5481"/>
                    </a:lnTo>
                    <a:lnTo>
                      <a:pt x="13662" y="6010"/>
                    </a:lnTo>
                    <a:lnTo>
                      <a:pt x="13662" y="6779"/>
                    </a:lnTo>
                    <a:lnTo>
                      <a:pt x="13380" y="7260"/>
                    </a:lnTo>
                    <a:lnTo>
                      <a:pt x="13380" y="8462"/>
                    </a:lnTo>
                    <a:lnTo>
                      <a:pt x="14601" y="9471"/>
                    </a:lnTo>
                    <a:lnTo>
                      <a:pt x="14883" y="10433"/>
                    </a:lnTo>
                    <a:lnTo>
                      <a:pt x="16526" y="11490"/>
                    </a:lnTo>
                    <a:lnTo>
                      <a:pt x="17559" y="11971"/>
                    </a:lnTo>
                    <a:lnTo>
                      <a:pt x="18498" y="13750"/>
                    </a:lnTo>
                    <a:lnTo>
                      <a:pt x="18498" y="13942"/>
                    </a:lnTo>
                    <a:lnTo>
                      <a:pt x="18498" y="15192"/>
                    </a:lnTo>
                    <a:lnTo>
                      <a:pt x="19202" y="15721"/>
                    </a:lnTo>
                    <a:lnTo>
                      <a:pt x="19202" y="16683"/>
                    </a:lnTo>
                    <a:lnTo>
                      <a:pt x="19953" y="17933"/>
                    </a:lnTo>
                    <a:lnTo>
                      <a:pt x="19718" y="17933"/>
                    </a:lnTo>
                    <a:lnTo>
                      <a:pt x="18732" y="17933"/>
                    </a:lnTo>
                    <a:lnTo>
                      <a:pt x="17559" y="17933"/>
                    </a:lnTo>
                    <a:lnTo>
                      <a:pt x="17277" y="19183"/>
                    </a:lnTo>
                    <a:lnTo>
                      <a:pt x="16808" y="19952"/>
                    </a:lnTo>
                    <a:lnTo>
                      <a:pt x="12911" y="19952"/>
                    </a:lnTo>
                    <a:lnTo>
                      <a:pt x="10469" y="18942"/>
                    </a:lnTo>
                    <a:lnTo>
                      <a:pt x="10469" y="17163"/>
                    </a:lnTo>
                    <a:lnTo>
                      <a:pt x="9249" y="16683"/>
                    </a:lnTo>
                    <a:lnTo>
                      <a:pt x="9014" y="16442"/>
                    </a:lnTo>
                    <a:lnTo>
                      <a:pt x="7324" y="15721"/>
                    </a:lnTo>
                    <a:lnTo>
                      <a:pt x="3192" y="13173"/>
                    </a:lnTo>
                    <a:lnTo>
                      <a:pt x="1268" y="12692"/>
                    </a:lnTo>
                    <a:lnTo>
                      <a:pt x="0" y="9952"/>
                    </a:lnTo>
                    <a:lnTo>
                      <a:pt x="2723" y="8462"/>
                    </a:lnTo>
                    <a:lnTo>
                      <a:pt x="4131" y="7260"/>
                    </a:lnTo>
                    <a:lnTo>
                      <a:pt x="4648" y="6010"/>
                    </a:lnTo>
                    <a:lnTo>
                      <a:pt x="4648" y="4231"/>
                    </a:lnTo>
                    <a:lnTo>
                      <a:pt x="4648" y="3269"/>
                    </a:lnTo>
                    <a:lnTo>
                      <a:pt x="4648" y="2260"/>
                    </a:lnTo>
                    <a:lnTo>
                      <a:pt x="5869" y="1490"/>
                    </a:lnTo>
                    <a:lnTo>
                      <a:pt x="6338" y="7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1" name="Freeform 188"/>
              <p:cNvSpPr>
                <a:spLocks/>
              </p:cNvSpPr>
              <p:nvPr/>
            </p:nvSpPr>
            <p:spPr bwMode="auto">
              <a:xfrm>
                <a:off x="6176963" y="3251200"/>
                <a:ext cx="569912" cy="469900"/>
              </a:xfrm>
              <a:custGeom>
                <a:avLst/>
                <a:gdLst>
                  <a:gd name="T0" fmla="*/ 4504 w 20000"/>
                  <a:gd name="T1" fmla="*/ 1808 h 20000"/>
                  <a:gd name="T2" fmla="*/ 5061 w 20000"/>
                  <a:gd name="T3" fmla="*/ 3212 h 20000"/>
                  <a:gd name="T4" fmla="*/ 6800 w 20000"/>
                  <a:gd name="T5" fmla="*/ 4049 h 20000"/>
                  <a:gd name="T6" fmla="*/ 9342 w 20000"/>
                  <a:gd name="T7" fmla="*/ 3914 h 20000"/>
                  <a:gd name="T8" fmla="*/ 9253 w 20000"/>
                  <a:gd name="T9" fmla="*/ 4049 h 20000"/>
                  <a:gd name="T10" fmla="*/ 9810 w 20000"/>
                  <a:gd name="T11" fmla="*/ 4049 h 20000"/>
                  <a:gd name="T12" fmla="*/ 10502 w 20000"/>
                  <a:gd name="T13" fmla="*/ 3212 h 20000"/>
                  <a:gd name="T14" fmla="*/ 11773 w 20000"/>
                  <a:gd name="T15" fmla="*/ 2105 h 20000"/>
                  <a:gd name="T16" fmla="*/ 12910 w 20000"/>
                  <a:gd name="T17" fmla="*/ 2375 h 20000"/>
                  <a:gd name="T18" fmla="*/ 16611 w 20000"/>
                  <a:gd name="T19" fmla="*/ 4049 h 20000"/>
                  <a:gd name="T20" fmla="*/ 16834 w 20000"/>
                  <a:gd name="T21" fmla="*/ 6424 h 20000"/>
                  <a:gd name="T22" fmla="*/ 16834 w 20000"/>
                  <a:gd name="T23" fmla="*/ 7557 h 20000"/>
                  <a:gd name="T24" fmla="*/ 16611 w 20000"/>
                  <a:gd name="T25" fmla="*/ 8394 h 20000"/>
                  <a:gd name="T26" fmla="*/ 16611 w 20000"/>
                  <a:gd name="T27" fmla="*/ 9096 h 20000"/>
                  <a:gd name="T28" fmla="*/ 17101 w 20000"/>
                  <a:gd name="T29" fmla="*/ 11309 h 20000"/>
                  <a:gd name="T30" fmla="*/ 18105 w 20000"/>
                  <a:gd name="T31" fmla="*/ 12308 h 20000"/>
                  <a:gd name="T32" fmla="*/ 17547 w 20000"/>
                  <a:gd name="T33" fmla="*/ 13846 h 20000"/>
                  <a:gd name="T34" fmla="*/ 18930 w 20000"/>
                  <a:gd name="T35" fmla="*/ 15358 h 20000"/>
                  <a:gd name="T36" fmla="*/ 19621 w 20000"/>
                  <a:gd name="T37" fmla="*/ 17031 h 20000"/>
                  <a:gd name="T38" fmla="*/ 19978 w 20000"/>
                  <a:gd name="T39" fmla="*/ 17598 h 20000"/>
                  <a:gd name="T40" fmla="*/ 19844 w 20000"/>
                  <a:gd name="T41" fmla="*/ 17868 h 20000"/>
                  <a:gd name="T42" fmla="*/ 19041 w 20000"/>
                  <a:gd name="T43" fmla="*/ 18273 h 20000"/>
                  <a:gd name="T44" fmla="*/ 18462 w 20000"/>
                  <a:gd name="T45" fmla="*/ 19271 h 20000"/>
                  <a:gd name="T46" fmla="*/ 18016 w 20000"/>
                  <a:gd name="T47" fmla="*/ 19703 h 20000"/>
                  <a:gd name="T48" fmla="*/ 16054 w 20000"/>
                  <a:gd name="T49" fmla="*/ 19406 h 20000"/>
                  <a:gd name="T50" fmla="*/ 14091 w 20000"/>
                  <a:gd name="T51" fmla="*/ 18974 h 20000"/>
                  <a:gd name="T52" fmla="*/ 13177 w 20000"/>
                  <a:gd name="T53" fmla="*/ 17166 h 20000"/>
                  <a:gd name="T54" fmla="*/ 12219 w 20000"/>
                  <a:gd name="T55" fmla="*/ 17598 h 20000"/>
                  <a:gd name="T56" fmla="*/ 11438 w 20000"/>
                  <a:gd name="T57" fmla="*/ 18165 h 20000"/>
                  <a:gd name="T58" fmla="*/ 9922 w 20000"/>
                  <a:gd name="T59" fmla="*/ 17436 h 20000"/>
                  <a:gd name="T60" fmla="*/ 8986 w 20000"/>
                  <a:gd name="T61" fmla="*/ 16491 h 20000"/>
                  <a:gd name="T62" fmla="*/ 7737 w 20000"/>
                  <a:gd name="T63" fmla="*/ 15223 h 20000"/>
                  <a:gd name="T64" fmla="*/ 7157 w 20000"/>
                  <a:gd name="T65" fmla="*/ 14521 h 20000"/>
                  <a:gd name="T66" fmla="*/ 6577 w 20000"/>
                  <a:gd name="T67" fmla="*/ 13117 h 20000"/>
                  <a:gd name="T68" fmla="*/ 5663 w 20000"/>
                  <a:gd name="T69" fmla="*/ 13117 h 20000"/>
                  <a:gd name="T70" fmla="*/ 5418 w 20000"/>
                  <a:gd name="T71" fmla="*/ 12848 h 20000"/>
                  <a:gd name="T72" fmla="*/ 5061 w 20000"/>
                  <a:gd name="T73" fmla="*/ 13522 h 20000"/>
                  <a:gd name="T74" fmla="*/ 4727 w 20000"/>
                  <a:gd name="T75" fmla="*/ 12308 h 20000"/>
                  <a:gd name="T76" fmla="*/ 4370 w 20000"/>
                  <a:gd name="T77" fmla="*/ 11309 h 20000"/>
                  <a:gd name="T78" fmla="*/ 3924 w 20000"/>
                  <a:gd name="T79" fmla="*/ 10202 h 20000"/>
                  <a:gd name="T80" fmla="*/ 2653 w 20000"/>
                  <a:gd name="T81" fmla="*/ 9366 h 20000"/>
                  <a:gd name="T82" fmla="*/ 1962 w 20000"/>
                  <a:gd name="T83" fmla="*/ 8232 h 20000"/>
                  <a:gd name="T84" fmla="*/ 2096 w 20000"/>
                  <a:gd name="T85" fmla="*/ 7287 h 20000"/>
                  <a:gd name="T86" fmla="*/ 2542 w 20000"/>
                  <a:gd name="T87" fmla="*/ 6559 h 20000"/>
                  <a:gd name="T88" fmla="*/ 2653 w 20000"/>
                  <a:gd name="T89" fmla="*/ 5722 h 20000"/>
                  <a:gd name="T90" fmla="*/ 2096 w 20000"/>
                  <a:gd name="T91" fmla="*/ 5452 h 20000"/>
                  <a:gd name="T92" fmla="*/ 1382 w 20000"/>
                  <a:gd name="T93" fmla="*/ 4750 h 20000"/>
                  <a:gd name="T94" fmla="*/ 1048 w 20000"/>
                  <a:gd name="T95" fmla="*/ 3914 h 20000"/>
                  <a:gd name="T96" fmla="*/ 580 w 20000"/>
                  <a:gd name="T97" fmla="*/ 2537 h 20000"/>
                  <a:gd name="T98" fmla="*/ 468 w 20000"/>
                  <a:gd name="T99" fmla="*/ 1673 h 20000"/>
                  <a:gd name="T100" fmla="*/ 468 w 20000"/>
                  <a:gd name="T101" fmla="*/ 0 h 20000"/>
                  <a:gd name="T102" fmla="*/ 2542 w 20000"/>
                  <a:gd name="T103" fmla="*/ 14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00" h="20000">
                    <a:moveTo>
                      <a:pt x="3233" y="1107"/>
                    </a:moveTo>
                    <a:lnTo>
                      <a:pt x="4504" y="1808"/>
                    </a:lnTo>
                    <a:lnTo>
                      <a:pt x="4370" y="2105"/>
                    </a:lnTo>
                    <a:lnTo>
                      <a:pt x="5061" y="3212"/>
                    </a:lnTo>
                    <a:lnTo>
                      <a:pt x="5886" y="3482"/>
                    </a:lnTo>
                    <a:lnTo>
                      <a:pt x="6800" y="4049"/>
                    </a:lnTo>
                    <a:lnTo>
                      <a:pt x="8294" y="4318"/>
                    </a:lnTo>
                    <a:lnTo>
                      <a:pt x="9342" y="3914"/>
                    </a:lnTo>
                    <a:lnTo>
                      <a:pt x="9588" y="3914"/>
                    </a:lnTo>
                    <a:lnTo>
                      <a:pt x="9253" y="4049"/>
                    </a:lnTo>
                    <a:lnTo>
                      <a:pt x="9253" y="4318"/>
                    </a:lnTo>
                    <a:lnTo>
                      <a:pt x="9810" y="4049"/>
                    </a:lnTo>
                    <a:lnTo>
                      <a:pt x="9588" y="3482"/>
                    </a:lnTo>
                    <a:lnTo>
                      <a:pt x="10502" y="3212"/>
                    </a:lnTo>
                    <a:lnTo>
                      <a:pt x="11081" y="2105"/>
                    </a:lnTo>
                    <a:lnTo>
                      <a:pt x="11773" y="2105"/>
                    </a:lnTo>
                    <a:lnTo>
                      <a:pt x="12687" y="1808"/>
                    </a:lnTo>
                    <a:lnTo>
                      <a:pt x="12910" y="2375"/>
                    </a:lnTo>
                    <a:lnTo>
                      <a:pt x="14181" y="2807"/>
                    </a:lnTo>
                    <a:lnTo>
                      <a:pt x="16611" y="4049"/>
                    </a:lnTo>
                    <a:lnTo>
                      <a:pt x="16834" y="5452"/>
                    </a:lnTo>
                    <a:lnTo>
                      <a:pt x="16834" y="6424"/>
                    </a:lnTo>
                    <a:lnTo>
                      <a:pt x="16611" y="7287"/>
                    </a:lnTo>
                    <a:lnTo>
                      <a:pt x="16834" y="7557"/>
                    </a:lnTo>
                    <a:lnTo>
                      <a:pt x="16499" y="7665"/>
                    </a:lnTo>
                    <a:lnTo>
                      <a:pt x="16611" y="8394"/>
                    </a:lnTo>
                    <a:lnTo>
                      <a:pt x="16834" y="8664"/>
                    </a:lnTo>
                    <a:lnTo>
                      <a:pt x="16611" y="9096"/>
                    </a:lnTo>
                    <a:lnTo>
                      <a:pt x="17101" y="10202"/>
                    </a:lnTo>
                    <a:lnTo>
                      <a:pt x="17101" y="11309"/>
                    </a:lnTo>
                    <a:lnTo>
                      <a:pt x="18016" y="11579"/>
                    </a:lnTo>
                    <a:lnTo>
                      <a:pt x="18105" y="12308"/>
                    </a:lnTo>
                    <a:lnTo>
                      <a:pt x="17770" y="12848"/>
                    </a:lnTo>
                    <a:lnTo>
                      <a:pt x="17547" y="13846"/>
                    </a:lnTo>
                    <a:lnTo>
                      <a:pt x="18350" y="15223"/>
                    </a:lnTo>
                    <a:lnTo>
                      <a:pt x="18930" y="15358"/>
                    </a:lnTo>
                    <a:lnTo>
                      <a:pt x="19509" y="16059"/>
                    </a:lnTo>
                    <a:lnTo>
                      <a:pt x="19621" y="17031"/>
                    </a:lnTo>
                    <a:lnTo>
                      <a:pt x="19978" y="17031"/>
                    </a:lnTo>
                    <a:lnTo>
                      <a:pt x="19978" y="17598"/>
                    </a:lnTo>
                    <a:lnTo>
                      <a:pt x="19844" y="17598"/>
                    </a:lnTo>
                    <a:lnTo>
                      <a:pt x="19844" y="17868"/>
                    </a:lnTo>
                    <a:lnTo>
                      <a:pt x="19509" y="17868"/>
                    </a:lnTo>
                    <a:lnTo>
                      <a:pt x="19041" y="18273"/>
                    </a:lnTo>
                    <a:lnTo>
                      <a:pt x="18707" y="18273"/>
                    </a:lnTo>
                    <a:lnTo>
                      <a:pt x="18462" y="19271"/>
                    </a:lnTo>
                    <a:lnTo>
                      <a:pt x="18462" y="19973"/>
                    </a:lnTo>
                    <a:lnTo>
                      <a:pt x="18016" y="19703"/>
                    </a:lnTo>
                    <a:lnTo>
                      <a:pt x="17101" y="19406"/>
                    </a:lnTo>
                    <a:lnTo>
                      <a:pt x="16054" y="19406"/>
                    </a:lnTo>
                    <a:lnTo>
                      <a:pt x="15139" y="19271"/>
                    </a:lnTo>
                    <a:lnTo>
                      <a:pt x="14091" y="18974"/>
                    </a:lnTo>
                    <a:lnTo>
                      <a:pt x="13623" y="17868"/>
                    </a:lnTo>
                    <a:lnTo>
                      <a:pt x="13177" y="17166"/>
                    </a:lnTo>
                    <a:lnTo>
                      <a:pt x="12575" y="17436"/>
                    </a:lnTo>
                    <a:lnTo>
                      <a:pt x="12219" y="17598"/>
                    </a:lnTo>
                    <a:lnTo>
                      <a:pt x="11773" y="17868"/>
                    </a:lnTo>
                    <a:lnTo>
                      <a:pt x="11438" y="18165"/>
                    </a:lnTo>
                    <a:lnTo>
                      <a:pt x="10725" y="17868"/>
                    </a:lnTo>
                    <a:lnTo>
                      <a:pt x="9922" y="17436"/>
                    </a:lnTo>
                    <a:lnTo>
                      <a:pt x="9342" y="17031"/>
                    </a:lnTo>
                    <a:lnTo>
                      <a:pt x="8986" y="16491"/>
                    </a:lnTo>
                    <a:lnTo>
                      <a:pt x="8294" y="16329"/>
                    </a:lnTo>
                    <a:lnTo>
                      <a:pt x="7737" y="15223"/>
                    </a:lnTo>
                    <a:lnTo>
                      <a:pt x="7514" y="14683"/>
                    </a:lnTo>
                    <a:lnTo>
                      <a:pt x="7157" y="14521"/>
                    </a:lnTo>
                    <a:lnTo>
                      <a:pt x="6800" y="13522"/>
                    </a:lnTo>
                    <a:lnTo>
                      <a:pt x="6577" y="13117"/>
                    </a:lnTo>
                    <a:lnTo>
                      <a:pt x="6243" y="13522"/>
                    </a:lnTo>
                    <a:lnTo>
                      <a:pt x="5663" y="13117"/>
                    </a:lnTo>
                    <a:lnTo>
                      <a:pt x="5663" y="12848"/>
                    </a:lnTo>
                    <a:lnTo>
                      <a:pt x="5418" y="12848"/>
                    </a:lnTo>
                    <a:lnTo>
                      <a:pt x="5418" y="13522"/>
                    </a:lnTo>
                    <a:lnTo>
                      <a:pt x="5061" y="13522"/>
                    </a:lnTo>
                    <a:lnTo>
                      <a:pt x="4727" y="12848"/>
                    </a:lnTo>
                    <a:lnTo>
                      <a:pt x="4727" y="12308"/>
                    </a:lnTo>
                    <a:lnTo>
                      <a:pt x="4370" y="12011"/>
                    </a:lnTo>
                    <a:lnTo>
                      <a:pt x="4370" y="11309"/>
                    </a:lnTo>
                    <a:lnTo>
                      <a:pt x="4370" y="11201"/>
                    </a:lnTo>
                    <a:lnTo>
                      <a:pt x="3924" y="10202"/>
                    </a:lnTo>
                    <a:lnTo>
                      <a:pt x="3456" y="9933"/>
                    </a:lnTo>
                    <a:lnTo>
                      <a:pt x="2653" y="9366"/>
                    </a:lnTo>
                    <a:lnTo>
                      <a:pt x="2542" y="8799"/>
                    </a:lnTo>
                    <a:lnTo>
                      <a:pt x="1962" y="8232"/>
                    </a:lnTo>
                    <a:lnTo>
                      <a:pt x="1962" y="7557"/>
                    </a:lnTo>
                    <a:lnTo>
                      <a:pt x="2096" y="7287"/>
                    </a:lnTo>
                    <a:lnTo>
                      <a:pt x="2096" y="6856"/>
                    </a:lnTo>
                    <a:lnTo>
                      <a:pt x="2542" y="6559"/>
                    </a:lnTo>
                    <a:lnTo>
                      <a:pt x="2319" y="5857"/>
                    </a:lnTo>
                    <a:lnTo>
                      <a:pt x="2653" y="5722"/>
                    </a:lnTo>
                    <a:lnTo>
                      <a:pt x="2542" y="5452"/>
                    </a:lnTo>
                    <a:lnTo>
                      <a:pt x="2096" y="5452"/>
                    </a:lnTo>
                    <a:lnTo>
                      <a:pt x="1739" y="5452"/>
                    </a:lnTo>
                    <a:lnTo>
                      <a:pt x="1382" y="4750"/>
                    </a:lnTo>
                    <a:lnTo>
                      <a:pt x="1137" y="4318"/>
                    </a:lnTo>
                    <a:lnTo>
                      <a:pt x="1048" y="3914"/>
                    </a:lnTo>
                    <a:lnTo>
                      <a:pt x="803" y="3212"/>
                    </a:lnTo>
                    <a:lnTo>
                      <a:pt x="580" y="2537"/>
                    </a:lnTo>
                    <a:lnTo>
                      <a:pt x="580" y="2375"/>
                    </a:lnTo>
                    <a:lnTo>
                      <a:pt x="468" y="1673"/>
                    </a:lnTo>
                    <a:lnTo>
                      <a:pt x="0" y="567"/>
                    </a:lnTo>
                    <a:lnTo>
                      <a:pt x="468" y="0"/>
                    </a:lnTo>
                    <a:lnTo>
                      <a:pt x="1137" y="1107"/>
                    </a:lnTo>
                    <a:lnTo>
                      <a:pt x="2542" y="1404"/>
                    </a:lnTo>
                    <a:lnTo>
                      <a:pt x="3233" y="110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2" name="Freeform 187"/>
              <p:cNvSpPr>
                <a:spLocks/>
              </p:cNvSpPr>
              <p:nvPr/>
            </p:nvSpPr>
            <p:spPr bwMode="auto">
              <a:xfrm>
                <a:off x="5934075" y="3471863"/>
                <a:ext cx="36513" cy="122237"/>
              </a:xfrm>
              <a:custGeom>
                <a:avLst/>
                <a:gdLst>
                  <a:gd name="T0" fmla="*/ 8966 w 20000"/>
                  <a:gd name="T1" fmla="*/ 622 h 20000"/>
                  <a:gd name="T2" fmla="*/ 14138 w 20000"/>
                  <a:gd name="T3" fmla="*/ 622 h 20000"/>
                  <a:gd name="T4" fmla="*/ 14138 w 20000"/>
                  <a:gd name="T5" fmla="*/ 0 h 20000"/>
                  <a:gd name="T6" fmla="*/ 19655 w 20000"/>
                  <a:gd name="T7" fmla="*/ 0 h 20000"/>
                  <a:gd name="T8" fmla="*/ 19655 w 20000"/>
                  <a:gd name="T9" fmla="*/ 622 h 20000"/>
                  <a:gd name="T10" fmla="*/ 14138 w 20000"/>
                  <a:gd name="T11" fmla="*/ 3212 h 20000"/>
                  <a:gd name="T12" fmla="*/ 14138 w 20000"/>
                  <a:gd name="T13" fmla="*/ 4249 h 20000"/>
                  <a:gd name="T14" fmla="*/ 12759 w 20000"/>
                  <a:gd name="T15" fmla="*/ 4249 h 20000"/>
                  <a:gd name="T16" fmla="*/ 12759 w 20000"/>
                  <a:gd name="T17" fmla="*/ 5907 h 20000"/>
                  <a:gd name="T18" fmla="*/ 14138 w 20000"/>
                  <a:gd name="T19" fmla="*/ 7565 h 20000"/>
                  <a:gd name="T20" fmla="*/ 14138 w 20000"/>
                  <a:gd name="T21" fmla="*/ 11295 h 20000"/>
                  <a:gd name="T22" fmla="*/ 14138 w 20000"/>
                  <a:gd name="T23" fmla="*/ 14404 h 20000"/>
                  <a:gd name="T24" fmla="*/ 14138 w 20000"/>
                  <a:gd name="T25" fmla="*/ 18238 h 20000"/>
                  <a:gd name="T26" fmla="*/ 8966 w 20000"/>
                  <a:gd name="T27" fmla="*/ 19896 h 20000"/>
                  <a:gd name="T28" fmla="*/ 8966 w 20000"/>
                  <a:gd name="T29" fmla="*/ 16062 h 20000"/>
                  <a:gd name="T30" fmla="*/ 5517 w 20000"/>
                  <a:gd name="T31" fmla="*/ 13368 h 20000"/>
                  <a:gd name="T32" fmla="*/ 0 w 20000"/>
                  <a:gd name="T33" fmla="*/ 11295 h 20000"/>
                  <a:gd name="T34" fmla="*/ 3448 w 20000"/>
                  <a:gd name="T35" fmla="*/ 9119 h 20000"/>
                  <a:gd name="T36" fmla="*/ 0 w 20000"/>
                  <a:gd name="T37" fmla="*/ 7565 h 20000"/>
                  <a:gd name="T38" fmla="*/ 3448 w 20000"/>
                  <a:gd name="T39" fmla="*/ 7047 h 20000"/>
                  <a:gd name="T40" fmla="*/ 5517 w 20000"/>
                  <a:gd name="T41" fmla="*/ 4249 h 20000"/>
                  <a:gd name="T42" fmla="*/ 8966 w 20000"/>
                  <a:gd name="T43" fmla="*/ 62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8966" y="622"/>
                    </a:moveTo>
                    <a:lnTo>
                      <a:pt x="14138" y="622"/>
                    </a:lnTo>
                    <a:lnTo>
                      <a:pt x="14138" y="0"/>
                    </a:lnTo>
                    <a:lnTo>
                      <a:pt x="19655" y="0"/>
                    </a:lnTo>
                    <a:lnTo>
                      <a:pt x="19655" y="622"/>
                    </a:lnTo>
                    <a:lnTo>
                      <a:pt x="14138" y="3212"/>
                    </a:lnTo>
                    <a:lnTo>
                      <a:pt x="14138" y="4249"/>
                    </a:lnTo>
                    <a:lnTo>
                      <a:pt x="12759" y="4249"/>
                    </a:lnTo>
                    <a:lnTo>
                      <a:pt x="12759" y="5907"/>
                    </a:lnTo>
                    <a:lnTo>
                      <a:pt x="14138" y="7565"/>
                    </a:lnTo>
                    <a:lnTo>
                      <a:pt x="14138" y="11295"/>
                    </a:lnTo>
                    <a:lnTo>
                      <a:pt x="14138" y="14404"/>
                    </a:lnTo>
                    <a:lnTo>
                      <a:pt x="14138" y="18238"/>
                    </a:lnTo>
                    <a:lnTo>
                      <a:pt x="8966" y="19896"/>
                    </a:lnTo>
                    <a:lnTo>
                      <a:pt x="8966" y="16062"/>
                    </a:lnTo>
                    <a:lnTo>
                      <a:pt x="5517" y="13368"/>
                    </a:lnTo>
                    <a:lnTo>
                      <a:pt x="0" y="11295"/>
                    </a:lnTo>
                    <a:lnTo>
                      <a:pt x="3448" y="9119"/>
                    </a:lnTo>
                    <a:lnTo>
                      <a:pt x="0" y="7565"/>
                    </a:lnTo>
                    <a:lnTo>
                      <a:pt x="3448" y="7047"/>
                    </a:lnTo>
                    <a:lnTo>
                      <a:pt x="5517" y="4249"/>
                    </a:lnTo>
                    <a:lnTo>
                      <a:pt x="8966" y="62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3" name="Freeform 186"/>
              <p:cNvSpPr>
                <a:spLocks/>
              </p:cNvSpPr>
              <p:nvPr/>
            </p:nvSpPr>
            <p:spPr bwMode="auto">
              <a:xfrm>
                <a:off x="8580438" y="3051175"/>
                <a:ext cx="266700" cy="334963"/>
              </a:xfrm>
              <a:custGeom>
                <a:avLst/>
                <a:gdLst>
                  <a:gd name="T0" fmla="*/ 9857 w 20000"/>
                  <a:gd name="T1" fmla="*/ 19583 h 20000"/>
                  <a:gd name="T2" fmla="*/ 8857 w 20000"/>
                  <a:gd name="T3" fmla="*/ 18598 h 20000"/>
                  <a:gd name="T4" fmla="*/ 9143 w 20000"/>
                  <a:gd name="T5" fmla="*/ 17424 h 20000"/>
                  <a:gd name="T6" fmla="*/ 7619 w 20000"/>
                  <a:gd name="T7" fmla="*/ 17045 h 20000"/>
                  <a:gd name="T8" fmla="*/ 4667 w 20000"/>
                  <a:gd name="T9" fmla="*/ 18030 h 20000"/>
                  <a:gd name="T10" fmla="*/ 3190 w 20000"/>
                  <a:gd name="T11" fmla="*/ 18409 h 20000"/>
                  <a:gd name="T12" fmla="*/ 2714 w 20000"/>
                  <a:gd name="T13" fmla="*/ 18409 h 20000"/>
                  <a:gd name="T14" fmla="*/ 2714 w 20000"/>
                  <a:gd name="T15" fmla="*/ 19394 h 20000"/>
                  <a:gd name="T16" fmla="*/ 1238 w 20000"/>
                  <a:gd name="T17" fmla="*/ 18977 h 20000"/>
                  <a:gd name="T18" fmla="*/ 0 w 20000"/>
                  <a:gd name="T19" fmla="*/ 18409 h 20000"/>
                  <a:gd name="T20" fmla="*/ 1238 w 20000"/>
                  <a:gd name="T21" fmla="*/ 17652 h 20000"/>
                  <a:gd name="T22" fmla="*/ 2429 w 20000"/>
                  <a:gd name="T23" fmla="*/ 16439 h 20000"/>
                  <a:gd name="T24" fmla="*/ 2714 w 20000"/>
                  <a:gd name="T25" fmla="*/ 15492 h 20000"/>
                  <a:gd name="T26" fmla="*/ 3905 w 20000"/>
                  <a:gd name="T27" fmla="*/ 15492 h 20000"/>
                  <a:gd name="T28" fmla="*/ 4667 w 20000"/>
                  <a:gd name="T29" fmla="*/ 15492 h 20000"/>
                  <a:gd name="T30" fmla="*/ 7905 w 20000"/>
                  <a:gd name="T31" fmla="*/ 14470 h 20000"/>
                  <a:gd name="T32" fmla="*/ 8857 w 20000"/>
                  <a:gd name="T33" fmla="*/ 15265 h 20000"/>
                  <a:gd name="T34" fmla="*/ 9857 w 20000"/>
                  <a:gd name="T35" fmla="*/ 14470 h 20000"/>
                  <a:gd name="T36" fmla="*/ 9619 w 20000"/>
                  <a:gd name="T37" fmla="*/ 13333 h 20000"/>
                  <a:gd name="T38" fmla="*/ 9857 w 20000"/>
                  <a:gd name="T39" fmla="*/ 10758 h 20000"/>
                  <a:gd name="T40" fmla="*/ 11095 w 20000"/>
                  <a:gd name="T41" fmla="*/ 10758 h 20000"/>
                  <a:gd name="T42" fmla="*/ 10810 w 20000"/>
                  <a:gd name="T43" fmla="*/ 11364 h 20000"/>
                  <a:gd name="T44" fmla="*/ 11571 w 20000"/>
                  <a:gd name="T45" fmla="*/ 11932 h 20000"/>
                  <a:gd name="T46" fmla="*/ 13571 w 20000"/>
                  <a:gd name="T47" fmla="*/ 11174 h 20000"/>
                  <a:gd name="T48" fmla="*/ 14810 w 20000"/>
                  <a:gd name="T49" fmla="*/ 9205 h 20000"/>
                  <a:gd name="T50" fmla="*/ 15000 w 20000"/>
                  <a:gd name="T51" fmla="*/ 6061 h 20000"/>
                  <a:gd name="T52" fmla="*/ 14810 w 20000"/>
                  <a:gd name="T53" fmla="*/ 4508 h 20000"/>
                  <a:gd name="T54" fmla="*/ 14286 w 20000"/>
                  <a:gd name="T55" fmla="*/ 3712 h 20000"/>
                  <a:gd name="T56" fmla="*/ 14810 w 20000"/>
                  <a:gd name="T57" fmla="*/ 1932 h 20000"/>
                  <a:gd name="T58" fmla="*/ 15000 w 20000"/>
                  <a:gd name="T59" fmla="*/ 985 h 20000"/>
                  <a:gd name="T60" fmla="*/ 16000 w 20000"/>
                  <a:gd name="T61" fmla="*/ 1553 h 20000"/>
                  <a:gd name="T62" fmla="*/ 16286 w 20000"/>
                  <a:gd name="T63" fmla="*/ 985 h 20000"/>
                  <a:gd name="T64" fmla="*/ 15524 w 20000"/>
                  <a:gd name="T65" fmla="*/ 0 h 20000"/>
                  <a:gd name="T66" fmla="*/ 16762 w 20000"/>
                  <a:gd name="T67" fmla="*/ 379 h 20000"/>
                  <a:gd name="T68" fmla="*/ 18000 w 20000"/>
                  <a:gd name="T69" fmla="*/ 2538 h 20000"/>
                  <a:gd name="T70" fmla="*/ 19190 w 20000"/>
                  <a:gd name="T71" fmla="*/ 4697 h 20000"/>
                  <a:gd name="T72" fmla="*/ 19476 w 20000"/>
                  <a:gd name="T73" fmla="*/ 6061 h 20000"/>
                  <a:gd name="T74" fmla="*/ 19476 w 20000"/>
                  <a:gd name="T75" fmla="*/ 7841 h 20000"/>
                  <a:gd name="T76" fmla="*/ 18238 w 20000"/>
                  <a:gd name="T77" fmla="*/ 8220 h 20000"/>
                  <a:gd name="T78" fmla="*/ 19190 w 20000"/>
                  <a:gd name="T79" fmla="*/ 11364 h 20000"/>
                  <a:gd name="T80" fmla="*/ 19952 w 20000"/>
                  <a:gd name="T81" fmla="*/ 14318 h 20000"/>
                  <a:gd name="T82" fmla="*/ 19190 w 20000"/>
                  <a:gd name="T83" fmla="*/ 15492 h 20000"/>
                  <a:gd name="T84" fmla="*/ 18238 w 20000"/>
                  <a:gd name="T85" fmla="*/ 14886 h 20000"/>
                  <a:gd name="T86" fmla="*/ 17524 w 20000"/>
                  <a:gd name="T87" fmla="*/ 15265 h 20000"/>
                  <a:gd name="T88" fmla="*/ 17048 w 20000"/>
                  <a:gd name="T89" fmla="*/ 15265 h 20000"/>
                  <a:gd name="T90" fmla="*/ 16762 w 20000"/>
                  <a:gd name="T91" fmla="*/ 16439 h 20000"/>
                  <a:gd name="T92" fmla="*/ 15524 w 20000"/>
                  <a:gd name="T93" fmla="*/ 15871 h 20000"/>
                  <a:gd name="T94" fmla="*/ 14810 w 20000"/>
                  <a:gd name="T95" fmla="*/ 17045 h 20000"/>
                  <a:gd name="T96" fmla="*/ 12857 w 20000"/>
                  <a:gd name="T97" fmla="*/ 17424 h 20000"/>
                  <a:gd name="T98" fmla="*/ 11810 w 20000"/>
                  <a:gd name="T99" fmla="*/ 16818 h 20000"/>
                  <a:gd name="T100" fmla="*/ 11571 w 20000"/>
                  <a:gd name="T101" fmla="*/ 16061 h 20000"/>
                  <a:gd name="T102" fmla="*/ 12286 w 20000"/>
                  <a:gd name="T103" fmla="*/ 17424 h 20000"/>
                  <a:gd name="T104" fmla="*/ 11095 w 20000"/>
                  <a:gd name="T105" fmla="*/ 1840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0810" y="19962"/>
                    </a:moveTo>
                    <a:lnTo>
                      <a:pt x="9857" y="19583"/>
                    </a:lnTo>
                    <a:lnTo>
                      <a:pt x="8857" y="18977"/>
                    </a:lnTo>
                    <a:lnTo>
                      <a:pt x="8857" y="18598"/>
                    </a:lnTo>
                    <a:lnTo>
                      <a:pt x="8857" y="18030"/>
                    </a:lnTo>
                    <a:lnTo>
                      <a:pt x="9143" y="17424"/>
                    </a:lnTo>
                    <a:lnTo>
                      <a:pt x="8857" y="17045"/>
                    </a:lnTo>
                    <a:lnTo>
                      <a:pt x="7619" y="17045"/>
                    </a:lnTo>
                    <a:lnTo>
                      <a:pt x="6619" y="17424"/>
                    </a:lnTo>
                    <a:lnTo>
                      <a:pt x="4667" y="18030"/>
                    </a:lnTo>
                    <a:lnTo>
                      <a:pt x="3190" y="18598"/>
                    </a:lnTo>
                    <a:lnTo>
                      <a:pt x="3190" y="18409"/>
                    </a:lnTo>
                    <a:lnTo>
                      <a:pt x="2714" y="18030"/>
                    </a:lnTo>
                    <a:lnTo>
                      <a:pt x="2714" y="18409"/>
                    </a:lnTo>
                    <a:lnTo>
                      <a:pt x="2714" y="18977"/>
                    </a:lnTo>
                    <a:lnTo>
                      <a:pt x="2714" y="19394"/>
                    </a:lnTo>
                    <a:lnTo>
                      <a:pt x="1952" y="18977"/>
                    </a:lnTo>
                    <a:lnTo>
                      <a:pt x="1238" y="18977"/>
                    </a:lnTo>
                    <a:lnTo>
                      <a:pt x="0" y="19394"/>
                    </a:lnTo>
                    <a:lnTo>
                      <a:pt x="0" y="18409"/>
                    </a:lnTo>
                    <a:lnTo>
                      <a:pt x="762" y="18030"/>
                    </a:lnTo>
                    <a:lnTo>
                      <a:pt x="1238" y="17652"/>
                    </a:lnTo>
                    <a:lnTo>
                      <a:pt x="1952" y="17424"/>
                    </a:lnTo>
                    <a:lnTo>
                      <a:pt x="2429" y="16439"/>
                    </a:lnTo>
                    <a:lnTo>
                      <a:pt x="3190" y="16061"/>
                    </a:lnTo>
                    <a:lnTo>
                      <a:pt x="2714" y="15492"/>
                    </a:lnTo>
                    <a:lnTo>
                      <a:pt x="3905" y="15265"/>
                    </a:lnTo>
                    <a:lnTo>
                      <a:pt x="3905" y="15492"/>
                    </a:lnTo>
                    <a:lnTo>
                      <a:pt x="4476" y="15492"/>
                    </a:lnTo>
                    <a:lnTo>
                      <a:pt x="4667" y="15492"/>
                    </a:lnTo>
                    <a:lnTo>
                      <a:pt x="7619" y="14886"/>
                    </a:lnTo>
                    <a:lnTo>
                      <a:pt x="7905" y="14470"/>
                    </a:lnTo>
                    <a:lnTo>
                      <a:pt x="8381" y="14886"/>
                    </a:lnTo>
                    <a:lnTo>
                      <a:pt x="8857" y="15265"/>
                    </a:lnTo>
                    <a:lnTo>
                      <a:pt x="9143" y="14886"/>
                    </a:lnTo>
                    <a:lnTo>
                      <a:pt x="9857" y="14470"/>
                    </a:lnTo>
                    <a:lnTo>
                      <a:pt x="9143" y="13939"/>
                    </a:lnTo>
                    <a:lnTo>
                      <a:pt x="9619" y="13333"/>
                    </a:lnTo>
                    <a:lnTo>
                      <a:pt x="10333" y="11932"/>
                    </a:lnTo>
                    <a:lnTo>
                      <a:pt x="9857" y="10758"/>
                    </a:lnTo>
                    <a:lnTo>
                      <a:pt x="11095" y="10152"/>
                    </a:lnTo>
                    <a:lnTo>
                      <a:pt x="11095" y="10758"/>
                    </a:lnTo>
                    <a:lnTo>
                      <a:pt x="10810" y="11174"/>
                    </a:lnTo>
                    <a:lnTo>
                      <a:pt x="10810" y="11364"/>
                    </a:lnTo>
                    <a:lnTo>
                      <a:pt x="11095" y="11932"/>
                    </a:lnTo>
                    <a:lnTo>
                      <a:pt x="11571" y="11932"/>
                    </a:lnTo>
                    <a:lnTo>
                      <a:pt x="11810" y="11742"/>
                    </a:lnTo>
                    <a:lnTo>
                      <a:pt x="13571" y="11174"/>
                    </a:lnTo>
                    <a:lnTo>
                      <a:pt x="14286" y="9205"/>
                    </a:lnTo>
                    <a:lnTo>
                      <a:pt x="14810" y="9205"/>
                    </a:lnTo>
                    <a:lnTo>
                      <a:pt x="14810" y="7652"/>
                    </a:lnTo>
                    <a:lnTo>
                      <a:pt x="15000" y="6061"/>
                    </a:lnTo>
                    <a:lnTo>
                      <a:pt x="14810" y="4091"/>
                    </a:lnTo>
                    <a:lnTo>
                      <a:pt x="14810" y="4508"/>
                    </a:lnTo>
                    <a:lnTo>
                      <a:pt x="14286" y="4091"/>
                    </a:lnTo>
                    <a:lnTo>
                      <a:pt x="14286" y="3712"/>
                    </a:lnTo>
                    <a:lnTo>
                      <a:pt x="14286" y="2538"/>
                    </a:lnTo>
                    <a:lnTo>
                      <a:pt x="14810" y="1932"/>
                    </a:lnTo>
                    <a:lnTo>
                      <a:pt x="14286" y="1174"/>
                    </a:lnTo>
                    <a:lnTo>
                      <a:pt x="15000" y="985"/>
                    </a:lnTo>
                    <a:lnTo>
                      <a:pt x="15524" y="1932"/>
                    </a:lnTo>
                    <a:lnTo>
                      <a:pt x="16000" y="1553"/>
                    </a:lnTo>
                    <a:lnTo>
                      <a:pt x="16286" y="1553"/>
                    </a:lnTo>
                    <a:lnTo>
                      <a:pt x="16286" y="985"/>
                    </a:lnTo>
                    <a:lnTo>
                      <a:pt x="15524" y="985"/>
                    </a:lnTo>
                    <a:lnTo>
                      <a:pt x="15524" y="0"/>
                    </a:lnTo>
                    <a:lnTo>
                      <a:pt x="16000" y="379"/>
                    </a:lnTo>
                    <a:lnTo>
                      <a:pt x="16762" y="379"/>
                    </a:lnTo>
                    <a:lnTo>
                      <a:pt x="17048" y="1932"/>
                    </a:lnTo>
                    <a:lnTo>
                      <a:pt x="18000" y="2538"/>
                    </a:lnTo>
                    <a:lnTo>
                      <a:pt x="18714" y="3712"/>
                    </a:lnTo>
                    <a:lnTo>
                      <a:pt x="19190" y="4697"/>
                    </a:lnTo>
                    <a:lnTo>
                      <a:pt x="19476" y="4697"/>
                    </a:lnTo>
                    <a:lnTo>
                      <a:pt x="19476" y="6061"/>
                    </a:lnTo>
                    <a:lnTo>
                      <a:pt x="18714" y="6667"/>
                    </a:lnTo>
                    <a:lnTo>
                      <a:pt x="19476" y="7841"/>
                    </a:lnTo>
                    <a:lnTo>
                      <a:pt x="18714" y="7841"/>
                    </a:lnTo>
                    <a:lnTo>
                      <a:pt x="18238" y="8220"/>
                    </a:lnTo>
                    <a:lnTo>
                      <a:pt x="18238" y="9205"/>
                    </a:lnTo>
                    <a:lnTo>
                      <a:pt x="19190" y="11364"/>
                    </a:lnTo>
                    <a:lnTo>
                      <a:pt x="19190" y="13485"/>
                    </a:lnTo>
                    <a:lnTo>
                      <a:pt x="19952" y="14318"/>
                    </a:lnTo>
                    <a:lnTo>
                      <a:pt x="19190" y="14470"/>
                    </a:lnTo>
                    <a:lnTo>
                      <a:pt x="19190" y="15492"/>
                    </a:lnTo>
                    <a:lnTo>
                      <a:pt x="18000" y="16061"/>
                    </a:lnTo>
                    <a:lnTo>
                      <a:pt x="18238" y="14886"/>
                    </a:lnTo>
                    <a:lnTo>
                      <a:pt x="17524" y="14470"/>
                    </a:lnTo>
                    <a:lnTo>
                      <a:pt x="17524" y="15265"/>
                    </a:lnTo>
                    <a:lnTo>
                      <a:pt x="17524" y="15492"/>
                    </a:lnTo>
                    <a:lnTo>
                      <a:pt x="17048" y="15265"/>
                    </a:lnTo>
                    <a:lnTo>
                      <a:pt x="16762" y="15492"/>
                    </a:lnTo>
                    <a:lnTo>
                      <a:pt x="16762" y="16439"/>
                    </a:lnTo>
                    <a:lnTo>
                      <a:pt x="16286" y="17045"/>
                    </a:lnTo>
                    <a:lnTo>
                      <a:pt x="15524" y="15871"/>
                    </a:lnTo>
                    <a:lnTo>
                      <a:pt x="15000" y="16061"/>
                    </a:lnTo>
                    <a:lnTo>
                      <a:pt x="14810" y="17045"/>
                    </a:lnTo>
                    <a:lnTo>
                      <a:pt x="14048" y="16818"/>
                    </a:lnTo>
                    <a:lnTo>
                      <a:pt x="12857" y="17424"/>
                    </a:lnTo>
                    <a:lnTo>
                      <a:pt x="13048" y="16818"/>
                    </a:lnTo>
                    <a:lnTo>
                      <a:pt x="11810" y="16818"/>
                    </a:lnTo>
                    <a:lnTo>
                      <a:pt x="11810" y="16061"/>
                    </a:lnTo>
                    <a:lnTo>
                      <a:pt x="11571" y="16061"/>
                    </a:lnTo>
                    <a:lnTo>
                      <a:pt x="11571" y="17045"/>
                    </a:lnTo>
                    <a:lnTo>
                      <a:pt x="12286" y="17424"/>
                    </a:lnTo>
                    <a:lnTo>
                      <a:pt x="12286" y="18030"/>
                    </a:lnTo>
                    <a:lnTo>
                      <a:pt x="11095" y="18409"/>
                    </a:lnTo>
                    <a:lnTo>
                      <a:pt x="10810" y="199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4" name="Freeform 185"/>
              <p:cNvSpPr>
                <a:spLocks/>
              </p:cNvSpPr>
              <p:nvPr/>
            </p:nvSpPr>
            <p:spPr bwMode="auto">
              <a:xfrm>
                <a:off x="8743950" y="2876550"/>
                <a:ext cx="149225" cy="180975"/>
              </a:xfrm>
              <a:custGeom>
                <a:avLst/>
                <a:gdLst>
                  <a:gd name="T0" fmla="*/ 3162 w 20000"/>
                  <a:gd name="T1" fmla="*/ 19930 h 20000"/>
                  <a:gd name="T2" fmla="*/ 2308 w 20000"/>
                  <a:gd name="T3" fmla="*/ 19228 h 20000"/>
                  <a:gd name="T4" fmla="*/ 2308 w 20000"/>
                  <a:gd name="T5" fmla="*/ 17404 h 20000"/>
                  <a:gd name="T6" fmla="*/ 0 w 20000"/>
                  <a:gd name="T7" fmla="*/ 16351 h 20000"/>
                  <a:gd name="T8" fmla="*/ 0 w 20000"/>
                  <a:gd name="T9" fmla="*/ 14526 h 20000"/>
                  <a:gd name="T10" fmla="*/ 1368 w 20000"/>
                  <a:gd name="T11" fmla="*/ 12632 h 20000"/>
                  <a:gd name="T12" fmla="*/ 0 w 20000"/>
                  <a:gd name="T13" fmla="*/ 10877 h 20000"/>
                  <a:gd name="T14" fmla="*/ 940 w 20000"/>
                  <a:gd name="T15" fmla="*/ 10526 h 20000"/>
                  <a:gd name="T16" fmla="*/ 2308 w 20000"/>
                  <a:gd name="T17" fmla="*/ 10877 h 20000"/>
                  <a:gd name="T18" fmla="*/ 4444 w 20000"/>
                  <a:gd name="T19" fmla="*/ 10877 h 20000"/>
                  <a:gd name="T20" fmla="*/ 3504 w 20000"/>
                  <a:gd name="T21" fmla="*/ 8702 h 20000"/>
                  <a:gd name="T22" fmla="*/ 4444 w 20000"/>
                  <a:gd name="T23" fmla="*/ 8702 h 20000"/>
                  <a:gd name="T24" fmla="*/ 3504 w 20000"/>
                  <a:gd name="T25" fmla="*/ 6175 h 20000"/>
                  <a:gd name="T26" fmla="*/ 3162 w 20000"/>
                  <a:gd name="T27" fmla="*/ 2877 h 20000"/>
                  <a:gd name="T28" fmla="*/ 1368 w 20000"/>
                  <a:gd name="T29" fmla="*/ 421 h 20000"/>
                  <a:gd name="T30" fmla="*/ 2308 w 20000"/>
                  <a:gd name="T31" fmla="*/ 0 h 20000"/>
                  <a:gd name="T32" fmla="*/ 4444 w 20000"/>
                  <a:gd name="T33" fmla="*/ 1123 h 20000"/>
                  <a:gd name="T34" fmla="*/ 8034 w 20000"/>
                  <a:gd name="T35" fmla="*/ 4000 h 20000"/>
                  <a:gd name="T36" fmla="*/ 11538 w 20000"/>
                  <a:gd name="T37" fmla="*/ 5754 h 20000"/>
                  <a:gd name="T38" fmla="*/ 12821 w 20000"/>
                  <a:gd name="T39" fmla="*/ 5754 h 20000"/>
                  <a:gd name="T40" fmla="*/ 14188 w 20000"/>
                  <a:gd name="T41" fmla="*/ 6877 h 20000"/>
                  <a:gd name="T42" fmla="*/ 15983 w 20000"/>
                  <a:gd name="T43" fmla="*/ 6877 h 20000"/>
                  <a:gd name="T44" fmla="*/ 16410 w 20000"/>
                  <a:gd name="T45" fmla="*/ 4702 h 20000"/>
                  <a:gd name="T46" fmla="*/ 17265 w 20000"/>
                  <a:gd name="T47" fmla="*/ 5053 h 20000"/>
                  <a:gd name="T48" fmla="*/ 17265 w 20000"/>
                  <a:gd name="T49" fmla="*/ 7579 h 20000"/>
                  <a:gd name="T50" fmla="*/ 18547 w 20000"/>
                  <a:gd name="T51" fmla="*/ 9754 h 20000"/>
                  <a:gd name="T52" fmla="*/ 19915 w 20000"/>
                  <a:gd name="T53" fmla="*/ 9474 h 20000"/>
                  <a:gd name="T54" fmla="*/ 19915 w 20000"/>
                  <a:gd name="T55" fmla="*/ 9754 h 20000"/>
                  <a:gd name="T56" fmla="*/ 18547 w 20000"/>
                  <a:gd name="T57" fmla="*/ 10526 h 20000"/>
                  <a:gd name="T58" fmla="*/ 17692 w 20000"/>
                  <a:gd name="T59" fmla="*/ 10877 h 20000"/>
                  <a:gd name="T60" fmla="*/ 15043 w 20000"/>
                  <a:gd name="T61" fmla="*/ 11579 h 20000"/>
                  <a:gd name="T62" fmla="*/ 13675 w 20000"/>
                  <a:gd name="T63" fmla="*/ 12632 h 20000"/>
                  <a:gd name="T64" fmla="*/ 13675 w 20000"/>
                  <a:gd name="T65" fmla="*/ 15228 h 20000"/>
                  <a:gd name="T66" fmla="*/ 13675 w 20000"/>
                  <a:gd name="T67" fmla="*/ 16351 h 20000"/>
                  <a:gd name="T68" fmla="*/ 8034 w 20000"/>
                  <a:gd name="T69" fmla="*/ 14526 h 20000"/>
                  <a:gd name="T70" fmla="*/ 5812 w 20000"/>
                  <a:gd name="T71" fmla="*/ 13754 h 20000"/>
                  <a:gd name="T72" fmla="*/ 4872 w 20000"/>
                  <a:gd name="T73" fmla="*/ 14526 h 20000"/>
                  <a:gd name="T74" fmla="*/ 4444 w 20000"/>
                  <a:gd name="T75" fmla="*/ 15649 h 20000"/>
                  <a:gd name="T76" fmla="*/ 3504 w 20000"/>
                  <a:gd name="T77" fmla="*/ 14526 h 20000"/>
                  <a:gd name="T78" fmla="*/ 2308 w 20000"/>
                  <a:gd name="T79" fmla="*/ 15228 h 20000"/>
                  <a:gd name="T80" fmla="*/ 2308 w 20000"/>
                  <a:gd name="T81" fmla="*/ 15649 h 20000"/>
                  <a:gd name="T82" fmla="*/ 4444 w 20000"/>
                  <a:gd name="T83" fmla="*/ 16351 h 20000"/>
                  <a:gd name="T84" fmla="*/ 4872 w 20000"/>
                  <a:gd name="T85" fmla="*/ 17404 h 20000"/>
                  <a:gd name="T86" fmla="*/ 5812 w 20000"/>
                  <a:gd name="T87" fmla="*/ 17404 h 20000"/>
                  <a:gd name="T88" fmla="*/ 4872 w 20000"/>
                  <a:gd name="T89" fmla="*/ 18526 h 20000"/>
                  <a:gd name="T90" fmla="*/ 4444 w 20000"/>
                  <a:gd name="T91" fmla="*/ 18526 h 20000"/>
                  <a:gd name="T92" fmla="*/ 3504 w 20000"/>
                  <a:gd name="T93" fmla="*/ 19930 h 20000"/>
                  <a:gd name="T94" fmla="*/ 3162 w 20000"/>
                  <a:gd name="T95" fmla="*/ 199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3162" y="19930"/>
                    </a:moveTo>
                    <a:lnTo>
                      <a:pt x="2308" y="19228"/>
                    </a:lnTo>
                    <a:lnTo>
                      <a:pt x="2308" y="17404"/>
                    </a:lnTo>
                    <a:lnTo>
                      <a:pt x="0" y="16351"/>
                    </a:lnTo>
                    <a:lnTo>
                      <a:pt x="0" y="14526"/>
                    </a:lnTo>
                    <a:lnTo>
                      <a:pt x="1368" y="12632"/>
                    </a:lnTo>
                    <a:lnTo>
                      <a:pt x="0" y="10877"/>
                    </a:lnTo>
                    <a:lnTo>
                      <a:pt x="940" y="10526"/>
                    </a:lnTo>
                    <a:lnTo>
                      <a:pt x="2308" y="10877"/>
                    </a:lnTo>
                    <a:lnTo>
                      <a:pt x="4444" y="10877"/>
                    </a:lnTo>
                    <a:lnTo>
                      <a:pt x="3504" y="8702"/>
                    </a:lnTo>
                    <a:lnTo>
                      <a:pt x="4444" y="8702"/>
                    </a:lnTo>
                    <a:lnTo>
                      <a:pt x="3504" y="6175"/>
                    </a:lnTo>
                    <a:lnTo>
                      <a:pt x="3162" y="2877"/>
                    </a:lnTo>
                    <a:lnTo>
                      <a:pt x="1368" y="421"/>
                    </a:lnTo>
                    <a:lnTo>
                      <a:pt x="2308" y="0"/>
                    </a:lnTo>
                    <a:lnTo>
                      <a:pt x="4444" y="1123"/>
                    </a:lnTo>
                    <a:lnTo>
                      <a:pt x="8034" y="4000"/>
                    </a:lnTo>
                    <a:lnTo>
                      <a:pt x="11538" y="5754"/>
                    </a:lnTo>
                    <a:lnTo>
                      <a:pt x="12821" y="5754"/>
                    </a:lnTo>
                    <a:lnTo>
                      <a:pt x="14188" y="6877"/>
                    </a:lnTo>
                    <a:lnTo>
                      <a:pt x="15983" y="6877"/>
                    </a:lnTo>
                    <a:lnTo>
                      <a:pt x="16410" y="4702"/>
                    </a:lnTo>
                    <a:lnTo>
                      <a:pt x="17265" y="5053"/>
                    </a:lnTo>
                    <a:lnTo>
                      <a:pt x="17265" y="7579"/>
                    </a:lnTo>
                    <a:lnTo>
                      <a:pt x="18547" y="9754"/>
                    </a:lnTo>
                    <a:lnTo>
                      <a:pt x="19915" y="9474"/>
                    </a:lnTo>
                    <a:lnTo>
                      <a:pt x="19915" y="9754"/>
                    </a:lnTo>
                    <a:lnTo>
                      <a:pt x="18547" y="10526"/>
                    </a:lnTo>
                    <a:lnTo>
                      <a:pt x="17692" y="10877"/>
                    </a:lnTo>
                    <a:lnTo>
                      <a:pt x="15043" y="11579"/>
                    </a:lnTo>
                    <a:lnTo>
                      <a:pt x="13675" y="12632"/>
                    </a:lnTo>
                    <a:lnTo>
                      <a:pt x="13675" y="15228"/>
                    </a:lnTo>
                    <a:lnTo>
                      <a:pt x="13675" y="16351"/>
                    </a:lnTo>
                    <a:lnTo>
                      <a:pt x="8034" y="14526"/>
                    </a:lnTo>
                    <a:lnTo>
                      <a:pt x="5812" y="13754"/>
                    </a:lnTo>
                    <a:lnTo>
                      <a:pt x="4872" y="14526"/>
                    </a:lnTo>
                    <a:lnTo>
                      <a:pt x="4444" y="15649"/>
                    </a:lnTo>
                    <a:lnTo>
                      <a:pt x="3504" y="14526"/>
                    </a:lnTo>
                    <a:lnTo>
                      <a:pt x="2308" y="15228"/>
                    </a:lnTo>
                    <a:lnTo>
                      <a:pt x="2308" y="15649"/>
                    </a:lnTo>
                    <a:lnTo>
                      <a:pt x="4444" y="16351"/>
                    </a:lnTo>
                    <a:lnTo>
                      <a:pt x="4872" y="17404"/>
                    </a:lnTo>
                    <a:lnTo>
                      <a:pt x="5812" y="17404"/>
                    </a:lnTo>
                    <a:lnTo>
                      <a:pt x="4872" y="18526"/>
                    </a:lnTo>
                    <a:lnTo>
                      <a:pt x="4444" y="18526"/>
                    </a:lnTo>
                    <a:lnTo>
                      <a:pt x="3504" y="19930"/>
                    </a:lnTo>
                    <a:lnTo>
                      <a:pt x="3162" y="199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5" name="Freeform 184"/>
              <p:cNvSpPr>
                <a:spLocks/>
              </p:cNvSpPr>
              <p:nvPr/>
            </p:nvSpPr>
            <p:spPr bwMode="auto">
              <a:xfrm>
                <a:off x="8543925" y="3635375"/>
                <a:ext cx="12700" cy="26988"/>
              </a:xfrm>
              <a:custGeom>
                <a:avLst/>
                <a:gdLst>
                  <a:gd name="T0" fmla="*/ 0 w 20000"/>
                  <a:gd name="T1" fmla="*/ 19524 h 20000"/>
                  <a:gd name="T2" fmla="*/ 0 w 20000"/>
                  <a:gd name="T3" fmla="*/ 14762 h 20000"/>
                  <a:gd name="T4" fmla="*/ 5714 w 20000"/>
                  <a:gd name="T5" fmla="*/ 7143 h 20000"/>
                  <a:gd name="T6" fmla="*/ 5714 w 20000"/>
                  <a:gd name="T7" fmla="*/ 2857 h 20000"/>
                  <a:gd name="T8" fmla="*/ 14286 w 20000"/>
                  <a:gd name="T9" fmla="*/ 2857 h 20000"/>
                  <a:gd name="T10" fmla="*/ 19048 w 20000"/>
                  <a:gd name="T11" fmla="*/ 0 h 20000"/>
                  <a:gd name="T12" fmla="*/ 5714 w 20000"/>
                  <a:gd name="T13" fmla="*/ 14762 h 20000"/>
                  <a:gd name="T14" fmla="*/ 14286 w 20000"/>
                  <a:gd name="T15" fmla="*/ 19524 h 20000"/>
                  <a:gd name="T16" fmla="*/ 0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9524"/>
                    </a:moveTo>
                    <a:lnTo>
                      <a:pt x="0" y="14762"/>
                    </a:lnTo>
                    <a:lnTo>
                      <a:pt x="5714" y="7143"/>
                    </a:lnTo>
                    <a:lnTo>
                      <a:pt x="5714" y="2857"/>
                    </a:lnTo>
                    <a:lnTo>
                      <a:pt x="14286" y="2857"/>
                    </a:lnTo>
                    <a:lnTo>
                      <a:pt x="19048" y="0"/>
                    </a:lnTo>
                    <a:lnTo>
                      <a:pt x="5714" y="14762"/>
                    </a:lnTo>
                    <a:lnTo>
                      <a:pt x="14286" y="19524"/>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6" name="Freeform 183"/>
              <p:cNvSpPr>
                <a:spLocks/>
              </p:cNvSpPr>
              <p:nvPr/>
            </p:nvSpPr>
            <p:spPr bwMode="auto">
              <a:xfrm>
                <a:off x="8574088" y="3576638"/>
                <a:ext cx="17462" cy="11112"/>
              </a:xfrm>
              <a:custGeom>
                <a:avLst/>
                <a:gdLst>
                  <a:gd name="T0" fmla="*/ 7407 w 20000"/>
                  <a:gd name="T1" fmla="*/ 18824 h 20000"/>
                  <a:gd name="T2" fmla="*/ 0 w 20000"/>
                  <a:gd name="T3" fmla="*/ 11765 h 20000"/>
                  <a:gd name="T4" fmla="*/ 19259 w 20000"/>
                  <a:gd name="T5" fmla="*/ 0 h 20000"/>
                  <a:gd name="T6" fmla="*/ 14815 w 20000"/>
                  <a:gd name="T7" fmla="*/ 11765 h 20000"/>
                  <a:gd name="T8" fmla="*/ 7407 w 20000"/>
                  <a:gd name="T9" fmla="*/ 18824 h 20000"/>
                </a:gdLst>
                <a:ahLst/>
                <a:cxnLst>
                  <a:cxn ang="0">
                    <a:pos x="T0" y="T1"/>
                  </a:cxn>
                  <a:cxn ang="0">
                    <a:pos x="T2" y="T3"/>
                  </a:cxn>
                  <a:cxn ang="0">
                    <a:pos x="T4" y="T5"/>
                  </a:cxn>
                  <a:cxn ang="0">
                    <a:pos x="T6" y="T7"/>
                  </a:cxn>
                  <a:cxn ang="0">
                    <a:pos x="T8" y="T9"/>
                  </a:cxn>
                </a:cxnLst>
                <a:rect l="0" t="0" r="r" b="b"/>
                <a:pathLst>
                  <a:path w="20000" h="20000">
                    <a:moveTo>
                      <a:pt x="7407" y="18824"/>
                    </a:moveTo>
                    <a:lnTo>
                      <a:pt x="0" y="11765"/>
                    </a:lnTo>
                    <a:lnTo>
                      <a:pt x="19259" y="0"/>
                    </a:lnTo>
                    <a:lnTo>
                      <a:pt x="14815" y="11765"/>
                    </a:lnTo>
                    <a:lnTo>
                      <a:pt x="7407"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7" name="Freeform 182"/>
              <p:cNvSpPr>
                <a:spLocks/>
              </p:cNvSpPr>
              <p:nvPr/>
            </p:nvSpPr>
            <p:spPr bwMode="auto">
              <a:xfrm>
                <a:off x="5949950" y="3465513"/>
                <a:ext cx="119063" cy="131762"/>
              </a:xfrm>
              <a:custGeom>
                <a:avLst/>
                <a:gdLst>
                  <a:gd name="T0" fmla="*/ 1702 w 20000"/>
                  <a:gd name="T1" fmla="*/ 3942 h 20000"/>
                  <a:gd name="T2" fmla="*/ 4468 w 20000"/>
                  <a:gd name="T3" fmla="*/ 3942 h 20000"/>
                  <a:gd name="T4" fmla="*/ 5532 w 20000"/>
                  <a:gd name="T5" fmla="*/ 4904 h 20000"/>
                  <a:gd name="T6" fmla="*/ 6064 w 20000"/>
                  <a:gd name="T7" fmla="*/ 4904 h 20000"/>
                  <a:gd name="T8" fmla="*/ 8298 w 20000"/>
                  <a:gd name="T9" fmla="*/ 4904 h 20000"/>
                  <a:gd name="T10" fmla="*/ 12660 w 20000"/>
                  <a:gd name="T11" fmla="*/ 2981 h 20000"/>
                  <a:gd name="T12" fmla="*/ 17021 w 20000"/>
                  <a:gd name="T13" fmla="*/ 0 h 20000"/>
                  <a:gd name="T14" fmla="*/ 19894 w 20000"/>
                  <a:gd name="T15" fmla="*/ 5481 h 20000"/>
                  <a:gd name="T16" fmla="*/ 15957 w 20000"/>
                  <a:gd name="T17" fmla="*/ 7500 h 20000"/>
                  <a:gd name="T18" fmla="*/ 9894 w 20000"/>
                  <a:gd name="T19" fmla="*/ 8846 h 20000"/>
                  <a:gd name="T20" fmla="*/ 9894 w 20000"/>
                  <a:gd name="T21" fmla="*/ 9423 h 20000"/>
                  <a:gd name="T22" fmla="*/ 14362 w 20000"/>
                  <a:gd name="T23" fmla="*/ 13365 h 20000"/>
                  <a:gd name="T24" fmla="*/ 13298 w 20000"/>
                  <a:gd name="T25" fmla="*/ 14327 h 20000"/>
                  <a:gd name="T26" fmla="*/ 12660 w 20000"/>
                  <a:gd name="T27" fmla="*/ 15865 h 20000"/>
                  <a:gd name="T28" fmla="*/ 10532 w 20000"/>
                  <a:gd name="T29" fmla="*/ 16923 h 20000"/>
                  <a:gd name="T30" fmla="*/ 9894 w 20000"/>
                  <a:gd name="T31" fmla="*/ 16923 h 20000"/>
                  <a:gd name="T32" fmla="*/ 6064 w 20000"/>
                  <a:gd name="T33" fmla="*/ 19904 h 20000"/>
                  <a:gd name="T34" fmla="*/ 0 w 20000"/>
                  <a:gd name="T35" fmla="*/ 19327 h 20000"/>
                  <a:gd name="T36" fmla="*/ 1702 w 20000"/>
                  <a:gd name="T37" fmla="*/ 17885 h 20000"/>
                  <a:gd name="T38" fmla="*/ 1702 w 20000"/>
                  <a:gd name="T39" fmla="*/ 14327 h 20000"/>
                  <a:gd name="T40" fmla="*/ 1702 w 20000"/>
                  <a:gd name="T41" fmla="*/ 11442 h 20000"/>
                  <a:gd name="T42" fmla="*/ 1702 w 20000"/>
                  <a:gd name="T43" fmla="*/ 7885 h 20000"/>
                  <a:gd name="T44" fmla="*/ 1170 w 20000"/>
                  <a:gd name="T45" fmla="*/ 6442 h 20000"/>
                  <a:gd name="T46" fmla="*/ 1170 w 20000"/>
                  <a:gd name="T47" fmla="*/ 4904 h 20000"/>
                  <a:gd name="T48" fmla="*/ 1702 w 20000"/>
                  <a:gd name="T49" fmla="*/ 4904 h 20000"/>
                  <a:gd name="T50" fmla="*/ 1702 w 20000"/>
                  <a:gd name="T51" fmla="*/ 394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1702" y="3942"/>
                    </a:moveTo>
                    <a:lnTo>
                      <a:pt x="4468" y="3942"/>
                    </a:lnTo>
                    <a:lnTo>
                      <a:pt x="5532" y="4904"/>
                    </a:lnTo>
                    <a:lnTo>
                      <a:pt x="6064" y="4904"/>
                    </a:lnTo>
                    <a:lnTo>
                      <a:pt x="8298" y="4904"/>
                    </a:lnTo>
                    <a:lnTo>
                      <a:pt x="12660" y="2981"/>
                    </a:lnTo>
                    <a:lnTo>
                      <a:pt x="17021" y="0"/>
                    </a:lnTo>
                    <a:lnTo>
                      <a:pt x="19894" y="5481"/>
                    </a:lnTo>
                    <a:lnTo>
                      <a:pt x="15957" y="7500"/>
                    </a:lnTo>
                    <a:lnTo>
                      <a:pt x="9894" y="8846"/>
                    </a:lnTo>
                    <a:lnTo>
                      <a:pt x="9894" y="9423"/>
                    </a:lnTo>
                    <a:lnTo>
                      <a:pt x="14362" y="13365"/>
                    </a:lnTo>
                    <a:lnTo>
                      <a:pt x="13298" y="14327"/>
                    </a:lnTo>
                    <a:lnTo>
                      <a:pt x="12660" y="15865"/>
                    </a:lnTo>
                    <a:lnTo>
                      <a:pt x="10532" y="16923"/>
                    </a:lnTo>
                    <a:lnTo>
                      <a:pt x="9894" y="16923"/>
                    </a:lnTo>
                    <a:lnTo>
                      <a:pt x="6064" y="19904"/>
                    </a:lnTo>
                    <a:lnTo>
                      <a:pt x="0" y="19327"/>
                    </a:lnTo>
                    <a:lnTo>
                      <a:pt x="1702" y="17885"/>
                    </a:lnTo>
                    <a:lnTo>
                      <a:pt x="1702" y="14327"/>
                    </a:lnTo>
                    <a:lnTo>
                      <a:pt x="1702" y="11442"/>
                    </a:lnTo>
                    <a:lnTo>
                      <a:pt x="1702" y="7885"/>
                    </a:lnTo>
                    <a:lnTo>
                      <a:pt x="1170" y="6442"/>
                    </a:lnTo>
                    <a:lnTo>
                      <a:pt x="1170" y="4904"/>
                    </a:lnTo>
                    <a:lnTo>
                      <a:pt x="1702" y="4904"/>
                    </a:lnTo>
                    <a:lnTo>
                      <a:pt x="1702" y="394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8" name="Freeform 181"/>
              <p:cNvSpPr>
                <a:spLocks/>
              </p:cNvSpPr>
              <p:nvPr/>
            </p:nvSpPr>
            <p:spPr bwMode="auto">
              <a:xfrm>
                <a:off x="7874000" y="4033838"/>
                <a:ext cx="149225" cy="128587"/>
              </a:xfrm>
              <a:custGeom>
                <a:avLst/>
                <a:gdLst>
                  <a:gd name="T0" fmla="*/ 10684 w 20000"/>
                  <a:gd name="T1" fmla="*/ 1576 h 20000"/>
                  <a:gd name="T2" fmla="*/ 10684 w 20000"/>
                  <a:gd name="T3" fmla="*/ 3054 h 20000"/>
                  <a:gd name="T4" fmla="*/ 12821 w 20000"/>
                  <a:gd name="T5" fmla="*/ 3054 h 20000"/>
                  <a:gd name="T6" fmla="*/ 13675 w 20000"/>
                  <a:gd name="T7" fmla="*/ 4039 h 20000"/>
                  <a:gd name="T8" fmla="*/ 14188 w 20000"/>
                  <a:gd name="T9" fmla="*/ 3054 h 20000"/>
                  <a:gd name="T10" fmla="*/ 14188 w 20000"/>
                  <a:gd name="T11" fmla="*/ 985 h 20000"/>
                  <a:gd name="T12" fmla="*/ 15897 w 20000"/>
                  <a:gd name="T13" fmla="*/ 0 h 20000"/>
                  <a:gd name="T14" fmla="*/ 17265 w 20000"/>
                  <a:gd name="T15" fmla="*/ 1576 h 20000"/>
                  <a:gd name="T16" fmla="*/ 19487 w 20000"/>
                  <a:gd name="T17" fmla="*/ 1576 h 20000"/>
                  <a:gd name="T18" fmla="*/ 19487 w 20000"/>
                  <a:gd name="T19" fmla="*/ 3054 h 20000"/>
                  <a:gd name="T20" fmla="*/ 19915 w 20000"/>
                  <a:gd name="T21" fmla="*/ 7192 h 20000"/>
                  <a:gd name="T22" fmla="*/ 19915 w 20000"/>
                  <a:gd name="T23" fmla="*/ 10640 h 20000"/>
                  <a:gd name="T24" fmla="*/ 18547 w 20000"/>
                  <a:gd name="T25" fmla="*/ 11724 h 20000"/>
                  <a:gd name="T26" fmla="*/ 17265 w 20000"/>
                  <a:gd name="T27" fmla="*/ 12217 h 20000"/>
                  <a:gd name="T28" fmla="*/ 15043 w 20000"/>
                  <a:gd name="T29" fmla="*/ 13300 h 20000"/>
                  <a:gd name="T30" fmla="*/ 13675 w 20000"/>
                  <a:gd name="T31" fmla="*/ 13695 h 20000"/>
                  <a:gd name="T32" fmla="*/ 14188 w 20000"/>
                  <a:gd name="T33" fmla="*/ 15862 h 20000"/>
                  <a:gd name="T34" fmla="*/ 14188 w 20000"/>
                  <a:gd name="T35" fmla="*/ 17340 h 20000"/>
                  <a:gd name="T36" fmla="*/ 11966 w 20000"/>
                  <a:gd name="T37" fmla="*/ 17833 h 20000"/>
                  <a:gd name="T38" fmla="*/ 8376 w 20000"/>
                  <a:gd name="T39" fmla="*/ 19901 h 20000"/>
                  <a:gd name="T40" fmla="*/ 6667 w 20000"/>
                  <a:gd name="T41" fmla="*/ 18916 h 20000"/>
                  <a:gd name="T42" fmla="*/ 5812 w 20000"/>
                  <a:gd name="T43" fmla="*/ 18916 h 20000"/>
                  <a:gd name="T44" fmla="*/ 5812 w 20000"/>
                  <a:gd name="T45" fmla="*/ 17340 h 20000"/>
                  <a:gd name="T46" fmla="*/ 4872 w 20000"/>
                  <a:gd name="T47" fmla="*/ 16355 h 20000"/>
                  <a:gd name="T48" fmla="*/ 4444 w 20000"/>
                  <a:gd name="T49" fmla="*/ 17340 h 20000"/>
                  <a:gd name="T50" fmla="*/ 2650 w 20000"/>
                  <a:gd name="T51" fmla="*/ 15862 h 20000"/>
                  <a:gd name="T52" fmla="*/ 2650 w 20000"/>
                  <a:gd name="T53" fmla="*/ 13695 h 20000"/>
                  <a:gd name="T54" fmla="*/ 855 w 20000"/>
                  <a:gd name="T55" fmla="*/ 9261 h 20000"/>
                  <a:gd name="T56" fmla="*/ 0 w 20000"/>
                  <a:gd name="T57" fmla="*/ 6601 h 20000"/>
                  <a:gd name="T58" fmla="*/ 2222 w 20000"/>
                  <a:gd name="T59" fmla="*/ 5025 h 20000"/>
                  <a:gd name="T60" fmla="*/ 2222 w 20000"/>
                  <a:gd name="T61" fmla="*/ 1576 h 20000"/>
                  <a:gd name="T62" fmla="*/ 4872 w 20000"/>
                  <a:gd name="T63" fmla="*/ 985 h 20000"/>
                  <a:gd name="T64" fmla="*/ 8034 w 20000"/>
                  <a:gd name="T65" fmla="*/ 1576 h 20000"/>
                  <a:gd name="T66" fmla="*/ 8376 w 20000"/>
                  <a:gd name="T67" fmla="*/ 985 h 20000"/>
                  <a:gd name="T68" fmla="*/ 10171 w 20000"/>
                  <a:gd name="T69" fmla="*/ 1576 h 20000"/>
                  <a:gd name="T70" fmla="*/ 10684 w 20000"/>
                  <a:gd name="T71" fmla="*/ 15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10684" y="1576"/>
                    </a:moveTo>
                    <a:lnTo>
                      <a:pt x="10684" y="3054"/>
                    </a:lnTo>
                    <a:lnTo>
                      <a:pt x="12821" y="3054"/>
                    </a:lnTo>
                    <a:lnTo>
                      <a:pt x="13675" y="4039"/>
                    </a:lnTo>
                    <a:lnTo>
                      <a:pt x="14188" y="3054"/>
                    </a:lnTo>
                    <a:lnTo>
                      <a:pt x="14188" y="985"/>
                    </a:lnTo>
                    <a:lnTo>
                      <a:pt x="15897" y="0"/>
                    </a:lnTo>
                    <a:lnTo>
                      <a:pt x="17265" y="1576"/>
                    </a:lnTo>
                    <a:lnTo>
                      <a:pt x="19487" y="1576"/>
                    </a:lnTo>
                    <a:lnTo>
                      <a:pt x="19487" y="3054"/>
                    </a:lnTo>
                    <a:lnTo>
                      <a:pt x="19915" y="7192"/>
                    </a:lnTo>
                    <a:lnTo>
                      <a:pt x="19915" y="10640"/>
                    </a:lnTo>
                    <a:lnTo>
                      <a:pt x="18547" y="11724"/>
                    </a:lnTo>
                    <a:lnTo>
                      <a:pt x="17265" y="12217"/>
                    </a:lnTo>
                    <a:lnTo>
                      <a:pt x="15043" y="13300"/>
                    </a:lnTo>
                    <a:lnTo>
                      <a:pt x="13675" y="13695"/>
                    </a:lnTo>
                    <a:lnTo>
                      <a:pt x="14188" y="15862"/>
                    </a:lnTo>
                    <a:lnTo>
                      <a:pt x="14188" y="17340"/>
                    </a:lnTo>
                    <a:lnTo>
                      <a:pt x="11966" y="17833"/>
                    </a:lnTo>
                    <a:lnTo>
                      <a:pt x="8376" y="19901"/>
                    </a:lnTo>
                    <a:lnTo>
                      <a:pt x="6667" y="18916"/>
                    </a:lnTo>
                    <a:lnTo>
                      <a:pt x="5812" y="18916"/>
                    </a:lnTo>
                    <a:lnTo>
                      <a:pt x="5812" y="17340"/>
                    </a:lnTo>
                    <a:lnTo>
                      <a:pt x="4872" y="16355"/>
                    </a:lnTo>
                    <a:lnTo>
                      <a:pt x="4444" y="17340"/>
                    </a:lnTo>
                    <a:lnTo>
                      <a:pt x="2650" y="15862"/>
                    </a:lnTo>
                    <a:lnTo>
                      <a:pt x="2650" y="13695"/>
                    </a:lnTo>
                    <a:lnTo>
                      <a:pt x="855" y="9261"/>
                    </a:lnTo>
                    <a:lnTo>
                      <a:pt x="0" y="6601"/>
                    </a:lnTo>
                    <a:lnTo>
                      <a:pt x="2222" y="5025"/>
                    </a:lnTo>
                    <a:lnTo>
                      <a:pt x="2222" y="1576"/>
                    </a:lnTo>
                    <a:lnTo>
                      <a:pt x="4872" y="985"/>
                    </a:lnTo>
                    <a:lnTo>
                      <a:pt x="8034" y="1576"/>
                    </a:lnTo>
                    <a:lnTo>
                      <a:pt x="8376" y="985"/>
                    </a:lnTo>
                    <a:lnTo>
                      <a:pt x="10171" y="1576"/>
                    </a:lnTo>
                    <a:lnTo>
                      <a:pt x="10684" y="157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59" name="Freeform 180"/>
              <p:cNvSpPr>
                <a:spLocks/>
              </p:cNvSpPr>
              <p:nvPr/>
            </p:nvSpPr>
            <p:spPr bwMode="auto">
              <a:xfrm>
                <a:off x="6397625" y="3695700"/>
                <a:ext cx="20638" cy="47625"/>
              </a:xfrm>
              <a:custGeom>
                <a:avLst/>
                <a:gdLst>
                  <a:gd name="T0" fmla="*/ 3750 w 20000"/>
                  <a:gd name="T1" fmla="*/ 17027 h 20000"/>
                  <a:gd name="T2" fmla="*/ 0 w 20000"/>
                  <a:gd name="T3" fmla="*/ 5405 h 20000"/>
                  <a:gd name="T4" fmla="*/ 3750 w 20000"/>
                  <a:gd name="T5" fmla="*/ 4324 h 20000"/>
                  <a:gd name="T6" fmla="*/ 9375 w 20000"/>
                  <a:gd name="T7" fmla="*/ 0 h 20000"/>
                  <a:gd name="T8" fmla="*/ 19375 w 20000"/>
                  <a:gd name="T9" fmla="*/ 4324 h 20000"/>
                  <a:gd name="T10" fmla="*/ 19375 w 20000"/>
                  <a:gd name="T11" fmla="*/ 11081 h 20000"/>
                  <a:gd name="T12" fmla="*/ 19375 w 20000"/>
                  <a:gd name="T13" fmla="*/ 17027 h 20000"/>
                  <a:gd name="T14" fmla="*/ 15625 w 20000"/>
                  <a:gd name="T15" fmla="*/ 19730 h 20000"/>
                  <a:gd name="T16" fmla="*/ 9375 w 20000"/>
                  <a:gd name="T17" fmla="*/ 17027 h 20000"/>
                  <a:gd name="T18" fmla="*/ 3750 w 20000"/>
                  <a:gd name="T19" fmla="*/ 170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3750" y="17027"/>
                    </a:moveTo>
                    <a:lnTo>
                      <a:pt x="0" y="5405"/>
                    </a:lnTo>
                    <a:lnTo>
                      <a:pt x="3750" y="4324"/>
                    </a:lnTo>
                    <a:lnTo>
                      <a:pt x="9375" y="0"/>
                    </a:lnTo>
                    <a:lnTo>
                      <a:pt x="19375" y="4324"/>
                    </a:lnTo>
                    <a:lnTo>
                      <a:pt x="19375" y="11081"/>
                    </a:lnTo>
                    <a:lnTo>
                      <a:pt x="19375" y="17027"/>
                    </a:lnTo>
                    <a:lnTo>
                      <a:pt x="15625" y="19730"/>
                    </a:lnTo>
                    <a:lnTo>
                      <a:pt x="9375" y="17027"/>
                    </a:lnTo>
                    <a:lnTo>
                      <a:pt x="3750" y="1702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0" name="Freeform 179"/>
              <p:cNvSpPr>
                <a:spLocks/>
              </p:cNvSpPr>
              <p:nvPr/>
            </p:nvSpPr>
            <p:spPr bwMode="auto">
              <a:xfrm>
                <a:off x="8347075" y="3019425"/>
                <a:ext cx="149225" cy="220663"/>
              </a:xfrm>
              <a:custGeom>
                <a:avLst/>
                <a:gdLst>
                  <a:gd name="T0" fmla="*/ 19915 w 20000"/>
                  <a:gd name="T1" fmla="*/ 1494 h 20000"/>
                  <a:gd name="T2" fmla="*/ 19915 w 20000"/>
                  <a:gd name="T3" fmla="*/ 2069 h 20000"/>
                  <a:gd name="T4" fmla="*/ 19060 w 20000"/>
                  <a:gd name="T5" fmla="*/ 2356 h 20000"/>
                  <a:gd name="T6" fmla="*/ 18547 w 20000"/>
                  <a:gd name="T7" fmla="*/ 3851 h 20000"/>
                  <a:gd name="T8" fmla="*/ 17692 w 20000"/>
                  <a:gd name="T9" fmla="*/ 5920 h 20000"/>
                  <a:gd name="T10" fmla="*/ 18547 w 20000"/>
                  <a:gd name="T11" fmla="*/ 5920 h 20000"/>
                  <a:gd name="T12" fmla="*/ 19060 w 20000"/>
                  <a:gd name="T13" fmla="*/ 7701 h 20000"/>
                  <a:gd name="T14" fmla="*/ 17692 w 20000"/>
                  <a:gd name="T15" fmla="*/ 8563 h 20000"/>
                  <a:gd name="T16" fmla="*/ 17265 w 20000"/>
                  <a:gd name="T17" fmla="*/ 9195 h 20000"/>
                  <a:gd name="T18" fmla="*/ 15556 w 20000"/>
                  <a:gd name="T19" fmla="*/ 10057 h 20000"/>
                  <a:gd name="T20" fmla="*/ 15556 w 20000"/>
                  <a:gd name="T21" fmla="*/ 10690 h 20000"/>
                  <a:gd name="T22" fmla="*/ 13675 w 20000"/>
                  <a:gd name="T23" fmla="*/ 10977 h 20000"/>
                  <a:gd name="T24" fmla="*/ 12821 w 20000"/>
                  <a:gd name="T25" fmla="*/ 12529 h 20000"/>
                  <a:gd name="T26" fmla="*/ 12821 w 20000"/>
                  <a:gd name="T27" fmla="*/ 13678 h 20000"/>
                  <a:gd name="T28" fmla="*/ 11966 w 20000"/>
                  <a:gd name="T29" fmla="*/ 13678 h 20000"/>
                  <a:gd name="T30" fmla="*/ 13675 w 20000"/>
                  <a:gd name="T31" fmla="*/ 14540 h 20000"/>
                  <a:gd name="T32" fmla="*/ 16410 w 20000"/>
                  <a:gd name="T33" fmla="*/ 16034 h 20000"/>
                  <a:gd name="T34" fmla="*/ 17265 w 20000"/>
                  <a:gd name="T35" fmla="*/ 16034 h 20000"/>
                  <a:gd name="T36" fmla="*/ 17265 w 20000"/>
                  <a:gd name="T37" fmla="*/ 16897 h 20000"/>
                  <a:gd name="T38" fmla="*/ 13675 w 20000"/>
                  <a:gd name="T39" fmla="*/ 17816 h 20000"/>
                  <a:gd name="T40" fmla="*/ 11966 w 20000"/>
                  <a:gd name="T41" fmla="*/ 19310 h 20000"/>
                  <a:gd name="T42" fmla="*/ 9744 w 20000"/>
                  <a:gd name="T43" fmla="*/ 19943 h 20000"/>
                  <a:gd name="T44" fmla="*/ 8376 w 20000"/>
                  <a:gd name="T45" fmla="*/ 18736 h 20000"/>
                  <a:gd name="T46" fmla="*/ 8034 w 20000"/>
                  <a:gd name="T47" fmla="*/ 18736 h 20000"/>
                  <a:gd name="T48" fmla="*/ 8034 w 20000"/>
                  <a:gd name="T49" fmla="*/ 19943 h 20000"/>
                  <a:gd name="T50" fmla="*/ 7009 w 20000"/>
                  <a:gd name="T51" fmla="*/ 19310 h 20000"/>
                  <a:gd name="T52" fmla="*/ 5812 w 20000"/>
                  <a:gd name="T53" fmla="*/ 19310 h 20000"/>
                  <a:gd name="T54" fmla="*/ 6154 w 20000"/>
                  <a:gd name="T55" fmla="*/ 18391 h 20000"/>
                  <a:gd name="T56" fmla="*/ 4444 w 20000"/>
                  <a:gd name="T57" fmla="*/ 18391 h 20000"/>
                  <a:gd name="T58" fmla="*/ 4872 w 20000"/>
                  <a:gd name="T59" fmla="*/ 16897 h 20000"/>
                  <a:gd name="T60" fmla="*/ 5812 w 20000"/>
                  <a:gd name="T61" fmla="*/ 16322 h 20000"/>
                  <a:gd name="T62" fmla="*/ 6154 w 20000"/>
                  <a:gd name="T63" fmla="*/ 16322 h 20000"/>
                  <a:gd name="T64" fmla="*/ 4872 w 20000"/>
                  <a:gd name="T65" fmla="*/ 16034 h 20000"/>
                  <a:gd name="T66" fmla="*/ 4872 w 20000"/>
                  <a:gd name="T67" fmla="*/ 14540 h 20000"/>
                  <a:gd name="T68" fmla="*/ 5812 w 20000"/>
                  <a:gd name="T69" fmla="*/ 13678 h 20000"/>
                  <a:gd name="T70" fmla="*/ 4872 w 20000"/>
                  <a:gd name="T71" fmla="*/ 13103 h 20000"/>
                  <a:gd name="T72" fmla="*/ 4444 w 20000"/>
                  <a:gd name="T73" fmla="*/ 13103 h 20000"/>
                  <a:gd name="T74" fmla="*/ 2222 w 20000"/>
                  <a:gd name="T75" fmla="*/ 12529 h 20000"/>
                  <a:gd name="T76" fmla="*/ 2222 w 20000"/>
                  <a:gd name="T77" fmla="*/ 13103 h 20000"/>
                  <a:gd name="T78" fmla="*/ 1368 w 20000"/>
                  <a:gd name="T79" fmla="*/ 13103 h 20000"/>
                  <a:gd name="T80" fmla="*/ 0 w 20000"/>
                  <a:gd name="T81" fmla="*/ 12529 h 20000"/>
                  <a:gd name="T82" fmla="*/ 1368 w 20000"/>
                  <a:gd name="T83" fmla="*/ 10057 h 20000"/>
                  <a:gd name="T84" fmla="*/ 4444 w 20000"/>
                  <a:gd name="T85" fmla="*/ 8563 h 20000"/>
                  <a:gd name="T86" fmla="*/ 5812 w 20000"/>
                  <a:gd name="T87" fmla="*/ 7701 h 20000"/>
                  <a:gd name="T88" fmla="*/ 6154 w 20000"/>
                  <a:gd name="T89" fmla="*/ 6782 h 20000"/>
                  <a:gd name="T90" fmla="*/ 6154 w 20000"/>
                  <a:gd name="T91" fmla="*/ 5345 h 20000"/>
                  <a:gd name="T92" fmla="*/ 8034 w 20000"/>
                  <a:gd name="T93" fmla="*/ 4770 h 20000"/>
                  <a:gd name="T94" fmla="*/ 9316 w 20000"/>
                  <a:gd name="T95" fmla="*/ 5920 h 20000"/>
                  <a:gd name="T96" fmla="*/ 11538 w 20000"/>
                  <a:gd name="T97" fmla="*/ 5920 h 20000"/>
                  <a:gd name="T98" fmla="*/ 12821 w 20000"/>
                  <a:gd name="T99" fmla="*/ 5920 h 20000"/>
                  <a:gd name="T100" fmla="*/ 11966 w 20000"/>
                  <a:gd name="T101" fmla="*/ 4770 h 20000"/>
                  <a:gd name="T102" fmla="*/ 11966 w 20000"/>
                  <a:gd name="T103" fmla="*/ 4425 h 20000"/>
                  <a:gd name="T104" fmla="*/ 13675 w 20000"/>
                  <a:gd name="T105" fmla="*/ 3851 h 20000"/>
                  <a:gd name="T106" fmla="*/ 15043 w 20000"/>
                  <a:gd name="T107" fmla="*/ 3506 h 20000"/>
                  <a:gd name="T108" fmla="*/ 15556 w 20000"/>
                  <a:gd name="T109" fmla="*/ 2356 h 20000"/>
                  <a:gd name="T110" fmla="*/ 17265 w 20000"/>
                  <a:gd name="T111" fmla="*/ 1494 h 20000"/>
                  <a:gd name="T112" fmla="*/ 17265 w 20000"/>
                  <a:gd name="T113" fmla="*/ 0 h 20000"/>
                  <a:gd name="T114" fmla="*/ 18547 w 20000"/>
                  <a:gd name="T115" fmla="*/ 575 h 20000"/>
                  <a:gd name="T116" fmla="*/ 19915 w 20000"/>
                  <a:gd name="T117" fmla="*/ 149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19915" y="1494"/>
                    </a:moveTo>
                    <a:lnTo>
                      <a:pt x="19915" y="2069"/>
                    </a:lnTo>
                    <a:lnTo>
                      <a:pt x="19060" y="2356"/>
                    </a:lnTo>
                    <a:lnTo>
                      <a:pt x="18547" y="3851"/>
                    </a:lnTo>
                    <a:lnTo>
                      <a:pt x="17692" y="5920"/>
                    </a:lnTo>
                    <a:lnTo>
                      <a:pt x="18547" y="5920"/>
                    </a:lnTo>
                    <a:lnTo>
                      <a:pt x="19060" y="7701"/>
                    </a:lnTo>
                    <a:lnTo>
                      <a:pt x="17692" y="8563"/>
                    </a:lnTo>
                    <a:lnTo>
                      <a:pt x="17265" y="9195"/>
                    </a:lnTo>
                    <a:lnTo>
                      <a:pt x="15556" y="10057"/>
                    </a:lnTo>
                    <a:lnTo>
                      <a:pt x="15556" y="10690"/>
                    </a:lnTo>
                    <a:lnTo>
                      <a:pt x="13675" y="10977"/>
                    </a:lnTo>
                    <a:lnTo>
                      <a:pt x="12821" y="12529"/>
                    </a:lnTo>
                    <a:lnTo>
                      <a:pt x="12821" y="13678"/>
                    </a:lnTo>
                    <a:lnTo>
                      <a:pt x="11966" y="13678"/>
                    </a:lnTo>
                    <a:lnTo>
                      <a:pt x="13675" y="14540"/>
                    </a:lnTo>
                    <a:lnTo>
                      <a:pt x="16410" y="16034"/>
                    </a:lnTo>
                    <a:lnTo>
                      <a:pt x="17265" y="16034"/>
                    </a:lnTo>
                    <a:lnTo>
                      <a:pt x="17265" y="16897"/>
                    </a:lnTo>
                    <a:lnTo>
                      <a:pt x="13675" y="17816"/>
                    </a:lnTo>
                    <a:lnTo>
                      <a:pt x="11966" y="19310"/>
                    </a:lnTo>
                    <a:lnTo>
                      <a:pt x="9744" y="19943"/>
                    </a:lnTo>
                    <a:lnTo>
                      <a:pt x="8376" y="18736"/>
                    </a:lnTo>
                    <a:lnTo>
                      <a:pt x="8034" y="18736"/>
                    </a:lnTo>
                    <a:lnTo>
                      <a:pt x="8034" y="19943"/>
                    </a:lnTo>
                    <a:lnTo>
                      <a:pt x="7009" y="19310"/>
                    </a:lnTo>
                    <a:lnTo>
                      <a:pt x="5812" y="19310"/>
                    </a:lnTo>
                    <a:lnTo>
                      <a:pt x="6154" y="18391"/>
                    </a:lnTo>
                    <a:lnTo>
                      <a:pt x="4444" y="18391"/>
                    </a:lnTo>
                    <a:lnTo>
                      <a:pt x="4872" y="16897"/>
                    </a:lnTo>
                    <a:lnTo>
                      <a:pt x="5812" y="16322"/>
                    </a:lnTo>
                    <a:lnTo>
                      <a:pt x="6154" y="16322"/>
                    </a:lnTo>
                    <a:lnTo>
                      <a:pt x="4872" y="16034"/>
                    </a:lnTo>
                    <a:lnTo>
                      <a:pt x="4872" y="14540"/>
                    </a:lnTo>
                    <a:lnTo>
                      <a:pt x="5812" y="13678"/>
                    </a:lnTo>
                    <a:lnTo>
                      <a:pt x="4872" y="13103"/>
                    </a:lnTo>
                    <a:lnTo>
                      <a:pt x="4444" y="13103"/>
                    </a:lnTo>
                    <a:lnTo>
                      <a:pt x="2222" y="12529"/>
                    </a:lnTo>
                    <a:lnTo>
                      <a:pt x="2222" y="13103"/>
                    </a:lnTo>
                    <a:lnTo>
                      <a:pt x="1368" y="13103"/>
                    </a:lnTo>
                    <a:lnTo>
                      <a:pt x="0" y="12529"/>
                    </a:lnTo>
                    <a:lnTo>
                      <a:pt x="1368" y="10057"/>
                    </a:lnTo>
                    <a:lnTo>
                      <a:pt x="4444" y="8563"/>
                    </a:lnTo>
                    <a:lnTo>
                      <a:pt x="5812" y="7701"/>
                    </a:lnTo>
                    <a:lnTo>
                      <a:pt x="6154" y="6782"/>
                    </a:lnTo>
                    <a:lnTo>
                      <a:pt x="6154" y="5345"/>
                    </a:lnTo>
                    <a:lnTo>
                      <a:pt x="8034" y="4770"/>
                    </a:lnTo>
                    <a:lnTo>
                      <a:pt x="9316" y="5920"/>
                    </a:lnTo>
                    <a:lnTo>
                      <a:pt x="11538" y="5920"/>
                    </a:lnTo>
                    <a:lnTo>
                      <a:pt x="12821" y="5920"/>
                    </a:lnTo>
                    <a:lnTo>
                      <a:pt x="11966" y="4770"/>
                    </a:lnTo>
                    <a:lnTo>
                      <a:pt x="11966" y="4425"/>
                    </a:lnTo>
                    <a:lnTo>
                      <a:pt x="13675" y="3851"/>
                    </a:lnTo>
                    <a:lnTo>
                      <a:pt x="15043" y="3506"/>
                    </a:lnTo>
                    <a:lnTo>
                      <a:pt x="15556" y="2356"/>
                    </a:lnTo>
                    <a:lnTo>
                      <a:pt x="17265" y="1494"/>
                    </a:lnTo>
                    <a:lnTo>
                      <a:pt x="17265" y="0"/>
                    </a:lnTo>
                    <a:lnTo>
                      <a:pt x="18547" y="575"/>
                    </a:lnTo>
                    <a:lnTo>
                      <a:pt x="19915" y="149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1" name="Freeform 178"/>
              <p:cNvSpPr>
                <a:spLocks/>
              </p:cNvSpPr>
              <p:nvPr/>
            </p:nvSpPr>
            <p:spPr bwMode="auto">
              <a:xfrm>
                <a:off x="8426450" y="3195638"/>
                <a:ext cx="103188" cy="168275"/>
              </a:xfrm>
              <a:custGeom>
                <a:avLst/>
                <a:gdLst>
                  <a:gd name="T0" fmla="*/ 1975 w 20000"/>
                  <a:gd name="T1" fmla="*/ 4302 h 20000"/>
                  <a:gd name="T2" fmla="*/ 4444 w 20000"/>
                  <a:gd name="T3" fmla="*/ 2340 h 20000"/>
                  <a:gd name="T4" fmla="*/ 9506 w 20000"/>
                  <a:gd name="T5" fmla="*/ 1208 h 20000"/>
                  <a:gd name="T6" fmla="*/ 9506 w 20000"/>
                  <a:gd name="T7" fmla="*/ 0 h 20000"/>
                  <a:gd name="T8" fmla="*/ 14568 w 20000"/>
                  <a:gd name="T9" fmla="*/ 5132 h 20000"/>
                  <a:gd name="T10" fmla="*/ 18519 w 20000"/>
                  <a:gd name="T11" fmla="*/ 8604 h 20000"/>
                  <a:gd name="T12" fmla="*/ 18519 w 20000"/>
                  <a:gd name="T13" fmla="*/ 11698 h 20000"/>
                  <a:gd name="T14" fmla="*/ 19877 w 20000"/>
                  <a:gd name="T15" fmla="*/ 12528 h 20000"/>
                  <a:gd name="T16" fmla="*/ 19877 w 20000"/>
                  <a:gd name="T17" fmla="*/ 14491 h 20000"/>
                  <a:gd name="T18" fmla="*/ 18519 w 20000"/>
                  <a:gd name="T19" fmla="*/ 16377 h 20000"/>
                  <a:gd name="T20" fmla="*/ 16543 w 20000"/>
                  <a:gd name="T21" fmla="*/ 16377 h 20000"/>
                  <a:gd name="T22" fmla="*/ 15309 w 20000"/>
                  <a:gd name="T23" fmla="*/ 16377 h 20000"/>
                  <a:gd name="T24" fmla="*/ 15309 w 20000"/>
                  <a:gd name="T25" fmla="*/ 17585 h 20000"/>
                  <a:gd name="T26" fmla="*/ 13333 w 20000"/>
                  <a:gd name="T27" fmla="*/ 16830 h 20000"/>
                  <a:gd name="T28" fmla="*/ 13333 w 20000"/>
                  <a:gd name="T29" fmla="*/ 16377 h 20000"/>
                  <a:gd name="T30" fmla="*/ 12099 w 20000"/>
                  <a:gd name="T31" fmla="*/ 17585 h 20000"/>
                  <a:gd name="T32" fmla="*/ 12099 w 20000"/>
                  <a:gd name="T33" fmla="*/ 17962 h 20000"/>
                  <a:gd name="T34" fmla="*/ 11481 w 20000"/>
                  <a:gd name="T35" fmla="*/ 17585 h 20000"/>
                  <a:gd name="T36" fmla="*/ 10247 w 20000"/>
                  <a:gd name="T37" fmla="*/ 17962 h 20000"/>
                  <a:gd name="T38" fmla="*/ 11481 w 20000"/>
                  <a:gd name="T39" fmla="*/ 18717 h 20000"/>
                  <a:gd name="T40" fmla="*/ 10247 w 20000"/>
                  <a:gd name="T41" fmla="*/ 19472 h 20000"/>
                  <a:gd name="T42" fmla="*/ 9506 w 20000"/>
                  <a:gd name="T43" fmla="*/ 18717 h 20000"/>
                  <a:gd name="T44" fmla="*/ 8272 w 20000"/>
                  <a:gd name="T45" fmla="*/ 19472 h 20000"/>
                  <a:gd name="T46" fmla="*/ 6296 w 20000"/>
                  <a:gd name="T47" fmla="*/ 19925 h 20000"/>
                  <a:gd name="T48" fmla="*/ 6296 w 20000"/>
                  <a:gd name="T49" fmla="*/ 17585 h 20000"/>
                  <a:gd name="T50" fmla="*/ 5062 w 20000"/>
                  <a:gd name="T51" fmla="*/ 17962 h 20000"/>
                  <a:gd name="T52" fmla="*/ 4444 w 20000"/>
                  <a:gd name="T53" fmla="*/ 15623 h 20000"/>
                  <a:gd name="T54" fmla="*/ 5062 w 20000"/>
                  <a:gd name="T55" fmla="*/ 14868 h 20000"/>
                  <a:gd name="T56" fmla="*/ 4444 w 20000"/>
                  <a:gd name="T57" fmla="*/ 14491 h 20000"/>
                  <a:gd name="T58" fmla="*/ 4444 w 20000"/>
                  <a:gd name="T59" fmla="*/ 13660 h 20000"/>
                  <a:gd name="T60" fmla="*/ 5062 w 20000"/>
                  <a:gd name="T61" fmla="*/ 13283 h 20000"/>
                  <a:gd name="T62" fmla="*/ 5062 w 20000"/>
                  <a:gd name="T63" fmla="*/ 12528 h 20000"/>
                  <a:gd name="T64" fmla="*/ 4444 w 20000"/>
                  <a:gd name="T65" fmla="*/ 11698 h 20000"/>
                  <a:gd name="T66" fmla="*/ 1975 w 20000"/>
                  <a:gd name="T67" fmla="*/ 9434 h 20000"/>
                  <a:gd name="T68" fmla="*/ 1235 w 20000"/>
                  <a:gd name="T69" fmla="*/ 8604 h 20000"/>
                  <a:gd name="T70" fmla="*/ 1235 w 20000"/>
                  <a:gd name="T71" fmla="*/ 8226 h 20000"/>
                  <a:gd name="T72" fmla="*/ 4444 w 20000"/>
                  <a:gd name="T73" fmla="*/ 8604 h 20000"/>
                  <a:gd name="T74" fmla="*/ 3210 w 20000"/>
                  <a:gd name="T75" fmla="*/ 7396 h 20000"/>
                  <a:gd name="T76" fmla="*/ 1975 w 20000"/>
                  <a:gd name="T77" fmla="*/ 6642 h 20000"/>
                  <a:gd name="T78" fmla="*/ 1235 w 20000"/>
                  <a:gd name="T79" fmla="*/ 5434 h 20000"/>
                  <a:gd name="T80" fmla="*/ 0 w 20000"/>
                  <a:gd name="T81" fmla="*/ 5132 h 20000"/>
                  <a:gd name="T82" fmla="*/ 1975 w 20000"/>
                  <a:gd name="T83" fmla="*/ 5132 h 20000"/>
                  <a:gd name="T84" fmla="*/ 1975 w 20000"/>
                  <a:gd name="T85" fmla="*/ 430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75" y="4302"/>
                    </a:moveTo>
                    <a:lnTo>
                      <a:pt x="4444" y="2340"/>
                    </a:lnTo>
                    <a:lnTo>
                      <a:pt x="9506" y="1208"/>
                    </a:lnTo>
                    <a:lnTo>
                      <a:pt x="9506" y="0"/>
                    </a:lnTo>
                    <a:lnTo>
                      <a:pt x="14568" y="5132"/>
                    </a:lnTo>
                    <a:lnTo>
                      <a:pt x="18519" y="8604"/>
                    </a:lnTo>
                    <a:lnTo>
                      <a:pt x="18519" y="11698"/>
                    </a:lnTo>
                    <a:lnTo>
                      <a:pt x="19877" y="12528"/>
                    </a:lnTo>
                    <a:lnTo>
                      <a:pt x="19877" y="14491"/>
                    </a:lnTo>
                    <a:lnTo>
                      <a:pt x="18519" y="16377"/>
                    </a:lnTo>
                    <a:lnTo>
                      <a:pt x="16543" y="16377"/>
                    </a:lnTo>
                    <a:lnTo>
                      <a:pt x="15309" y="16377"/>
                    </a:lnTo>
                    <a:lnTo>
                      <a:pt x="15309" y="17585"/>
                    </a:lnTo>
                    <a:lnTo>
                      <a:pt x="13333" y="16830"/>
                    </a:lnTo>
                    <a:lnTo>
                      <a:pt x="13333" y="16377"/>
                    </a:lnTo>
                    <a:lnTo>
                      <a:pt x="12099" y="17585"/>
                    </a:lnTo>
                    <a:lnTo>
                      <a:pt x="12099" y="17962"/>
                    </a:lnTo>
                    <a:lnTo>
                      <a:pt x="11481" y="17585"/>
                    </a:lnTo>
                    <a:lnTo>
                      <a:pt x="10247" y="17962"/>
                    </a:lnTo>
                    <a:lnTo>
                      <a:pt x="11481" y="18717"/>
                    </a:lnTo>
                    <a:lnTo>
                      <a:pt x="10247" y="19472"/>
                    </a:lnTo>
                    <a:lnTo>
                      <a:pt x="9506" y="18717"/>
                    </a:lnTo>
                    <a:lnTo>
                      <a:pt x="8272" y="19472"/>
                    </a:lnTo>
                    <a:lnTo>
                      <a:pt x="6296" y="19925"/>
                    </a:lnTo>
                    <a:lnTo>
                      <a:pt x="6296" y="17585"/>
                    </a:lnTo>
                    <a:lnTo>
                      <a:pt x="5062" y="17962"/>
                    </a:lnTo>
                    <a:lnTo>
                      <a:pt x="4444" y="15623"/>
                    </a:lnTo>
                    <a:lnTo>
                      <a:pt x="5062" y="14868"/>
                    </a:lnTo>
                    <a:lnTo>
                      <a:pt x="4444" y="14491"/>
                    </a:lnTo>
                    <a:lnTo>
                      <a:pt x="4444" y="13660"/>
                    </a:lnTo>
                    <a:lnTo>
                      <a:pt x="5062" y="13283"/>
                    </a:lnTo>
                    <a:lnTo>
                      <a:pt x="5062" y="12528"/>
                    </a:lnTo>
                    <a:lnTo>
                      <a:pt x="4444" y="11698"/>
                    </a:lnTo>
                    <a:lnTo>
                      <a:pt x="1975" y="9434"/>
                    </a:lnTo>
                    <a:lnTo>
                      <a:pt x="1235" y="8604"/>
                    </a:lnTo>
                    <a:lnTo>
                      <a:pt x="1235" y="8226"/>
                    </a:lnTo>
                    <a:lnTo>
                      <a:pt x="4444" y="8604"/>
                    </a:lnTo>
                    <a:lnTo>
                      <a:pt x="3210" y="7396"/>
                    </a:lnTo>
                    <a:lnTo>
                      <a:pt x="1975" y="6642"/>
                    </a:lnTo>
                    <a:lnTo>
                      <a:pt x="1235" y="5434"/>
                    </a:lnTo>
                    <a:lnTo>
                      <a:pt x="0" y="5132"/>
                    </a:lnTo>
                    <a:lnTo>
                      <a:pt x="1975" y="5132"/>
                    </a:lnTo>
                    <a:lnTo>
                      <a:pt x="1975" y="430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2" name="Freeform 177"/>
              <p:cNvSpPr>
                <a:spLocks/>
              </p:cNvSpPr>
              <p:nvPr/>
            </p:nvSpPr>
            <p:spPr bwMode="auto">
              <a:xfrm>
                <a:off x="6278563" y="3570288"/>
                <a:ext cx="42862" cy="44450"/>
              </a:xfrm>
              <a:custGeom>
                <a:avLst/>
                <a:gdLst>
                  <a:gd name="T0" fmla="*/ 0 w 20000"/>
                  <a:gd name="T1" fmla="*/ 12174 h 20000"/>
                  <a:gd name="T2" fmla="*/ 2941 w 20000"/>
                  <a:gd name="T3" fmla="*/ 7826 h 20000"/>
                  <a:gd name="T4" fmla="*/ 4706 w 20000"/>
                  <a:gd name="T5" fmla="*/ 0 h 20000"/>
                  <a:gd name="T6" fmla="*/ 12059 w 20000"/>
                  <a:gd name="T7" fmla="*/ 0 h 20000"/>
                  <a:gd name="T8" fmla="*/ 15000 w 20000"/>
                  <a:gd name="T9" fmla="*/ 3188 h 20000"/>
                  <a:gd name="T10" fmla="*/ 18235 w 20000"/>
                  <a:gd name="T11" fmla="*/ 3188 h 20000"/>
                  <a:gd name="T12" fmla="*/ 18235 w 20000"/>
                  <a:gd name="T13" fmla="*/ 6087 h 20000"/>
                  <a:gd name="T14" fmla="*/ 12059 w 20000"/>
                  <a:gd name="T15" fmla="*/ 7826 h 20000"/>
                  <a:gd name="T16" fmla="*/ 15000 w 20000"/>
                  <a:gd name="T17" fmla="*/ 10725 h 20000"/>
                  <a:gd name="T18" fmla="*/ 19706 w 20000"/>
                  <a:gd name="T19" fmla="*/ 19710 h 20000"/>
                  <a:gd name="T20" fmla="*/ 12059 w 20000"/>
                  <a:gd name="T21" fmla="*/ 19710 h 20000"/>
                  <a:gd name="T22" fmla="*/ 10588 w 20000"/>
                  <a:gd name="T23" fmla="*/ 15072 h 20000"/>
                  <a:gd name="T24" fmla="*/ 0 w 20000"/>
                  <a:gd name="T25" fmla="*/ 1217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0" y="12174"/>
                    </a:moveTo>
                    <a:lnTo>
                      <a:pt x="2941" y="7826"/>
                    </a:lnTo>
                    <a:lnTo>
                      <a:pt x="4706" y="0"/>
                    </a:lnTo>
                    <a:lnTo>
                      <a:pt x="12059" y="0"/>
                    </a:lnTo>
                    <a:lnTo>
                      <a:pt x="15000" y="3188"/>
                    </a:lnTo>
                    <a:lnTo>
                      <a:pt x="18235" y="3188"/>
                    </a:lnTo>
                    <a:lnTo>
                      <a:pt x="18235" y="6087"/>
                    </a:lnTo>
                    <a:lnTo>
                      <a:pt x="12059" y="7826"/>
                    </a:lnTo>
                    <a:lnTo>
                      <a:pt x="15000" y="10725"/>
                    </a:lnTo>
                    <a:lnTo>
                      <a:pt x="19706" y="19710"/>
                    </a:lnTo>
                    <a:lnTo>
                      <a:pt x="12059" y="19710"/>
                    </a:lnTo>
                    <a:lnTo>
                      <a:pt x="10588" y="15072"/>
                    </a:lnTo>
                    <a:lnTo>
                      <a:pt x="0" y="1217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3" name="Freeform 176"/>
              <p:cNvSpPr>
                <a:spLocks/>
              </p:cNvSpPr>
              <p:nvPr/>
            </p:nvSpPr>
            <p:spPr bwMode="auto">
              <a:xfrm>
                <a:off x="7794625" y="3794125"/>
                <a:ext cx="223838" cy="266700"/>
              </a:xfrm>
              <a:custGeom>
                <a:avLst/>
                <a:gdLst>
                  <a:gd name="T0" fmla="*/ 2323 w 20000"/>
                  <a:gd name="T1" fmla="*/ 2952 h 20000"/>
                  <a:gd name="T2" fmla="*/ 3229 w 20000"/>
                  <a:gd name="T3" fmla="*/ 476 h 20000"/>
                  <a:gd name="T4" fmla="*/ 4646 w 20000"/>
                  <a:gd name="T5" fmla="*/ 0 h 20000"/>
                  <a:gd name="T6" fmla="*/ 6459 w 20000"/>
                  <a:gd name="T7" fmla="*/ 1238 h 20000"/>
                  <a:gd name="T8" fmla="*/ 6459 w 20000"/>
                  <a:gd name="T9" fmla="*/ 2952 h 20000"/>
                  <a:gd name="T10" fmla="*/ 10198 w 20000"/>
                  <a:gd name="T11" fmla="*/ 3714 h 20000"/>
                  <a:gd name="T12" fmla="*/ 11445 w 20000"/>
                  <a:gd name="T13" fmla="*/ 4476 h 20000"/>
                  <a:gd name="T14" fmla="*/ 11671 w 20000"/>
                  <a:gd name="T15" fmla="*/ 6429 h 20000"/>
                  <a:gd name="T16" fmla="*/ 9972 w 20000"/>
                  <a:gd name="T17" fmla="*/ 6429 h 20000"/>
                  <a:gd name="T18" fmla="*/ 12578 w 20000"/>
                  <a:gd name="T19" fmla="*/ 8857 h 20000"/>
                  <a:gd name="T20" fmla="*/ 14051 w 20000"/>
                  <a:gd name="T21" fmla="*/ 10095 h 20000"/>
                  <a:gd name="T22" fmla="*/ 16431 w 20000"/>
                  <a:gd name="T23" fmla="*/ 12286 h 20000"/>
                  <a:gd name="T24" fmla="*/ 19320 w 20000"/>
                  <a:gd name="T25" fmla="*/ 14810 h 20000"/>
                  <a:gd name="T26" fmla="*/ 19943 w 20000"/>
                  <a:gd name="T27" fmla="*/ 16238 h 20000"/>
                  <a:gd name="T28" fmla="*/ 19943 w 20000"/>
                  <a:gd name="T29" fmla="*/ 18000 h 20000"/>
                  <a:gd name="T30" fmla="*/ 18414 w 20000"/>
                  <a:gd name="T31" fmla="*/ 18714 h 20000"/>
                  <a:gd name="T32" fmla="*/ 16431 w 20000"/>
                  <a:gd name="T33" fmla="*/ 18476 h 20000"/>
                  <a:gd name="T34" fmla="*/ 16091 w 20000"/>
                  <a:gd name="T35" fmla="*/ 19952 h 20000"/>
                  <a:gd name="T36" fmla="*/ 14051 w 20000"/>
                  <a:gd name="T37" fmla="*/ 19476 h 20000"/>
                  <a:gd name="T38" fmla="*/ 14618 w 20000"/>
                  <a:gd name="T39" fmla="*/ 18000 h 20000"/>
                  <a:gd name="T40" fmla="*/ 14618 w 20000"/>
                  <a:gd name="T41" fmla="*/ 15524 h 20000"/>
                  <a:gd name="T42" fmla="*/ 14051 w 20000"/>
                  <a:gd name="T43" fmla="*/ 14810 h 20000"/>
                  <a:gd name="T44" fmla="*/ 12578 w 20000"/>
                  <a:gd name="T45" fmla="*/ 13333 h 20000"/>
                  <a:gd name="T46" fmla="*/ 12295 w 20000"/>
                  <a:gd name="T47" fmla="*/ 12095 h 20000"/>
                  <a:gd name="T48" fmla="*/ 9972 w 20000"/>
                  <a:gd name="T49" fmla="*/ 9619 h 20000"/>
                  <a:gd name="T50" fmla="*/ 7875 w 20000"/>
                  <a:gd name="T51" fmla="*/ 10095 h 20000"/>
                  <a:gd name="T52" fmla="*/ 6459 w 20000"/>
                  <a:gd name="T53" fmla="*/ 10333 h 20000"/>
                  <a:gd name="T54" fmla="*/ 4646 w 20000"/>
                  <a:gd name="T55" fmla="*/ 10333 h 20000"/>
                  <a:gd name="T56" fmla="*/ 3229 w 20000"/>
                  <a:gd name="T57" fmla="*/ 11095 h 20000"/>
                  <a:gd name="T58" fmla="*/ 2606 w 20000"/>
                  <a:gd name="T59" fmla="*/ 9143 h 20000"/>
                  <a:gd name="T60" fmla="*/ 2606 w 20000"/>
                  <a:gd name="T61" fmla="*/ 7143 h 20000"/>
                  <a:gd name="T62" fmla="*/ 1473 w 20000"/>
                  <a:gd name="T63" fmla="*/ 6905 h 20000"/>
                  <a:gd name="T64" fmla="*/ 1473 w 20000"/>
                  <a:gd name="T65" fmla="*/ 5667 h 20000"/>
                  <a:gd name="T66" fmla="*/ 0 w 20000"/>
                  <a:gd name="T67" fmla="*/ 5190 h 20000"/>
                  <a:gd name="T68" fmla="*/ 227 w 20000"/>
                  <a:gd name="T69" fmla="*/ 3905 h 20000"/>
                  <a:gd name="T70" fmla="*/ 907 w 20000"/>
                  <a:gd name="T71" fmla="*/ 3190 h 20000"/>
                  <a:gd name="T72" fmla="*/ 2323 w 20000"/>
                  <a:gd name="T73" fmla="*/ 24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2323" y="2476"/>
                    </a:moveTo>
                    <a:lnTo>
                      <a:pt x="2323" y="2952"/>
                    </a:lnTo>
                    <a:lnTo>
                      <a:pt x="3796" y="2952"/>
                    </a:lnTo>
                    <a:lnTo>
                      <a:pt x="3229" y="476"/>
                    </a:lnTo>
                    <a:lnTo>
                      <a:pt x="3796" y="0"/>
                    </a:lnTo>
                    <a:lnTo>
                      <a:pt x="4646" y="0"/>
                    </a:lnTo>
                    <a:lnTo>
                      <a:pt x="5212" y="762"/>
                    </a:lnTo>
                    <a:lnTo>
                      <a:pt x="6459" y="1238"/>
                    </a:lnTo>
                    <a:lnTo>
                      <a:pt x="6459" y="1762"/>
                    </a:lnTo>
                    <a:lnTo>
                      <a:pt x="6459" y="2952"/>
                    </a:lnTo>
                    <a:lnTo>
                      <a:pt x="8442" y="3714"/>
                    </a:lnTo>
                    <a:lnTo>
                      <a:pt x="10198" y="3714"/>
                    </a:lnTo>
                    <a:lnTo>
                      <a:pt x="10878" y="4476"/>
                    </a:lnTo>
                    <a:lnTo>
                      <a:pt x="11445" y="4476"/>
                    </a:lnTo>
                    <a:lnTo>
                      <a:pt x="11671" y="5190"/>
                    </a:lnTo>
                    <a:lnTo>
                      <a:pt x="11671" y="6429"/>
                    </a:lnTo>
                    <a:lnTo>
                      <a:pt x="10878" y="6429"/>
                    </a:lnTo>
                    <a:lnTo>
                      <a:pt x="9972" y="6429"/>
                    </a:lnTo>
                    <a:lnTo>
                      <a:pt x="9972" y="7143"/>
                    </a:lnTo>
                    <a:lnTo>
                      <a:pt x="12578" y="8857"/>
                    </a:lnTo>
                    <a:lnTo>
                      <a:pt x="13201" y="9143"/>
                    </a:lnTo>
                    <a:lnTo>
                      <a:pt x="14051" y="10095"/>
                    </a:lnTo>
                    <a:lnTo>
                      <a:pt x="14958" y="11095"/>
                    </a:lnTo>
                    <a:lnTo>
                      <a:pt x="16431" y="12286"/>
                    </a:lnTo>
                    <a:lnTo>
                      <a:pt x="17564" y="13524"/>
                    </a:lnTo>
                    <a:lnTo>
                      <a:pt x="19320" y="14810"/>
                    </a:lnTo>
                    <a:lnTo>
                      <a:pt x="19320" y="16238"/>
                    </a:lnTo>
                    <a:lnTo>
                      <a:pt x="19943" y="16238"/>
                    </a:lnTo>
                    <a:lnTo>
                      <a:pt x="19943" y="17238"/>
                    </a:lnTo>
                    <a:lnTo>
                      <a:pt x="19943" y="18000"/>
                    </a:lnTo>
                    <a:lnTo>
                      <a:pt x="19943" y="18714"/>
                    </a:lnTo>
                    <a:lnTo>
                      <a:pt x="18414" y="18714"/>
                    </a:lnTo>
                    <a:lnTo>
                      <a:pt x="17564" y="18000"/>
                    </a:lnTo>
                    <a:lnTo>
                      <a:pt x="16431" y="18476"/>
                    </a:lnTo>
                    <a:lnTo>
                      <a:pt x="16431" y="19476"/>
                    </a:lnTo>
                    <a:lnTo>
                      <a:pt x="16091" y="19952"/>
                    </a:lnTo>
                    <a:lnTo>
                      <a:pt x="15524" y="19476"/>
                    </a:lnTo>
                    <a:lnTo>
                      <a:pt x="14051" y="19476"/>
                    </a:lnTo>
                    <a:lnTo>
                      <a:pt x="14051" y="18714"/>
                    </a:lnTo>
                    <a:lnTo>
                      <a:pt x="14618" y="18000"/>
                    </a:lnTo>
                    <a:lnTo>
                      <a:pt x="14618" y="16238"/>
                    </a:lnTo>
                    <a:lnTo>
                      <a:pt x="14618" y="15524"/>
                    </a:lnTo>
                    <a:lnTo>
                      <a:pt x="14051" y="15286"/>
                    </a:lnTo>
                    <a:lnTo>
                      <a:pt x="14051" y="14810"/>
                    </a:lnTo>
                    <a:lnTo>
                      <a:pt x="13201" y="14286"/>
                    </a:lnTo>
                    <a:lnTo>
                      <a:pt x="12578" y="13333"/>
                    </a:lnTo>
                    <a:lnTo>
                      <a:pt x="12295" y="12286"/>
                    </a:lnTo>
                    <a:lnTo>
                      <a:pt x="12295" y="12095"/>
                    </a:lnTo>
                    <a:lnTo>
                      <a:pt x="10878" y="10333"/>
                    </a:lnTo>
                    <a:lnTo>
                      <a:pt x="9972" y="9619"/>
                    </a:lnTo>
                    <a:lnTo>
                      <a:pt x="8442" y="9143"/>
                    </a:lnTo>
                    <a:lnTo>
                      <a:pt x="7875" y="10095"/>
                    </a:lnTo>
                    <a:lnTo>
                      <a:pt x="7025" y="10095"/>
                    </a:lnTo>
                    <a:lnTo>
                      <a:pt x="6459" y="10333"/>
                    </a:lnTo>
                    <a:lnTo>
                      <a:pt x="5552" y="9619"/>
                    </a:lnTo>
                    <a:lnTo>
                      <a:pt x="4646" y="10333"/>
                    </a:lnTo>
                    <a:lnTo>
                      <a:pt x="4079" y="10333"/>
                    </a:lnTo>
                    <a:lnTo>
                      <a:pt x="3229" y="11095"/>
                    </a:lnTo>
                    <a:lnTo>
                      <a:pt x="2606" y="10810"/>
                    </a:lnTo>
                    <a:lnTo>
                      <a:pt x="2606" y="9143"/>
                    </a:lnTo>
                    <a:lnTo>
                      <a:pt x="3229" y="7619"/>
                    </a:lnTo>
                    <a:lnTo>
                      <a:pt x="2606" y="7143"/>
                    </a:lnTo>
                    <a:lnTo>
                      <a:pt x="2323" y="6429"/>
                    </a:lnTo>
                    <a:lnTo>
                      <a:pt x="1473" y="6905"/>
                    </a:lnTo>
                    <a:lnTo>
                      <a:pt x="907" y="6429"/>
                    </a:lnTo>
                    <a:lnTo>
                      <a:pt x="1473" y="5667"/>
                    </a:lnTo>
                    <a:lnTo>
                      <a:pt x="227" y="4952"/>
                    </a:lnTo>
                    <a:lnTo>
                      <a:pt x="0" y="5190"/>
                    </a:lnTo>
                    <a:lnTo>
                      <a:pt x="0" y="4476"/>
                    </a:lnTo>
                    <a:lnTo>
                      <a:pt x="227" y="3905"/>
                    </a:lnTo>
                    <a:lnTo>
                      <a:pt x="1473" y="3714"/>
                    </a:lnTo>
                    <a:lnTo>
                      <a:pt x="907" y="3190"/>
                    </a:lnTo>
                    <a:lnTo>
                      <a:pt x="1473" y="2952"/>
                    </a:lnTo>
                    <a:lnTo>
                      <a:pt x="2323" y="247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4" name="Freeform 175"/>
              <p:cNvSpPr>
                <a:spLocks/>
              </p:cNvSpPr>
              <p:nvPr/>
            </p:nvSpPr>
            <p:spPr bwMode="auto">
              <a:xfrm>
                <a:off x="5949950" y="3422650"/>
                <a:ext cx="36513" cy="53975"/>
              </a:xfrm>
              <a:custGeom>
                <a:avLst/>
                <a:gdLst>
                  <a:gd name="T0" fmla="*/ 9310 w 20000"/>
                  <a:gd name="T1" fmla="*/ 2381 h 20000"/>
                  <a:gd name="T2" fmla="*/ 19655 w 20000"/>
                  <a:gd name="T3" fmla="*/ 0 h 20000"/>
                  <a:gd name="T4" fmla="*/ 19655 w 20000"/>
                  <a:gd name="T5" fmla="*/ 3571 h 20000"/>
                  <a:gd name="T6" fmla="*/ 19655 w 20000"/>
                  <a:gd name="T7" fmla="*/ 8571 h 20000"/>
                  <a:gd name="T8" fmla="*/ 14483 w 20000"/>
                  <a:gd name="T9" fmla="*/ 12381 h 20000"/>
                  <a:gd name="T10" fmla="*/ 14483 w 20000"/>
                  <a:gd name="T11" fmla="*/ 13571 h 20000"/>
                  <a:gd name="T12" fmla="*/ 10690 w 20000"/>
                  <a:gd name="T13" fmla="*/ 18333 h 20000"/>
                  <a:gd name="T14" fmla="*/ 5517 w 20000"/>
                  <a:gd name="T15" fmla="*/ 18333 h 20000"/>
                  <a:gd name="T16" fmla="*/ 5517 w 20000"/>
                  <a:gd name="T17" fmla="*/ 19762 h 20000"/>
                  <a:gd name="T18" fmla="*/ 0 w 20000"/>
                  <a:gd name="T19" fmla="*/ 19762 h 20000"/>
                  <a:gd name="T20" fmla="*/ 0 w 20000"/>
                  <a:gd name="T21" fmla="*/ 15952 h 20000"/>
                  <a:gd name="T22" fmla="*/ 3793 w 20000"/>
                  <a:gd name="T23" fmla="*/ 12381 h 20000"/>
                  <a:gd name="T24" fmla="*/ 5517 w 20000"/>
                  <a:gd name="T25" fmla="*/ 6190 h 20000"/>
                  <a:gd name="T26" fmla="*/ 9310 w 20000"/>
                  <a:gd name="T27" fmla="*/ 238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9310" y="2381"/>
                    </a:moveTo>
                    <a:lnTo>
                      <a:pt x="19655" y="0"/>
                    </a:lnTo>
                    <a:lnTo>
                      <a:pt x="19655" y="3571"/>
                    </a:lnTo>
                    <a:lnTo>
                      <a:pt x="19655" y="8571"/>
                    </a:lnTo>
                    <a:lnTo>
                      <a:pt x="14483" y="12381"/>
                    </a:lnTo>
                    <a:lnTo>
                      <a:pt x="14483" y="13571"/>
                    </a:lnTo>
                    <a:lnTo>
                      <a:pt x="10690" y="18333"/>
                    </a:lnTo>
                    <a:lnTo>
                      <a:pt x="5517" y="18333"/>
                    </a:lnTo>
                    <a:lnTo>
                      <a:pt x="5517" y="19762"/>
                    </a:lnTo>
                    <a:lnTo>
                      <a:pt x="0" y="19762"/>
                    </a:lnTo>
                    <a:lnTo>
                      <a:pt x="0" y="15952"/>
                    </a:lnTo>
                    <a:lnTo>
                      <a:pt x="3793" y="12381"/>
                    </a:lnTo>
                    <a:lnTo>
                      <a:pt x="5517" y="6190"/>
                    </a:lnTo>
                    <a:lnTo>
                      <a:pt x="9310" y="23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5" name="Freeform 174"/>
              <p:cNvSpPr>
                <a:spLocks/>
              </p:cNvSpPr>
              <p:nvPr/>
            </p:nvSpPr>
            <p:spPr bwMode="auto">
              <a:xfrm>
                <a:off x="7821613" y="4273550"/>
                <a:ext cx="115887" cy="152400"/>
              </a:xfrm>
              <a:custGeom>
                <a:avLst/>
                <a:gdLst>
                  <a:gd name="T0" fmla="*/ 0 w 20000"/>
                  <a:gd name="T1" fmla="*/ 335 h 20000"/>
                  <a:gd name="T2" fmla="*/ 440 w 20000"/>
                  <a:gd name="T3" fmla="*/ 0 h 20000"/>
                  <a:gd name="T4" fmla="*/ 4505 w 20000"/>
                  <a:gd name="T5" fmla="*/ 1674 h 20000"/>
                  <a:gd name="T6" fmla="*/ 3407 w 20000"/>
                  <a:gd name="T7" fmla="*/ 3431 h 20000"/>
                  <a:gd name="T8" fmla="*/ 5604 w 20000"/>
                  <a:gd name="T9" fmla="*/ 3431 h 20000"/>
                  <a:gd name="T10" fmla="*/ 6264 w 20000"/>
                  <a:gd name="T11" fmla="*/ 1674 h 20000"/>
                  <a:gd name="T12" fmla="*/ 7363 w 20000"/>
                  <a:gd name="T13" fmla="*/ 2594 h 20000"/>
                  <a:gd name="T14" fmla="*/ 8022 w 20000"/>
                  <a:gd name="T15" fmla="*/ 1674 h 20000"/>
                  <a:gd name="T16" fmla="*/ 9121 w 20000"/>
                  <a:gd name="T17" fmla="*/ 1674 h 20000"/>
                  <a:gd name="T18" fmla="*/ 15385 w 20000"/>
                  <a:gd name="T19" fmla="*/ 7364 h 20000"/>
                  <a:gd name="T20" fmla="*/ 15385 w 20000"/>
                  <a:gd name="T21" fmla="*/ 10879 h 20000"/>
                  <a:gd name="T22" fmla="*/ 16593 w 20000"/>
                  <a:gd name="T23" fmla="*/ 12971 h 20000"/>
                  <a:gd name="T24" fmla="*/ 16593 w 20000"/>
                  <a:gd name="T25" fmla="*/ 14728 h 20000"/>
                  <a:gd name="T26" fmla="*/ 18132 w 20000"/>
                  <a:gd name="T27" fmla="*/ 15146 h 20000"/>
                  <a:gd name="T28" fmla="*/ 19890 w 20000"/>
                  <a:gd name="T29" fmla="*/ 19916 h 20000"/>
                  <a:gd name="T30" fmla="*/ 19341 w 20000"/>
                  <a:gd name="T31" fmla="*/ 18577 h 20000"/>
                  <a:gd name="T32" fmla="*/ 16593 w 20000"/>
                  <a:gd name="T33" fmla="*/ 19498 h 20000"/>
                  <a:gd name="T34" fmla="*/ 16593 w 20000"/>
                  <a:gd name="T35" fmla="*/ 19916 h 20000"/>
                  <a:gd name="T36" fmla="*/ 13626 w 20000"/>
                  <a:gd name="T37" fmla="*/ 18243 h 20000"/>
                  <a:gd name="T38" fmla="*/ 10220 w 20000"/>
                  <a:gd name="T39" fmla="*/ 16485 h 20000"/>
                  <a:gd name="T40" fmla="*/ 6264 w 20000"/>
                  <a:gd name="T41" fmla="*/ 13808 h 20000"/>
                  <a:gd name="T42" fmla="*/ 5604 w 20000"/>
                  <a:gd name="T43" fmla="*/ 12552 h 20000"/>
                  <a:gd name="T44" fmla="*/ 2857 w 20000"/>
                  <a:gd name="T45" fmla="*/ 10377 h 20000"/>
                  <a:gd name="T46" fmla="*/ 2857 w 20000"/>
                  <a:gd name="T47" fmla="*/ 9038 h 20000"/>
                  <a:gd name="T48" fmla="*/ 2857 w 20000"/>
                  <a:gd name="T49" fmla="*/ 6946 h 20000"/>
                  <a:gd name="T50" fmla="*/ 1758 w 20000"/>
                  <a:gd name="T51" fmla="*/ 6109 h 20000"/>
                  <a:gd name="T52" fmla="*/ 440 w 20000"/>
                  <a:gd name="T53" fmla="*/ 3431 h 20000"/>
                  <a:gd name="T54" fmla="*/ 0 w 20000"/>
                  <a:gd name="T55" fmla="*/ 3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0" y="335"/>
                    </a:moveTo>
                    <a:lnTo>
                      <a:pt x="440" y="0"/>
                    </a:lnTo>
                    <a:lnTo>
                      <a:pt x="4505" y="1674"/>
                    </a:lnTo>
                    <a:lnTo>
                      <a:pt x="3407" y="3431"/>
                    </a:lnTo>
                    <a:lnTo>
                      <a:pt x="5604" y="3431"/>
                    </a:lnTo>
                    <a:lnTo>
                      <a:pt x="6264" y="1674"/>
                    </a:lnTo>
                    <a:lnTo>
                      <a:pt x="7363" y="2594"/>
                    </a:lnTo>
                    <a:lnTo>
                      <a:pt x="8022" y="1674"/>
                    </a:lnTo>
                    <a:lnTo>
                      <a:pt x="9121" y="1674"/>
                    </a:lnTo>
                    <a:lnTo>
                      <a:pt x="15385" y="7364"/>
                    </a:lnTo>
                    <a:lnTo>
                      <a:pt x="15385" y="10879"/>
                    </a:lnTo>
                    <a:lnTo>
                      <a:pt x="16593" y="12971"/>
                    </a:lnTo>
                    <a:lnTo>
                      <a:pt x="16593" y="14728"/>
                    </a:lnTo>
                    <a:lnTo>
                      <a:pt x="18132" y="15146"/>
                    </a:lnTo>
                    <a:lnTo>
                      <a:pt x="19890" y="19916"/>
                    </a:lnTo>
                    <a:lnTo>
                      <a:pt x="19341" y="18577"/>
                    </a:lnTo>
                    <a:lnTo>
                      <a:pt x="16593" y="19498"/>
                    </a:lnTo>
                    <a:lnTo>
                      <a:pt x="16593" y="19916"/>
                    </a:lnTo>
                    <a:lnTo>
                      <a:pt x="13626" y="18243"/>
                    </a:lnTo>
                    <a:lnTo>
                      <a:pt x="10220" y="16485"/>
                    </a:lnTo>
                    <a:lnTo>
                      <a:pt x="6264" y="13808"/>
                    </a:lnTo>
                    <a:lnTo>
                      <a:pt x="5604" y="12552"/>
                    </a:lnTo>
                    <a:lnTo>
                      <a:pt x="2857" y="10377"/>
                    </a:lnTo>
                    <a:lnTo>
                      <a:pt x="2857" y="9038"/>
                    </a:lnTo>
                    <a:lnTo>
                      <a:pt x="2857" y="6946"/>
                    </a:lnTo>
                    <a:lnTo>
                      <a:pt x="1758" y="6109"/>
                    </a:lnTo>
                    <a:lnTo>
                      <a:pt x="440" y="3431"/>
                    </a:lnTo>
                    <a:lnTo>
                      <a:pt x="0" y="3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6" name="Freeform 173"/>
              <p:cNvSpPr>
                <a:spLocks/>
              </p:cNvSpPr>
              <p:nvPr/>
            </p:nvSpPr>
            <p:spPr bwMode="auto">
              <a:xfrm>
                <a:off x="7278688" y="2713038"/>
                <a:ext cx="879475" cy="407987"/>
              </a:xfrm>
              <a:custGeom>
                <a:avLst/>
                <a:gdLst>
                  <a:gd name="T0" fmla="*/ 5853 w 20000"/>
                  <a:gd name="T1" fmla="*/ 0 h 20000"/>
                  <a:gd name="T2" fmla="*/ 8613 w 20000"/>
                  <a:gd name="T3" fmla="*/ 3053 h 20000"/>
                  <a:gd name="T4" fmla="*/ 10260 w 20000"/>
                  <a:gd name="T5" fmla="*/ 2243 h 20000"/>
                  <a:gd name="T6" fmla="*/ 11821 w 20000"/>
                  <a:gd name="T7" fmla="*/ 3364 h 20000"/>
                  <a:gd name="T8" fmla="*/ 12413 w 20000"/>
                  <a:gd name="T9" fmla="*/ 4330 h 20000"/>
                  <a:gd name="T10" fmla="*/ 13685 w 20000"/>
                  <a:gd name="T11" fmla="*/ 4330 h 20000"/>
                  <a:gd name="T12" fmla="*/ 15347 w 20000"/>
                  <a:gd name="T13" fmla="*/ 1464 h 20000"/>
                  <a:gd name="T14" fmla="*/ 17139 w 20000"/>
                  <a:gd name="T15" fmla="*/ 2243 h 20000"/>
                  <a:gd name="T16" fmla="*/ 17066 w 20000"/>
                  <a:gd name="T17" fmla="*/ 5140 h 20000"/>
                  <a:gd name="T18" fmla="*/ 16908 w 20000"/>
                  <a:gd name="T19" fmla="*/ 5981 h 20000"/>
                  <a:gd name="T20" fmla="*/ 17442 w 20000"/>
                  <a:gd name="T21" fmla="*/ 6449 h 20000"/>
                  <a:gd name="T22" fmla="*/ 18035 w 20000"/>
                  <a:gd name="T23" fmla="*/ 6760 h 20000"/>
                  <a:gd name="T24" fmla="*/ 18627 w 20000"/>
                  <a:gd name="T25" fmla="*/ 5639 h 20000"/>
                  <a:gd name="T26" fmla="*/ 19451 w 20000"/>
                  <a:gd name="T27" fmla="*/ 6916 h 20000"/>
                  <a:gd name="T28" fmla="*/ 19986 w 20000"/>
                  <a:gd name="T29" fmla="*/ 8224 h 20000"/>
                  <a:gd name="T30" fmla="*/ 19393 w 20000"/>
                  <a:gd name="T31" fmla="*/ 8224 h 20000"/>
                  <a:gd name="T32" fmla="*/ 18627 w 20000"/>
                  <a:gd name="T33" fmla="*/ 9346 h 20000"/>
                  <a:gd name="T34" fmla="*/ 18483 w 20000"/>
                  <a:gd name="T35" fmla="*/ 9813 h 20000"/>
                  <a:gd name="T36" fmla="*/ 18266 w 20000"/>
                  <a:gd name="T37" fmla="*/ 9502 h 20000"/>
                  <a:gd name="T38" fmla="*/ 17890 w 20000"/>
                  <a:gd name="T39" fmla="*/ 10125 h 20000"/>
                  <a:gd name="T40" fmla="*/ 17442 w 20000"/>
                  <a:gd name="T41" fmla="*/ 11589 h 20000"/>
                  <a:gd name="T42" fmla="*/ 16908 w 20000"/>
                  <a:gd name="T43" fmla="*/ 12741 h 20000"/>
                  <a:gd name="T44" fmla="*/ 16315 w 20000"/>
                  <a:gd name="T45" fmla="*/ 12897 h 20000"/>
                  <a:gd name="T46" fmla="*/ 15578 w 20000"/>
                  <a:gd name="T47" fmla="*/ 12741 h 20000"/>
                  <a:gd name="T48" fmla="*/ 15491 w 20000"/>
                  <a:gd name="T49" fmla="*/ 14019 h 20000"/>
                  <a:gd name="T50" fmla="*/ 15723 w 20000"/>
                  <a:gd name="T51" fmla="*/ 15639 h 20000"/>
                  <a:gd name="T52" fmla="*/ 15260 w 20000"/>
                  <a:gd name="T53" fmla="*/ 17072 h 20000"/>
                  <a:gd name="T54" fmla="*/ 14740 w 20000"/>
                  <a:gd name="T55" fmla="*/ 18193 h 20000"/>
                  <a:gd name="T56" fmla="*/ 12211 w 20000"/>
                  <a:gd name="T57" fmla="*/ 19969 h 20000"/>
                  <a:gd name="T58" fmla="*/ 11590 w 20000"/>
                  <a:gd name="T59" fmla="*/ 19657 h 20000"/>
                  <a:gd name="T60" fmla="*/ 10029 w 20000"/>
                  <a:gd name="T61" fmla="*/ 19034 h 20000"/>
                  <a:gd name="T62" fmla="*/ 8829 w 20000"/>
                  <a:gd name="T63" fmla="*/ 18380 h 20000"/>
                  <a:gd name="T64" fmla="*/ 7413 w 20000"/>
                  <a:gd name="T65" fmla="*/ 18692 h 20000"/>
                  <a:gd name="T66" fmla="*/ 6662 w 20000"/>
                  <a:gd name="T67" fmla="*/ 19034 h 20000"/>
                  <a:gd name="T68" fmla="*/ 5910 w 20000"/>
                  <a:gd name="T69" fmla="*/ 16604 h 20000"/>
                  <a:gd name="T70" fmla="*/ 5535 w 20000"/>
                  <a:gd name="T71" fmla="*/ 16106 h 20000"/>
                  <a:gd name="T72" fmla="*/ 4350 w 20000"/>
                  <a:gd name="T73" fmla="*/ 14829 h 20000"/>
                  <a:gd name="T74" fmla="*/ 3136 w 20000"/>
                  <a:gd name="T75" fmla="*/ 14517 h 20000"/>
                  <a:gd name="T76" fmla="*/ 2399 w 20000"/>
                  <a:gd name="T77" fmla="*/ 13209 h 20000"/>
                  <a:gd name="T78" fmla="*/ 2399 w 20000"/>
                  <a:gd name="T79" fmla="*/ 12243 h 20000"/>
                  <a:gd name="T80" fmla="*/ 2023 w 20000"/>
                  <a:gd name="T81" fmla="*/ 10312 h 20000"/>
                  <a:gd name="T82" fmla="*/ 1431 w 20000"/>
                  <a:gd name="T83" fmla="*/ 9502 h 20000"/>
                  <a:gd name="T84" fmla="*/ 1214 w 20000"/>
                  <a:gd name="T85" fmla="*/ 8847 h 20000"/>
                  <a:gd name="T86" fmla="*/ 592 w 20000"/>
                  <a:gd name="T87" fmla="*/ 8536 h 20000"/>
                  <a:gd name="T88" fmla="*/ 231 w 20000"/>
                  <a:gd name="T89" fmla="*/ 8069 h 20000"/>
                  <a:gd name="T90" fmla="*/ 0 w 20000"/>
                  <a:gd name="T91" fmla="*/ 6916 h 20000"/>
                  <a:gd name="T92" fmla="*/ 983 w 20000"/>
                  <a:gd name="T93" fmla="*/ 5639 h 20000"/>
                  <a:gd name="T94" fmla="*/ 1358 w 20000"/>
                  <a:gd name="T95" fmla="*/ 4330 h 20000"/>
                  <a:gd name="T96" fmla="*/ 1806 w 20000"/>
                  <a:gd name="T97" fmla="*/ 3551 h 20000"/>
                  <a:gd name="T98" fmla="*/ 2775 w 20000"/>
                  <a:gd name="T99" fmla="*/ 3863 h 20000"/>
                  <a:gd name="T100" fmla="*/ 3584 w 20000"/>
                  <a:gd name="T101" fmla="*/ 4330 h 20000"/>
                  <a:gd name="T102" fmla="*/ 4942 w 20000"/>
                  <a:gd name="T103" fmla="*/ 4642 h 20000"/>
                  <a:gd name="T104" fmla="*/ 5853 w 20000"/>
                  <a:gd name="T105" fmla="*/ 3551 h 20000"/>
                  <a:gd name="T106" fmla="*/ 5462 w 20000"/>
                  <a:gd name="T107" fmla="*/ 1464 h 20000"/>
                  <a:gd name="T108" fmla="*/ 5853 w 20000"/>
                  <a:gd name="T109" fmla="*/ 4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5853" y="498"/>
                    </a:moveTo>
                    <a:lnTo>
                      <a:pt x="5853" y="0"/>
                    </a:lnTo>
                    <a:lnTo>
                      <a:pt x="7717" y="966"/>
                    </a:lnTo>
                    <a:lnTo>
                      <a:pt x="8613" y="3053"/>
                    </a:lnTo>
                    <a:lnTo>
                      <a:pt x="9205" y="3053"/>
                    </a:lnTo>
                    <a:lnTo>
                      <a:pt x="10260" y="2243"/>
                    </a:lnTo>
                    <a:lnTo>
                      <a:pt x="10766" y="2555"/>
                    </a:lnTo>
                    <a:lnTo>
                      <a:pt x="11821" y="3364"/>
                    </a:lnTo>
                    <a:lnTo>
                      <a:pt x="11980" y="3863"/>
                    </a:lnTo>
                    <a:lnTo>
                      <a:pt x="12413" y="4330"/>
                    </a:lnTo>
                    <a:lnTo>
                      <a:pt x="12803" y="4330"/>
                    </a:lnTo>
                    <a:lnTo>
                      <a:pt x="13685" y="4330"/>
                    </a:lnTo>
                    <a:lnTo>
                      <a:pt x="14957" y="3364"/>
                    </a:lnTo>
                    <a:lnTo>
                      <a:pt x="15347" y="1464"/>
                    </a:lnTo>
                    <a:lnTo>
                      <a:pt x="16460" y="2243"/>
                    </a:lnTo>
                    <a:lnTo>
                      <a:pt x="17139" y="2243"/>
                    </a:lnTo>
                    <a:lnTo>
                      <a:pt x="17066" y="3053"/>
                    </a:lnTo>
                    <a:lnTo>
                      <a:pt x="17066" y="5140"/>
                    </a:lnTo>
                    <a:lnTo>
                      <a:pt x="17066" y="5639"/>
                    </a:lnTo>
                    <a:lnTo>
                      <a:pt x="16908" y="5981"/>
                    </a:lnTo>
                    <a:lnTo>
                      <a:pt x="17283" y="6760"/>
                    </a:lnTo>
                    <a:lnTo>
                      <a:pt x="17442" y="6449"/>
                    </a:lnTo>
                    <a:lnTo>
                      <a:pt x="17803" y="6449"/>
                    </a:lnTo>
                    <a:lnTo>
                      <a:pt x="18035" y="6760"/>
                    </a:lnTo>
                    <a:lnTo>
                      <a:pt x="18266" y="5981"/>
                    </a:lnTo>
                    <a:lnTo>
                      <a:pt x="18627" y="5639"/>
                    </a:lnTo>
                    <a:lnTo>
                      <a:pt x="19003" y="6106"/>
                    </a:lnTo>
                    <a:lnTo>
                      <a:pt x="19451" y="6916"/>
                    </a:lnTo>
                    <a:lnTo>
                      <a:pt x="19682" y="7383"/>
                    </a:lnTo>
                    <a:lnTo>
                      <a:pt x="19986" y="8224"/>
                    </a:lnTo>
                    <a:lnTo>
                      <a:pt x="19827" y="8536"/>
                    </a:lnTo>
                    <a:lnTo>
                      <a:pt x="19393" y="8224"/>
                    </a:lnTo>
                    <a:lnTo>
                      <a:pt x="18858" y="8536"/>
                    </a:lnTo>
                    <a:lnTo>
                      <a:pt x="18627" y="9346"/>
                    </a:lnTo>
                    <a:lnTo>
                      <a:pt x="18483" y="9346"/>
                    </a:lnTo>
                    <a:lnTo>
                      <a:pt x="18483" y="9813"/>
                    </a:lnTo>
                    <a:lnTo>
                      <a:pt x="18410" y="9813"/>
                    </a:lnTo>
                    <a:lnTo>
                      <a:pt x="18266" y="9502"/>
                    </a:lnTo>
                    <a:lnTo>
                      <a:pt x="18121" y="9502"/>
                    </a:lnTo>
                    <a:lnTo>
                      <a:pt x="17890" y="10125"/>
                    </a:lnTo>
                    <a:lnTo>
                      <a:pt x="17890" y="10623"/>
                    </a:lnTo>
                    <a:lnTo>
                      <a:pt x="17442" y="11589"/>
                    </a:lnTo>
                    <a:lnTo>
                      <a:pt x="17066" y="11589"/>
                    </a:lnTo>
                    <a:lnTo>
                      <a:pt x="16908" y="12741"/>
                    </a:lnTo>
                    <a:lnTo>
                      <a:pt x="16850" y="12897"/>
                    </a:lnTo>
                    <a:lnTo>
                      <a:pt x="16315" y="12897"/>
                    </a:lnTo>
                    <a:lnTo>
                      <a:pt x="15867" y="12897"/>
                    </a:lnTo>
                    <a:lnTo>
                      <a:pt x="15578" y="12741"/>
                    </a:lnTo>
                    <a:lnTo>
                      <a:pt x="15491" y="13209"/>
                    </a:lnTo>
                    <a:lnTo>
                      <a:pt x="15491" y="14019"/>
                    </a:lnTo>
                    <a:lnTo>
                      <a:pt x="15723" y="14517"/>
                    </a:lnTo>
                    <a:lnTo>
                      <a:pt x="15723" y="15639"/>
                    </a:lnTo>
                    <a:lnTo>
                      <a:pt x="15347" y="16106"/>
                    </a:lnTo>
                    <a:lnTo>
                      <a:pt x="15260" y="17072"/>
                    </a:lnTo>
                    <a:lnTo>
                      <a:pt x="14957" y="17570"/>
                    </a:lnTo>
                    <a:lnTo>
                      <a:pt x="14740" y="18193"/>
                    </a:lnTo>
                    <a:lnTo>
                      <a:pt x="12948" y="18692"/>
                    </a:lnTo>
                    <a:lnTo>
                      <a:pt x="12211" y="19969"/>
                    </a:lnTo>
                    <a:lnTo>
                      <a:pt x="11821" y="19969"/>
                    </a:lnTo>
                    <a:lnTo>
                      <a:pt x="11590" y="19657"/>
                    </a:lnTo>
                    <a:lnTo>
                      <a:pt x="11228" y="19657"/>
                    </a:lnTo>
                    <a:lnTo>
                      <a:pt x="10029" y="19034"/>
                    </a:lnTo>
                    <a:lnTo>
                      <a:pt x="9812" y="18380"/>
                    </a:lnTo>
                    <a:lnTo>
                      <a:pt x="8829" y="18380"/>
                    </a:lnTo>
                    <a:lnTo>
                      <a:pt x="8613" y="18692"/>
                    </a:lnTo>
                    <a:lnTo>
                      <a:pt x="7413" y="18692"/>
                    </a:lnTo>
                    <a:lnTo>
                      <a:pt x="7269" y="19034"/>
                    </a:lnTo>
                    <a:lnTo>
                      <a:pt x="6662" y="19034"/>
                    </a:lnTo>
                    <a:lnTo>
                      <a:pt x="6301" y="18193"/>
                    </a:lnTo>
                    <a:lnTo>
                      <a:pt x="5910" y="16604"/>
                    </a:lnTo>
                    <a:lnTo>
                      <a:pt x="5679" y="16106"/>
                    </a:lnTo>
                    <a:lnTo>
                      <a:pt x="5535" y="16106"/>
                    </a:lnTo>
                    <a:lnTo>
                      <a:pt x="4942" y="15639"/>
                    </a:lnTo>
                    <a:lnTo>
                      <a:pt x="4350" y="14829"/>
                    </a:lnTo>
                    <a:lnTo>
                      <a:pt x="3960" y="14829"/>
                    </a:lnTo>
                    <a:lnTo>
                      <a:pt x="3136" y="14517"/>
                    </a:lnTo>
                    <a:lnTo>
                      <a:pt x="2543" y="14019"/>
                    </a:lnTo>
                    <a:lnTo>
                      <a:pt x="2399" y="13209"/>
                    </a:lnTo>
                    <a:lnTo>
                      <a:pt x="2543" y="12897"/>
                    </a:lnTo>
                    <a:lnTo>
                      <a:pt x="2399" y="12243"/>
                    </a:lnTo>
                    <a:lnTo>
                      <a:pt x="2399" y="11433"/>
                    </a:lnTo>
                    <a:lnTo>
                      <a:pt x="2023" y="10312"/>
                    </a:lnTo>
                    <a:lnTo>
                      <a:pt x="1575" y="9346"/>
                    </a:lnTo>
                    <a:lnTo>
                      <a:pt x="1431" y="9502"/>
                    </a:lnTo>
                    <a:lnTo>
                      <a:pt x="1358" y="9034"/>
                    </a:lnTo>
                    <a:lnTo>
                      <a:pt x="1214" y="8847"/>
                    </a:lnTo>
                    <a:lnTo>
                      <a:pt x="983" y="9502"/>
                    </a:lnTo>
                    <a:lnTo>
                      <a:pt x="592" y="8536"/>
                    </a:lnTo>
                    <a:lnTo>
                      <a:pt x="376" y="8224"/>
                    </a:lnTo>
                    <a:lnTo>
                      <a:pt x="231" y="8069"/>
                    </a:lnTo>
                    <a:lnTo>
                      <a:pt x="0" y="7757"/>
                    </a:lnTo>
                    <a:lnTo>
                      <a:pt x="0" y="6916"/>
                    </a:lnTo>
                    <a:lnTo>
                      <a:pt x="159" y="6449"/>
                    </a:lnTo>
                    <a:lnTo>
                      <a:pt x="983" y="5639"/>
                    </a:lnTo>
                    <a:lnTo>
                      <a:pt x="983" y="5140"/>
                    </a:lnTo>
                    <a:lnTo>
                      <a:pt x="1358" y="4330"/>
                    </a:lnTo>
                    <a:lnTo>
                      <a:pt x="1431" y="4019"/>
                    </a:lnTo>
                    <a:lnTo>
                      <a:pt x="1806" y="3551"/>
                    </a:lnTo>
                    <a:lnTo>
                      <a:pt x="2543" y="3364"/>
                    </a:lnTo>
                    <a:lnTo>
                      <a:pt x="2775" y="3863"/>
                    </a:lnTo>
                    <a:lnTo>
                      <a:pt x="3526" y="3551"/>
                    </a:lnTo>
                    <a:lnTo>
                      <a:pt x="3584" y="4330"/>
                    </a:lnTo>
                    <a:lnTo>
                      <a:pt x="4118" y="4642"/>
                    </a:lnTo>
                    <a:lnTo>
                      <a:pt x="4942" y="4642"/>
                    </a:lnTo>
                    <a:lnTo>
                      <a:pt x="6069" y="4330"/>
                    </a:lnTo>
                    <a:lnTo>
                      <a:pt x="5853" y="3551"/>
                    </a:lnTo>
                    <a:lnTo>
                      <a:pt x="5679" y="2741"/>
                    </a:lnTo>
                    <a:lnTo>
                      <a:pt x="5462" y="1464"/>
                    </a:lnTo>
                    <a:lnTo>
                      <a:pt x="5535" y="1277"/>
                    </a:lnTo>
                    <a:lnTo>
                      <a:pt x="5853" y="49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7" name="Freeform 172"/>
              <p:cNvSpPr>
                <a:spLocks/>
              </p:cNvSpPr>
              <p:nvPr/>
            </p:nvSpPr>
            <p:spPr bwMode="auto">
              <a:xfrm>
                <a:off x="7202488" y="3543300"/>
                <a:ext cx="234950" cy="128588"/>
              </a:xfrm>
              <a:custGeom>
                <a:avLst/>
                <a:gdLst>
                  <a:gd name="T0" fmla="*/ 2005 w 20000"/>
                  <a:gd name="T1" fmla="*/ 0 h 20000"/>
                  <a:gd name="T2" fmla="*/ 3360 w 20000"/>
                  <a:gd name="T3" fmla="*/ 1084 h 20000"/>
                  <a:gd name="T4" fmla="*/ 7317 w 20000"/>
                  <a:gd name="T5" fmla="*/ 4039 h 20000"/>
                  <a:gd name="T6" fmla="*/ 8130 w 20000"/>
                  <a:gd name="T7" fmla="*/ 6700 h 20000"/>
                  <a:gd name="T8" fmla="*/ 8726 w 20000"/>
                  <a:gd name="T9" fmla="*/ 6108 h 20000"/>
                  <a:gd name="T10" fmla="*/ 9539 w 20000"/>
                  <a:gd name="T11" fmla="*/ 6108 h 20000"/>
                  <a:gd name="T12" fmla="*/ 10136 w 20000"/>
                  <a:gd name="T13" fmla="*/ 8276 h 20000"/>
                  <a:gd name="T14" fmla="*/ 11545 w 20000"/>
                  <a:gd name="T15" fmla="*/ 9261 h 20000"/>
                  <a:gd name="T16" fmla="*/ 12412 w 20000"/>
                  <a:gd name="T17" fmla="*/ 8276 h 20000"/>
                  <a:gd name="T18" fmla="*/ 12412 w 20000"/>
                  <a:gd name="T19" fmla="*/ 10739 h 20000"/>
                  <a:gd name="T20" fmla="*/ 13225 w 20000"/>
                  <a:gd name="T21" fmla="*/ 10739 h 20000"/>
                  <a:gd name="T22" fmla="*/ 15447 w 20000"/>
                  <a:gd name="T23" fmla="*/ 12315 h 20000"/>
                  <a:gd name="T24" fmla="*/ 15989 w 20000"/>
                  <a:gd name="T25" fmla="*/ 11724 h 20000"/>
                  <a:gd name="T26" fmla="*/ 17398 w 20000"/>
                  <a:gd name="T27" fmla="*/ 12315 h 20000"/>
                  <a:gd name="T28" fmla="*/ 19946 w 20000"/>
                  <a:gd name="T29" fmla="*/ 12315 h 20000"/>
                  <a:gd name="T30" fmla="*/ 19675 w 20000"/>
                  <a:gd name="T31" fmla="*/ 14877 h 20000"/>
                  <a:gd name="T32" fmla="*/ 19946 w 20000"/>
                  <a:gd name="T33" fmla="*/ 19901 h 20000"/>
                  <a:gd name="T34" fmla="*/ 17724 w 20000"/>
                  <a:gd name="T35" fmla="*/ 19901 h 20000"/>
                  <a:gd name="T36" fmla="*/ 17724 w 20000"/>
                  <a:gd name="T37" fmla="*/ 18916 h 20000"/>
                  <a:gd name="T38" fmla="*/ 16856 w 20000"/>
                  <a:gd name="T39" fmla="*/ 18916 h 20000"/>
                  <a:gd name="T40" fmla="*/ 15447 w 20000"/>
                  <a:gd name="T41" fmla="*/ 18916 h 20000"/>
                  <a:gd name="T42" fmla="*/ 15176 w 20000"/>
                  <a:gd name="T43" fmla="*/ 18916 h 20000"/>
                  <a:gd name="T44" fmla="*/ 14092 w 20000"/>
                  <a:gd name="T45" fmla="*/ 17340 h 20000"/>
                  <a:gd name="T46" fmla="*/ 13225 w 20000"/>
                  <a:gd name="T47" fmla="*/ 18325 h 20000"/>
                  <a:gd name="T48" fmla="*/ 11870 w 20000"/>
                  <a:gd name="T49" fmla="*/ 16847 h 20000"/>
                  <a:gd name="T50" fmla="*/ 11545 w 20000"/>
                  <a:gd name="T51" fmla="*/ 15862 h 20000"/>
                  <a:gd name="T52" fmla="*/ 9322 w 20000"/>
                  <a:gd name="T53" fmla="*/ 14877 h 20000"/>
                  <a:gd name="T54" fmla="*/ 6450 w 20000"/>
                  <a:gd name="T55" fmla="*/ 13300 h 20000"/>
                  <a:gd name="T56" fmla="*/ 4770 w 20000"/>
                  <a:gd name="T57" fmla="*/ 12315 h 20000"/>
                  <a:gd name="T58" fmla="*/ 2818 w 20000"/>
                  <a:gd name="T59" fmla="*/ 10739 h 20000"/>
                  <a:gd name="T60" fmla="*/ 1138 w 20000"/>
                  <a:gd name="T61" fmla="*/ 9261 h 20000"/>
                  <a:gd name="T62" fmla="*/ 0 w 20000"/>
                  <a:gd name="T63" fmla="*/ 7685 h 20000"/>
                  <a:gd name="T64" fmla="*/ 1138 w 20000"/>
                  <a:gd name="T65" fmla="*/ 6700 h 20000"/>
                  <a:gd name="T66" fmla="*/ 596 w 20000"/>
                  <a:gd name="T67" fmla="*/ 5123 h 20000"/>
                  <a:gd name="T68" fmla="*/ 1138 w 20000"/>
                  <a:gd name="T69" fmla="*/ 3645 h 20000"/>
                  <a:gd name="T70" fmla="*/ 2005 w 20000"/>
                  <a:gd name="T7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2005" y="0"/>
                    </a:moveTo>
                    <a:lnTo>
                      <a:pt x="3360" y="1084"/>
                    </a:lnTo>
                    <a:lnTo>
                      <a:pt x="7317" y="4039"/>
                    </a:lnTo>
                    <a:lnTo>
                      <a:pt x="8130" y="6700"/>
                    </a:lnTo>
                    <a:lnTo>
                      <a:pt x="8726" y="6108"/>
                    </a:lnTo>
                    <a:lnTo>
                      <a:pt x="9539" y="6108"/>
                    </a:lnTo>
                    <a:lnTo>
                      <a:pt x="10136" y="8276"/>
                    </a:lnTo>
                    <a:lnTo>
                      <a:pt x="11545" y="9261"/>
                    </a:lnTo>
                    <a:lnTo>
                      <a:pt x="12412" y="8276"/>
                    </a:lnTo>
                    <a:lnTo>
                      <a:pt x="12412" y="10739"/>
                    </a:lnTo>
                    <a:lnTo>
                      <a:pt x="13225" y="10739"/>
                    </a:lnTo>
                    <a:lnTo>
                      <a:pt x="15447" y="12315"/>
                    </a:lnTo>
                    <a:lnTo>
                      <a:pt x="15989" y="11724"/>
                    </a:lnTo>
                    <a:lnTo>
                      <a:pt x="17398" y="12315"/>
                    </a:lnTo>
                    <a:lnTo>
                      <a:pt x="19946" y="12315"/>
                    </a:lnTo>
                    <a:lnTo>
                      <a:pt x="19675" y="14877"/>
                    </a:lnTo>
                    <a:lnTo>
                      <a:pt x="19946" y="19901"/>
                    </a:lnTo>
                    <a:lnTo>
                      <a:pt x="17724" y="19901"/>
                    </a:lnTo>
                    <a:lnTo>
                      <a:pt x="17724" y="18916"/>
                    </a:lnTo>
                    <a:lnTo>
                      <a:pt x="16856" y="18916"/>
                    </a:lnTo>
                    <a:lnTo>
                      <a:pt x="15447" y="18916"/>
                    </a:lnTo>
                    <a:lnTo>
                      <a:pt x="15176" y="18916"/>
                    </a:lnTo>
                    <a:lnTo>
                      <a:pt x="14092" y="17340"/>
                    </a:lnTo>
                    <a:lnTo>
                      <a:pt x="13225" y="18325"/>
                    </a:lnTo>
                    <a:lnTo>
                      <a:pt x="11870" y="16847"/>
                    </a:lnTo>
                    <a:lnTo>
                      <a:pt x="11545" y="15862"/>
                    </a:lnTo>
                    <a:lnTo>
                      <a:pt x="9322" y="14877"/>
                    </a:lnTo>
                    <a:lnTo>
                      <a:pt x="6450" y="13300"/>
                    </a:lnTo>
                    <a:lnTo>
                      <a:pt x="4770" y="12315"/>
                    </a:lnTo>
                    <a:lnTo>
                      <a:pt x="2818" y="10739"/>
                    </a:lnTo>
                    <a:lnTo>
                      <a:pt x="1138" y="9261"/>
                    </a:lnTo>
                    <a:lnTo>
                      <a:pt x="0" y="7685"/>
                    </a:lnTo>
                    <a:lnTo>
                      <a:pt x="1138" y="6700"/>
                    </a:lnTo>
                    <a:lnTo>
                      <a:pt x="596" y="5123"/>
                    </a:lnTo>
                    <a:lnTo>
                      <a:pt x="1138" y="3645"/>
                    </a:lnTo>
                    <a:lnTo>
                      <a:pt x="200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8" name="Freeform 171"/>
              <p:cNvSpPr>
                <a:spLocks/>
              </p:cNvSpPr>
              <p:nvPr/>
            </p:nvSpPr>
            <p:spPr bwMode="auto">
              <a:xfrm>
                <a:off x="6450013" y="3721100"/>
                <a:ext cx="207962" cy="254000"/>
              </a:xfrm>
              <a:custGeom>
                <a:avLst/>
                <a:gdLst>
                  <a:gd name="T0" fmla="*/ 8196 w 20000"/>
                  <a:gd name="T1" fmla="*/ 6216 h 20000"/>
                  <a:gd name="T2" fmla="*/ 8196 w 20000"/>
                  <a:gd name="T3" fmla="*/ 4411 h 20000"/>
                  <a:gd name="T4" fmla="*/ 8563 w 20000"/>
                  <a:gd name="T5" fmla="*/ 3609 h 20000"/>
                  <a:gd name="T6" fmla="*/ 8563 w 20000"/>
                  <a:gd name="T7" fmla="*/ 2857 h 20000"/>
                  <a:gd name="T8" fmla="*/ 9847 w 20000"/>
                  <a:gd name="T9" fmla="*/ 2857 h 20000"/>
                  <a:gd name="T10" fmla="*/ 10092 w 20000"/>
                  <a:gd name="T11" fmla="*/ 2857 h 20000"/>
                  <a:gd name="T12" fmla="*/ 9847 w 20000"/>
                  <a:gd name="T13" fmla="*/ 2055 h 20000"/>
                  <a:gd name="T14" fmla="*/ 9174 w 20000"/>
                  <a:gd name="T15" fmla="*/ 2055 h 20000"/>
                  <a:gd name="T16" fmla="*/ 8563 w 20000"/>
                  <a:gd name="T17" fmla="*/ 301 h 20000"/>
                  <a:gd name="T18" fmla="*/ 9174 w 20000"/>
                  <a:gd name="T19" fmla="*/ 0 h 20000"/>
                  <a:gd name="T20" fmla="*/ 9847 w 20000"/>
                  <a:gd name="T21" fmla="*/ 0 h 20000"/>
                  <a:gd name="T22" fmla="*/ 11682 w 20000"/>
                  <a:gd name="T23" fmla="*/ 2356 h 20000"/>
                  <a:gd name="T24" fmla="*/ 15229 w 20000"/>
                  <a:gd name="T25" fmla="*/ 3358 h 20000"/>
                  <a:gd name="T26" fmla="*/ 16820 w 20000"/>
                  <a:gd name="T27" fmla="*/ 3609 h 20000"/>
                  <a:gd name="T28" fmla="*/ 18960 w 20000"/>
                  <a:gd name="T29" fmla="*/ 5714 h 20000"/>
                  <a:gd name="T30" fmla="*/ 19939 w 20000"/>
                  <a:gd name="T31" fmla="*/ 6216 h 20000"/>
                  <a:gd name="T32" fmla="*/ 18960 w 20000"/>
                  <a:gd name="T33" fmla="*/ 8822 h 20000"/>
                  <a:gd name="T34" fmla="*/ 16820 w 20000"/>
                  <a:gd name="T35" fmla="*/ 11178 h 20000"/>
                  <a:gd name="T36" fmla="*/ 16453 w 20000"/>
                  <a:gd name="T37" fmla="*/ 11178 h 20000"/>
                  <a:gd name="T38" fmla="*/ 15841 w 20000"/>
                  <a:gd name="T39" fmla="*/ 10877 h 20000"/>
                  <a:gd name="T40" fmla="*/ 15229 w 20000"/>
                  <a:gd name="T41" fmla="*/ 11880 h 20000"/>
                  <a:gd name="T42" fmla="*/ 14862 w 20000"/>
                  <a:gd name="T43" fmla="*/ 13233 h 20000"/>
                  <a:gd name="T44" fmla="*/ 15229 w 20000"/>
                  <a:gd name="T45" fmla="*/ 14536 h 20000"/>
                  <a:gd name="T46" fmla="*/ 12599 w 20000"/>
                  <a:gd name="T47" fmla="*/ 15038 h 20000"/>
                  <a:gd name="T48" fmla="*/ 11682 w 20000"/>
                  <a:gd name="T49" fmla="*/ 15789 h 20000"/>
                  <a:gd name="T50" fmla="*/ 11682 w 20000"/>
                  <a:gd name="T51" fmla="*/ 16591 h 20000"/>
                  <a:gd name="T52" fmla="*/ 11070 w 20000"/>
                  <a:gd name="T53" fmla="*/ 17093 h 20000"/>
                  <a:gd name="T54" fmla="*/ 8563 w 20000"/>
                  <a:gd name="T55" fmla="*/ 17393 h 20000"/>
                  <a:gd name="T56" fmla="*/ 8563 w 20000"/>
                  <a:gd name="T57" fmla="*/ 18647 h 20000"/>
                  <a:gd name="T58" fmla="*/ 8196 w 20000"/>
                  <a:gd name="T59" fmla="*/ 19148 h 20000"/>
                  <a:gd name="T60" fmla="*/ 7217 w 20000"/>
                  <a:gd name="T61" fmla="*/ 19148 h 20000"/>
                  <a:gd name="T62" fmla="*/ 4465 w 20000"/>
                  <a:gd name="T63" fmla="*/ 19699 h 20000"/>
                  <a:gd name="T64" fmla="*/ 3119 w 20000"/>
                  <a:gd name="T65" fmla="*/ 19950 h 20000"/>
                  <a:gd name="T66" fmla="*/ 0 w 20000"/>
                  <a:gd name="T67" fmla="*/ 14536 h 20000"/>
                  <a:gd name="T68" fmla="*/ 8196 w 20000"/>
                  <a:gd name="T69" fmla="*/ 11880 h 20000"/>
                  <a:gd name="T70" fmla="*/ 9174 w 20000"/>
                  <a:gd name="T71" fmla="*/ 7519 h 20000"/>
                  <a:gd name="T72" fmla="*/ 8196 w 20000"/>
                  <a:gd name="T73" fmla="*/ 621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8196" y="6216"/>
                    </a:moveTo>
                    <a:lnTo>
                      <a:pt x="8196" y="4411"/>
                    </a:lnTo>
                    <a:lnTo>
                      <a:pt x="8563" y="3609"/>
                    </a:lnTo>
                    <a:lnTo>
                      <a:pt x="8563" y="2857"/>
                    </a:lnTo>
                    <a:lnTo>
                      <a:pt x="9847" y="2857"/>
                    </a:lnTo>
                    <a:lnTo>
                      <a:pt x="10092" y="2857"/>
                    </a:lnTo>
                    <a:lnTo>
                      <a:pt x="9847" y="2055"/>
                    </a:lnTo>
                    <a:lnTo>
                      <a:pt x="9174" y="2055"/>
                    </a:lnTo>
                    <a:lnTo>
                      <a:pt x="8563" y="301"/>
                    </a:lnTo>
                    <a:lnTo>
                      <a:pt x="9174" y="0"/>
                    </a:lnTo>
                    <a:lnTo>
                      <a:pt x="9847" y="0"/>
                    </a:lnTo>
                    <a:lnTo>
                      <a:pt x="11682" y="2356"/>
                    </a:lnTo>
                    <a:lnTo>
                      <a:pt x="15229" y="3358"/>
                    </a:lnTo>
                    <a:lnTo>
                      <a:pt x="16820" y="3609"/>
                    </a:lnTo>
                    <a:lnTo>
                      <a:pt x="18960" y="5714"/>
                    </a:lnTo>
                    <a:lnTo>
                      <a:pt x="19939" y="6216"/>
                    </a:lnTo>
                    <a:lnTo>
                      <a:pt x="18960" y="8822"/>
                    </a:lnTo>
                    <a:lnTo>
                      <a:pt x="16820" y="11178"/>
                    </a:lnTo>
                    <a:lnTo>
                      <a:pt x="16453" y="11178"/>
                    </a:lnTo>
                    <a:lnTo>
                      <a:pt x="15841" y="10877"/>
                    </a:lnTo>
                    <a:lnTo>
                      <a:pt x="15229" y="11880"/>
                    </a:lnTo>
                    <a:lnTo>
                      <a:pt x="14862" y="13233"/>
                    </a:lnTo>
                    <a:lnTo>
                      <a:pt x="15229" y="14536"/>
                    </a:lnTo>
                    <a:lnTo>
                      <a:pt x="12599" y="15038"/>
                    </a:lnTo>
                    <a:lnTo>
                      <a:pt x="11682" y="15789"/>
                    </a:lnTo>
                    <a:lnTo>
                      <a:pt x="11682" y="16591"/>
                    </a:lnTo>
                    <a:lnTo>
                      <a:pt x="11070" y="17093"/>
                    </a:lnTo>
                    <a:lnTo>
                      <a:pt x="8563" y="17393"/>
                    </a:lnTo>
                    <a:lnTo>
                      <a:pt x="8563" y="18647"/>
                    </a:lnTo>
                    <a:lnTo>
                      <a:pt x="8196" y="19148"/>
                    </a:lnTo>
                    <a:lnTo>
                      <a:pt x="7217" y="19148"/>
                    </a:lnTo>
                    <a:lnTo>
                      <a:pt x="4465" y="19699"/>
                    </a:lnTo>
                    <a:lnTo>
                      <a:pt x="3119" y="19950"/>
                    </a:lnTo>
                    <a:lnTo>
                      <a:pt x="0" y="14536"/>
                    </a:lnTo>
                    <a:lnTo>
                      <a:pt x="8196" y="11880"/>
                    </a:lnTo>
                    <a:lnTo>
                      <a:pt x="9174" y="7519"/>
                    </a:lnTo>
                    <a:lnTo>
                      <a:pt x="8196" y="621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69" name="Freeform 170"/>
              <p:cNvSpPr>
                <a:spLocks/>
              </p:cNvSpPr>
              <p:nvPr/>
            </p:nvSpPr>
            <p:spPr bwMode="auto">
              <a:xfrm>
                <a:off x="6677025" y="3327400"/>
                <a:ext cx="438150" cy="438150"/>
              </a:xfrm>
              <a:custGeom>
                <a:avLst/>
                <a:gdLst>
                  <a:gd name="T0" fmla="*/ 16348 w 20000"/>
                  <a:gd name="T1" fmla="*/ 0 h 20000"/>
                  <a:gd name="T2" fmla="*/ 18783 w 20000"/>
                  <a:gd name="T3" fmla="*/ 1480 h 20000"/>
                  <a:gd name="T4" fmla="*/ 19681 w 20000"/>
                  <a:gd name="T5" fmla="*/ 2700 h 20000"/>
                  <a:gd name="T6" fmla="*/ 17565 w 20000"/>
                  <a:gd name="T7" fmla="*/ 3919 h 20000"/>
                  <a:gd name="T8" fmla="*/ 15594 w 20000"/>
                  <a:gd name="T9" fmla="*/ 3599 h 20000"/>
                  <a:gd name="T10" fmla="*/ 15768 w 20000"/>
                  <a:gd name="T11" fmla="*/ 4790 h 20000"/>
                  <a:gd name="T12" fmla="*/ 16348 w 20000"/>
                  <a:gd name="T13" fmla="*/ 6299 h 20000"/>
                  <a:gd name="T14" fmla="*/ 17565 w 20000"/>
                  <a:gd name="T15" fmla="*/ 7054 h 20000"/>
                  <a:gd name="T16" fmla="*/ 17130 w 20000"/>
                  <a:gd name="T17" fmla="*/ 7808 h 20000"/>
                  <a:gd name="T18" fmla="*/ 17130 w 20000"/>
                  <a:gd name="T19" fmla="*/ 8999 h 20000"/>
                  <a:gd name="T20" fmla="*/ 16058 w 20000"/>
                  <a:gd name="T21" fmla="*/ 10363 h 20000"/>
                  <a:gd name="T22" fmla="*/ 15594 w 20000"/>
                  <a:gd name="T23" fmla="*/ 11727 h 20000"/>
                  <a:gd name="T24" fmla="*/ 14406 w 20000"/>
                  <a:gd name="T25" fmla="*/ 13062 h 20000"/>
                  <a:gd name="T26" fmla="*/ 13971 w 20000"/>
                  <a:gd name="T27" fmla="*/ 13527 h 20000"/>
                  <a:gd name="T28" fmla="*/ 12145 w 20000"/>
                  <a:gd name="T29" fmla="*/ 13527 h 20000"/>
                  <a:gd name="T30" fmla="*/ 11710 w 20000"/>
                  <a:gd name="T31" fmla="*/ 14107 h 20000"/>
                  <a:gd name="T32" fmla="*/ 12029 w 20000"/>
                  <a:gd name="T33" fmla="*/ 15472 h 20000"/>
                  <a:gd name="T34" fmla="*/ 12464 w 20000"/>
                  <a:gd name="T35" fmla="*/ 16952 h 20000"/>
                  <a:gd name="T36" fmla="*/ 13217 w 20000"/>
                  <a:gd name="T37" fmla="*/ 18926 h 20000"/>
                  <a:gd name="T38" fmla="*/ 12609 w 20000"/>
                  <a:gd name="T39" fmla="*/ 18926 h 20000"/>
                  <a:gd name="T40" fmla="*/ 11710 w 20000"/>
                  <a:gd name="T41" fmla="*/ 19216 h 20000"/>
                  <a:gd name="T42" fmla="*/ 10493 w 20000"/>
                  <a:gd name="T43" fmla="*/ 19390 h 20000"/>
                  <a:gd name="T44" fmla="*/ 10058 w 20000"/>
                  <a:gd name="T45" fmla="*/ 19681 h 20000"/>
                  <a:gd name="T46" fmla="*/ 8551 w 20000"/>
                  <a:gd name="T47" fmla="*/ 19390 h 20000"/>
                  <a:gd name="T48" fmla="*/ 8116 w 20000"/>
                  <a:gd name="T49" fmla="*/ 18200 h 20000"/>
                  <a:gd name="T50" fmla="*/ 7362 w 20000"/>
                  <a:gd name="T51" fmla="*/ 17417 h 20000"/>
                  <a:gd name="T52" fmla="*/ 6290 w 20000"/>
                  <a:gd name="T53" fmla="*/ 17417 h 20000"/>
                  <a:gd name="T54" fmla="*/ 4957 w 20000"/>
                  <a:gd name="T55" fmla="*/ 18026 h 20000"/>
                  <a:gd name="T56" fmla="*/ 3913 w 20000"/>
                  <a:gd name="T57" fmla="*/ 17417 h 20000"/>
                  <a:gd name="T58" fmla="*/ 1942 w 20000"/>
                  <a:gd name="T59" fmla="*/ 17736 h 20000"/>
                  <a:gd name="T60" fmla="*/ 1188 w 20000"/>
                  <a:gd name="T61" fmla="*/ 17271 h 20000"/>
                  <a:gd name="T62" fmla="*/ 1942 w 20000"/>
                  <a:gd name="T63" fmla="*/ 16226 h 20000"/>
                  <a:gd name="T64" fmla="*/ 3014 w 20000"/>
                  <a:gd name="T65" fmla="*/ 15762 h 20000"/>
                  <a:gd name="T66" fmla="*/ 3159 w 20000"/>
                  <a:gd name="T67" fmla="*/ 15472 h 20000"/>
                  <a:gd name="T68" fmla="*/ 2725 w 20000"/>
                  <a:gd name="T69" fmla="*/ 14862 h 20000"/>
                  <a:gd name="T70" fmla="*/ 1797 w 20000"/>
                  <a:gd name="T71" fmla="*/ 13062 h 20000"/>
                  <a:gd name="T72" fmla="*/ 0 w 20000"/>
                  <a:gd name="T73" fmla="*/ 11437 h 20000"/>
                  <a:gd name="T74" fmla="*/ 2725 w 20000"/>
                  <a:gd name="T75" fmla="*/ 11872 h 20000"/>
                  <a:gd name="T76" fmla="*/ 3913 w 20000"/>
                  <a:gd name="T77" fmla="*/ 11727 h 20000"/>
                  <a:gd name="T78" fmla="*/ 6638 w 20000"/>
                  <a:gd name="T79" fmla="*/ 10972 h 20000"/>
                  <a:gd name="T80" fmla="*/ 6928 w 20000"/>
                  <a:gd name="T81" fmla="*/ 9173 h 20000"/>
                  <a:gd name="T82" fmla="*/ 7362 w 20000"/>
                  <a:gd name="T83" fmla="*/ 8999 h 20000"/>
                  <a:gd name="T84" fmla="*/ 8261 w 20000"/>
                  <a:gd name="T85" fmla="*/ 8563 h 20000"/>
                  <a:gd name="T86" fmla="*/ 9014 w 20000"/>
                  <a:gd name="T87" fmla="*/ 8563 h 20000"/>
                  <a:gd name="T88" fmla="*/ 9768 w 20000"/>
                  <a:gd name="T89" fmla="*/ 8708 h 20000"/>
                  <a:gd name="T90" fmla="*/ 10058 w 20000"/>
                  <a:gd name="T91" fmla="*/ 7518 h 20000"/>
                  <a:gd name="T92" fmla="*/ 10203 w 20000"/>
                  <a:gd name="T93" fmla="*/ 6299 h 20000"/>
                  <a:gd name="T94" fmla="*/ 10812 w 20000"/>
                  <a:gd name="T95" fmla="*/ 5399 h 20000"/>
                  <a:gd name="T96" fmla="*/ 10957 w 20000"/>
                  <a:gd name="T97" fmla="*/ 4790 h 20000"/>
                  <a:gd name="T98" fmla="*/ 11710 w 20000"/>
                  <a:gd name="T99" fmla="*/ 4035 h 20000"/>
                  <a:gd name="T100" fmla="*/ 12145 w 20000"/>
                  <a:gd name="T101" fmla="*/ 2700 h 20000"/>
                  <a:gd name="T102" fmla="*/ 12145 w 20000"/>
                  <a:gd name="T103" fmla="*/ 900 h 20000"/>
                  <a:gd name="T104" fmla="*/ 13681 w 20000"/>
                  <a:gd name="T105" fmla="*/ 2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5594" y="290"/>
                    </a:moveTo>
                    <a:lnTo>
                      <a:pt x="16348" y="0"/>
                    </a:lnTo>
                    <a:lnTo>
                      <a:pt x="18029" y="755"/>
                    </a:lnTo>
                    <a:lnTo>
                      <a:pt x="18783" y="1480"/>
                    </a:lnTo>
                    <a:lnTo>
                      <a:pt x="19971" y="2409"/>
                    </a:lnTo>
                    <a:lnTo>
                      <a:pt x="19681" y="2700"/>
                    </a:lnTo>
                    <a:lnTo>
                      <a:pt x="18783" y="3454"/>
                    </a:lnTo>
                    <a:lnTo>
                      <a:pt x="17565" y="3919"/>
                    </a:lnTo>
                    <a:lnTo>
                      <a:pt x="16812" y="3599"/>
                    </a:lnTo>
                    <a:lnTo>
                      <a:pt x="15594" y="3599"/>
                    </a:lnTo>
                    <a:lnTo>
                      <a:pt x="15159" y="4035"/>
                    </a:lnTo>
                    <a:lnTo>
                      <a:pt x="15768" y="4790"/>
                    </a:lnTo>
                    <a:lnTo>
                      <a:pt x="15768" y="6009"/>
                    </a:lnTo>
                    <a:lnTo>
                      <a:pt x="16348" y="6299"/>
                    </a:lnTo>
                    <a:lnTo>
                      <a:pt x="16522" y="6763"/>
                    </a:lnTo>
                    <a:lnTo>
                      <a:pt x="17565" y="7054"/>
                    </a:lnTo>
                    <a:lnTo>
                      <a:pt x="17565" y="7518"/>
                    </a:lnTo>
                    <a:lnTo>
                      <a:pt x="17130" y="7808"/>
                    </a:lnTo>
                    <a:lnTo>
                      <a:pt x="16522" y="8244"/>
                    </a:lnTo>
                    <a:lnTo>
                      <a:pt x="17130" y="8999"/>
                    </a:lnTo>
                    <a:lnTo>
                      <a:pt x="16522" y="9463"/>
                    </a:lnTo>
                    <a:lnTo>
                      <a:pt x="16058" y="10363"/>
                    </a:lnTo>
                    <a:lnTo>
                      <a:pt x="15594" y="10972"/>
                    </a:lnTo>
                    <a:lnTo>
                      <a:pt x="15594" y="11727"/>
                    </a:lnTo>
                    <a:lnTo>
                      <a:pt x="14406" y="12337"/>
                    </a:lnTo>
                    <a:lnTo>
                      <a:pt x="14406" y="13062"/>
                    </a:lnTo>
                    <a:lnTo>
                      <a:pt x="14116" y="13353"/>
                    </a:lnTo>
                    <a:lnTo>
                      <a:pt x="13971" y="13527"/>
                    </a:lnTo>
                    <a:lnTo>
                      <a:pt x="12464" y="14107"/>
                    </a:lnTo>
                    <a:lnTo>
                      <a:pt x="12145" y="13527"/>
                    </a:lnTo>
                    <a:lnTo>
                      <a:pt x="12029" y="13817"/>
                    </a:lnTo>
                    <a:lnTo>
                      <a:pt x="11710" y="14107"/>
                    </a:lnTo>
                    <a:lnTo>
                      <a:pt x="10957" y="15298"/>
                    </a:lnTo>
                    <a:lnTo>
                      <a:pt x="12029" y="15472"/>
                    </a:lnTo>
                    <a:lnTo>
                      <a:pt x="12029" y="16836"/>
                    </a:lnTo>
                    <a:lnTo>
                      <a:pt x="12464" y="16952"/>
                    </a:lnTo>
                    <a:lnTo>
                      <a:pt x="13217" y="18636"/>
                    </a:lnTo>
                    <a:lnTo>
                      <a:pt x="13217" y="18926"/>
                    </a:lnTo>
                    <a:lnTo>
                      <a:pt x="12928" y="19216"/>
                    </a:lnTo>
                    <a:lnTo>
                      <a:pt x="12609" y="18926"/>
                    </a:lnTo>
                    <a:lnTo>
                      <a:pt x="12145" y="19216"/>
                    </a:lnTo>
                    <a:lnTo>
                      <a:pt x="11710" y="19216"/>
                    </a:lnTo>
                    <a:lnTo>
                      <a:pt x="10493" y="19216"/>
                    </a:lnTo>
                    <a:lnTo>
                      <a:pt x="10493" y="19390"/>
                    </a:lnTo>
                    <a:lnTo>
                      <a:pt x="10058" y="19390"/>
                    </a:lnTo>
                    <a:lnTo>
                      <a:pt x="10058" y="19681"/>
                    </a:lnTo>
                    <a:lnTo>
                      <a:pt x="9768" y="19971"/>
                    </a:lnTo>
                    <a:lnTo>
                      <a:pt x="8551" y="19390"/>
                    </a:lnTo>
                    <a:lnTo>
                      <a:pt x="8261" y="18636"/>
                    </a:lnTo>
                    <a:lnTo>
                      <a:pt x="8116" y="18200"/>
                    </a:lnTo>
                    <a:lnTo>
                      <a:pt x="7507" y="18200"/>
                    </a:lnTo>
                    <a:lnTo>
                      <a:pt x="7362" y="17417"/>
                    </a:lnTo>
                    <a:lnTo>
                      <a:pt x="6928" y="17271"/>
                    </a:lnTo>
                    <a:lnTo>
                      <a:pt x="6290" y="17417"/>
                    </a:lnTo>
                    <a:lnTo>
                      <a:pt x="4957" y="17736"/>
                    </a:lnTo>
                    <a:lnTo>
                      <a:pt x="4957" y="18026"/>
                    </a:lnTo>
                    <a:lnTo>
                      <a:pt x="4348" y="17736"/>
                    </a:lnTo>
                    <a:lnTo>
                      <a:pt x="3913" y="17417"/>
                    </a:lnTo>
                    <a:lnTo>
                      <a:pt x="3014" y="17736"/>
                    </a:lnTo>
                    <a:lnTo>
                      <a:pt x="1942" y="17736"/>
                    </a:lnTo>
                    <a:lnTo>
                      <a:pt x="1188" y="18026"/>
                    </a:lnTo>
                    <a:lnTo>
                      <a:pt x="1188" y="17271"/>
                    </a:lnTo>
                    <a:lnTo>
                      <a:pt x="1507" y="16226"/>
                    </a:lnTo>
                    <a:lnTo>
                      <a:pt x="1942" y="16226"/>
                    </a:lnTo>
                    <a:lnTo>
                      <a:pt x="2551" y="15762"/>
                    </a:lnTo>
                    <a:lnTo>
                      <a:pt x="3014" y="15762"/>
                    </a:lnTo>
                    <a:lnTo>
                      <a:pt x="3014" y="15472"/>
                    </a:lnTo>
                    <a:lnTo>
                      <a:pt x="3159" y="15472"/>
                    </a:lnTo>
                    <a:lnTo>
                      <a:pt x="3159" y="14862"/>
                    </a:lnTo>
                    <a:lnTo>
                      <a:pt x="2725" y="14862"/>
                    </a:lnTo>
                    <a:lnTo>
                      <a:pt x="2551" y="13817"/>
                    </a:lnTo>
                    <a:lnTo>
                      <a:pt x="1797" y="13062"/>
                    </a:lnTo>
                    <a:lnTo>
                      <a:pt x="1072" y="12917"/>
                    </a:lnTo>
                    <a:lnTo>
                      <a:pt x="0" y="11437"/>
                    </a:lnTo>
                    <a:lnTo>
                      <a:pt x="1797" y="11872"/>
                    </a:lnTo>
                    <a:lnTo>
                      <a:pt x="2725" y="11872"/>
                    </a:lnTo>
                    <a:lnTo>
                      <a:pt x="3449" y="11872"/>
                    </a:lnTo>
                    <a:lnTo>
                      <a:pt x="3913" y="11727"/>
                    </a:lnTo>
                    <a:lnTo>
                      <a:pt x="5101" y="11437"/>
                    </a:lnTo>
                    <a:lnTo>
                      <a:pt x="6638" y="10972"/>
                    </a:lnTo>
                    <a:lnTo>
                      <a:pt x="6638" y="9463"/>
                    </a:lnTo>
                    <a:lnTo>
                      <a:pt x="6928" y="9173"/>
                    </a:lnTo>
                    <a:lnTo>
                      <a:pt x="7043" y="8999"/>
                    </a:lnTo>
                    <a:lnTo>
                      <a:pt x="7362" y="8999"/>
                    </a:lnTo>
                    <a:lnTo>
                      <a:pt x="8116" y="8999"/>
                    </a:lnTo>
                    <a:lnTo>
                      <a:pt x="8261" y="8563"/>
                    </a:lnTo>
                    <a:lnTo>
                      <a:pt x="8551" y="8244"/>
                    </a:lnTo>
                    <a:lnTo>
                      <a:pt x="9014" y="8563"/>
                    </a:lnTo>
                    <a:lnTo>
                      <a:pt x="9304" y="8563"/>
                    </a:lnTo>
                    <a:lnTo>
                      <a:pt x="9768" y="8708"/>
                    </a:lnTo>
                    <a:lnTo>
                      <a:pt x="10203" y="8244"/>
                    </a:lnTo>
                    <a:lnTo>
                      <a:pt x="10058" y="7518"/>
                    </a:lnTo>
                    <a:lnTo>
                      <a:pt x="10203" y="7054"/>
                    </a:lnTo>
                    <a:lnTo>
                      <a:pt x="10203" y="6299"/>
                    </a:lnTo>
                    <a:lnTo>
                      <a:pt x="10957" y="5864"/>
                    </a:lnTo>
                    <a:lnTo>
                      <a:pt x="10812" y="5399"/>
                    </a:lnTo>
                    <a:lnTo>
                      <a:pt x="10493" y="4790"/>
                    </a:lnTo>
                    <a:lnTo>
                      <a:pt x="10957" y="4790"/>
                    </a:lnTo>
                    <a:lnTo>
                      <a:pt x="12029" y="4790"/>
                    </a:lnTo>
                    <a:lnTo>
                      <a:pt x="11710" y="4035"/>
                    </a:lnTo>
                    <a:lnTo>
                      <a:pt x="12029" y="3599"/>
                    </a:lnTo>
                    <a:lnTo>
                      <a:pt x="12145" y="2700"/>
                    </a:lnTo>
                    <a:lnTo>
                      <a:pt x="12029" y="1480"/>
                    </a:lnTo>
                    <a:lnTo>
                      <a:pt x="12145" y="900"/>
                    </a:lnTo>
                    <a:lnTo>
                      <a:pt x="12928" y="464"/>
                    </a:lnTo>
                    <a:lnTo>
                      <a:pt x="13681" y="290"/>
                    </a:lnTo>
                    <a:lnTo>
                      <a:pt x="15594" y="2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0" name="Freeform 169"/>
              <p:cNvSpPr>
                <a:spLocks/>
              </p:cNvSpPr>
              <p:nvPr/>
            </p:nvSpPr>
            <p:spPr bwMode="auto">
              <a:xfrm>
                <a:off x="8356600" y="3914775"/>
                <a:ext cx="131763" cy="187325"/>
              </a:xfrm>
              <a:custGeom>
                <a:avLst/>
                <a:gdLst>
                  <a:gd name="T0" fmla="*/ 19904 w 20000"/>
                  <a:gd name="T1" fmla="*/ 19932 h 20000"/>
                  <a:gd name="T2" fmla="*/ 19327 w 20000"/>
                  <a:gd name="T3" fmla="*/ 18915 h 20000"/>
                  <a:gd name="T4" fmla="*/ 17885 w 20000"/>
                  <a:gd name="T5" fmla="*/ 18169 h 20000"/>
                  <a:gd name="T6" fmla="*/ 16923 w 20000"/>
                  <a:gd name="T7" fmla="*/ 17492 h 20000"/>
                  <a:gd name="T8" fmla="*/ 15385 w 20000"/>
                  <a:gd name="T9" fmla="*/ 16475 h 20000"/>
                  <a:gd name="T10" fmla="*/ 14423 w 20000"/>
                  <a:gd name="T11" fmla="*/ 16068 h 20000"/>
                  <a:gd name="T12" fmla="*/ 13942 w 20000"/>
                  <a:gd name="T13" fmla="*/ 14712 h 20000"/>
                  <a:gd name="T14" fmla="*/ 12981 w 20000"/>
                  <a:gd name="T15" fmla="*/ 15390 h 20000"/>
                  <a:gd name="T16" fmla="*/ 14423 w 20000"/>
                  <a:gd name="T17" fmla="*/ 17492 h 20000"/>
                  <a:gd name="T18" fmla="*/ 13942 w 20000"/>
                  <a:gd name="T19" fmla="*/ 17492 h 20000"/>
                  <a:gd name="T20" fmla="*/ 12019 w 20000"/>
                  <a:gd name="T21" fmla="*/ 16068 h 20000"/>
                  <a:gd name="T22" fmla="*/ 8942 w 20000"/>
                  <a:gd name="T23" fmla="*/ 15390 h 20000"/>
                  <a:gd name="T24" fmla="*/ 7885 w 20000"/>
                  <a:gd name="T25" fmla="*/ 16068 h 20000"/>
                  <a:gd name="T26" fmla="*/ 7500 w 20000"/>
                  <a:gd name="T27" fmla="*/ 16068 h 20000"/>
                  <a:gd name="T28" fmla="*/ 6442 w 20000"/>
                  <a:gd name="T29" fmla="*/ 15390 h 20000"/>
                  <a:gd name="T30" fmla="*/ 5000 w 20000"/>
                  <a:gd name="T31" fmla="*/ 14712 h 20000"/>
                  <a:gd name="T32" fmla="*/ 5481 w 20000"/>
                  <a:gd name="T33" fmla="*/ 13627 h 20000"/>
                  <a:gd name="T34" fmla="*/ 5481 w 20000"/>
                  <a:gd name="T35" fmla="*/ 12610 h 20000"/>
                  <a:gd name="T36" fmla="*/ 5000 w 20000"/>
                  <a:gd name="T37" fmla="*/ 12610 h 20000"/>
                  <a:gd name="T38" fmla="*/ 3942 w 20000"/>
                  <a:gd name="T39" fmla="*/ 13627 h 20000"/>
                  <a:gd name="T40" fmla="*/ 3558 w 20000"/>
                  <a:gd name="T41" fmla="*/ 13288 h 20000"/>
                  <a:gd name="T42" fmla="*/ 1538 w 20000"/>
                  <a:gd name="T43" fmla="*/ 9831 h 20000"/>
                  <a:gd name="T44" fmla="*/ 0 w 20000"/>
                  <a:gd name="T45" fmla="*/ 7322 h 20000"/>
                  <a:gd name="T46" fmla="*/ 1538 w 20000"/>
                  <a:gd name="T47" fmla="*/ 8068 h 20000"/>
                  <a:gd name="T48" fmla="*/ 2500 w 20000"/>
                  <a:gd name="T49" fmla="*/ 8746 h 20000"/>
                  <a:gd name="T50" fmla="*/ 3558 w 20000"/>
                  <a:gd name="T51" fmla="*/ 8068 h 20000"/>
                  <a:gd name="T52" fmla="*/ 2500 w 20000"/>
                  <a:gd name="T53" fmla="*/ 5966 h 20000"/>
                  <a:gd name="T54" fmla="*/ 2500 w 20000"/>
                  <a:gd name="T55" fmla="*/ 3458 h 20000"/>
                  <a:gd name="T56" fmla="*/ 3558 w 20000"/>
                  <a:gd name="T57" fmla="*/ 0 h 20000"/>
                  <a:gd name="T58" fmla="*/ 5000 w 20000"/>
                  <a:gd name="T59" fmla="*/ 0 h 20000"/>
                  <a:gd name="T60" fmla="*/ 7885 w 20000"/>
                  <a:gd name="T61" fmla="*/ 678 h 20000"/>
                  <a:gd name="T62" fmla="*/ 8942 w 20000"/>
                  <a:gd name="T63" fmla="*/ 0 h 20000"/>
                  <a:gd name="T64" fmla="*/ 9423 w 20000"/>
                  <a:gd name="T65" fmla="*/ 678 h 20000"/>
                  <a:gd name="T66" fmla="*/ 9423 w 20000"/>
                  <a:gd name="T67" fmla="*/ 1763 h 20000"/>
                  <a:gd name="T68" fmla="*/ 9423 w 20000"/>
                  <a:gd name="T69" fmla="*/ 3458 h 20000"/>
                  <a:gd name="T70" fmla="*/ 11442 w 20000"/>
                  <a:gd name="T71" fmla="*/ 4542 h 20000"/>
                  <a:gd name="T72" fmla="*/ 11442 w 20000"/>
                  <a:gd name="T73" fmla="*/ 5966 h 20000"/>
                  <a:gd name="T74" fmla="*/ 10481 w 20000"/>
                  <a:gd name="T75" fmla="*/ 8068 h 20000"/>
                  <a:gd name="T76" fmla="*/ 7885 w 20000"/>
                  <a:gd name="T77" fmla="*/ 8746 h 20000"/>
                  <a:gd name="T78" fmla="*/ 7500 w 20000"/>
                  <a:gd name="T79" fmla="*/ 10102 h 20000"/>
                  <a:gd name="T80" fmla="*/ 8942 w 20000"/>
                  <a:gd name="T81" fmla="*/ 11932 h 20000"/>
                  <a:gd name="T82" fmla="*/ 8942 w 20000"/>
                  <a:gd name="T83" fmla="*/ 12610 h 20000"/>
                  <a:gd name="T84" fmla="*/ 8942 w 20000"/>
                  <a:gd name="T85" fmla="*/ 13627 h 20000"/>
                  <a:gd name="T86" fmla="*/ 11442 w 20000"/>
                  <a:gd name="T87" fmla="*/ 14712 h 20000"/>
                  <a:gd name="T88" fmla="*/ 12019 w 20000"/>
                  <a:gd name="T89" fmla="*/ 14373 h 20000"/>
                  <a:gd name="T90" fmla="*/ 12019 w 20000"/>
                  <a:gd name="T91" fmla="*/ 13627 h 20000"/>
                  <a:gd name="T92" fmla="*/ 14423 w 20000"/>
                  <a:gd name="T93" fmla="*/ 13627 h 20000"/>
                  <a:gd name="T94" fmla="*/ 15385 w 20000"/>
                  <a:gd name="T95" fmla="*/ 15390 h 20000"/>
                  <a:gd name="T96" fmla="*/ 15962 w 20000"/>
                  <a:gd name="T97" fmla="*/ 15390 h 20000"/>
                  <a:gd name="T98" fmla="*/ 15962 w 20000"/>
                  <a:gd name="T99" fmla="*/ 14712 h 20000"/>
                  <a:gd name="T100" fmla="*/ 19327 w 20000"/>
                  <a:gd name="T101" fmla="*/ 15390 h 20000"/>
                  <a:gd name="T102" fmla="*/ 17885 w 20000"/>
                  <a:gd name="T103" fmla="*/ 16068 h 20000"/>
                  <a:gd name="T104" fmla="*/ 18365 w 20000"/>
                  <a:gd name="T105" fmla="*/ 17153 h 20000"/>
                  <a:gd name="T106" fmla="*/ 19904 w 20000"/>
                  <a:gd name="T107" fmla="*/ 17492 h 20000"/>
                  <a:gd name="T108" fmla="*/ 19904 w 20000"/>
                  <a:gd name="T109" fmla="*/ 199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19904" y="19932"/>
                    </a:moveTo>
                    <a:lnTo>
                      <a:pt x="19327" y="18915"/>
                    </a:lnTo>
                    <a:lnTo>
                      <a:pt x="17885" y="18169"/>
                    </a:lnTo>
                    <a:lnTo>
                      <a:pt x="16923" y="17492"/>
                    </a:lnTo>
                    <a:lnTo>
                      <a:pt x="15385" y="16475"/>
                    </a:lnTo>
                    <a:lnTo>
                      <a:pt x="14423" y="16068"/>
                    </a:lnTo>
                    <a:lnTo>
                      <a:pt x="13942" y="14712"/>
                    </a:lnTo>
                    <a:lnTo>
                      <a:pt x="12981" y="15390"/>
                    </a:lnTo>
                    <a:lnTo>
                      <a:pt x="14423" y="17492"/>
                    </a:lnTo>
                    <a:lnTo>
                      <a:pt x="13942" y="17492"/>
                    </a:lnTo>
                    <a:lnTo>
                      <a:pt x="12019" y="16068"/>
                    </a:lnTo>
                    <a:lnTo>
                      <a:pt x="8942" y="15390"/>
                    </a:lnTo>
                    <a:lnTo>
                      <a:pt x="7885" y="16068"/>
                    </a:lnTo>
                    <a:lnTo>
                      <a:pt x="7500" y="16068"/>
                    </a:lnTo>
                    <a:lnTo>
                      <a:pt x="6442" y="15390"/>
                    </a:lnTo>
                    <a:lnTo>
                      <a:pt x="5000" y="14712"/>
                    </a:lnTo>
                    <a:lnTo>
                      <a:pt x="5481" y="13627"/>
                    </a:lnTo>
                    <a:lnTo>
                      <a:pt x="5481" y="12610"/>
                    </a:lnTo>
                    <a:lnTo>
                      <a:pt x="5000" y="12610"/>
                    </a:lnTo>
                    <a:lnTo>
                      <a:pt x="3942" y="13627"/>
                    </a:lnTo>
                    <a:lnTo>
                      <a:pt x="3558" y="13288"/>
                    </a:lnTo>
                    <a:lnTo>
                      <a:pt x="1538" y="9831"/>
                    </a:lnTo>
                    <a:lnTo>
                      <a:pt x="0" y="7322"/>
                    </a:lnTo>
                    <a:lnTo>
                      <a:pt x="1538" y="8068"/>
                    </a:lnTo>
                    <a:lnTo>
                      <a:pt x="2500" y="8746"/>
                    </a:lnTo>
                    <a:lnTo>
                      <a:pt x="3558" y="8068"/>
                    </a:lnTo>
                    <a:lnTo>
                      <a:pt x="2500" y="5966"/>
                    </a:lnTo>
                    <a:lnTo>
                      <a:pt x="2500" y="3458"/>
                    </a:lnTo>
                    <a:lnTo>
                      <a:pt x="3558" y="0"/>
                    </a:lnTo>
                    <a:lnTo>
                      <a:pt x="5000" y="0"/>
                    </a:lnTo>
                    <a:lnTo>
                      <a:pt x="7885" y="678"/>
                    </a:lnTo>
                    <a:lnTo>
                      <a:pt x="8942" y="0"/>
                    </a:lnTo>
                    <a:lnTo>
                      <a:pt x="9423" y="678"/>
                    </a:lnTo>
                    <a:lnTo>
                      <a:pt x="9423" y="1763"/>
                    </a:lnTo>
                    <a:lnTo>
                      <a:pt x="9423" y="3458"/>
                    </a:lnTo>
                    <a:lnTo>
                      <a:pt x="11442" y="4542"/>
                    </a:lnTo>
                    <a:lnTo>
                      <a:pt x="11442" y="5966"/>
                    </a:lnTo>
                    <a:lnTo>
                      <a:pt x="10481" y="8068"/>
                    </a:lnTo>
                    <a:lnTo>
                      <a:pt x="7885" y="8746"/>
                    </a:lnTo>
                    <a:lnTo>
                      <a:pt x="7500" y="10102"/>
                    </a:lnTo>
                    <a:lnTo>
                      <a:pt x="8942" y="11932"/>
                    </a:lnTo>
                    <a:lnTo>
                      <a:pt x="8942" y="12610"/>
                    </a:lnTo>
                    <a:lnTo>
                      <a:pt x="8942" y="13627"/>
                    </a:lnTo>
                    <a:lnTo>
                      <a:pt x="11442" y="14712"/>
                    </a:lnTo>
                    <a:lnTo>
                      <a:pt x="12019" y="14373"/>
                    </a:lnTo>
                    <a:lnTo>
                      <a:pt x="12019" y="13627"/>
                    </a:lnTo>
                    <a:lnTo>
                      <a:pt x="14423" y="13627"/>
                    </a:lnTo>
                    <a:lnTo>
                      <a:pt x="15385" y="15390"/>
                    </a:lnTo>
                    <a:lnTo>
                      <a:pt x="15962" y="15390"/>
                    </a:lnTo>
                    <a:lnTo>
                      <a:pt x="15962" y="14712"/>
                    </a:lnTo>
                    <a:lnTo>
                      <a:pt x="19327" y="15390"/>
                    </a:lnTo>
                    <a:lnTo>
                      <a:pt x="17885" y="16068"/>
                    </a:lnTo>
                    <a:lnTo>
                      <a:pt x="18365" y="17153"/>
                    </a:lnTo>
                    <a:lnTo>
                      <a:pt x="19904" y="17492"/>
                    </a:lnTo>
                    <a:lnTo>
                      <a:pt x="19904" y="1993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1" name="Freeform 168"/>
              <p:cNvSpPr>
                <a:spLocks/>
              </p:cNvSpPr>
              <p:nvPr/>
            </p:nvSpPr>
            <p:spPr bwMode="auto">
              <a:xfrm>
                <a:off x="8442325" y="4181475"/>
                <a:ext cx="128588" cy="128588"/>
              </a:xfrm>
              <a:custGeom>
                <a:avLst/>
                <a:gdLst>
                  <a:gd name="T0" fmla="*/ 14877 w 20000"/>
                  <a:gd name="T1" fmla="*/ 19901 h 20000"/>
                  <a:gd name="T2" fmla="*/ 13695 w 20000"/>
                  <a:gd name="T3" fmla="*/ 18916 h 20000"/>
                  <a:gd name="T4" fmla="*/ 13695 w 20000"/>
                  <a:gd name="T5" fmla="*/ 18325 h 20000"/>
                  <a:gd name="T6" fmla="*/ 13695 w 20000"/>
                  <a:gd name="T7" fmla="*/ 17340 h 20000"/>
                  <a:gd name="T8" fmla="*/ 13300 w 20000"/>
                  <a:gd name="T9" fmla="*/ 18325 h 20000"/>
                  <a:gd name="T10" fmla="*/ 9655 w 20000"/>
                  <a:gd name="T11" fmla="*/ 17340 h 20000"/>
                  <a:gd name="T12" fmla="*/ 8177 w 20000"/>
                  <a:gd name="T13" fmla="*/ 13300 h 20000"/>
                  <a:gd name="T14" fmla="*/ 9163 w 20000"/>
                  <a:gd name="T15" fmla="*/ 11724 h 20000"/>
                  <a:gd name="T16" fmla="*/ 8177 w 20000"/>
                  <a:gd name="T17" fmla="*/ 10246 h 20000"/>
                  <a:gd name="T18" fmla="*/ 5616 w 20000"/>
                  <a:gd name="T19" fmla="*/ 9163 h 20000"/>
                  <a:gd name="T20" fmla="*/ 6601 w 20000"/>
                  <a:gd name="T21" fmla="*/ 11724 h 20000"/>
                  <a:gd name="T22" fmla="*/ 5025 w 20000"/>
                  <a:gd name="T23" fmla="*/ 10640 h 20000"/>
                  <a:gd name="T24" fmla="*/ 4039 w 20000"/>
                  <a:gd name="T25" fmla="*/ 10246 h 20000"/>
                  <a:gd name="T26" fmla="*/ 4039 w 20000"/>
                  <a:gd name="T27" fmla="*/ 10640 h 20000"/>
                  <a:gd name="T28" fmla="*/ 3054 w 20000"/>
                  <a:gd name="T29" fmla="*/ 10640 h 20000"/>
                  <a:gd name="T30" fmla="*/ 2562 w 20000"/>
                  <a:gd name="T31" fmla="*/ 9163 h 20000"/>
                  <a:gd name="T32" fmla="*/ 985 w 20000"/>
                  <a:gd name="T33" fmla="*/ 10640 h 20000"/>
                  <a:gd name="T34" fmla="*/ 0 w 20000"/>
                  <a:gd name="T35" fmla="*/ 13300 h 20000"/>
                  <a:gd name="T36" fmla="*/ 0 w 20000"/>
                  <a:gd name="T37" fmla="*/ 11724 h 20000"/>
                  <a:gd name="T38" fmla="*/ 0 w 20000"/>
                  <a:gd name="T39" fmla="*/ 8177 h 20000"/>
                  <a:gd name="T40" fmla="*/ 3054 w 20000"/>
                  <a:gd name="T41" fmla="*/ 7586 h 20000"/>
                  <a:gd name="T42" fmla="*/ 4039 w 20000"/>
                  <a:gd name="T43" fmla="*/ 5616 h 20000"/>
                  <a:gd name="T44" fmla="*/ 6601 w 20000"/>
                  <a:gd name="T45" fmla="*/ 5025 h 20000"/>
                  <a:gd name="T46" fmla="*/ 7192 w 20000"/>
                  <a:gd name="T47" fmla="*/ 6601 h 20000"/>
                  <a:gd name="T48" fmla="*/ 6601 w 20000"/>
                  <a:gd name="T49" fmla="*/ 7586 h 20000"/>
                  <a:gd name="T50" fmla="*/ 6601 w 20000"/>
                  <a:gd name="T51" fmla="*/ 8177 h 20000"/>
                  <a:gd name="T52" fmla="*/ 9163 w 20000"/>
                  <a:gd name="T53" fmla="*/ 6601 h 20000"/>
                  <a:gd name="T54" fmla="*/ 9655 w 20000"/>
                  <a:gd name="T55" fmla="*/ 5025 h 20000"/>
                  <a:gd name="T56" fmla="*/ 11724 w 20000"/>
                  <a:gd name="T57" fmla="*/ 5616 h 20000"/>
                  <a:gd name="T58" fmla="*/ 11724 w 20000"/>
                  <a:gd name="T59" fmla="*/ 3547 h 20000"/>
                  <a:gd name="T60" fmla="*/ 12217 w 20000"/>
                  <a:gd name="T61" fmla="*/ 4039 h 20000"/>
                  <a:gd name="T62" fmla="*/ 13300 w 20000"/>
                  <a:gd name="T63" fmla="*/ 3547 h 20000"/>
                  <a:gd name="T64" fmla="*/ 14877 w 20000"/>
                  <a:gd name="T65" fmla="*/ 3547 h 20000"/>
                  <a:gd name="T66" fmla="*/ 13695 w 20000"/>
                  <a:gd name="T67" fmla="*/ 0 h 20000"/>
                  <a:gd name="T68" fmla="*/ 16355 w 20000"/>
                  <a:gd name="T69" fmla="*/ 1576 h 20000"/>
                  <a:gd name="T70" fmla="*/ 17833 w 20000"/>
                  <a:gd name="T71" fmla="*/ 2562 h 20000"/>
                  <a:gd name="T72" fmla="*/ 17833 w 20000"/>
                  <a:gd name="T73" fmla="*/ 5025 h 20000"/>
                  <a:gd name="T74" fmla="*/ 17340 w 20000"/>
                  <a:gd name="T75" fmla="*/ 5616 h 20000"/>
                  <a:gd name="T76" fmla="*/ 18916 w 20000"/>
                  <a:gd name="T77" fmla="*/ 5616 h 20000"/>
                  <a:gd name="T78" fmla="*/ 18916 w 20000"/>
                  <a:gd name="T79" fmla="*/ 9163 h 20000"/>
                  <a:gd name="T80" fmla="*/ 19901 w 20000"/>
                  <a:gd name="T81" fmla="*/ 11724 h 20000"/>
                  <a:gd name="T82" fmla="*/ 17833 w 20000"/>
                  <a:gd name="T83" fmla="*/ 12217 h 20000"/>
                  <a:gd name="T84" fmla="*/ 18916 w 20000"/>
                  <a:gd name="T85" fmla="*/ 15862 h 20000"/>
                  <a:gd name="T86" fmla="*/ 17833 w 20000"/>
                  <a:gd name="T87" fmla="*/ 15862 h 20000"/>
                  <a:gd name="T88" fmla="*/ 16355 w 20000"/>
                  <a:gd name="T89" fmla="*/ 11724 h 20000"/>
                  <a:gd name="T90" fmla="*/ 13695 w 20000"/>
                  <a:gd name="T91" fmla="*/ 14286 h 20000"/>
                  <a:gd name="T92" fmla="*/ 15862 w 20000"/>
                  <a:gd name="T93" fmla="*/ 16256 h 20000"/>
                  <a:gd name="T94" fmla="*/ 14877 w 20000"/>
                  <a:gd name="T95" fmla="*/ 19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4877" y="19901"/>
                    </a:moveTo>
                    <a:lnTo>
                      <a:pt x="13695" y="18916"/>
                    </a:lnTo>
                    <a:lnTo>
                      <a:pt x="13695" y="18325"/>
                    </a:lnTo>
                    <a:lnTo>
                      <a:pt x="13695" y="17340"/>
                    </a:lnTo>
                    <a:lnTo>
                      <a:pt x="13300" y="18325"/>
                    </a:lnTo>
                    <a:lnTo>
                      <a:pt x="9655" y="17340"/>
                    </a:lnTo>
                    <a:lnTo>
                      <a:pt x="8177" y="13300"/>
                    </a:lnTo>
                    <a:lnTo>
                      <a:pt x="9163" y="11724"/>
                    </a:lnTo>
                    <a:lnTo>
                      <a:pt x="8177" y="10246"/>
                    </a:lnTo>
                    <a:lnTo>
                      <a:pt x="5616" y="9163"/>
                    </a:lnTo>
                    <a:lnTo>
                      <a:pt x="6601" y="11724"/>
                    </a:lnTo>
                    <a:lnTo>
                      <a:pt x="5025" y="10640"/>
                    </a:lnTo>
                    <a:lnTo>
                      <a:pt x="4039" y="10246"/>
                    </a:lnTo>
                    <a:lnTo>
                      <a:pt x="4039" y="10640"/>
                    </a:lnTo>
                    <a:lnTo>
                      <a:pt x="3054" y="10640"/>
                    </a:lnTo>
                    <a:lnTo>
                      <a:pt x="2562" y="9163"/>
                    </a:lnTo>
                    <a:lnTo>
                      <a:pt x="985" y="10640"/>
                    </a:lnTo>
                    <a:lnTo>
                      <a:pt x="0" y="13300"/>
                    </a:lnTo>
                    <a:lnTo>
                      <a:pt x="0" y="11724"/>
                    </a:lnTo>
                    <a:lnTo>
                      <a:pt x="0" y="8177"/>
                    </a:lnTo>
                    <a:lnTo>
                      <a:pt x="3054" y="7586"/>
                    </a:lnTo>
                    <a:lnTo>
                      <a:pt x="4039" y="5616"/>
                    </a:lnTo>
                    <a:lnTo>
                      <a:pt x="6601" y="5025"/>
                    </a:lnTo>
                    <a:lnTo>
                      <a:pt x="7192" y="6601"/>
                    </a:lnTo>
                    <a:lnTo>
                      <a:pt x="6601" y="7586"/>
                    </a:lnTo>
                    <a:lnTo>
                      <a:pt x="6601" y="8177"/>
                    </a:lnTo>
                    <a:lnTo>
                      <a:pt x="9163" y="6601"/>
                    </a:lnTo>
                    <a:lnTo>
                      <a:pt x="9655" y="5025"/>
                    </a:lnTo>
                    <a:lnTo>
                      <a:pt x="11724" y="5616"/>
                    </a:lnTo>
                    <a:lnTo>
                      <a:pt x="11724" y="3547"/>
                    </a:lnTo>
                    <a:lnTo>
                      <a:pt x="12217" y="4039"/>
                    </a:lnTo>
                    <a:lnTo>
                      <a:pt x="13300" y="3547"/>
                    </a:lnTo>
                    <a:lnTo>
                      <a:pt x="14877" y="3547"/>
                    </a:lnTo>
                    <a:lnTo>
                      <a:pt x="13695" y="0"/>
                    </a:lnTo>
                    <a:lnTo>
                      <a:pt x="16355" y="1576"/>
                    </a:lnTo>
                    <a:lnTo>
                      <a:pt x="17833" y="2562"/>
                    </a:lnTo>
                    <a:lnTo>
                      <a:pt x="17833" y="5025"/>
                    </a:lnTo>
                    <a:lnTo>
                      <a:pt x="17340" y="5616"/>
                    </a:lnTo>
                    <a:lnTo>
                      <a:pt x="18916" y="5616"/>
                    </a:lnTo>
                    <a:lnTo>
                      <a:pt x="18916" y="9163"/>
                    </a:lnTo>
                    <a:lnTo>
                      <a:pt x="19901" y="11724"/>
                    </a:lnTo>
                    <a:lnTo>
                      <a:pt x="17833" y="12217"/>
                    </a:lnTo>
                    <a:lnTo>
                      <a:pt x="18916" y="15862"/>
                    </a:lnTo>
                    <a:lnTo>
                      <a:pt x="17833" y="15862"/>
                    </a:lnTo>
                    <a:lnTo>
                      <a:pt x="16355" y="11724"/>
                    </a:lnTo>
                    <a:lnTo>
                      <a:pt x="13695" y="14286"/>
                    </a:lnTo>
                    <a:lnTo>
                      <a:pt x="15862" y="16256"/>
                    </a:lnTo>
                    <a:lnTo>
                      <a:pt x="14877" y="1990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2" name="Freeform 167"/>
              <p:cNvSpPr>
                <a:spLocks/>
              </p:cNvSpPr>
              <p:nvPr/>
            </p:nvSpPr>
            <p:spPr bwMode="auto">
              <a:xfrm>
                <a:off x="8432800" y="4119563"/>
                <a:ext cx="30163" cy="47625"/>
              </a:xfrm>
              <a:custGeom>
                <a:avLst/>
                <a:gdLst>
                  <a:gd name="T0" fmla="*/ 0 w 20000"/>
                  <a:gd name="T1" fmla="*/ 19730 h 20000"/>
                  <a:gd name="T2" fmla="*/ 0 w 20000"/>
                  <a:gd name="T3" fmla="*/ 7027 h 20000"/>
                  <a:gd name="T4" fmla="*/ 0 w 20000"/>
                  <a:gd name="T5" fmla="*/ 0 h 20000"/>
                  <a:gd name="T6" fmla="*/ 6667 w 20000"/>
                  <a:gd name="T7" fmla="*/ 0 h 20000"/>
                  <a:gd name="T8" fmla="*/ 10833 w 20000"/>
                  <a:gd name="T9" fmla="*/ 4324 h 20000"/>
                  <a:gd name="T10" fmla="*/ 12917 w 20000"/>
                  <a:gd name="T11" fmla="*/ 1081 h 20000"/>
                  <a:gd name="T12" fmla="*/ 19583 w 20000"/>
                  <a:gd name="T13" fmla="*/ 4324 h 20000"/>
                  <a:gd name="T14" fmla="*/ 19583 w 20000"/>
                  <a:gd name="T15" fmla="*/ 8378 h 20000"/>
                  <a:gd name="T16" fmla="*/ 17083 w 20000"/>
                  <a:gd name="T17" fmla="*/ 11081 h 20000"/>
                  <a:gd name="T18" fmla="*/ 0 w 20000"/>
                  <a:gd name="T19" fmla="*/ 197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0" y="19730"/>
                    </a:moveTo>
                    <a:lnTo>
                      <a:pt x="0" y="7027"/>
                    </a:lnTo>
                    <a:lnTo>
                      <a:pt x="0" y="0"/>
                    </a:lnTo>
                    <a:lnTo>
                      <a:pt x="6667" y="0"/>
                    </a:lnTo>
                    <a:lnTo>
                      <a:pt x="10833" y="4324"/>
                    </a:lnTo>
                    <a:lnTo>
                      <a:pt x="12917" y="1081"/>
                    </a:lnTo>
                    <a:lnTo>
                      <a:pt x="19583" y="4324"/>
                    </a:lnTo>
                    <a:lnTo>
                      <a:pt x="19583" y="8378"/>
                    </a:lnTo>
                    <a:lnTo>
                      <a:pt x="17083" y="11081"/>
                    </a:lnTo>
                    <a:lnTo>
                      <a:pt x="0" y="197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3" name="Freeform 166"/>
              <p:cNvSpPr>
                <a:spLocks/>
              </p:cNvSpPr>
              <p:nvPr/>
            </p:nvSpPr>
            <p:spPr bwMode="auto">
              <a:xfrm>
                <a:off x="8297863" y="4129088"/>
                <a:ext cx="69850" cy="88900"/>
              </a:xfrm>
              <a:custGeom>
                <a:avLst/>
                <a:gdLst>
                  <a:gd name="T0" fmla="*/ 0 w 20000"/>
                  <a:gd name="T1" fmla="*/ 19857 h 20000"/>
                  <a:gd name="T2" fmla="*/ 4909 w 20000"/>
                  <a:gd name="T3" fmla="*/ 16857 h 20000"/>
                  <a:gd name="T4" fmla="*/ 7636 w 20000"/>
                  <a:gd name="T5" fmla="*/ 15429 h 20000"/>
                  <a:gd name="T6" fmla="*/ 11273 w 20000"/>
                  <a:gd name="T7" fmla="*/ 11000 h 20000"/>
                  <a:gd name="T8" fmla="*/ 14182 w 20000"/>
                  <a:gd name="T9" fmla="*/ 8143 h 20000"/>
                  <a:gd name="T10" fmla="*/ 16909 w 20000"/>
                  <a:gd name="T11" fmla="*/ 7286 h 20000"/>
                  <a:gd name="T12" fmla="*/ 16909 w 20000"/>
                  <a:gd name="T13" fmla="*/ 3714 h 20000"/>
                  <a:gd name="T14" fmla="*/ 18727 w 20000"/>
                  <a:gd name="T15" fmla="*/ 0 h 20000"/>
                  <a:gd name="T16" fmla="*/ 18727 w 20000"/>
                  <a:gd name="T17" fmla="*/ 2286 h 20000"/>
                  <a:gd name="T18" fmla="*/ 18727 w 20000"/>
                  <a:gd name="T19" fmla="*/ 3714 h 20000"/>
                  <a:gd name="T20" fmla="*/ 19818 w 20000"/>
                  <a:gd name="T21" fmla="*/ 7286 h 20000"/>
                  <a:gd name="T22" fmla="*/ 16909 w 20000"/>
                  <a:gd name="T23" fmla="*/ 8143 h 20000"/>
                  <a:gd name="T24" fmla="*/ 16909 w 20000"/>
                  <a:gd name="T25" fmla="*/ 11000 h 20000"/>
                  <a:gd name="T26" fmla="*/ 14182 w 20000"/>
                  <a:gd name="T27" fmla="*/ 11714 h 20000"/>
                  <a:gd name="T28" fmla="*/ 11273 w 20000"/>
                  <a:gd name="T29" fmla="*/ 15429 h 20000"/>
                  <a:gd name="T30" fmla="*/ 7636 w 20000"/>
                  <a:gd name="T31" fmla="*/ 16857 h 20000"/>
                  <a:gd name="T32" fmla="*/ 3818 w 20000"/>
                  <a:gd name="T33" fmla="*/ 19000 h 20000"/>
                  <a:gd name="T34" fmla="*/ 0 w 20000"/>
                  <a:gd name="T35" fmla="*/ 1985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0" y="19857"/>
                    </a:moveTo>
                    <a:lnTo>
                      <a:pt x="4909" y="16857"/>
                    </a:lnTo>
                    <a:lnTo>
                      <a:pt x="7636" y="15429"/>
                    </a:lnTo>
                    <a:lnTo>
                      <a:pt x="11273" y="11000"/>
                    </a:lnTo>
                    <a:lnTo>
                      <a:pt x="14182" y="8143"/>
                    </a:lnTo>
                    <a:lnTo>
                      <a:pt x="16909" y="7286"/>
                    </a:lnTo>
                    <a:lnTo>
                      <a:pt x="16909" y="3714"/>
                    </a:lnTo>
                    <a:lnTo>
                      <a:pt x="18727" y="0"/>
                    </a:lnTo>
                    <a:lnTo>
                      <a:pt x="18727" y="2286"/>
                    </a:lnTo>
                    <a:lnTo>
                      <a:pt x="18727" y="3714"/>
                    </a:lnTo>
                    <a:lnTo>
                      <a:pt x="19818" y="7286"/>
                    </a:lnTo>
                    <a:lnTo>
                      <a:pt x="16909" y="8143"/>
                    </a:lnTo>
                    <a:lnTo>
                      <a:pt x="16909" y="11000"/>
                    </a:lnTo>
                    <a:lnTo>
                      <a:pt x="14182" y="11714"/>
                    </a:lnTo>
                    <a:lnTo>
                      <a:pt x="11273" y="15429"/>
                    </a:lnTo>
                    <a:lnTo>
                      <a:pt x="7636" y="16857"/>
                    </a:lnTo>
                    <a:lnTo>
                      <a:pt x="3818" y="19000"/>
                    </a:lnTo>
                    <a:lnTo>
                      <a:pt x="0" y="1985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4" name="Freeform 165"/>
              <p:cNvSpPr>
                <a:spLocks/>
              </p:cNvSpPr>
              <p:nvPr/>
            </p:nvSpPr>
            <p:spPr bwMode="auto">
              <a:xfrm>
                <a:off x="8494713" y="4095750"/>
                <a:ext cx="44450" cy="50800"/>
              </a:xfrm>
              <a:custGeom>
                <a:avLst/>
                <a:gdLst>
                  <a:gd name="T0" fmla="*/ 19710 w 20000"/>
                  <a:gd name="T1" fmla="*/ 19747 h 20000"/>
                  <a:gd name="T2" fmla="*/ 15072 w 20000"/>
                  <a:gd name="T3" fmla="*/ 17215 h 20000"/>
                  <a:gd name="T4" fmla="*/ 10725 w 20000"/>
                  <a:gd name="T5" fmla="*/ 10380 h 20000"/>
                  <a:gd name="T6" fmla="*/ 4638 w 20000"/>
                  <a:gd name="T7" fmla="*/ 9367 h 20000"/>
                  <a:gd name="T8" fmla="*/ 0 w 20000"/>
                  <a:gd name="T9" fmla="*/ 2532 h 20000"/>
                  <a:gd name="T10" fmla="*/ 11884 w 20000"/>
                  <a:gd name="T11" fmla="*/ 0 h 20000"/>
                  <a:gd name="T12" fmla="*/ 15072 w 20000"/>
                  <a:gd name="T13" fmla="*/ 2532 h 20000"/>
                  <a:gd name="T14" fmla="*/ 16522 w 20000"/>
                  <a:gd name="T15" fmla="*/ 5316 h 20000"/>
                  <a:gd name="T16" fmla="*/ 15072 w 20000"/>
                  <a:gd name="T17" fmla="*/ 9367 h 20000"/>
                  <a:gd name="T18" fmla="*/ 19710 w 20000"/>
                  <a:gd name="T19" fmla="*/ 1974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19710" y="19747"/>
                    </a:moveTo>
                    <a:lnTo>
                      <a:pt x="15072" y="17215"/>
                    </a:lnTo>
                    <a:lnTo>
                      <a:pt x="10725" y="10380"/>
                    </a:lnTo>
                    <a:lnTo>
                      <a:pt x="4638" y="9367"/>
                    </a:lnTo>
                    <a:lnTo>
                      <a:pt x="0" y="2532"/>
                    </a:lnTo>
                    <a:lnTo>
                      <a:pt x="11884" y="0"/>
                    </a:lnTo>
                    <a:lnTo>
                      <a:pt x="15072" y="2532"/>
                    </a:lnTo>
                    <a:lnTo>
                      <a:pt x="16522" y="5316"/>
                    </a:lnTo>
                    <a:lnTo>
                      <a:pt x="15072" y="9367"/>
                    </a:lnTo>
                    <a:lnTo>
                      <a:pt x="19710" y="1974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5" name="Freeform 164"/>
              <p:cNvSpPr>
                <a:spLocks/>
              </p:cNvSpPr>
              <p:nvPr/>
            </p:nvSpPr>
            <p:spPr bwMode="auto">
              <a:xfrm>
                <a:off x="8448675" y="4144963"/>
                <a:ext cx="30163" cy="60325"/>
              </a:xfrm>
              <a:custGeom>
                <a:avLst/>
                <a:gdLst>
                  <a:gd name="T0" fmla="*/ 12917 w 20000"/>
                  <a:gd name="T1" fmla="*/ 19787 h 20000"/>
                  <a:gd name="T2" fmla="*/ 6667 w 20000"/>
                  <a:gd name="T3" fmla="*/ 15532 h 20000"/>
                  <a:gd name="T4" fmla="*/ 2500 w 20000"/>
                  <a:gd name="T5" fmla="*/ 15532 h 20000"/>
                  <a:gd name="T6" fmla="*/ 0 w 20000"/>
                  <a:gd name="T7" fmla="*/ 10851 h 20000"/>
                  <a:gd name="T8" fmla="*/ 6667 w 20000"/>
                  <a:gd name="T9" fmla="*/ 8723 h 20000"/>
                  <a:gd name="T10" fmla="*/ 12917 w 20000"/>
                  <a:gd name="T11" fmla="*/ 851 h 20000"/>
                  <a:gd name="T12" fmla="*/ 17083 w 20000"/>
                  <a:gd name="T13" fmla="*/ 0 h 20000"/>
                  <a:gd name="T14" fmla="*/ 19583 w 20000"/>
                  <a:gd name="T15" fmla="*/ 851 h 20000"/>
                  <a:gd name="T16" fmla="*/ 17083 w 20000"/>
                  <a:gd name="T17" fmla="*/ 6596 h 20000"/>
                  <a:gd name="T18" fmla="*/ 12917 w 20000"/>
                  <a:gd name="T19" fmla="*/ 14255 h 20000"/>
                  <a:gd name="T20" fmla="*/ 17083 w 20000"/>
                  <a:gd name="T21" fmla="*/ 19787 h 20000"/>
                  <a:gd name="T22" fmla="*/ 12917 w 20000"/>
                  <a:gd name="T23" fmla="*/ 197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2917" y="19787"/>
                    </a:moveTo>
                    <a:lnTo>
                      <a:pt x="6667" y="15532"/>
                    </a:lnTo>
                    <a:lnTo>
                      <a:pt x="2500" y="15532"/>
                    </a:lnTo>
                    <a:lnTo>
                      <a:pt x="0" y="10851"/>
                    </a:lnTo>
                    <a:lnTo>
                      <a:pt x="6667" y="8723"/>
                    </a:lnTo>
                    <a:lnTo>
                      <a:pt x="12917" y="851"/>
                    </a:lnTo>
                    <a:lnTo>
                      <a:pt x="17083" y="0"/>
                    </a:lnTo>
                    <a:lnTo>
                      <a:pt x="19583" y="851"/>
                    </a:lnTo>
                    <a:lnTo>
                      <a:pt x="17083" y="6596"/>
                    </a:lnTo>
                    <a:lnTo>
                      <a:pt x="12917" y="14255"/>
                    </a:lnTo>
                    <a:lnTo>
                      <a:pt x="17083" y="19787"/>
                    </a:lnTo>
                    <a:lnTo>
                      <a:pt x="12917" y="197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6" name="Freeform 163"/>
              <p:cNvSpPr>
                <a:spLocks/>
              </p:cNvSpPr>
              <p:nvPr/>
            </p:nvSpPr>
            <p:spPr bwMode="auto">
              <a:xfrm>
                <a:off x="8501063" y="4129088"/>
                <a:ext cx="26987" cy="42862"/>
              </a:xfrm>
              <a:custGeom>
                <a:avLst/>
                <a:gdLst>
                  <a:gd name="T0" fmla="*/ 14419 w 20000"/>
                  <a:gd name="T1" fmla="*/ 19706 h 20000"/>
                  <a:gd name="T2" fmla="*/ 6977 w 20000"/>
                  <a:gd name="T3" fmla="*/ 7647 h 20000"/>
                  <a:gd name="T4" fmla="*/ 2791 w 20000"/>
                  <a:gd name="T5" fmla="*/ 7647 h 20000"/>
                  <a:gd name="T6" fmla="*/ 0 w 20000"/>
                  <a:gd name="T7" fmla="*/ 0 h 20000"/>
                  <a:gd name="T8" fmla="*/ 2791 w 20000"/>
                  <a:gd name="T9" fmla="*/ 2941 h 20000"/>
                  <a:gd name="T10" fmla="*/ 12093 w 20000"/>
                  <a:gd name="T11" fmla="*/ 2941 h 20000"/>
                  <a:gd name="T12" fmla="*/ 12093 w 20000"/>
                  <a:gd name="T13" fmla="*/ 7647 h 20000"/>
                  <a:gd name="T14" fmla="*/ 19535 w 20000"/>
                  <a:gd name="T15" fmla="*/ 16765 h 20000"/>
                  <a:gd name="T16" fmla="*/ 14419 w 20000"/>
                  <a:gd name="T17"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4419" y="19706"/>
                    </a:moveTo>
                    <a:lnTo>
                      <a:pt x="6977" y="7647"/>
                    </a:lnTo>
                    <a:lnTo>
                      <a:pt x="2791" y="7647"/>
                    </a:lnTo>
                    <a:lnTo>
                      <a:pt x="0" y="0"/>
                    </a:lnTo>
                    <a:lnTo>
                      <a:pt x="2791" y="2941"/>
                    </a:lnTo>
                    <a:lnTo>
                      <a:pt x="12093" y="2941"/>
                    </a:lnTo>
                    <a:lnTo>
                      <a:pt x="12093" y="7647"/>
                    </a:lnTo>
                    <a:lnTo>
                      <a:pt x="19535" y="16765"/>
                    </a:lnTo>
                    <a:lnTo>
                      <a:pt x="14419"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7" name="Freeform 162"/>
              <p:cNvSpPr>
                <a:spLocks/>
              </p:cNvSpPr>
              <p:nvPr/>
            </p:nvSpPr>
            <p:spPr bwMode="auto">
              <a:xfrm>
                <a:off x="8474075" y="4138613"/>
                <a:ext cx="14288" cy="49212"/>
              </a:xfrm>
              <a:custGeom>
                <a:avLst/>
                <a:gdLst>
                  <a:gd name="T0" fmla="*/ 5455 w 20000"/>
                  <a:gd name="T1" fmla="*/ 19744 h 20000"/>
                  <a:gd name="T2" fmla="*/ 0 w 20000"/>
                  <a:gd name="T3" fmla="*/ 19744 h 20000"/>
                  <a:gd name="T4" fmla="*/ 13636 w 20000"/>
                  <a:gd name="T5" fmla="*/ 9231 h 20000"/>
                  <a:gd name="T6" fmla="*/ 19091 w 20000"/>
                  <a:gd name="T7" fmla="*/ 0 h 20000"/>
                  <a:gd name="T8" fmla="*/ 19091 w 20000"/>
                  <a:gd name="T9" fmla="*/ 10513 h 20000"/>
                  <a:gd name="T10" fmla="*/ 13636 w 20000"/>
                  <a:gd name="T11" fmla="*/ 13077 h 20000"/>
                  <a:gd name="T12" fmla="*/ 5455 w 20000"/>
                  <a:gd name="T13" fmla="*/ 1974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455" y="19744"/>
                    </a:moveTo>
                    <a:lnTo>
                      <a:pt x="0" y="19744"/>
                    </a:lnTo>
                    <a:lnTo>
                      <a:pt x="13636" y="9231"/>
                    </a:lnTo>
                    <a:lnTo>
                      <a:pt x="19091" y="0"/>
                    </a:lnTo>
                    <a:lnTo>
                      <a:pt x="19091" y="10513"/>
                    </a:lnTo>
                    <a:lnTo>
                      <a:pt x="13636" y="13077"/>
                    </a:lnTo>
                    <a:lnTo>
                      <a:pt x="5455" y="1974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8" name="Freeform 161"/>
              <p:cNvSpPr>
                <a:spLocks/>
              </p:cNvSpPr>
              <p:nvPr/>
            </p:nvSpPr>
            <p:spPr bwMode="auto">
              <a:xfrm>
                <a:off x="8488363" y="4171950"/>
                <a:ext cx="23812" cy="17463"/>
              </a:xfrm>
              <a:custGeom>
                <a:avLst/>
                <a:gdLst>
                  <a:gd name="T0" fmla="*/ 14054 w 20000"/>
                  <a:gd name="T1" fmla="*/ 19259 h 20000"/>
                  <a:gd name="T2" fmla="*/ 0 w 20000"/>
                  <a:gd name="T3" fmla="*/ 11852 h 20000"/>
                  <a:gd name="T4" fmla="*/ 5405 w 20000"/>
                  <a:gd name="T5" fmla="*/ 7407 h 20000"/>
                  <a:gd name="T6" fmla="*/ 14054 w 20000"/>
                  <a:gd name="T7" fmla="*/ 0 h 20000"/>
                  <a:gd name="T8" fmla="*/ 19459 w 20000"/>
                  <a:gd name="T9" fmla="*/ 7407 h 20000"/>
                  <a:gd name="T10" fmla="*/ 14054 w 20000"/>
                  <a:gd name="T11" fmla="*/ 19259 h 20000"/>
                </a:gdLst>
                <a:ahLst/>
                <a:cxnLst>
                  <a:cxn ang="0">
                    <a:pos x="T0" y="T1"/>
                  </a:cxn>
                  <a:cxn ang="0">
                    <a:pos x="T2" y="T3"/>
                  </a:cxn>
                  <a:cxn ang="0">
                    <a:pos x="T4" y="T5"/>
                  </a:cxn>
                  <a:cxn ang="0">
                    <a:pos x="T6" y="T7"/>
                  </a:cxn>
                  <a:cxn ang="0">
                    <a:pos x="T8" y="T9"/>
                  </a:cxn>
                  <a:cxn ang="0">
                    <a:pos x="T10" y="T11"/>
                  </a:cxn>
                </a:cxnLst>
                <a:rect l="0" t="0" r="r" b="b"/>
                <a:pathLst>
                  <a:path w="20000" h="20000">
                    <a:moveTo>
                      <a:pt x="14054" y="19259"/>
                    </a:moveTo>
                    <a:lnTo>
                      <a:pt x="0" y="11852"/>
                    </a:lnTo>
                    <a:lnTo>
                      <a:pt x="5405" y="7407"/>
                    </a:lnTo>
                    <a:lnTo>
                      <a:pt x="14054" y="0"/>
                    </a:lnTo>
                    <a:lnTo>
                      <a:pt x="19459" y="7407"/>
                    </a:lnTo>
                    <a:lnTo>
                      <a:pt x="14054"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79" name="Freeform 160"/>
              <p:cNvSpPr>
                <a:spLocks/>
              </p:cNvSpPr>
              <p:nvPr/>
            </p:nvSpPr>
            <p:spPr bwMode="auto">
              <a:xfrm>
                <a:off x="5943600" y="3502025"/>
                <a:ext cx="603250" cy="496888"/>
              </a:xfrm>
              <a:custGeom>
                <a:avLst/>
                <a:gdLst>
                  <a:gd name="T0" fmla="*/ 1412 w 20000"/>
                  <a:gd name="T1" fmla="*/ 3836 h 20000"/>
                  <a:gd name="T2" fmla="*/ 2297 w 20000"/>
                  <a:gd name="T3" fmla="*/ 3043 h 20000"/>
                  <a:gd name="T4" fmla="*/ 2845 w 20000"/>
                  <a:gd name="T5" fmla="*/ 2353 h 20000"/>
                  <a:gd name="T6" fmla="*/ 2192 w 20000"/>
                  <a:gd name="T7" fmla="*/ 1049 h 20000"/>
                  <a:gd name="T8" fmla="*/ 3393 w 20000"/>
                  <a:gd name="T9" fmla="*/ 537 h 20000"/>
                  <a:gd name="T10" fmla="*/ 5037 w 20000"/>
                  <a:gd name="T11" fmla="*/ 256 h 20000"/>
                  <a:gd name="T12" fmla="*/ 7629 w 20000"/>
                  <a:gd name="T13" fmla="*/ 1995 h 20000"/>
                  <a:gd name="T14" fmla="*/ 8303 w 20000"/>
                  <a:gd name="T15" fmla="*/ 2353 h 20000"/>
                  <a:gd name="T16" fmla="*/ 9399 w 20000"/>
                  <a:gd name="T17" fmla="*/ 3836 h 20000"/>
                  <a:gd name="T18" fmla="*/ 11886 w 20000"/>
                  <a:gd name="T19" fmla="*/ 4092 h 20000"/>
                  <a:gd name="T20" fmla="*/ 12540 w 20000"/>
                  <a:gd name="T21" fmla="*/ 4501 h 20000"/>
                  <a:gd name="T22" fmla="*/ 13109 w 20000"/>
                  <a:gd name="T23" fmla="*/ 5422 h 20000"/>
                  <a:gd name="T24" fmla="*/ 13446 w 20000"/>
                  <a:gd name="T25" fmla="*/ 5806 h 20000"/>
                  <a:gd name="T26" fmla="*/ 13741 w 20000"/>
                  <a:gd name="T27" fmla="*/ 6471 h 20000"/>
                  <a:gd name="T28" fmla="*/ 14310 w 20000"/>
                  <a:gd name="T29" fmla="*/ 7263 h 20000"/>
                  <a:gd name="T30" fmla="*/ 14204 w 20000"/>
                  <a:gd name="T31" fmla="*/ 7545 h 20000"/>
                  <a:gd name="T32" fmla="*/ 14521 w 20000"/>
                  <a:gd name="T33" fmla="*/ 8312 h 20000"/>
                  <a:gd name="T34" fmla="*/ 15174 w 20000"/>
                  <a:gd name="T35" fmla="*/ 9412 h 20000"/>
                  <a:gd name="T36" fmla="*/ 15595 w 20000"/>
                  <a:gd name="T37" fmla="*/ 9668 h 20000"/>
                  <a:gd name="T38" fmla="*/ 16059 w 20000"/>
                  <a:gd name="T39" fmla="*/ 10563 h 20000"/>
                  <a:gd name="T40" fmla="*/ 16586 w 20000"/>
                  <a:gd name="T41" fmla="*/ 11611 h 20000"/>
                  <a:gd name="T42" fmla="*/ 19642 w 20000"/>
                  <a:gd name="T43" fmla="*/ 12020 h 20000"/>
                  <a:gd name="T44" fmla="*/ 19642 w 20000"/>
                  <a:gd name="T45" fmla="*/ 14936 h 20000"/>
                  <a:gd name="T46" fmla="*/ 13741 w 20000"/>
                  <a:gd name="T47" fmla="*/ 17187 h 20000"/>
                  <a:gd name="T48" fmla="*/ 11675 w 20000"/>
                  <a:gd name="T49" fmla="*/ 19974 h 20000"/>
                  <a:gd name="T50" fmla="*/ 9947 w 20000"/>
                  <a:gd name="T51" fmla="*/ 17980 h 20000"/>
                  <a:gd name="T52" fmla="*/ 8830 w 20000"/>
                  <a:gd name="T53" fmla="*/ 18261 h 20000"/>
                  <a:gd name="T54" fmla="*/ 8746 w 20000"/>
                  <a:gd name="T55" fmla="*/ 19028 h 20000"/>
                  <a:gd name="T56" fmla="*/ 7629 w 20000"/>
                  <a:gd name="T57" fmla="*/ 18261 h 20000"/>
                  <a:gd name="T58" fmla="*/ 6238 w 20000"/>
                  <a:gd name="T59" fmla="*/ 15857 h 20000"/>
                  <a:gd name="T60" fmla="*/ 5037 w 20000"/>
                  <a:gd name="T61" fmla="*/ 14552 h 20000"/>
                  <a:gd name="T62" fmla="*/ 4489 w 20000"/>
                  <a:gd name="T63" fmla="*/ 12711 h 20000"/>
                  <a:gd name="T64" fmla="*/ 3604 w 20000"/>
                  <a:gd name="T65" fmla="*/ 10307 h 20000"/>
                  <a:gd name="T66" fmla="*/ 2508 w 20000"/>
                  <a:gd name="T67" fmla="*/ 9258 h 20000"/>
                  <a:gd name="T68" fmla="*/ 1981 w 20000"/>
                  <a:gd name="T69" fmla="*/ 7928 h 20000"/>
                  <a:gd name="T70" fmla="*/ 780 w 20000"/>
                  <a:gd name="T71" fmla="*/ 5422 h 20000"/>
                  <a:gd name="T72" fmla="*/ 0 w 20000"/>
                  <a:gd name="T73" fmla="*/ 5166 h 20000"/>
                  <a:gd name="T74" fmla="*/ 211 w 20000"/>
                  <a:gd name="T75" fmla="*/ 37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211" y="3708"/>
                    </a:moveTo>
                    <a:lnTo>
                      <a:pt x="1412" y="3836"/>
                    </a:lnTo>
                    <a:lnTo>
                      <a:pt x="2192" y="3043"/>
                    </a:lnTo>
                    <a:lnTo>
                      <a:pt x="2297" y="3043"/>
                    </a:lnTo>
                    <a:lnTo>
                      <a:pt x="2719" y="2762"/>
                    </a:lnTo>
                    <a:lnTo>
                      <a:pt x="2845" y="2353"/>
                    </a:lnTo>
                    <a:lnTo>
                      <a:pt x="3056" y="2097"/>
                    </a:lnTo>
                    <a:lnTo>
                      <a:pt x="2192" y="1049"/>
                    </a:lnTo>
                    <a:lnTo>
                      <a:pt x="2192" y="921"/>
                    </a:lnTo>
                    <a:lnTo>
                      <a:pt x="3393" y="537"/>
                    </a:lnTo>
                    <a:lnTo>
                      <a:pt x="4152" y="0"/>
                    </a:lnTo>
                    <a:lnTo>
                      <a:pt x="5037" y="256"/>
                    </a:lnTo>
                    <a:lnTo>
                      <a:pt x="6891" y="1586"/>
                    </a:lnTo>
                    <a:lnTo>
                      <a:pt x="7629" y="1995"/>
                    </a:lnTo>
                    <a:lnTo>
                      <a:pt x="7756" y="2097"/>
                    </a:lnTo>
                    <a:lnTo>
                      <a:pt x="8303" y="2353"/>
                    </a:lnTo>
                    <a:lnTo>
                      <a:pt x="8303" y="3299"/>
                    </a:lnTo>
                    <a:lnTo>
                      <a:pt x="9399" y="3836"/>
                    </a:lnTo>
                    <a:lnTo>
                      <a:pt x="11149" y="3836"/>
                    </a:lnTo>
                    <a:lnTo>
                      <a:pt x="11886" y="4092"/>
                    </a:lnTo>
                    <a:lnTo>
                      <a:pt x="12013" y="4501"/>
                    </a:lnTo>
                    <a:lnTo>
                      <a:pt x="12540" y="4501"/>
                    </a:lnTo>
                    <a:lnTo>
                      <a:pt x="12792" y="5166"/>
                    </a:lnTo>
                    <a:lnTo>
                      <a:pt x="13109" y="5422"/>
                    </a:lnTo>
                    <a:lnTo>
                      <a:pt x="13109" y="5806"/>
                    </a:lnTo>
                    <a:lnTo>
                      <a:pt x="13446" y="5806"/>
                    </a:lnTo>
                    <a:lnTo>
                      <a:pt x="13446" y="6061"/>
                    </a:lnTo>
                    <a:lnTo>
                      <a:pt x="13741" y="6471"/>
                    </a:lnTo>
                    <a:lnTo>
                      <a:pt x="14204" y="6598"/>
                    </a:lnTo>
                    <a:lnTo>
                      <a:pt x="14310" y="7263"/>
                    </a:lnTo>
                    <a:lnTo>
                      <a:pt x="14310" y="7545"/>
                    </a:lnTo>
                    <a:lnTo>
                      <a:pt x="14204" y="7545"/>
                    </a:lnTo>
                    <a:lnTo>
                      <a:pt x="14310" y="7928"/>
                    </a:lnTo>
                    <a:lnTo>
                      <a:pt x="14521" y="8312"/>
                    </a:lnTo>
                    <a:lnTo>
                      <a:pt x="14858" y="8849"/>
                    </a:lnTo>
                    <a:lnTo>
                      <a:pt x="15174" y="9412"/>
                    </a:lnTo>
                    <a:lnTo>
                      <a:pt x="15385" y="9412"/>
                    </a:lnTo>
                    <a:lnTo>
                      <a:pt x="15595" y="9668"/>
                    </a:lnTo>
                    <a:lnTo>
                      <a:pt x="15722" y="10051"/>
                    </a:lnTo>
                    <a:lnTo>
                      <a:pt x="16059" y="10563"/>
                    </a:lnTo>
                    <a:lnTo>
                      <a:pt x="16502" y="11100"/>
                    </a:lnTo>
                    <a:lnTo>
                      <a:pt x="16586" y="11611"/>
                    </a:lnTo>
                    <a:lnTo>
                      <a:pt x="19431" y="12174"/>
                    </a:lnTo>
                    <a:lnTo>
                      <a:pt x="19642" y="12020"/>
                    </a:lnTo>
                    <a:lnTo>
                      <a:pt x="19979" y="12711"/>
                    </a:lnTo>
                    <a:lnTo>
                      <a:pt x="19642" y="14936"/>
                    </a:lnTo>
                    <a:lnTo>
                      <a:pt x="16818" y="16266"/>
                    </a:lnTo>
                    <a:lnTo>
                      <a:pt x="13741" y="17187"/>
                    </a:lnTo>
                    <a:lnTo>
                      <a:pt x="12223" y="19719"/>
                    </a:lnTo>
                    <a:lnTo>
                      <a:pt x="11675" y="19974"/>
                    </a:lnTo>
                    <a:lnTo>
                      <a:pt x="11675" y="19028"/>
                    </a:lnTo>
                    <a:lnTo>
                      <a:pt x="9947" y="17980"/>
                    </a:lnTo>
                    <a:lnTo>
                      <a:pt x="9168" y="18261"/>
                    </a:lnTo>
                    <a:lnTo>
                      <a:pt x="8830" y="18261"/>
                    </a:lnTo>
                    <a:lnTo>
                      <a:pt x="8746" y="18261"/>
                    </a:lnTo>
                    <a:lnTo>
                      <a:pt x="8746" y="19028"/>
                    </a:lnTo>
                    <a:lnTo>
                      <a:pt x="8198" y="19437"/>
                    </a:lnTo>
                    <a:lnTo>
                      <a:pt x="7629" y="18261"/>
                    </a:lnTo>
                    <a:lnTo>
                      <a:pt x="7102" y="17570"/>
                    </a:lnTo>
                    <a:lnTo>
                      <a:pt x="6238" y="15857"/>
                    </a:lnTo>
                    <a:lnTo>
                      <a:pt x="5690" y="14808"/>
                    </a:lnTo>
                    <a:lnTo>
                      <a:pt x="5037" y="14552"/>
                    </a:lnTo>
                    <a:lnTo>
                      <a:pt x="4489" y="13478"/>
                    </a:lnTo>
                    <a:lnTo>
                      <a:pt x="4489" y="12711"/>
                    </a:lnTo>
                    <a:lnTo>
                      <a:pt x="4489" y="12174"/>
                    </a:lnTo>
                    <a:lnTo>
                      <a:pt x="3604" y="10307"/>
                    </a:lnTo>
                    <a:lnTo>
                      <a:pt x="2845" y="9923"/>
                    </a:lnTo>
                    <a:lnTo>
                      <a:pt x="2508" y="9258"/>
                    </a:lnTo>
                    <a:lnTo>
                      <a:pt x="2719" y="9003"/>
                    </a:lnTo>
                    <a:lnTo>
                      <a:pt x="1981" y="7928"/>
                    </a:lnTo>
                    <a:lnTo>
                      <a:pt x="1307" y="6471"/>
                    </a:lnTo>
                    <a:lnTo>
                      <a:pt x="780" y="5422"/>
                    </a:lnTo>
                    <a:lnTo>
                      <a:pt x="443" y="5166"/>
                    </a:lnTo>
                    <a:lnTo>
                      <a:pt x="0" y="5166"/>
                    </a:lnTo>
                    <a:lnTo>
                      <a:pt x="211" y="4348"/>
                    </a:lnTo>
                    <a:lnTo>
                      <a:pt x="211" y="37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0" name="Freeform 159"/>
              <p:cNvSpPr>
                <a:spLocks/>
              </p:cNvSpPr>
              <p:nvPr/>
            </p:nvSpPr>
            <p:spPr bwMode="auto">
              <a:xfrm>
                <a:off x="7235825" y="4181475"/>
                <a:ext cx="63500" cy="112713"/>
              </a:xfrm>
              <a:custGeom>
                <a:avLst/>
                <a:gdLst>
                  <a:gd name="T0" fmla="*/ 8283 w 20000"/>
                  <a:gd name="T1" fmla="*/ 19887 h 20000"/>
                  <a:gd name="T2" fmla="*/ 5253 w 20000"/>
                  <a:gd name="T3" fmla="*/ 16836 h 20000"/>
                  <a:gd name="T4" fmla="*/ 3232 w 20000"/>
                  <a:gd name="T5" fmla="*/ 12203 h 20000"/>
                  <a:gd name="T6" fmla="*/ 0 w 20000"/>
                  <a:gd name="T7" fmla="*/ 8701 h 20000"/>
                  <a:gd name="T8" fmla="*/ 2020 w 20000"/>
                  <a:gd name="T9" fmla="*/ 8701 h 20000"/>
                  <a:gd name="T10" fmla="*/ 3232 w 20000"/>
                  <a:gd name="T11" fmla="*/ 4633 h 20000"/>
                  <a:gd name="T12" fmla="*/ 2020 w 20000"/>
                  <a:gd name="T13" fmla="*/ 4068 h 20000"/>
                  <a:gd name="T14" fmla="*/ 3232 w 20000"/>
                  <a:gd name="T15" fmla="*/ 2938 h 20000"/>
                  <a:gd name="T16" fmla="*/ 5253 w 20000"/>
                  <a:gd name="T17" fmla="*/ 1130 h 20000"/>
                  <a:gd name="T18" fmla="*/ 3232 w 20000"/>
                  <a:gd name="T19" fmla="*/ 0 h 20000"/>
                  <a:gd name="T20" fmla="*/ 11515 w 20000"/>
                  <a:gd name="T21" fmla="*/ 2938 h 20000"/>
                  <a:gd name="T22" fmla="*/ 11515 w 20000"/>
                  <a:gd name="T23" fmla="*/ 4068 h 20000"/>
                  <a:gd name="T24" fmla="*/ 15758 w 20000"/>
                  <a:gd name="T25" fmla="*/ 6441 h 20000"/>
                  <a:gd name="T26" fmla="*/ 19798 w 20000"/>
                  <a:gd name="T27" fmla="*/ 11751 h 20000"/>
                  <a:gd name="T28" fmla="*/ 18586 w 20000"/>
                  <a:gd name="T29" fmla="*/ 16836 h 20000"/>
                  <a:gd name="T30" fmla="*/ 8283 w 20000"/>
                  <a:gd name="T31" fmla="*/ 198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8283" y="19887"/>
                    </a:moveTo>
                    <a:lnTo>
                      <a:pt x="5253" y="16836"/>
                    </a:lnTo>
                    <a:lnTo>
                      <a:pt x="3232" y="12203"/>
                    </a:lnTo>
                    <a:lnTo>
                      <a:pt x="0" y="8701"/>
                    </a:lnTo>
                    <a:lnTo>
                      <a:pt x="2020" y="8701"/>
                    </a:lnTo>
                    <a:lnTo>
                      <a:pt x="3232" y="4633"/>
                    </a:lnTo>
                    <a:lnTo>
                      <a:pt x="2020" y="4068"/>
                    </a:lnTo>
                    <a:lnTo>
                      <a:pt x="3232" y="2938"/>
                    </a:lnTo>
                    <a:lnTo>
                      <a:pt x="5253" y="1130"/>
                    </a:lnTo>
                    <a:lnTo>
                      <a:pt x="3232" y="0"/>
                    </a:lnTo>
                    <a:lnTo>
                      <a:pt x="11515" y="2938"/>
                    </a:lnTo>
                    <a:lnTo>
                      <a:pt x="11515" y="4068"/>
                    </a:lnTo>
                    <a:lnTo>
                      <a:pt x="15758" y="6441"/>
                    </a:lnTo>
                    <a:lnTo>
                      <a:pt x="19798" y="11751"/>
                    </a:lnTo>
                    <a:lnTo>
                      <a:pt x="18586" y="16836"/>
                    </a:lnTo>
                    <a:lnTo>
                      <a:pt x="8283" y="198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1" name="Freeform 158"/>
              <p:cNvSpPr>
                <a:spLocks/>
              </p:cNvSpPr>
              <p:nvPr/>
            </p:nvSpPr>
            <p:spPr bwMode="auto">
              <a:xfrm>
                <a:off x="5959475" y="3336925"/>
                <a:ext cx="177800" cy="161925"/>
              </a:xfrm>
              <a:custGeom>
                <a:avLst/>
                <a:gdLst>
                  <a:gd name="T0" fmla="*/ 783 w 20000"/>
                  <a:gd name="T1" fmla="*/ 5276 h 20000"/>
                  <a:gd name="T2" fmla="*/ 1139 w 20000"/>
                  <a:gd name="T3" fmla="*/ 6063 h 20000"/>
                  <a:gd name="T4" fmla="*/ 2633 w 20000"/>
                  <a:gd name="T5" fmla="*/ 5276 h 20000"/>
                  <a:gd name="T6" fmla="*/ 2918 w 20000"/>
                  <a:gd name="T7" fmla="*/ 4882 h 20000"/>
                  <a:gd name="T8" fmla="*/ 2918 w 20000"/>
                  <a:gd name="T9" fmla="*/ 4016 h 20000"/>
                  <a:gd name="T10" fmla="*/ 2918 w 20000"/>
                  <a:gd name="T11" fmla="*/ 2047 h 20000"/>
                  <a:gd name="T12" fmla="*/ 3701 w 20000"/>
                  <a:gd name="T13" fmla="*/ 2047 h 20000"/>
                  <a:gd name="T14" fmla="*/ 4413 w 20000"/>
                  <a:gd name="T15" fmla="*/ 2835 h 20000"/>
                  <a:gd name="T16" fmla="*/ 5979 w 20000"/>
                  <a:gd name="T17" fmla="*/ 2835 h 20000"/>
                  <a:gd name="T18" fmla="*/ 7758 w 20000"/>
                  <a:gd name="T19" fmla="*/ 2047 h 20000"/>
                  <a:gd name="T20" fmla="*/ 10320 w 20000"/>
                  <a:gd name="T21" fmla="*/ 2835 h 20000"/>
                  <a:gd name="T22" fmla="*/ 12527 w 20000"/>
                  <a:gd name="T23" fmla="*/ 2835 h 20000"/>
                  <a:gd name="T24" fmla="*/ 15160 w 20000"/>
                  <a:gd name="T25" fmla="*/ 787 h 20000"/>
                  <a:gd name="T26" fmla="*/ 16584 w 20000"/>
                  <a:gd name="T27" fmla="*/ 787 h 20000"/>
                  <a:gd name="T28" fmla="*/ 18078 w 20000"/>
                  <a:gd name="T29" fmla="*/ 787 h 20000"/>
                  <a:gd name="T30" fmla="*/ 19217 w 20000"/>
                  <a:gd name="T31" fmla="*/ 0 h 20000"/>
                  <a:gd name="T32" fmla="*/ 19929 w 20000"/>
                  <a:gd name="T33" fmla="*/ 787 h 20000"/>
                  <a:gd name="T34" fmla="*/ 19217 w 20000"/>
                  <a:gd name="T35" fmla="*/ 2047 h 20000"/>
                  <a:gd name="T36" fmla="*/ 17367 w 20000"/>
                  <a:gd name="T37" fmla="*/ 3228 h 20000"/>
                  <a:gd name="T38" fmla="*/ 17367 w 20000"/>
                  <a:gd name="T39" fmla="*/ 4882 h 20000"/>
                  <a:gd name="T40" fmla="*/ 17367 w 20000"/>
                  <a:gd name="T41" fmla="*/ 6457 h 20000"/>
                  <a:gd name="T42" fmla="*/ 17367 w 20000"/>
                  <a:gd name="T43" fmla="*/ 9370 h 20000"/>
                  <a:gd name="T44" fmla="*/ 16584 w 20000"/>
                  <a:gd name="T45" fmla="*/ 11417 h 20000"/>
                  <a:gd name="T46" fmla="*/ 14448 w 20000"/>
                  <a:gd name="T47" fmla="*/ 13386 h 20000"/>
                  <a:gd name="T48" fmla="*/ 10320 w 20000"/>
                  <a:gd name="T49" fmla="*/ 15906 h 20000"/>
                  <a:gd name="T50" fmla="*/ 7402 w 20000"/>
                  <a:gd name="T51" fmla="*/ 18346 h 20000"/>
                  <a:gd name="T52" fmla="*/ 4413 w 20000"/>
                  <a:gd name="T53" fmla="*/ 19921 h 20000"/>
                  <a:gd name="T54" fmla="*/ 2918 w 20000"/>
                  <a:gd name="T55" fmla="*/ 19921 h 20000"/>
                  <a:gd name="T56" fmla="*/ 2633 w 20000"/>
                  <a:gd name="T57" fmla="*/ 19921 h 20000"/>
                  <a:gd name="T58" fmla="*/ 1922 w 20000"/>
                  <a:gd name="T59" fmla="*/ 19134 h 20000"/>
                  <a:gd name="T60" fmla="*/ 0 w 20000"/>
                  <a:gd name="T61" fmla="*/ 19134 h 20000"/>
                  <a:gd name="T62" fmla="*/ 1139 w 20000"/>
                  <a:gd name="T63" fmla="*/ 17087 h 20000"/>
                  <a:gd name="T64" fmla="*/ 1139 w 20000"/>
                  <a:gd name="T65" fmla="*/ 16693 h 20000"/>
                  <a:gd name="T66" fmla="*/ 1922 w 20000"/>
                  <a:gd name="T67" fmla="*/ 15118 h 20000"/>
                  <a:gd name="T68" fmla="*/ 1922 w 20000"/>
                  <a:gd name="T69" fmla="*/ 14646 h 20000"/>
                  <a:gd name="T70" fmla="*/ 2918 w 20000"/>
                  <a:gd name="T71" fmla="*/ 13386 h 20000"/>
                  <a:gd name="T72" fmla="*/ 2918 w 20000"/>
                  <a:gd name="T73" fmla="*/ 11732 h 20000"/>
                  <a:gd name="T74" fmla="*/ 2918 w 20000"/>
                  <a:gd name="T75" fmla="*/ 10630 h 20000"/>
                  <a:gd name="T76" fmla="*/ 783 w 20000"/>
                  <a:gd name="T77" fmla="*/ 11417 h 20000"/>
                  <a:gd name="T78" fmla="*/ 783 w 20000"/>
                  <a:gd name="T79" fmla="*/ 9764 h 20000"/>
                  <a:gd name="T80" fmla="*/ 783 w 20000"/>
                  <a:gd name="T81" fmla="*/ 8504 h 20000"/>
                  <a:gd name="T82" fmla="*/ 0 w 20000"/>
                  <a:gd name="T83" fmla="*/ 7244 h 20000"/>
                  <a:gd name="T84" fmla="*/ 783 w 20000"/>
                  <a:gd name="T85" fmla="*/ 52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783" y="5276"/>
                    </a:moveTo>
                    <a:lnTo>
                      <a:pt x="1139" y="6063"/>
                    </a:lnTo>
                    <a:lnTo>
                      <a:pt x="2633" y="5276"/>
                    </a:lnTo>
                    <a:lnTo>
                      <a:pt x="2918" y="4882"/>
                    </a:lnTo>
                    <a:lnTo>
                      <a:pt x="2918" y="4016"/>
                    </a:lnTo>
                    <a:lnTo>
                      <a:pt x="2918" y="2047"/>
                    </a:lnTo>
                    <a:lnTo>
                      <a:pt x="3701" y="2047"/>
                    </a:lnTo>
                    <a:lnTo>
                      <a:pt x="4413" y="2835"/>
                    </a:lnTo>
                    <a:lnTo>
                      <a:pt x="5979" y="2835"/>
                    </a:lnTo>
                    <a:lnTo>
                      <a:pt x="7758" y="2047"/>
                    </a:lnTo>
                    <a:lnTo>
                      <a:pt x="10320" y="2835"/>
                    </a:lnTo>
                    <a:lnTo>
                      <a:pt x="12527" y="2835"/>
                    </a:lnTo>
                    <a:lnTo>
                      <a:pt x="15160" y="787"/>
                    </a:lnTo>
                    <a:lnTo>
                      <a:pt x="16584" y="787"/>
                    </a:lnTo>
                    <a:lnTo>
                      <a:pt x="18078" y="787"/>
                    </a:lnTo>
                    <a:lnTo>
                      <a:pt x="19217" y="0"/>
                    </a:lnTo>
                    <a:lnTo>
                      <a:pt x="19929" y="787"/>
                    </a:lnTo>
                    <a:lnTo>
                      <a:pt x="19217" y="2047"/>
                    </a:lnTo>
                    <a:lnTo>
                      <a:pt x="17367" y="3228"/>
                    </a:lnTo>
                    <a:lnTo>
                      <a:pt x="17367" y="4882"/>
                    </a:lnTo>
                    <a:lnTo>
                      <a:pt x="17367" y="6457"/>
                    </a:lnTo>
                    <a:lnTo>
                      <a:pt x="17367" y="9370"/>
                    </a:lnTo>
                    <a:lnTo>
                      <a:pt x="16584" y="11417"/>
                    </a:lnTo>
                    <a:lnTo>
                      <a:pt x="14448" y="13386"/>
                    </a:lnTo>
                    <a:lnTo>
                      <a:pt x="10320" y="15906"/>
                    </a:lnTo>
                    <a:lnTo>
                      <a:pt x="7402" y="18346"/>
                    </a:lnTo>
                    <a:lnTo>
                      <a:pt x="4413" y="19921"/>
                    </a:lnTo>
                    <a:lnTo>
                      <a:pt x="2918" y="19921"/>
                    </a:lnTo>
                    <a:lnTo>
                      <a:pt x="2633" y="19921"/>
                    </a:lnTo>
                    <a:lnTo>
                      <a:pt x="1922" y="19134"/>
                    </a:lnTo>
                    <a:lnTo>
                      <a:pt x="0" y="19134"/>
                    </a:lnTo>
                    <a:lnTo>
                      <a:pt x="1139" y="17087"/>
                    </a:lnTo>
                    <a:lnTo>
                      <a:pt x="1139" y="16693"/>
                    </a:lnTo>
                    <a:lnTo>
                      <a:pt x="1922" y="15118"/>
                    </a:lnTo>
                    <a:lnTo>
                      <a:pt x="1922" y="14646"/>
                    </a:lnTo>
                    <a:lnTo>
                      <a:pt x="2918" y="13386"/>
                    </a:lnTo>
                    <a:lnTo>
                      <a:pt x="2918" y="11732"/>
                    </a:lnTo>
                    <a:lnTo>
                      <a:pt x="2918" y="10630"/>
                    </a:lnTo>
                    <a:lnTo>
                      <a:pt x="783" y="11417"/>
                    </a:lnTo>
                    <a:lnTo>
                      <a:pt x="783" y="9764"/>
                    </a:lnTo>
                    <a:lnTo>
                      <a:pt x="783" y="8504"/>
                    </a:lnTo>
                    <a:lnTo>
                      <a:pt x="0" y="7244"/>
                    </a:lnTo>
                    <a:lnTo>
                      <a:pt x="783" y="527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2" name="Freeform 157"/>
              <p:cNvSpPr>
                <a:spLocks/>
              </p:cNvSpPr>
              <p:nvPr/>
            </p:nvSpPr>
            <p:spPr bwMode="auto">
              <a:xfrm>
                <a:off x="7724775" y="3852863"/>
                <a:ext cx="234950" cy="447675"/>
              </a:xfrm>
              <a:custGeom>
                <a:avLst/>
                <a:gdLst>
                  <a:gd name="T0" fmla="*/ 5908 w 20000"/>
                  <a:gd name="T1" fmla="*/ 455 h 20000"/>
                  <a:gd name="T2" fmla="*/ 7317 w 20000"/>
                  <a:gd name="T3" fmla="*/ 739 h 20000"/>
                  <a:gd name="T4" fmla="*/ 7317 w 20000"/>
                  <a:gd name="T5" fmla="*/ 1449 h 20000"/>
                  <a:gd name="T6" fmla="*/ 8401 w 20000"/>
                  <a:gd name="T7" fmla="*/ 1619 h 20000"/>
                  <a:gd name="T8" fmla="*/ 8401 w 20000"/>
                  <a:gd name="T9" fmla="*/ 2784 h 20000"/>
                  <a:gd name="T10" fmla="*/ 8997 w 20000"/>
                  <a:gd name="T11" fmla="*/ 3949 h 20000"/>
                  <a:gd name="T12" fmla="*/ 10407 w 20000"/>
                  <a:gd name="T13" fmla="*/ 3523 h 20000"/>
                  <a:gd name="T14" fmla="*/ 12087 w 20000"/>
                  <a:gd name="T15" fmla="*/ 3523 h 20000"/>
                  <a:gd name="T16" fmla="*/ 13496 w 20000"/>
                  <a:gd name="T17" fmla="*/ 3352 h 20000"/>
                  <a:gd name="T18" fmla="*/ 15447 w 20000"/>
                  <a:gd name="T19" fmla="*/ 3068 h 20000"/>
                  <a:gd name="T20" fmla="*/ 17724 w 20000"/>
                  <a:gd name="T21" fmla="*/ 4545 h 20000"/>
                  <a:gd name="T22" fmla="*/ 17940 w 20000"/>
                  <a:gd name="T23" fmla="*/ 5284 h 20000"/>
                  <a:gd name="T24" fmla="*/ 19404 w 20000"/>
                  <a:gd name="T25" fmla="*/ 6165 h 20000"/>
                  <a:gd name="T26" fmla="*/ 19946 w 20000"/>
                  <a:gd name="T27" fmla="*/ 6619 h 20000"/>
                  <a:gd name="T28" fmla="*/ 19946 w 20000"/>
                  <a:gd name="T29" fmla="*/ 8068 h 20000"/>
                  <a:gd name="T30" fmla="*/ 19079 w 20000"/>
                  <a:gd name="T31" fmla="*/ 8523 h 20000"/>
                  <a:gd name="T32" fmla="*/ 17724 w 20000"/>
                  <a:gd name="T33" fmla="*/ 8523 h 20000"/>
                  <a:gd name="T34" fmla="*/ 14038 w 20000"/>
                  <a:gd name="T35" fmla="*/ 8523 h 20000"/>
                  <a:gd name="T36" fmla="*/ 12629 w 20000"/>
                  <a:gd name="T37" fmla="*/ 9972 h 20000"/>
                  <a:gd name="T38" fmla="*/ 14309 w 20000"/>
                  <a:gd name="T39" fmla="*/ 12017 h 20000"/>
                  <a:gd name="T40" fmla="*/ 11220 w 20000"/>
                  <a:gd name="T41" fmla="*/ 10852 h 20000"/>
                  <a:gd name="T42" fmla="*/ 9539 w 20000"/>
                  <a:gd name="T43" fmla="*/ 9688 h 20000"/>
                  <a:gd name="T44" fmla="*/ 7317 w 20000"/>
                  <a:gd name="T45" fmla="*/ 10852 h 20000"/>
                  <a:gd name="T46" fmla="*/ 6179 w 20000"/>
                  <a:gd name="T47" fmla="*/ 12614 h 20000"/>
                  <a:gd name="T48" fmla="*/ 5312 w 20000"/>
                  <a:gd name="T49" fmla="*/ 14233 h 20000"/>
                  <a:gd name="T50" fmla="*/ 7317 w 20000"/>
                  <a:gd name="T51" fmla="*/ 15398 h 20000"/>
                  <a:gd name="T52" fmla="*/ 8130 w 20000"/>
                  <a:gd name="T53" fmla="*/ 16307 h 20000"/>
                  <a:gd name="T54" fmla="*/ 10407 w 20000"/>
                  <a:gd name="T55" fmla="*/ 18523 h 20000"/>
                  <a:gd name="T56" fmla="*/ 12629 w 20000"/>
                  <a:gd name="T57" fmla="*/ 19375 h 20000"/>
                  <a:gd name="T58" fmla="*/ 11762 w 20000"/>
                  <a:gd name="T59" fmla="*/ 19688 h 20000"/>
                  <a:gd name="T60" fmla="*/ 10949 w 20000"/>
                  <a:gd name="T61" fmla="*/ 19972 h 20000"/>
                  <a:gd name="T62" fmla="*/ 10407 w 20000"/>
                  <a:gd name="T63" fmla="*/ 19375 h 20000"/>
                  <a:gd name="T64" fmla="*/ 8130 w 20000"/>
                  <a:gd name="T65" fmla="*/ 18920 h 20000"/>
                  <a:gd name="T66" fmla="*/ 6179 w 20000"/>
                  <a:gd name="T67" fmla="*/ 17756 h 20000"/>
                  <a:gd name="T68" fmla="*/ 4444 w 20000"/>
                  <a:gd name="T69" fmla="*/ 16307 h 20000"/>
                  <a:gd name="T70" fmla="*/ 3902 w 20000"/>
                  <a:gd name="T71" fmla="*/ 17017 h 20000"/>
                  <a:gd name="T72" fmla="*/ 3089 w 20000"/>
                  <a:gd name="T73" fmla="*/ 15852 h 20000"/>
                  <a:gd name="T74" fmla="*/ 3902 w 20000"/>
                  <a:gd name="T75" fmla="*/ 14517 h 20000"/>
                  <a:gd name="T76" fmla="*/ 4444 w 20000"/>
                  <a:gd name="T77" fmla="*/ 13949 h 20000"/>
                  <a:gd name="T78" fmla="*/ 5312 w 20000"/>
                  <a:gd name="T79" fmla="*/ 12330 h 20000"/>
                  <a:gd name="T80" fmla="*/ 5095 w 20000"/>
                  <a:gd name="T81" fmla="*/ 10114 h 20000"/>
                  <a:gd name="T82" fmla="*/ 2547 w 20000"/>
                  <a:gd name="T83" fmla="*/ 8068 h 20000"/>
                  <a:gd name="T84" fmla="*/ 3089 w 20000"/>
                  <a:gd name="T85" fmla="*/ 7017 h 20000"/>
                  <a:gd name="T86" fmla="*/ 3631 w 20000"/>
                  <a:gd name="T87" fmla="*/ 6165 h 20000"/>
                  <a:gd name="T88" fmla="*/ 2547 w 20000"/>
                  <a:gd name="T89" fmla="*/ 4972 h 20000"/>
                  <a:gd name="T90" fmla="*/ 325 w 20000"/>
                  <a:gd name="T91" fmla="*/ 3068 h 20000"/>
                  <a:gd name="T92" fmla="*/ 0 w 20000"/>
                  <a:gd name="T93" fmla="*/ 2784 h 20000"/>
                  <a:gd name="T94" fmla="*/ 325 w 20000"/>
                  <a:gd name="T95" fmla="*/ 1903 h 20000"/>
                  <a:gd name="T96" fmla="*/ 1409 w 20000"/>
                  <a:gd name="T97" fmla="*/ 1165 h 20000"/>
                  <a:gd name="T98" fmla="*/ 3089 w 20000"/>
                  <a:gd name="T99" fmla="*/ 455 h 20000"/>
                  <a:gd name="T100" fmla="*/ 4444 w 20000"/>
                  <a:gd name="T101" fmla="*/ 2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5908" y="0"/>
                    </a:moveTo>
                    <a:lnTo>
                      <a:pt x="5908" y="455"/>
                    </a:lnTo>
                    <a:lnTo>
                      <a:pt x="6179" y="284"/>
                    </a:lnTo>
                    <a:lnTo>
                      <a:pt x="7317" y="739"/>
                    </a:lnTo>
                    <a:lnTo>
                      <a:pt x="6775" y="1165"/>
                    </a:lnTo>
                    <a:lnTo>
                      <a:pt x="7317" y="1449"/>
                    </a:lnTo>
                    <a:lnTo>
                      <a:pt x="8130" y="1165"/>
                    </a:lnTo>
                    <a:lnTo>
                      <a:pt x="8401" y="1619"/>
                    </a:lnTo>
                    <a:lnTo>
                      <a:pt x="8997" y="1903"/>
                    </a:lnTo>
                    <a:lnTo>
                      <a:pt x="8401" y="2784"/>
                    </a:lnTo>
                    <a:lnTo>
                      <a:pt x="8401" y="3807"/>
                    </a:lnTo>
                    <a:lnTo>
                      <a:pt x="8997" y="3949"/>
                    </a:lnTo>
                    <a:lnTo>
                      <a:pt x="9864" y="3523"/>
                    </a:lnTo>
                    <a:lnTo>
                      <a:pt x="10407" y="3523"/>
                    </a:lnTo>
                    <a:lnTo>
                      <a:pt x="11220" y="3068"/>
                    </a:lnTo>
                    <a:lnTo>
                      <a:pt x="12087" y="3523"/>
                    </a:lnTo>
                    <a:lnTo>
                      <a:pt x="12629" y="3352"/>
                    </a:lnTo>
                    <a:lnTo>
                      <a:pt x="13496" y="3352"/>
                    </a:lnTo>
                    <a:lnTo>
                      <a:pt x="14038" y="2784"/>
                    </a:lnTo>
                    <a:lnTo>
                      <a:pt x="15447" y="3068"/>
                    </a:lnTo>
                    <a:lnTo>
                      <a:pt x="16314" y="3523"/>
                    </a:lnTo>
                    <a:lnTo>
                      <a:pt x="17724" y="4545"/>
                    </a:lnTo>
                    <a:lnTo>
                      <a:pt x="17724" y="4688"/>
                    </a:lnTo>
                    <a:lnTo>
                      <a:pt x="17940" y="5284"/>
                    </a:lnTo>
                    <a:lnTo>
                      <a:pt x="18537" y="5852"/>
                    </a:lnTo>
                    <a:lnTo>
                      <a:pt x="19404" y="6165"/>
                    </a:lnTo>
                    <a:lnTo>
                      <a:pt x="19404" y="6449"/>
                    </a:lnTo>
                    <a:lnTo>
                      <a:pt x="19946" y="6619"/>
                    </a:lnTo>
                    <a:lnTo>
                      <a:pt x="19946" y="7017"/>
                    </a:lnTo>
                    <a:lnTo>
                      <a:pt x="19946" y="8068"/>
                    </a:lnTo>
                    <a:lnTo>
                      <a:pt x="19404" y="8523"/>
                    </a:lnTo>
                    <a:lnTo>
                      <a:pt x="19079" y="8523"/>
                    </a:lnTo>
                    <a:lnTo>
                      <a:pt x="17940" y="8352"/>
                    </a:lnTo>
                    <a:lnTo>
                      <a:pt x="17724" y="8523"/>
                    </a:lnTo>
                    <a:lnTo>
                      <a:pt x="15718" y="8352"/>
                    </a:lnTo>
                    <a:lnTo>
                      <a:pt x="14038" y="8523"/>
                    </a:lnTo>
                    <a:lnTo>
                      <a:pt x="14038" y="9517"/>
                    </a:lnTo>
                    <a:lnTo>
                      <a:pt x="12629" y="9972"/>
                    </a:lnTo>
                    <a:lnTo>
                      <a:pt x="13171" y="10739"/>
                    </a:lnTo>
                    <a:lnTo>
                      <a:pt x="14309" y="12017"/>
                    </a:lnTo>
                    <a:lnTo>
                      <a:pt x="13496" y="11591"/>
                    </a:lnTo>
                    <a:lnTo>
                      <a:pt x="11220" y="10852"/>
                    </a:lnTo>
                    <a:lnTo>
                      <a:pt x="8997" y="10739"/>
                    </a:lnTo>
                    <a:lnTo>
                      <a:pt x="9539" y="9688"/>
                    </a:lnTo>
                    <a:lnTo>
                      <a:pt x="7317" y="9972"/>
                    </a:lnTo>
                    <a:lnTo>
                      <a:pt x="7317" y="10852"/>
                    </a:lnTo>
                    <a:lnTo>
                      <a:pt x="7317" y="11591"/>
                    </a:lnTo>
                    <a:lnTo>
                      <a:pt x="6179" y="12614"/>
                    </a:lnTo>
                    <a:lnTo>
                      <a:pt x="5908" y="13807"/>
                    </a:lnTo>
                    <a:lnTo>
                      <a:pt x="5312" y="14233"/>
                    </a:lnTo>
                    <a:lnTo>
                      <a:pt x="5908" y="15710"/>
                    </a:lnTo>
                    <a:lnTo>
                      <a:pt x="7317" y="15398"/>
                    </a:lnTo>
                    <a:lnTo>
                      <a:pt x="7588" y="16307"/>
                    </a:lnTo>
                    <a:lnTo>
                      <a:pt x="8130" y="16307"/>
                    </a:lnTo>
                    <a:lnTo>
                      <a:pt x="8997" y="18210"/>
                    </a:lnTo>
                    <a:lnTo>
                      <a:pt x="10407" y="18523"/>
                    </a:lnTo>
                    <a:lnTo>
                      <a:pt x="11762" y="18523"/>
                    </a:lnTo>
                    <a:lnTo>
                      <a:pt x="12629" y="19375"/>
                    </a:lnTo>
                    <a:lnTo>
                      <a:pt x="12087" y="19375"/>
                    </a:lnTo>
                    <a:lnTo>
                      <a:pt x="11762" y="19688"/>
                    </a:lnTo>
                    <a:lnTo>
                      <a:pt x="11220" y="19375"/>
                    </a:lnTo>
                    <a:lnTo>
                      <a:pt x="10949" y="19972"/>
                    </a:lnTo>
                    <a:lnTo>
                      <a:pt x="9864" y="19972"/>
                    </a:lnTo>
                    <a:lnTo>
                      <a:pt x="10407" y="19375"/>
                    </a:lnTo>
                    <a:lnTo>
                      <a:pt x="8401" y="18807"/>
                    </a:lnTo>
                    <a:lnTo>
                      <a:pt x="8130" y="18920"/>
                    </a:lnTo>
                    <a:lnTo>
                      <a:pt x="7317" y="18210"/>
                    </a:lnTo>
                    <a:lnTo>
                      <a:pt x="6179" y="17756"/>
                    </a:lnTo>
                    <a:lnTo>
                      <a:pt x="5095" y="16875"/>
                    </a:lnTo>
                    <a:lnTo>
                      <a:pt x="4444" y="16307"/>
                    </a:lnTo>
                    <a:lnTo>
                      <a:pt x="3902" y="16591"/>
                    </a:lnTo>
                    <a:lnTo>
                      <a:pt x="3902" y="17017"/>
                    </a:lnTo>
                    <a:lnTo>
                      <a:pt x="3631" y="16875"/>
                    </a:lnTo>
                    <a:lnTo>
                      <a:pt x="3089" y="15852"/>
                    </a:lnTo>
                    <a:lnTo>
                      <a:pt x="3631" y="14972"/>
                    </a:lnTo>
                    <a:lnTo>
                      <a:pt x="3902" y="14517"/>
                    </a:lnTo>
                    <a:lnTo>
                      <a:pt x="3902" y="14233"/>
                    </a:lnTo>
                    <a:lnTo>
                      <a:pt x="4444" y="13949"/>
                    </a:lnTo>
                    <a:lnTo>
                      <a:pt x="4444" y="13523"/>
                    </a:lnTo>
                    <a:lnTo>
                      <a:pt x="5312" y="12330"/>
                    </a:lnTo>
                    <a:lnTo>
                      <a:pt x="5908" y="11591"/>
                    </a:lnTo>
                    <a:lnTo>
                      <a:pt x="5095" y="10114"/>
                    </a:lnTo>
                    <a:lnTo>
                      <a:pt x="5095" y="9517"/>
                    </a:lnTo>
                    <a:lnTo>
                      <a:pt x="2547" y="8068"/>
                    </a:lnTo>
                    <a:lnTo>
                      <a:pt x="2547" y="7614"/>
                    </a:lnTo>
                    <a:lnTo>
                      <a:pt x="3089" y="7017"/>
                    </a:lnTo>
                    <a:lnTo>
                      <a:pt x="3089" y="6449"/>
                    </a:lnTo>
                    <a:lnTo>
                      <a:pt x="3631" y="6165"/>
                    </a:lnTo>
                    <a:lnTo>
                      <a:pt x="3089" y="5398"/>
                    </a:lnTo>
                    <a:lnTo>
                      <a:pt x="2547" y="4972"/>
                    </a:lnTo>
                    <a:lnTo>
                      <a:pt x="867" y="3523"/>
                    </a:lnTo>
                    <a:lnTo>
                      <a:pt x="325" y="3068"/>
                    </a:lnTo>
                    <a:lnTo>
                      <a:pt x="0" y="3068"/>
                    </a:lnTo>
                    <a:lnTo>
                      <a:pt x="0" y="2784"/>
                    </a:lnTo>
                    <a:lnTo>
                      <a:pt x="325" y="2614"/>
                    </a:lnTo>
                    <a:lnTo>
                      <a:pt x="325" y="1903"/>
                    </a:lnTo>
                    <a:lnTo>
                      <a:pt x="867" y="1449"/>
                    </a:lnTo>
                    <a:lnTo>
                      <a:pt x="1409" y="1165"/>
                    </a:lnTo>
                    <a:lnTo>
                      <a:pt x="3631" y="852"/>
                    </a:lnTo>
                    <a:lnTo>
                      <a:pt x="3089" y="455"/>
                    </a:lnTo>
                    <a:lnTo>
                      <a:pt x="3902" y="739"/>
                    </a:lnTo>
                    <a:lnTo>
                      <a:pt x="4444" y="284"/>
                    </a:lnTo>
                    <a:lnTo>
                      <a:pt x="590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3" name="Freeform 156"/>
              <p:cNvSpPr>
                <a:spLocks/>
              </p:cNvSpPr>
              <p:nvPr/>
            </p:nvSpPr>
            <p:spPr bwMode="auto">
              <a:xfrm>
                <a:off x="6413500" y="3689350"/>
                <a:ext cx="142875" cy="115888"/>
              </a:xfrm>
              <a:custGeom>
                <a:avLst/>
                <a:gdLst>
                  <a:gd name="T0" fmla="*/ 0 w 20000"/>
                  <a:gd name="T1" fmla="*/ 9121 h 20000"/>
                  <a:gd name="T2" fmla="*/ 536 w 20000"/>
                  <a:gd name="T3" fmla="*/ 8022 h 20000"/>
                  <a:gd name="T4" fmla="*/ 536 w 20000"/>
                  <a:gd name="T5" fmla="*/ 10220 h 20000"/>
                  <a:gd name="T6" fmla="*/ 1429 w 20000"/>
                  <a:gd name="T7" fmla="*/ 10769 h 20000"/>
                  <a:gd name="T8" fmla="*/ 1875 w 20000"/>
                  <a:gd name="T9" fmla="*/ 11868 h 20000"/>
                  <a:gd name="T10" fmla="*/ 4196 w 20000"/>
                  <a:gd name="T11" fmla="*/ 11868 h 20000"/>
                  <a:gd name="T12" fmla="*/ 5179 w 20000"/>
                  <a:gd name="T13" fmla="*/ 10769 h 20000"/>
                  <a:gd name="T14" fmla="*/ 9732 w 20000"/>
                  <a:gd name="T15" fmla="*/ 10769 h 20000"/>
                  <a:gd name="T16" fmla="*/ 11607 w 20000"/>
                  <a:gd name="T17" fmla="*/ 10220 h 20000"/>
                  <a:gd name="T18" fmla="*/ 13393 w 20000"/>
                  <a:gd name="T19" fmla="*/ 8022 h 20000"/>
                  <a:gd name="T20" fmla="*/ 15714 w 20000"/>
                  <a:gd name="T21" fmla="*/ 4505 h 20000"/>
                  <a:gd name="T22" fmla="*/ 17589 w 20000"/>
                  <a:gd name="T23" fmla="*/ 1648 h 20000"/>
                  <a:gd name="T24" fmla="*/ 18482 w 20000"/>
                  <a:gd name="T25" fmla="*/ 0 h 20000"/>
                  <a:gd name="T26" fmla="*/ 19464 w 20000"/>
                  <a:gd name="T27" fmla="*/ 1099 h 20000"/>
                  <a:gd name="T28" fmla="*/ 19464 w 20000"/>
                  <a:gd name="T29" fmla="*/ 2857 h 20000"/>
                  <a:gd name="T30" fmla="*/ 19464 w 20000"/>
                  <a:gd name="T31" fmla="*/ 5604 h 20000"/>
                  <a:gd name="T32" fmla="*/ 18482 w 20000"/>
                  <a:gd name="T33" fmla="*/ 5604 h 20000"/>
                  <a:gd name="T34" fmla="*/ 17589 w 20000"/>
                  <a:gd name="T35" fmla="*/ 6264 h 20000"/>
                  <a:gd name="T36" fmla="*/ 18482 w 20000"/>
                  <a:gd name="T37" fmla="*/ 10220 h 20000"/>
                  <a:gd name="T38" fmla="*/ 19464 w 20000"/>
                  <a:gd name="T39" fmla="*/ 10220 h 20000"/>
                  <a:gd name="T40" fmla="*/ 19911 w 20000"/>
                  <a:gd name="T41" fmla="*/ 11868 h 20000"/>
                  <a:gd name="T42" fmla="*/ 19464 w 20000"/>
                  <a:gd name="T43" fmla="*/ 11868 h 20000"/>
                  <a:gd name="T44" fmla="*/ 17589 w 20000"/>
                  <a:gd name="T45" fmla="*/ 11868 h 20000"/>
                  <a:gd name="T46" fmla="*/ 17589 w 20000"/>
                  <a:gd name="T47" fmla="*/ 13626 h 20000"/>
                  <a:gd name="T48" fmla="*/ 17143 w 20000"/>
                  <a:gd name="T49" fmla="*/ 15385 h 20000"/>
                  <a:gd name="T50" fmla="*/ 17143 w 20000"/>
                  <a:gd name="T51" fmla="*/ 19231 h 20000"/>
                  <a:gd name="T52" fmla="*/ 16250 w 20000"/>
                  <a:gd name="T53" fmla="*/ 19890 h 20000"/>
                  <a:gd name="T54" fmla="*/ 4196 w 20000"/>
                  <a:gd name="T55" fmla="*/ 17582 h 20000"/>
                  <a:gd name="T56" fmla="*/ 3750 w 20000"/>
                  <a:gd name="T57" fmla="*/ 15385 h 20000"/>
                  <a:gd name="T58" fmla="*/ 1875 w 20000"/>
                  <a:gd name="T59" fmla="*/ 12967 h 20000"/>
                  <a:gd name="T60" fmla="*/ 536 w 20000"/>
                  <a:gd name="T61" fmla="*/ 10769 h 20000"/>
                  <a:gd name="T62" fmla="*/ 0 w 20000"/>
                  <a:gd name="T63" fmla="*/ 912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0" y="9121"/>
                    </a:moveTo>
                    <a:lnTo>
                      <a:pt x="536" y="8022"/>
                    </a:lnTo>
                    <a:lnTo>
                      <a:pt x="536" y="10220"/>
                    </a:lnTo>
                    <a:lnTo>
                      <a:pt x="1429" y="10769"/>
                    </a:lnTo>
                    <a:lnTo>
                      <a:pt x="1875" y="11868"/>
                    </a:lnTo>
                    <a:lnTo>
                      <a:pt x="4196" y="11868"/>
                    </a:lnTo>
                    <a:lnTo>
                      <a:pt x="5179" y="10769"/>
                    </a:lnTo>
                    <a:lnTo>
                      <a:pt x="9732" y="10769"/>
                    </a:lnTo>
                    <a:lnTo>
                      <a:pt x="11607" y="10220"/>
                    </a:lnTo>
                    <a:lnTo>
                      <a:pt x="13393" y="8022"/>
                    </a:lnTo>
                    <a:lnTo>
                      <a:pt x="15714" y="4505"/>
                    </a:lnTo>
                    <a:lnTo>
                      <a:pt x="17589" y="1648"/>
                    </a:lnTo>
                    <a:lnTo>
                      <a:pt x="18482" y="0"/>
                    </a:lnTo>
                    <a:lnTo>
                      <a:pt x="19464" y="1099"/>
                    </a:lnTo>
                    <a:lnTo>
                      <a:pt x="19464" y="2857"/>
                    </a:lnTo>
                    <a:lnTo>
                      <a:pt x="19464" y="5604"/>
                    </a:lnTo>
                    <a:lnTo>
                      <a:pt x="18482" y="5604"/>
                    </a:lnTo>
                    <a:lnTo>
                      <a:pt x="17589" y="6264"/>
                    </a:lnTo>
                    <a:lnTo>
                      <a:pt x="18482" y="10220"/>
                    </a:lnTo>
                    <a:lnTo>
                      <a:pt x="19464" y="10220"/>
                    </a:lnTo>
                    <a:lnTo>
                      <a:pt x="19911" y="11868"/>
                    </a:lnTo>
                    <a:lnTo>
                      <a:pt x="19464" y="11868"/>
                    </a:lnTo>
                    <a:lnTo>
                      <a:pt x="17589" y="11868"/>
                    </a:lnTo>
                    <a:lnTo>
                      <a:pt x="17589" y="13626"/>
                    </a:lnTo>
                    <a:lnTo>
                      <a:pt x="17143" y="15385"/>
                    </a:lnTo>
                    <a:lnTo>
                      <a:pt x="17143" y="19231"/>
                    </a:lnTo>
                    <a:lnTo>
                      <a:pt x="16250" y="19890"/>
                    </a:lnTo>
                    <a:lnTo>
                      <a:pt x="4196" y="17582"/>
                    </a:lnTo>
                    <a:lnTo>
                      <a:pt x="3750" y="15385"/>
                    </a:lnTo>
                    <a:lnTo>
                      <a:pt x="1875" y="12967"/>
                    </a:lnTo>
                    <a:lnTo>
                      <a:pt x="536" y="10769"/>
                    </a:lnTo>
                    <a:lnTo>
                      <a:pt x="0" y="912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4" name="Freeform 155"/>
              <p:cNvSpPr>
                <a:spLocks/>
              </p:cNvSpPr>
              <p:nvPr/>
            </p:nvSpPr>
            <p:spPr bwMode="auto">
              <a:xfrm>
                <a:off x="7847013" y="3763963"/>
                <a:ext cx="228600" cy="450850"/>
              </a:xfrm>
              <a:custGeom>
                <a:avLst/>
                <a:gdLst>
                  <a:gd name="T0" fmla="*/ 557 w 20000"/>
                  <a:gd name="T1" fmla="*/ 1155 h 20000"/>
                  <a:gd name="T2" fmla="*/ 1727 w 20000"/>
                  <a:gd name="T3" fmla="*/ 1155 h 20000"/>
                  <a:gd name="T4" fmla="*/ 3175 w 20000"/>
                  <a:gd name="T5" fmla="*/ 873 h 20000"/>
                  <a:gd name="T6" fmla="*/ 4624 w 20000"/>
                  <a:gd name="T7" fmla="*/ 873 h 20000"/>
                  <a:gd name="T8" fmla="*/ 6072 w 20000"/>
                  <a:gd name="T9" fmla="*/ 169 h 20000"/>
                  <a:gd name="T10" fmla="*/ 8412 w 20000"/>
                  <a:gd name="T11" fmla="*/ 451 h 20000"/>
                  <a:gd name="T12" fmla="*/ 11253 w 20000"/>
                  <a:gd name="T13" fmla="*/ 592 h 20000"/>
                  <a:gd name="T14" fmla="*/ 12646 w 20000"/>
                  <a:gd name="T15" fmla="*/ 2479 h 20000"/>
                  <a:gd name="T16" fmla="*/ 14429 w 20000"/>
                  <a:gd name="T17" fmla="*/ 2479 h 20000"/>
                  <a:gd name="T18" fmla="*/ 12981 w 20000"/>
                  <a:gd name="T19" fmla="*/ 2789 h 20000"/>
                  <a:gd name="T20" fmla="*/ 12089 w 20000"/>
                  <a:gd name="T21" fmla="*/ 3211 h 20000"/>
                  <a:gd name="T22" fmla="*/ 11253 w 20000"/>
                  <a:gd name="T23" fmla="*/ 4394 h 20000"/>
                  <a:gd name="T24" fmla="*/ 9805 w 20000"/>
                  <a:gd name="T25" fmla="*/ 4817 h 20000"/>
                  <a:gd name="T26" fmla="*/ 11253 w 20000"/>
                  <a:gd name="T27" fmla="*/ 7296 h 20000"/>
                  <a:gd name="T28" fmla="*/ 14429 w 20000"/>
                  <a:gd name="T29" fmla="*/ 9324 h 20000"/>
                  <a:gd name="T30" fmla="*/ 15877 w 20000"/>
                  <a:gd name="T31" fmla="*/ 9775 h 20000"/>
                  <a:gd name="T32" fmla="*/ 17604 w 20000"/>
                  <a:gd name="T33" fmla="*/ 10930 h 20000"/>
                  <a:gd name="T34" fmla="*/ 18217 w 20000"/>
                  <a:gd name="T35" fmla="*/ 11690 h 20000"/>
                  <a:gd name="T36" fmla="*/ 19610 w 20000"/>
                  <a:gd name="T37" fmla="*/ 14000 h 20000"/>
                  <a:gd name="T38" fmla="*/ 19610 w 20000"/>
                  <a:gd name="T39" fmla="*/ 14592 h 20000"/>
                  <a:gd name="T40" fmla="*/ 19944 w 20000"/>
                  <a:gd name="T41" fmla="*/ 15014 h 20000"/>
                  <a:gd name="T42" fmla="*/ 19944 w 20000"/>
                  <a:gd name="T43" fmla="*/ 15775 h 20000"/>
                  <a:gd name="T44" fmla="*/ 17604 w 20000"/>
                  <a:gd name="T45" fmla="*/ 16930 h 20000"/>
                  <a:gd name="T46" fmla="*/ 16156 w 20000"/>
                  <a:gd name="T47" fmla="*/ 17352 h 20000"/>
                  <a:gd name="T48" fmla="*/ 13538 w 20000"/>
                  <a:gd name="T49" fmla="*/ 18085 h 20000"/>
                  <a:gd name="T50" fmla="*/ 12089 w 20000"/>
                  <a:gd name="T51" fmla="*/ 18366 h 20000"/>
                  <a:gd name="T52" fmla="*/ 10696 w 20000"/>
                  <a:gd name="T53" fmla="*/ 19239 h 20000"/>
                  <a:gd name="T54" fmla="*/ 8969 w 20000"/>
                  <a:gd name="T55" fmla="*/ 18535 h 20000"/>
                  <a:gd name="T56" fmla="*/ 8969 w 20000"/>
                  <a:gd name="T57" fmla="*/ 17803 h 20000"/>
                  <a:gd name="T58" fmla="*/ 7744 w 20000"/>
                  <a:gd name="T59" fmla="*/ 17634 h 20000"/>
                  <a:gd name="T60" fmla="*/ 11532 w 20000"/>
                  <a:gd name="T61" fmla="*/ 16930 h 20000"/>
                  <a:gd name="T62" fmla="*/ 11253 w 20000"/>
                  <a:gd name="T63" fmla="*/ 15887 h 20000"/>
                  <a:gd name="T64" fmla="*/ 13538 w 20000"/>
                  <a:gd name="T65" fmla="*/ 15437 h 20000"/>
                  <a:gd name="T66" fmla="*/ 15265 w 20000"/>
                  <a:gd name="T67" fmla="*/ 15014 h 20000"/>
                  <a:gd name="T68" fmla="*/ 15042 w 20000"/>
                  <a:gd name="T69" fmla="*/ 12845 h 20000"/>
                  <a:gd name="T70" fmla="*/ 15042 w 20000"/>
                  <a:gd name="T71" fmla="*/ 11972 h 20000"/>
                  <a:gd name="T72" fmla="*/ 15042 w 20000"/>
                  <a:gd name="T73" fmla="*/ 10930 h 20000"/>
                  <a:gd name="T74" fmla="*/ 14429 w 20000"/>
                  <a:gd name="T75" fmla="*/ 10085 h 20000"/>
                  <a:gd name="T76" fmla="*/ 11532 w 20000"/>
                  <a:gd name="T77" fmla="*/ 8592 h 20000"/>
                  <a:gd name="T78" fmla="*/ 9248 w 20000"/>
                  <a:gd name="T79" fmla="*/ 7296 h 20000"/>
                  <a:gd name="T80" fmla="*/ 7744 w 20000"/>
                  <a:gd name="T81" fmla="*/ 6563 h 20000"/>
                  <a:gd name="T82" fmla="*/ 5237 w 20000"/>
                  <a:gd name="T83" fmla="*/ 5127 h 20000"/>
                  <a:gd name="T84" fmla="*/ 6908 w 20000"/>
                  <a:gd name="T85" fmla="*/ 5127 h 20000"/>
                  <a:gd name="T86" fmla="*/ 6630 w 20000"/>
                  <a:gd name="T87" fmla="*/ 3944 h 20000"/>
                  <a:gd name="T88" fmla="*/ 5460 w 20000"/>
                  <a:gd name="T89" fmla="*/ 3521 h 20000"/>
                  <a:gd name="T90" fmla="*/ 1727 w 20000"/>
                  <a:gd name="T91" fmla="*/ 3070 h 20000"/>
                  <a:gd name="T92" fmla="*/ 1727 w 20000"/>
                  <a:gd name="T93" fmla="*/ 2028 h 20000"/>
                  <a:gd name="T94" fmla="*/ 0 w 20000"/>
                  <a:gd name="T95" fmla="*/ 13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0" y="1324"/>
                    </a:moveTo>
                    <a:lnTo>
                      <a:pt x="557" y="1155"/>
                    </a:lnTo>
                    <a:lnTo>
                      <a:pt x="891" y="1155"/>
                    </a:lnTo>
                    <a:lnTo>
                      <a:pt x="1727" y="1155"/>
                    </a:lnTo>
                    <a:lnTo>
                      <a:pt x="2284" y="873"/>
                    </a:lnTo>
                    <a:lnTo>
                      <a:pt x="3175" y="873"/>
                    </a:lnTo>
                    <a:lnTo>
                      <a:pt x="4011" y="1324"/>
                    </a:lnTo>
                    <a:lnTo>
                      <a:pt x="4624" y="873"/>
                    </a:lnTo>
                    <a:lnTo>
                      <a:pt x="6072" y="592"/>
                    </a:lnTo>
                    <a:lnTo>
                      <a:pt x="6072" y="169"/>
                    </a:lnTo>
                    <a:lnTo>
                      <a:pt x="7521" y="0"/>
                    </a:lnTo>
                    <a:lnTo>
                      <a:pt x="8412" y="451"/>
                    </a:lnTo>
                    <a:lnTo>
                      <a:pt x="10696" y="592"/>
                    </a:lnTo>
                    <a:lnTo>
                      <a:pt x="11253" y="592"/>
                    </a:lnTo>
                    <a:lnTo>
                      <a:pt x="10696" y="1324"/>
                    </a:lnTo>
                    <a:lnTo>
                      <a:pt x="12646" y="2479"/>
                    </a:lnTo>
                    <a:lnTo>
                      <a:pt x="13872" y="2366"/>
                    </a:lnTo>
                    <a:lnTo>
                      <a:pt x="14429" y="2479"/>
                    </a:lnTo>
                    <a:lnTo>
                      <a:pt x="13872" y="2789"/>
                    </a:lnTo>
                    <a:lnTo>
                      <a:pt x="12981" y="2789"/>
                    </a:lnTo>
                    <a:lnTo>
                      <a:pt x="12981" y="3211"/>
                    </a:lnTo>
                    <a:lnTo>
                      <a:pt x="12089" y="3211"/>
                    </a:lnTo>
                    <a:lnTo>
                      <a:pt x="11253" y="3634"/>
                    </a:lnTo>
                    <a:lnTo>
                      <a:pt x="11253" y="4394"/>
                    </a:lnTo>
                    <a:lnTo>
                      <a:pt x="10696" y="4676"/>
                    </a:lnTo>
                    <a:lnTo>
                      <a:pt x="9805" y="4817"/>
                    </a:lnTo>
                    <a:lnTo>
                      <a:pt x="9248" y="6113"/>
                    </a:lnTo>
                    <a:lnTo>
                      <a:pt x="11253" y="7296"/>
                    </a:lnTo>
                    <a:lnTo>
                      <a:pt x="12089" y="8169"/>
                    </a:lnTo>
                    <a:lnTo>
                      <a:pt x="14429" y="9324"/>
                    </a:lnTo>
                    <a:lnTo>
                      <a:pt x="15265" y="9634"/>
                    </a:lnTo>
                    <a:lnTo>
                      <a:pt x="15877" y="9775"/>
                    </a:lnTo>
                    <a:lnTo>
                      <a:pt x="16713" y="10366"/>
                    </a:lnTo>
                    <a:lnTo>
                      <a:pt x="17604" y="10930"/>
                    </a:lnTo>
                    <a:lnTo>
                      <a:pt x="18217" y="10930"/>
                    </a:lnTo>
                    <a:lnTo>
                      <a:pt x="18217" y="11690"/>
                    </a:lnTo>
                    <a:lnTo>
                      <a:pt x="19610" y="13577"/>
                    </a:lnTo>
                    <a:lnTo>
                      <a:pt x="19610" y="14000"/>
                    </a:lnTo>
                    <a:lnTo>
                      <a:pt x="19944" y="14282"/>
                    </a:lnTo>
                    <a:lnTo>
                      <a:pt x="19610" y="14592"/>
                    </a:lnTo>
                    <a:lnTo>
                      <a:pt x="19610" y="14732"/>
                    </a:lnTo>
                    <a:lnTo>
                      <a:pt x="19944" y="15014"/>
                    </a:lnTo>
                    <a:lnTo>
                      <a:pt x="19610" y="15437"/>
                    </a:lnTo>
                    <a:lnTo>
                      <a:pt x="19944" y="15775"/>
                    </a:lnTo>
                    <a:lnTo>
                      <a:pt x="19053" y="16479"/>
                    </a:lnTo>
                    <a:lnTo>
                      <a:pt x="17604" y="16930"/>
                    </a:lnTo>
                    <a:lnTo>
                      <a:pt x="16713" y="16930"/>
                    </a:lnTo>
                    <a:lnTo>
                      <a:pt x="16156" y="17352"/>
                    </a:lnTo>
                    <a:lnTo>
                      <a:pt x="13872" y="17803"/>
                    </a:lnTo>
                    <a:lnTo>
                      <a:pt x="13538" y="18085"/>
                    </a:lnTo>
                    <a:lnTo>
                      <a:pt x="12981" y="18817"/>
                    </a:lnTo>
                    <a:lnTo>
                      <a:pt x="12089" y="18366"/>
                    </a:lnTo>
                    <a:lnTo>
                      <a:pt x="12089" y="19239"/>
                    </a:lnTo>
                    <a:lnTo>
                      <a:pt x="10696" y="19239"/>
                    </a:lnTo>
                    <a:lnTo>
                      <a:pt x="8969" y="19972"/>
                    </a:lnTo>
                    <a:lnTo>
                      <a:pt x="8969" y="18535"/>
                    </a:lnTo>
                    <a:lnTo>
                      <a:pt x="9248" y="18366"/>
                    </a:lnTo>
                    <a:lnTo>
                      <a:pt x="8969" y="17803"/>
                    </a:lnTo>
                    <a:lnTo>
                      <a:pt x="8412" y="17803"/>
                    </a:lnTo>
                    <a:lnTo>
                      <a:pt x="7744" y="17634"/>
                    </a:lnTo>
                    <a:lnTo>
                      <a:pt x="10139" y="17042"/>
                    </a:lnTo>
                    <a:lnTo>
                      <a:pt x="11532" y="16930"/>
                    </a:lnTo>
                    <a:lnTo>
                      <a:pt x="11532" y="16479"/>
                    </a:lnTo>
                    <a:lnTo>
                      <a:pt x="11253" y="15887"/>
                    </a:lnTo>
                    <a:lnTo>
                      <a:pt x="12089" y="15775"/>
                    </a:lnTo>
                    <a:lnTo>
                      <a:pt x="13538" y="15437"/>
                    </a:lnTo>
                    <a:lnTo>
                      <a:pt x="14429" y="15324"/>
                    </a:lnTo>
                    <a:lnTo>
                      <a:pt x="15265" y="15014"/>
                    </a:lnTo>
                    <a:lnTo>
                      <a:pt x="15265" y="14000"/>
                    </a:lnTo>
                    <a:lnTo>
                      <a:pt x="15042" y="12845"/>
                    </a:lnTo>
                    <a:lnTo>
                      <a:pt x="15042" y="12394"/>
                    </a:lnTo>
                    <a:lnTo>
                      <a:pt x="15042" y="11972"/>
                    </a:lnTo>
                    <a:lnTo>
                      <a:pt x="15042" y="11521"/>
                    </a:lnTo>
                    <a:lnTo>
                      <a:pt x="15042" y="10930"/>
                    </a:lnTo>
                    <a:lnTo>
                      <a:pt x="14429" y="10930"/>
                    </a:lnTo>
                    <a:lnTo>
                      <a:pt x="14429" y="10085"/>
                    </a:lnTo>
                    <a:lnTo>
                      <a:pt x="12646" y="9324"/>
                    </a:lnTo>
                    <a:lnTo>
                      <a:pt x="11532" y="8592"/>
                    </a:lnTo>
                    <a:lnTo>
                      <a:pt x="10139" y="7887"/>
                    </a:lnTo>
                    <a:lnTo>
                      <a:pt x="9248" y="7296"/>
                    </a:lnTo>
                    <a:lnTo>
                      <a:pt x="8412" y="6732"/>
                    </a:lnTo>
                    <a:lnTo>
                      <a:pt x="7744" y="6563"/>
                    </a:lnTo>
                    <a:lnTo>
                      <a:pt x="5237" y="5549"/>
                    </a:lnTo>
                    <a:lnTo>
                      <a:pt x="5237" y="5127"/>
                    </a:lnTo>
                    <a:lnTo>
                      <a:pt x="6072" y="5127"/>
                    </a:lnTo>
                    <a:lnTo>
                      <a:pt x="6908" y="5127"/>
                    </a:lnTo>
                    <a:lnTo>
                      <a:pt x="6908" y="4394"/>
                    </a:lnTo>
                    <a:lnTo>
                      <a:pt x="6630" y="3944"/>
                    </a:lnTo>
                    <a:lnTo>
                      <a:pt x="6072" y="3944"/>
                    </a:lnTo>
                    <a:lnTo>
                      <a:pt x="5460" y="3521"/>
                    </a:lnTo>
                    <a:lnTo>
                      <a:pt x="3733" y="3521"/>
                    </a:lnTo>
                    <a:lnTo>
                      <a:pt x="1727" y="3070"/>
                    </a:lnTo>
                    <a:lnTo>
                      <a:pt x="1727" y="2366"/>
                    </a:lnTo>
                    <a:lnTo>
                      <a:pt x="1727" y="2028"/>
                    </a:lnTo>
                    <a:lnTo>
                      <a:pt x="557" y="1746"/>
                    </a:lnTo>
                    <a:lnTo>
                      <a:pt x="0" y="13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5" name="Freeform 154"/>
              <p:cNvSpPr>
                <a:spLocks/>
              </p:cNvSpPr>
              <p:nvPr/>
            </p:nvSpPr>
            <p:spPr bwMode="auto">
              <a:xfrm>
                <a:off x="2457450" y="4010025"/>
                <a:ext cx="66675" cy="41275"/>
              </a:xfrm>
              <a:custGeom>
                <a:avLst/>
                <a:gdLst>
                  <a:gd name="T0" fmla="*/ 0 w 20000"/>
                  <a:gd name="T1" fmla="*/ 11563 h 20000"/>
                  <a:gd name="T2" fmla="*/ 3048 w 20000"/>
                  <a:gd name="T3" fmla="*/ 6563 h 20000"/>
                  <a:gd name="T4" fmla="*/ 4952 w 20000"/>
                  <a:gd name="T5" fmla="*/ 0 h 20000"/>
                  <a:gd name="T6" fmla="*/ 11619 w 20000"/>
                  <a:gd name="T7" fmla="*/ 3438 h 20000"/>
                  <a:gd name="T8" fmla="*/ 17714 w 20000"/>
                  <a:gd name="T9" fmla="*/ 8438 h 20000"/>
                  <a:gd name="T10" fmla="*/ 19810 w 20000"/>
                  <a:gd name="T11" fmla="*/ 16563 h 20000"/>
                  <a:gd name="T12" fmla="*/ 15810 w 20000"/>
                  <a:gd name="T13" fmla="*/ 19688 h 20000"/>
                  <a:gd name="T14" fmla="*/ 6857 w 20000"/>
                  <a:gd name="T15" fmla="*/ 16563 h 20000"/>
                  <a:gd name="T16" fmla="*/ 0 w 20000"/>
                  <a:gd name="T17" fmla="*/ 1156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1563"/>
                    </a:moveTo>
                    <a:lnTo>
                      <a:pt x="3048" y="6563"/>
                    </a:lnTo>
                    <a:lnTo>
                      <a:pt x="4952" y="0"/>
                    </a:lnTo>
                    <a:lnTo>
                      <a:pt x="11619" y="3438"/>
                    </a:lnTo>
                    <a:lnTo>
                      <a:pt x="17714" y="8438"/>
                    </a:lnTo>
                    <a:lnTo>
                      <a:pt x="19810" y="16563"/>
                    </a:lnTo>
                    <a:lnTo>
                      <a:pt x="15810" y="19688"/>
                    </a:lnTo>
                    <a:lnTo>
                      <a:pt x="6857" y="16563"/>
                    </a:lnTo>
                    <a:lnTo>
                      <a:pt x="0" y="1156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6" name="Freeform 153"/>
              <p:cNvSpPr>
                <a:spLocks/>
              </p:cNvSpPr>
              <p:nvPr/>
            </p:nvSpPr>
            <p:spPr bwMode="auto">
              <a:xfrm>
                <a:off x="8096250" y="4260850"/>
                <a:ext cx="266700" cy="187325"/>
              </a:xfrm>
              <a:custGeom>
                <a:avLst/>
                <a:gdLst>
                  <a:gd name="T0" fmla="*/ 9619 w 20000"/>
                  <a:gd name="T1" fmla="*/ 7365 h 20000"/>
                  <a:gd name="T2" fmla="*/ 9857 w 20000"/>
                  <a:gd name="T3" fmla="*/ 9797 h 20000"/>
                  <a:gd name="T4" fmla="*/ 10810 w 20000"/>
                  <a:gd name="T5" fmla="*/ 8716 h 20000"/>
                  <a:gd name="T6" fmla="*/ 11571 w 20000"/>
                  <a:gd name="T7" fmla="*/ 8716 h 20000"/>
                  <a:gd name="T8" fmla="*/ 10810 w 20000"/>
                  <a:gd name="T9" fmla="*/ 7365 h 20000"/>
                  <a:gd name="T10" fmla="*/ 11095 w 20000"/>
                  <a:gd name="T11" fmla="*/ 6959 h 20000"/>
                  <a:gd name="T12" fmla="*/ 11571 w 20000"/>
                  <a:gd name="T13" fmla="*/ 5270 h 20000"/>
                  <a:gd name="T14" fmla="*/ 12286 w 20000"/>
                  <a:gd name="T15" fmla="*/ 4595 h 20000"/>
                  <a:gd name="T16" fmla="*/ 12857 w 20000"/>
                  <a:gd name="T17" fmla="*/ 5270 h 20000"/>
                  <a:gd name="T18" fmla="*/ 13571 w 20000"/>
                  <a:gd name="T19" fmla="*/ 2500 h 20000"/>
                  <a:gd name="T20" fmla="*/ 14333 w 20000"/>
                  <a:gd name="T21" fmla="*/ 0 h 20000"/>
                  <a:gd name="T22" fmla="*/ 14810 w 20000"/>
                  <a:gd name="T23" fmla="*/ 743 h 20000"/>
                  <a:gd name="T24" fmla="*/ 14810 w 20000"/>
                  <a:gd name="T25" fmla="*/ 1757 h 20000"/>
                  <a:gd name="T26" fmla="*/ 15000 w 20000"/>
                  <a:gd name="T27" fmla="*/ 743 h 20000"/>
                  <a:gd name="T28" fmla="*/ 15524 w 20000"/>
                  <a:gd name="T29" fmla="*/ 743 h 20000"/>
                  <a:gd name="T30" fmla="*/ 15524 w 20000"/>
                  <a:gd name="T31" fmla="*/ 1757 h 20000"/>
                  <a:gd name="T32" fmla="*/ 16286 w 20000"/>
                  <a:gd name="T33" fmla="*/ 1757 h 20000"/>
                  <a:gd name="T34" fmla="*/ 16286 w 20000"/>
                  <a:gd name="T35" fmla="*/ 2770 h 20000"/>
                  <a:gd name="T36" fmla="*/ 16762 w 20000"/>
                  <a:gd name="T37" fmla="*/ 3514 h 20000"/>
                  <a:gd name="T38" fmla="*/ 17048 w 20000"/>
                  <a:gd name="T39" fmla="*/ 3514 h 20000"/>
                  <a:gd name="T40" fmla="*/ 17048 w 20000"/>
                  <a:gd name="T41" fmla="*/ 4189 h 20000"/>
                  <a:gd name="T42" fmla="*/ 16762 w 20000"/>
                  <a:gd name="T43" fmla="*/ 4595 h 20000"/>
                  <a:gd name="T44" fmla="*/ 17524 w 20000"/>
                  <a:gd name="T45" fmla="*/ 4595 h 20000"/>
                  <a:gd name="T46" fmla="*/ 18000 w 20000"/>
                  <a:gd name="T47" fmla="*/ 4189 h 20000"/>
                  <a:gd name="T48" fmla="*/ 19000 w 20000"/>
                  <a:gd name="T49" fmla="*/ 5270 h 20000"/>
                  <a:gd name="T50" fmla="*/ 19952 w 20000"/>
                  <a:gd name="T51" fmla="*/ 5270 h 20000"/>
                  <a:gd name="T52" fmla="*/ 19952 w 20000"/>
                  <a:gd name="T53" fmla="*/ 6284 h 20000"/>
                  <a:gd name="T54" fmla="*/ 19000 w 20000"/>
                  <a:gd name="T55" fmla="*/ 6284 h 20000"/>
                  <a:gd name="T56" fmla="*/ 18238 w 20000"/>
                  <a:gd name="T57" fmla="*/ 6959 h 20000"/>
                  <a:gd name="T58" fmla="*/ 18000 w 20000"/>
                  <a:gd name="T59" fmla="*/ 6959 h 20000"/>
                  <a:gd name="T60" fmla="*/ 17524 w 20000"/>
                  <a:gd name="T61" fmla="*/ 6959 h 20000"/>
                  <a:gd name="T62" fmla="*/ 18714 w 20000"/>
                  <a:gd name="T63" fmla="*/ 8716 h 20000"/>
                  <a:gd name="T64" fmla="*/ 17048 w 20000"/>
                  <a:gd name="T65" fmla="*/ 9122 h 20000"/>
                  <a:gd name="T66" fmla="*/ 16762 w 20000"/>
                  <a:gd name="T67" fmla="*/ 8716 h 20000"/>
                  <a:gd name="T68" fmla="*/ 16286 w 20000"/>
                  <a:gd name="T69" fmla="*/ 9122 h 20000"/>
                  <a:gd name="T70" fmla="*/ 16762 w 20000"/>
                  <a:gd name="T71" fmla="*/ 10135 h 20000"/>
                  <a:gd name="T72" fmla="*/ 13048 w 20000"/>
                  <a:gd name="T73" fmla="*/ 9797 h 20000"/>
                  <a:gd name="T74" fmla="*/ 12286 w 20000"/>
                  <a:gd name="T75" fmla="*/ 13311 h 20000"/>
                  <a:gd name="T76" fmla="*/ 11095 w 20000"/>
                  <a:gd name="T77" fmla="*/ 13581 h 20000"/>
                  <a:gd name="T78" fmla="*/ 10810 w 20000"/>
                  <a:gd name="T79" fmla="*/ 17162 h 20000"/>
                  <a:gd name="T80" fmla="*/ 8667 w 20000"/>
                  <a:gd name="T81" fmla="*/ 18851 h 20000"/>
                  <a:gd name="T82" fmla="*/ 6619 w 20000"/>
                  <a:gd name="T83" fmla="*/ 19932 h 20000"/>
                  <a:gd name="T84" fmla="*/ 3905 w 20000"/>
                  <a:gd name="T85" fmla="*/ 19257 h 20000"/>
                  <a:gd name="T86" fmla="*/ 2714 w 20000"/>
                  <a:gd name="T87" fmla="*/ 19257 h 20000"/>
                  <a:gd name="T88" fmla="*/ 476 w 20000"/>
                  <a:gd name="T89" fmla="*/ 18176 h 20000"/>
                  <a:gd name="T90" fmla="*/ 0 w 20000"/>
                  <a:gd name="T91" fmla="*/ 16419 h 20000"/>
                  <a:gd name="T92" fmla="*/ 1238 w 20000"/>
                  <a:gd name="T93" fmla="*/ 16419 h 20000"/>
                  <a:gd name="T94" fmla="*/ 1952 w 20000"/>
                  <a:gd name="T95" fmla="*/ 17162 h 20000"/>
                  <a:gd name="T96" fmla="*/ 2476 w 20000"/>
                  <a:gd name="T97" fmla="*/ 17162 h 20000"/>
                  <a:gd name="T98" fmla="*/ 2714 w 20000"/>
                  <a:gd name="T99" fmla="*/ 15405 h 20000"/>
                  <a:gd name="T100" fmla="*/ 3190 w 20000"/>
                  <a:gd name="T101" fmla="*/ 13581 h 20000"/>
                  <a:gd name="T102" fmla="*/ 4476 w 20000"/>
                  <a:gd name="T103" fmla="*/ 13311 h 20000"/>
                  <a:gd name="T104" fmla="*/ 6619 w 20000"/>
                  <a:gd name="T105" fmla="*/ 11892 h 20000"/>
                  <a:gd name="T106" fmla="*/ 9143 w 20000"/>
                  <a:gd name="T107" fmla="*/ 8041 h 20000"/>
                  <a:gd name="T108" fmla="*/ 9619 w 20000"/>
                  <a:gd name="T109" fmla="*/ 73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9619" y="7365"/>
                    </a:moveTo>
                    <a:lnTo>
                      <a:pt x="9857" y="9797"/>
                    </a:lnTo>
                    <a:lnTo>
                      <a:pt x="10810" y="8716"/>
                    </a:lnTo>
                    <a:lnTo>
                      <a:pt x="11571" y="8716"/>
                    </a:lnTo>
                    <a:lnTo>
                      <a:pt x="10810" y="7365"/>
                    </a:lnTo>
                    <a:lnTo>
                      <a:pt x="11095" y="6959"/>
                    </a:lnTo>
                    <a:lnTo>
                      <a:pt x="11571" y="5270"/>
                    </a:lnTo>
                    <a:lnTo>
                      <a:pt x="12286" y="4595"/>
                    </a:lnTo>
                    <a:lnTo>
                      <a:pt x="12857" y="5270"/>
                    </a:lnTo>
                    <a:lnTo>
                      <a:pt x="13571" y="2500"/>
                    </a:lnTo>
                    <a:lnTo>
                      <a:pt x="14333" y="0"/>
                    </a:lnTo>
                    <a:lnTo>
                      <a:pt x="14810" y="743"/>
                    </a:lnTo>
                    <a:lnTo>
                      <a:pt x="14810" y="1757"/>
                    </a:lnTo>
                    <a:lnTo>
                      <a:pt x="15000" y="743"/>
                    </a:lnTo>
                    <a:lnTo>
                      <a:pt x="15524" y="743"/>
                    </a:lnTo>
                    <a:lnTo>
                      <a:pt x="15524" y="1757"/>
                    </a:lnTo>
                    <a:lnTo>
                      <a:pt x="16286" y="1757"/>
                    </a:lnTo>
                    <a:lnTo>
                      <a:pt x="16286" y="2770"/>
                    </a:lnTo>
                    <a:lnTo>
                      <a:pt x="16762" y="3514"/>
                    </a:lnTo>
                    <a:lnTo>
                      <a:pt x="17048" y="3514"/>
                    </a:lnTo>
                    <a:lnTo>
                      <a:pt x="17048" y="4189"/>
                    </a:lnTo>
                    <a:lnTo>
                      <a:pt x="16762" y="4595"/>
                    </a:lnTo>
                    <a:lnTo>
                      <a:pt x="17524" y="4595"/>
                    </a:lnTo>
                    <a:lnTo>
                      <a:pt x="18000" y="4189"/>
                    </a:lnTo>
                    <a:lnTo>
                      <a:pt x="19000" y="5270"/>
                    </a:lnTo>
                    <a:lnTo>
                      <a:pt x="19952" y="5270"/>
                    </a:lnTo>
                    <a:lnTo>
                      <a:pt x="19952" y="6284"/>
                    </a:lnTo>
                    <a:lnTo>
                      <a:pt x="19000" y="6284"/>
                    </a:lnTo>
                    <a:lnTo>
                      <a:pt x="18238" y="6959"/>
                    </a:lnTo>
                    <a:lnTo>
                      <a:pt x="18000" y="6959"/>
                    </a:lnTo>
                    <a:lnTo>
                      <a:pt x="17524" y="6959"/>
                    </a:lnTo>
                    <a:lnTo>
                      <a:pt x="18714" y="8716"/>
                    </a:lnTo>
                    <a:lnTo>
                      <a:pt x="17048" y="9122"/>
                    </a:lnTo>
                    <a:lnTo>
                      <a:pt x="16762" y="8716"/>
                    </a:lnTo>
                    <a:lnTo>
                      <a:pt x="16286" y="9122"/>
                    </a:lnTo>
                    <a:lnTo>
                      <a:pt x="16762" y="10135"/>
                    </a:lnTo>
                    <a:lnTo>
                      <a:pt x="13048" y="9797"/>
                    </a:lnTo>
                    <a:lnTo>
                      <a:pt x="12286" y="13311"/>
                    </a:lnTo>
                    <a:lnTo>
                      <a:pt x="11095" y="13581"/>
                    </a:lnTo>
                    <a:lnTo>
                      <a:pt x="10810" y="17162"/>
                    </a:lnTo>
                    <a:lnTo>
                      <a:pt x="8667" y="18851"/>
                    </a:lnTo>
                    <a:lnTo>
                      <a:pt x="6619" y="19932"/>
                    </a:lnTo>
                    <a:lnTo>
                      <a:pt x="3905" y="19257"/>
                    </a:lnTo>
                    <a:lnTo>
                      <a:pt x="2714" y="19257"/>
                    </a:lnTo>
                    <a:lnTo>
                      <a:pt x="476" y="18176"/>
                    </a:lnTo>
                    <a:lnTo>
                      <a:pt x="0" y="16419"/>
                    </a:lnTo>
                    <a:lnTo>
                      <a:pt x="1238" y="16419"/>
                    </a:lnTo>
                    <a:lnTo>
                      <a:pt x="1952" y="17162"/>
                    </a:lnTo>
                    <a:lnTo>
                      <a:pt x="2476" y="17162"/>
                    </a:lnTo>
                    <a:lnTo>
                      <a:pt x="2714" y="15405"/>
                    </a:lnTo>
                    <a:lnTo>
                      <a:pt x="3190" y="13581"/>
                    </a:lnTo>
                    <a:lnTo>
                      <a:pt x="4476" y="13311"/>
                    </a:lnTo>
                    <a:lnTo>
                      <a:pt x="6619" y="11892"/>
                    </a:lnTo>
                    <a:lnTo>
                      <a:pt x="9143" y="8041"/>
                    </a:lnTo>
                    <a:lnTo>
                      <a:pt x="9619" y="73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7" name="Freeform 152"/>
              <p:cNvSpPr>
                <a:spLocks/>
              </p:cNvSpPr>
              <p:nvPr/>
            </p:nvSpPr>
            <p:spPr bwMode="auto">
              <a:xfrm>
                <a:off x="7916863" y="4414838"/>
                <a:ext cx="17462" cy="17462"/>
              </a:xfrm>
              <a:custGeom>
                <a:avLst/>
                <a:gdLst>
                  <a:gd name="T0" fmla="*/ 19259 w 20000"/>
                  <a:gd name="T1" fmla="*/ 0 h 20000"/>
                  <a:gd name="T2" fmla="*/ 11111 w 20000"/>
                  <a:gd name="T3" fmla="*/ 11429 h 20000"/>
                  <a:gd name="T4" fmla="*/ 7407 w 20000"/>
                  <a:gd name="T5" fmla="*/ 19286 h 20000"/>
                  <a:gd name="T6" fmla="*/ 0 w 20000"/>
                  <a:gd name="T7" fmla="*/ 11429 h 20000"/>
                  <a:gd name="T8" fmla="*/ 0 w 20000"/>
                  <a:gd name="T9" fmla="*/ 7857 h 20000"/>
                  <a:gd name="T10" fmla="*/ 19259 w 20000"/>
                  <a:gd name="T11" fmla="*/ 0 h 20000"/>
                </a:gdLst>
                <a:ahLst/>
                <a:cxnLst>
                  <a:cxn ang="0">
                    <a:pos x="T0" y="T1"/>
                  </a:cxn>
                  <a:cxn ang="0">
                    <a:pos x="T2" y="T3"/>
                  </a:cxn>
                  <a:cxn ang="0">
                    <a:pos x="T4" y="T5"/>
                  </a:cxn>
                  <a:cxn ang="0">
                    <a:pos x="T6" y="T7"/>
                  </a:cxn>
                  <a:cxn ang="0">
                    <a:pos x="T8" y="T9"/>
                  </a:cxn>
                  <a:cxn ang="0">
                    <a:pos x="T10" y="T11"/>
                  </a:cxn>
                </a:cxnLst>
                <a:rect l="0" t="0" r="r" b="b"/>
                <a:pathLst>
                  <a:path w="20000" h="20000">
                    <a:moveTo>
                      <a:pt x="19259" y="0"/>
                    </a:moveTo>
                    <a:lnTo>
                      <a:pt x="11111" y="11429"/>
                    </a:lnTo>
                    <a:lnTo>
                      <a:pt x="7407" y="19286"/>
                    </a:lnTo>
                    <a:lnTo>
                      <a:pt x="0" y="11429"/>
                    </a:lnTo>
                    <a:lnTo>
                      <a:pt x="0" y="7857"/>
                    </a:lnTo>
                    <a:lnTo>
                      <a:pt x="1925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8" name="Freeform 151"/>
              <p:cNvSpPr>
                <a:spLocks/>
              </p:cNvSpPr>
              <p:nvPr/>
            </p:nvSpPr>
            <p:spPr bwMode="auto">
              <a:xfrm>
                <a:off x="6189663" y="3948113"/>
                <a:ext cx="122237" cy="138112"/>
              </a:xfrm>
              <a:custGeom>
                <a:avLst/>
                <a:gdLst>
                  <a:gd name="T0" fmla="*/ 3125 w 20000"/>
                  <a:gd name="T1" fmla="*/ 19908 h 20000"/>
                  <a:gd name="T2" fmla="*/ 2708 w 20000"/>
                  <a:gd name="T3" fmla="*/ 17523 h 20000"/>
                  <a:gd name="T4" fmla="*/ 1563 w 20000"/>
                  <a:gd name="T5" fmla="*/ 13303 h 20000"/>
                  <a:gd name="T6" fmla="*/ 0 w 20000"/>
                  <a:gd name="T7" fmla="*/ 8991 h 20000"/>
                  <a:gd name="T8" fmla="*/ 0 w 20000"/>
                  <a:gd name="T9" fmla="*/ 7156 h 20000"/>
                  <a:gd name="T10" fmla="*/ 0 w 20000"/>
                  <a:gd name="T11" fmla="*/ 5229 h 20000"/>
                  <a:gd name="T12" fmla="*/ 2708 w 20000"/>
                  <a:gd name="T13" fmla="*/ 3761 h 20000"/>
                  <a:gd name="T14" fmla="*/ 2708 w 20000"/>
                  <a:gd name="T15" fmla="*/ 1009 h 20000"/>
                  <a:gd name="T16" fmla="*/ 3125 w 20000"/>
                  <a:gd name="T17" fmla="*/ 1009 h 20000"/>
                  <a:gd name="T18" fmla="*/ 4792 w 20000"/>
                  <a:gd name="T19" fmla="*/ 1009 h 20000"/>
                  <a:gd name="T20" fmla="*/ 8646 w 20000"/>
                  <a:gd name="T21" fmla="*/ 0 h 20000"/>
                  <a:gd name="T22" fmla="*/ 17188 w 20000"/>
                  <a:gd name="T23" fmla="*/ 3761 h 20000"/>
                  <a:gd name="T24" fmla="*/ 17188 w 20000"/>
                  <a:gd name="T25" fmla="*/ 7156 h 20000"/>
                  <a:gd name="T26" fmla="*/ 19896 w 20000"/>
                  <a:gd name="T27" fmla="*/ 6239 h 20000"/>
                  <a:gd name="T28" fmla="*/ 18229 w 20000"/>
                  <a:gd name="T29" fmla="*/ 10000 h 20000"/>
                  <a:gd name="T30" fmla="*/ 15625 w 20000"/>
                  <a:gd name="T31" fmla="*/ 12385 h 20000"/>
                  <a:gd name="T32" fmla="*/ 15625 w 20000"/>
                  <a:gd name="T33" fmla="*/ 14679 h 20000"/>
                  <a:gd name="T34" fmla="*/ 18854 w 20000"/>
                  <a:gd name="T35" fmla="*/ 13303 h 20000"/>
                  <a:gd name="T36" fmla="*/ 18854 w 20000"/>
                  <a:gd name="T37" fmla="*/ 13761 h 20000"/>
                  <a:gd name="T38" fmla="*/ 16146 w 20000"/>
                  <a:gd name="T39" fmla="*/ 15229 h 20000"/>
                  <a:gd name="T40" fmla="*/ 12917 w 20000"/>
                  <a:gd name="T41" fmla="*/ 16147 h 20000"/>
                  <a:gd name="T42" fmla="*/ 3125 w 20000"/>
                  <a:gd name="T43" fmla="*/ 199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3125" y="19908"/>
                    </a:moveTo>
                    <a:lnTo>
                      <a:pt x="2708" y="17523"/>
                    </a:lnTo>
                    <a:lnTo>
                      <a:pt x="1563" y="13303"/>
                    </a:lnTo>
                    <a:lnTo>
                      <a:pt x="0" y="8991"/>
                    </a:lnTo>
                    <a:lnTo>
                      <a:pt x="0" y="7156"/>
                    </a:lnTo>
                    <a:lnTo>
                      <a:pt x="0" y="5229"/>
                    </a:lnTo>
                    <a:lnTo>
                      <a:pt x="2708" y="3761"/>
                    </a:lnTo>
                    <a:lnTo>
                      <a:pt x="2708" y="1009"/>
                    </a:lnTo>
                    <a:lnTo>
                      <a:pt x="3125" y="1009"/>
                    </a:lnTo>
                    <a:lnTo>
                      <a:pt x="4792" y="1009"/>
                    </a:lnTo>
                    <a:lnTo>
                      <a:pt x="8646" y="0"/>
                    </a:lnTo>
                    <a:lnTo>
                      <a:pt x="17188" y="3761"/>
                    </a:lnTo>
                    <a:lnTo>
                      <a:pt x="17188" y="7156"/>
                    </a:lnTo>
                    <a:lnTo>
                      <a:pt x="19896" y="6239"/>
                    </a:lnTo>
                    <a:lnTo>
                      <a:pt x="18229" y="10000"/>
                    </a:lnTo>
                    <a:lnTo>
                      <a:pt x="15625" y="12385"/>
                    </a:lnTo>
                    <a:lnTo>
                      <a:pt x="15625" y="14679"/>
                    </a:lnTo>
                    <a:lnTo>
                      <a:pt x="18854" y="13303"/>
                    </a:lnTo>
                    <a:lnTo>
                      <a:pt x="18854" y="13761"/>
                    </a:lnTo>
                    <a:lnTo>
                      <a:pt x="16146" y="15229"/>
                    </a:lnTo>
                    <a:lnTo>
                      <a:pt x="12917" y="16147"/>
                    </a:lnTo>
                    <a:lnTo>
                      <a:pt x="3125" y="199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89" name="Freeform 150"/>
              <p:cNvSpPr>
                <a:spLocks/>
              </p:cNvSpPr>
              <p:nvPr/>
            </p:nvSpPr>
            <p:spPr bwMode="auto">
              <a:xfrm>
                <a:off x="6208713" y="3905250"/>
                <a:ext cx="273050" cy="187325"/>
              </a:xfrm>
              <a:custGeom>
                <a:avLst/>
                <a:gdLst>
                  <a:gd name="T0" fmla="*/ 17587 w 20000"/>
                  <a:gd name="T1" fmla="*/ 0 h 20000"/>
                  <a:gd name="T2" fmla="*/ 19954 w 20000"/>
                  <a:gd name="T3" fmla="*/ 7297 h 20000"/>
                  <a:gd name="T4" fmla="*/ 18237 w 20000"/>
                  <a:gd name="T5" fmla="*/ 8378 h 20000"/>
                  <a:gd name="T6" fmla="*/ 18051 w 20000"/>
                  <a:gd name="T7" fmla="*/ 10135 h 20000"/>
                  <a:gd name="T8" fmla="*/ 18051 w 20000"/>
                  <a:gd name="T9" fmla="*/ 10811 h 20000"/>
                  <a:gd name="T10" fmla="*/ 12993 w 20000"/>
                  <a:gd name="T11" fmla="*/ 13581 h 20000"/>
                  <a:gd name="T12" fmla="*/ 11787 w 20000"/>
                  <a:gd name="T13" fmla="*/ 14257 h 20000"/>
                  <a:gd name="T14" fmla="*/ 10812 w 20000"/>
                  <a:gd name="T15" fmla="*/ 15743 h 20000"/>
                  <a:gd name="T16" fmla="*/ 9884 w 20000"/>
                  <a:gd name="T17" fmla="*/ 15743 h 20000"/>
                  <a:gd name="T18" fmla="*/ 9420 w 20000"/>
                  <a:gd name="T19" fmla="*/ 15743 h 20000"/>
                  <a:gd name="T20" fmla="*/ 7425 w 20000"/>
                  <a:gd name="T21" fmla="*/ 17432 h 20000"/>
                  <a:gd name="T22" fmla="*/ 4826 w 20000"/>
                  <a:gd name="T23" fmla="*/ 18108 h 20000"/>
                  <a:gd name="T24" fmla="*/ 3619 w 20000"/>
                  <a:gd name="T25" fmla="*/ 18514 h 20000"/>
                  <a:gd name="T26" fmla="*/ 3619 w 20000"/>
                  <a:gd name="T27" fmla="*/ 19932 h 20000"/>
                  <a:gd name="T28" fmla="*/ 2413 w 20000"/>
                  <a:gd name="T29" fmla="*/ 19932 h 20000"/>
                  <a:gd name="T30" fmla="*/ 742 w 20000"/>
                  <a:gd name="T31" fmla="*/ 19932 h 20000"/>
                  <a:gd name="T32" fmla="*/ 0 w 20000"/>
                  <a:gd name="T33" fmla="*/ 19189 h 20000"/>
                  <a:gd name="T34" fmla="*/ 4362 w 20000"/>
                  <a:gd name="T35" fmla="*/ 16419 h 20000"/>
                  <a:gd name="T36" fmla="*/ 5800 w 20000"/>
                  <a:gd name="T37" fmla="*/ 15743 h 20000"/>
                  <a:gd name="T38" fmla="*/ 6961 w 20000"/>
                  <a:gd name="T39" fmla="*/ 14662 h 20000"/>
                  <a:gd name="T40" fmla="*/ 6961 w 20000"/>
                  <a:gd name="T41" fmla="*/ 14257 h 20000"/>
                  <a:gd name="T42" fmla="*/ 5522 w 20000"/>
                  <a:gd name="T43" fmla="*/ 15338 h 20000"/>
                  <a:gd name="T44" fmla="*/ 5522 w 20000"/>
                  <a:gd name="T45" fmla="*/ 13581 h 20000"/>
                  <a:gd name="T46" fmla="*/ 6729 w 20000"/>
                  <a:gd name="T47" fmla="*/ 11892 h 20000"/>
                  <a:gd name="T48" fmla="*/ 7425 w 20000"/>
                  <a:gd name="T49" fmla="*/ 9122 h 20000"/>
                  <a:gd name="T50" fmla="*/ 10812 w 20000"/>
                  <a:gd name="T51" fmla="*/ 2432 h 20000"/>
                  <a:gd name="T52" fmla="*/ 17587 w 20000"/>
                  <a:gd name="T5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17587" y="0"/>
                    </a:moveTo>
                    <a:lnTo>
                      <a:pt x="19954" y="7297"/>
                    </a:lnTo>
                    <a:lnTo>
                      <a:pt x="18237" y="8378"/>
                    </a:lnTo>
                    <a:lnTo>
                      <a:pt x="18051" y="10135"/>
                    </a:lnTo>
                    <a:lnTo>
                      <a:pt x="18051" y="10811"/>
                    </a:lnTo>
                    <a:lnTo>
                      <a:pt x="12993" y="13581"/>
                    </a:lnTo>
                    <a:lnTo>
                      <a:pt x="11787" y="14257"/>
                    </a:lnTo>
                    <a:lnTo>
                      <a:pt x="10812" y="15743"/>
                    </a:lnTo>
                    <a:lnTo>
                      <a:pt x="9884" y="15743"/>
                    </a:lnTo>
                    <a:lnTo>
                      <a:pt x="9420" y="15743"/>
                    </a:lnTo>
                    <a:lnTo>
                      <a:pt x="7425" y="17432"/>
                    </a:lnTo>
                    <a:lnTo>
                      <a:pt x="4826" y="18108"/>
                    </a:lnTo>
                    <a:lnTo>
                      <a:pt x="3619" y="18514"/>
                    </a:lnTo>
                    <a:lnTo>
                      <a:pt x="3619" y="19932"/>
                    </a:lnTo>
                    <a:lnTo>
                      <a:pt x="2413" y="19932"/>
                    </a:lnTo>
                    <a:lnTo>
                      <a:pt x="742" y="19932"/>
                    </a:lnTo>
                    <a:lnTo>
                      <a:pt x="0" y="19189"/>
                    </a:lnTo>
                    <a:lnTo>
                      <a:pt x="4362" y="16419"/>
                    </a:lnTo>
                    <a:lnTo>
                      <a:pt x="5800" y="15743"/>
                    </a:lnTo>
                    <a:lnTo>
                      <a:pt x="6961" y="14662"/>
                    </a:lnTo>
                    <a:lnTo>
                      <a:pt x="6961" y="14257"/>
                    </a:lnTo>
                    <a:lnTo>
                      <a:pt x="5522" y="15338"/>
                    </a:lnTo>
                    <a:lnTo>
                      <a:pt x="5522" y="13581"/>
                    </a:lnTo>
                    <a:lnTo>
                      <a:pt x="6729" y="11892"/>
                    </a:lnTo>
                    <a:lnTo>
                      <a:pt x="7425" y="9122"/>
                    </a:lnTo>
                    <a:lnTo>
                      <a:pt x="10812" y="2432"/>
                    </a:lnTo>
                    <a:lnTo>
                      <a:pt x="17587"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0" name="Freeform 149"/>
              <p:cNvSpPr>
                <a:spLocks/>
              </p:cNvSpPr>
              <p:nvPr/>
            </p:nvSpPr>
            <p:spPr bwMode="auto">
              <a:xfrm>
                <a:off x="8037513" y="3870325"/>
                <a:ext cx="66675" cy="60325"/>
              </a:xfrm>
              <a:custGeom>
                <a:avLst/>
                <a:gdLst>
                  <a:gd name="T0" fmla="*/ 7048 w 20000"/>
                  <a:gd name="T1" fmla="*/ 851 h 20000"/>
                  <a:gd name="T2" fmla="*/ 5143 w 20000"/>
                  <a:gd name="T3" fmla="*/ 851 h 20000"/>
                  <a:gd name="T4" fmla="*/ 5143 w 20000"/>
                  <a:gd name="T5" fmla="*/ 5532 h 20000"/>
                  <a:gd name="T6" fmla="*/ 0 w 20000"/>
                  <a:gd name="T7" fmla="*/ 8723 h 20000"/>
                  <a:gd name="T8" fmla="*/ 0 w 20000"/>
                  <a:gd name="T9" fmla="*/ 15532 h 20000"/>
                  <a:gd name="T10" fmla="*/ 8000 w 20000"/>
                  <a:gd name="T11" fmla="*/ 19787 h 20000"/>
                  <a:gd name="T12" fmla="*/ 11048 w 20000"/>
                  <a:gd name="T13" fmla="*/ 15532 h 20000"/>
                  <a:gd name="T14" fmla="*/ 16000 w 20000"/>
                  <a:gd name="T15" fmla="*/ 14255 h 20000"/>
                  <a:gd name="T16" fmla="*/ 16000 w 20000"/>
                  <a:gd name="T17" fmla="*/ 8723 h 20000"/>
                  <a:gd name="T18" fmla="*/ 19810 w 20000"/>
                  <a:gd name="T19" fmla="*/ 5532 h 20000"/>
                  <a:gd name="T20" fmla="*/ 19810 w 20000"/>
                  <a:gd name="T21" fmla="*/ 851 h 20000"/>
                  <a:gd name="T22" fmla="*/ 17905 w 20000"/>
                  <a:gd name="T23" fmla="*/ 0 h 20000"/>
                  <a:gd name="T24" fmla="*/ 16000 w 20000"/>
                  <a:gd name="T25" fmla="*/ 851 h 20000"/>
                  <a:gd name="T26" fmla="*/ 8000 w 20000"/>
                  <a:gd name="T27" fmla="*/ 851 h 20000"/>
                  <a:gd name="T28" fmla="*/ 7048 w 20000"/>
                  <a:gd name="T29" fmla="*/ 85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7048" y="851"/>
                    </a:moveTo>
                    <a:lnTo>
                      <a:pt x="5143" y="851"/>
                    </a:lnTo>
                    <a:lnTo>
                      <a:pt x="5143" y="5532"/>
                    </a:lnTo>
                    <a:lnTo>
                      <a:pt x="0" y="8723"/>
                    </a:lnTo>
                    <a:lnTo>
                      <a:pt x="0" y="15532"/>
                    </a:lnTo>
                    <a:lnTo>
                      <a:pt x="8000" y="19787"/>
                    </a:lnTo>
                    <a:lnTo>
                      <a:pt x="11048" y="15532"/>
                    </a:lnTo>
                    <a:lnTo>
                      <a:pt x="16000" y="14255"/>
                    </a:lnTo>
                    <a:lnTo>
                      <a:pt x="16000" y="8723"/>
                    </a:lnTo>
                    <a:lnTo>
                      <a:pt x="19810" y="5532"/>
                    </a:lnTo>
                    <a:lnTo>
                      <a:pt x="19810" y="851"/>
                    </a:lnTo>
                    <a:lnTo>
                      <a:pt x="17905" y="0"/>
                    </a:lnTo>
                    <a:lnTo>
                      <a:pt x="16000" y="851"/>
                    </a:lnTo>
                    <a:lnTo>
                      <a:pt x="8000" y="851"/>
                    </a:lnTo>
                    <a:lnTo>
                      <a:pt x="7048" y="85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1" name="Freeform 148"/>
              <p:cNvSpPr>
                <a:spLocks/>
              </p:cNvSpPr>
              <p:nvPr/>
            </p:nvSpPr>
            <p:spPr bwMode="auto">
              <a:xfrm>
                <a:off x="7097713" y="4325938"/>
                <a:ext cx="11112" cy="11112"/>
              </a:xfrm>
              <a:custGeom>
                <a:avLst/>
                <a:gdLst>
                  <a:gd name="T0" fmla="*/ 11765 w 20000"/>
                  <a:gd name="T1" fmla="*/ 7059 h 20000"/>
                  <a:gd name="T2" fmla="*/ 18824 w 20000"/>
                  <a:gd name="T3" fmla="*/ 18824 h 20000"/>
                  <a:gd name="T4" fmla="*/ 11765 w 20000"/>
                  <a:gd name="T5" fmla="*/ 18824 h 20000"/>
                  <a:gd name="T6" fmla="*/ 0 w 20000"/>
                  <a:gd name="T7" fmla="*/ 18824 h 20000"/>
                  <a:gd name="T8" fmla="*/ 0 w 20000"/>
                  <a:gd name="T9" fmla="*/ 0 h 20000"/>
                  <a:gd name="T10" fmla="*/ 11765 w 20000"/>
                  <a:gd name="T11" fmla="*/ 0 h 20000"/>
                  <a:gd name="T12" fmla="*/ 11765 w 20000"/>
                  <a:gd name="T13" fmla="*/ 7059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765" y="7059"/>
                    </a:moveTo>
                    <a:lnTo>
                      <a:pt x="18824" y="18824"/>
                    </a:lnTo>
                    <a:lnTo>
                      <a:pt x="11765" y="18824"/>
                    </a:lnTo>
                    <a:lnTo>
                      <a:pt x="0" y="18824"/>
                    </a:lnTo>
                    <a:lnTo>
                      <a:pt x="0" y="0"/>
                    </a:lnTo>
                    <a:lnTo>
                      <a:pt x="11765" y="0"/>
                    </a:lnTo>
                    <a:lnTo>
                      <a:pt x="11765" y="70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2" name="Freeform 147"/>
              <p:cNvSpPr>
                <a:spLocks/>
              </p:cNvSpPr>
              <p:nvPr/>
            </p:nvSpPr>
            <p:spPr bwMode="auto">
              <a:xfrm>
                <a:off x="6199188" y="2663825"/>
                <a:ext cx="1063625" cy="542925"/>
              </a:xfrm>
              <a:custGeom>
                <a:avLst/>
                <a:gdLst>
                  <a:gd name="T0" fmla="*/ 19916 w 20000"/>
                  <a:gd name="T1" fmla="*/ 8000 h 20000"/>
                  <a:gd name="T2" fmla="*/ 19379 w 20000"/>
                  <a:gd name="T3" fmla="*/ 8468 h 20000"/>
                  <a:gd name="T4" fmla="*/ 19379 w 20000"/>
                  <a:gd name="T5" fmla="*/ 10409 h 20000"/>
                  <a:gd name="T6" fmla="*/ 18184 w 20000"/>
                  <a:gd name="T7" fmla="*/ 12468 h 20000"/>
                  <a:gd name="T8" fmla="*/ 18184 w 20000"/>
                  <a:gd name="T9" fmla="*/ 13099 h 20000"/>
                  <a:gd name="T10" fmla="*/ 17085 w 20000"/>
                  <a:gd name="T11" fmla="*/ 13684 h 20000"/>
                  <a:gd name="T12" fmla="*/ 17814 w 20000"/>
                  <a:gd name="T13" fmla="*/ 15860 h 20000"/>
                  <a:gd name="T14" fmla="*/ 17324 w 20000"/>
                  <a:gd name="T15" fmla="*/ 17450 h 20000"/>
                  <a:gd name="T16" fmla="*/ 15102 w 20000"/>
                  <a:gd name="T17" fmla="*/ 16585 h 20000"/>
                  <a:gd name="T18" fmla="*/ 14421 w 20000"/>
                  <a:gd name="T19" fmla="*/ 16117 h 20000"/>
                  <a:gd name="T20" fmla="*/ 12318 w 20000"/>
                  <a:gd name="T21" fmla="*/ 18643 h 20000"/>
                  <a:gd name="T22" fmla="*/ 11828 w 20000"/>
                  <a:gd name="T23" fmla="*/ 19135 h 20000"/>
                  <a:gd name="T24" fmla="*/ 11195 w 20000"/>
                  <a:gd name="T25" fmla="*/ 19368 h 20000"/>
                  <a:gd name="T26" fmla="*/ 10394 w 20000"/>
                  <a:gd name="T27" fmla="*/ 18784 h 20000"/>
                  <a:gd name="T28" fmla="*/ 10096 w 20000"/>
                  <a:gd name="T29" fmla="*/ 17544 h 20000"/>
                  <a:gd name="T30" fmla="*/ 9606 w 20000"/>
                  <a:gd name="T31" fmla="*/ 16819 h 20000"/>
                  <a:gd name="T32" fmla="*/ 8172 w 20000"/>
                  <a:gd name="T33" fmla="*/ 16491 h 20000"/>
                  <a:gd name="T34" fmla="*/ 7121 w 20000"/>
                  <a:gd name="T35" fmla="*/ 15626 h 20000"/>
                  <a:gd name="T36" fmla="*/ 7312 w 20000"/>
                  <a:gd name="T37" fmla="*/ 14292 h 20000"/>
                  <a:gd name="T38" fmla="*/ 7431 w 20000"/>
                  <a:gd name="T39" fmla="*/ 12351 h 20000"/>
                  <a:gd name="T40" fmla="*/ 7180 w 20000"/>
                  <a:gd name="T41" fmla="*/ 12351 h 20000"/>
                  <a:gd name="T42" fmla="*/ 5508 w 20000"/>
                  <a:gd name="T43" fmla="*/ 13333 h 20000"/>
                  <a:gd name="T44" fmla="*/ 5209 w 20000"/>
                  <a:gd name="T45" fmla="*/ 16117 h 20000"/>
                  <a:gd name="T46" fmla="*/ 5209 w 20000"/>
                  <a:gd name="T47" fmla="*/ 19135 h 20000"/>
                  <a:gd name="T48" fmla="*/ 4277 w 20000"/>
                  <a:gd name="T49" fmla="*/ 18409 h 20000"/>
                  <a:gd name="T50" fmla="*/ 3524 w 20000"/>
                  <a:gd name="T51" fmla="*/ 19018 h 20000"/>
                  <a:gd name="T52" fmla="*/ 3524 w 20000"/>
                  <a:gd name="T53" fmla="*/ 19018 h 20000"/>
                  <a:gd name="T54" fmla="*/ 3524 w 20000"/>
                  <a:gd name="T55" fmla="*/ 17544 h 20000"/>
                  <a:gd name="T56" fmla="*/ 2915 w 20000"/>
                  <a:gd name="T57" fmla="*/ 17450 h 20000"/>
                  <a:gd name="T58" fmla="*/ 2234 w 20000"/>
                  <a:gd name="T59" fmla="*/ 15485 h 20000"/>
                  <a:gd name="T60" fmla="*/ 2796 w 20000"/>
                  <a:gd name="T61" fmla="*/ 15485 h 20000"/>
                  <a:gd name="T62" fmla="*/ 2724 w 20000"/>
                  <a:gd name="T63" fmla="*/ 14526 h 20000"/>
                  <a:gd name="T64" fmla="*/ 3405 w 20000"/>
                  <a:gd name="T65" fmla="*/ 13918 h 20000"/>
                  <a:gd name="T66" fmla="*/ 2915 w 20000"/>
                  <a:gd name="T67" fmla="*/ 12351 h 20000"/>
                  <a:gd name="T68" fmla="*/ 2234 w 20000"/>
                  <a:gd name="T69" fmla="*/ 12094 h 20000"/>
                  <a:gd name="T70" fmla="*/ 1613 w 20000"/>
                  <a:gd name="T71" fmla="*/ 12959 h 20000"/>
                  <a:gd name="T72" fmla="*/ 502 w 20000"/>
                  <a:gd name="T73" fmla="*/ 9567 h 20000"/>
                  <a:gd name="T74" fmla="*/ 621 w 20000"/>
                  <a:gd name="T75" fmla="*/ 6058 h 20000"/>
                  <a:gd name="T76" fmla="*/ 2915 w 20000"/>
                  <a:gd name="T77" fmla="*/ 6316 h 20000"/>
                  <a:gd name="T78" fmla="*/ 5818 w 20000"/>
                  <a:gd name="T79" fmla="*/ 5310 h 20000"/>
                  <a:gd name="T80" fmla="*/ 8411 w 20000"/>
                  <a:gd name="T81" fmla="*/ 608 h 20000"/>
                  <a:gd name="T82" fmla="*/ 11326 w 20000"/>
                  <a:gd name="T83" fmla="*/ 0 h 20000"/>
                  <a:gd name="T84" fmla="*/ 13978 w 20000"/>
                  <a:gd name="T85" fmla="*/ 1333 h 20000"/>
                  <a:gd name="T86" fmla="*/ 16762 w 20000"/>
                  <a:gd name="T87" fmla="*/ 5684 h 20000"/>
                  <a:gd name="T88" fmla="*/ 19116 w 20000"/>
                  <a:gd name="T89" fmla="*/ 6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9988" y="7275"/>
                    </a:moveTo>
                    <a:lnTo>
                      <a:pt x="19916" y="8000"/>
                    </a:lnTo>
                    <a:lnTo>
                      <a:pt x="19677" y="8234"/>
                    </a:lnTo>
                    <a:lnTo>
                      <a:pt x="19379" y="8468"/>
                    </a:lnTo>
                    <a:lnTo>
                      <a:pt x="19618" y="9942"/>
                    </a:lnTo>
                    <a:lnTo>
                      <a:pt x="19379" y="10409"/>
                    </a:lnTo>
                    <a:lnTo>
                      <a:pt x="18327" y="10409"/>
                    </a:lnTo>
                    <a:lnTo>
                      <a:pt x="18184" y="12468"/>
                    </a:lnTo>
                    <a:lnTo>
                      <a:pt x="18375" y="12725"/>
                    </a:lnTo>
                    <a:lnTo>
                      <a:pt x="18184" y="13099"/>
                    </a:lnTo>
                    <a:lnTo>
                      <a:pt x="17885" y="12959"/>
                    </a:lnTo>
                    <a:lnTo>
                      <a:pt x="17085" y="13684"/>
                    </a:lnTo>
                    <a:lnTo>
                      <a:pt x="17324" y="13684"/>
                    </a:lnTo>
                    <a:lnTo>
                      <a:pt x="17814" y="15860"/>
                    </a:lnTo>
                    <a:lnTo>
                      <a:pt x="17694" y="17544"/>
                    </a:lnTo>
                    <a:lnTo>
                      <a:pt x="17324" y="17450"/>
                    </a:lnTo>
                    <a:lnTo>
                      <a:pt x="17324" y="17076"/>
                    </a:lnTo>
                    <a:lnTo>
                      <a:pt x="15102" y="16585"/>
                    </a:lnTo>
                    <a:lnTo>
                      <a:pt x="15102" y="16211"/>
                    </a:lnTo>
                    <a:lnTo>
                      <a:pt x="14421" y="16117"/>
                    </a:lnTo>
                    <a:lnTo>
                      <a:pt x="12999" y="17544"/>
                    </a:lnTo>
                    <a:lnTo>
                      <a:pt x="12318" y="18643"/>
                    </a:lnTo>
                    <a:lnTo>
                      <a:pt x="11876" y="18643"/>
                    </a:lnTo>
                    <a:lnTo>
                      <a:pt x="11828" y="19135"/>
                    </a:lnTo>
                    <a:lnTo>
                      <a:pt x="11577" y="19977"/>
                    </a:lnTo>
                    <a:lnTo>
                      <a:pt x="11195" y="19368"/>
                    </a:lnTo>
                    <a:lnTo>
                      <a:pt x="11517" y="19135"/>
                    </a:lnTo>
                    <a:lnTo>
                      <a:pt x="10394" y="18784"/>
                    </a:lnTo>
                    <a:lnTo>
                      <a:pt x="9904" y="18409"/>
                    </a:lnTo>
                    <a:lnTo>
                      <a:pt x="10096" y="17544"/>
                    </a:lnTo>
                    <a:lnTo>
                      <a:pt x="9606" y="17544"/>
                    </a:lnTo>
                    <a:lnTo>
                      <a:pt x="9606" y="16819"/>
                    </a:lnTo>
                    <a:lnTo>
                      <a:pt x="9283" y="16585"/>
                    </a:lnTo>
                    <a:lnTo>
                      <a:pt x="8172" y="16491"/>
                    </a:lnTo>
                    <a:lnTo>
                      <a:pt x="7491" y="15860"/>
                    </a:lnTo>
                    <a:lnTo>
                      <a:pt x="7121" y="15626"/>
                    </a:lnTo>
                    <a:lnTo>
                      <a:pt x="7121" y="15018"/>
                    </a:lnTo>
                    <a:lnTo>
                      <a:pt x="7312" y="14292"/>
                    </a:lnTo>
                    <a:lnTo>
                      <a:pt x="7312" y="13567"/>
                    </a:lnTo>
                    <a:lnTo>
                      <a:pt x="7431" y="12351"/>
                    </a:lnTo>
                    <a:lnTo>
                      <a:pt x="7312" y="12094"/>
                    </a:lnTo>
                    <a:lnTo>
                      <a:pt x="7180" y="12351"/>
                    </a:lnTo>
                    <a:lnTo>
                      <a:pt x="6189" y="13099"/>
                    </a:lnTo>
                    <a:lnTo>
                      <a:pt x="5508" y="13333"/>
                    </a:lnTo>
                    <a:lnTo>
                      <a:pt x="5209" y="14292"/>
                    </a:lnTo>
                    <a:lnTo>
                      <a:pt x="5209" y="16117"/>
                    </a:lnTo>
                    <a:lnTo>
                      <a:pt x="5209" y="17544"/>
                    </a:lnTo>
                    <a:lnTo>
                      <a:pt x="5209" y="19135"/>
                    </a:lnTo>
                    <a:lnTo>
                      <a:pt x="4576" y="18784"/>
                    </a:lnTo>
                    <a:lnTo>
                      <a:pt x="4277" y="18409"/>
                    </a:lnTo>
                    <a:lnTo>
                      <a:pt x="3787" y="18175"/>
                    </a:lnTo>
                    <a:lnTo>
                      <a:pt x="3524" y="19018"/>
                    </a:lnTo>
                    <a:lnTo>
                      <a:pt x="3787" y="19743"/>
                    </a:lnTo>
                    <a:lnTo>
                      <a:pt x="3524" y="19018"/>
                    </a:lnTo>
                    <a:lnTo>
                      <a:pt x="3524" y="18035"/>
                    </a:lnTo>
                    <a:lnTo>
                      <a:pt x="3524" y="17544"/>
                    </a:lnTo>
                    <a:lnTo>
                      <a:pt x="3226" y="17450"/>
                    </a:lnTo>
                    <a:lnTo>
                      <a:pt x="2915" y="17450"/>
                    </a:lnTo>
                    <a:lnTo>
                      <a:pt x="2473" y="15860"/>
                    </a:lnTo>
                    <a:lnTo>
                      <a:pt x="2234" y="15485"/>
                    </a:lnTo>
                    <a:lnTo>
                      <a:pt x="2473" y="15485"/>
                    </a:lnTo>
                    <a:lnTo>
                      <a:pt x="2796" y="15485"/>
                    </a:lnTo>
                    <a:lnTo>
                      <a:pt x="2473" y="14901"/>
                    </a:lnTo>
                    <a:lnTo>
                      <a:pt x="2724" y="14526"/>
                    </a:lnTo>
                    <a:lnTo>
                      <a:pt x="3716" y="14292"/>
                    </a:lnTo>
                    <a:lnTo>
                      <a:pt x="3405" y="13918"/>
                    </a:lnTo>
                    <a:lnTo>
                      <a:pt x="3405" y="12094"/>
                    </a:lnTo>
                    <a:lnTo>
                      <a:pt x="2915" y="12351"/>
                    </a:lnTo>
                    <a:lnTo>
                      <a:pt x="2724" y="12000"/>
                    </a:lnTo>
                    <a:lnTo>
                      <a:pt x="2234" y="12094"/>
                    </a:lnTo>
                    <a:lnTo>
                      <a:pt x="1983" y="12468"/>
                    </a:lnTo>
                    <a:lnTo>
                      <a:pt x="1613" y="12959"/>
                    </a:lnTo>
                    <a:lnTo>
                      <a:pt x="1123" y="12959"/>
                    </a:lnTo>
                    <a:lnTo>
                      <a:pt x="502" y="9567"/>
                    </a:lnTo>
                    <a:lnTo>
                      <a:pt x="0" y="9567"/>
                    </a:lnTo>
                    <a:lnTo>
                      <a:pt x="621" y="6058"/>
                    </a:lnTo>
                    <a:lnTo>
                      <a:pt x="1673" y="5684"/>
                    </a:lnTo>
                    <a:lnTo>
                      <a:pt x="2915" y="6316"/>
                    </a:lnTo>
                    <a:lnTo>
                      <a:pt x="6189" y="7018"/>
                    </a:lnTo>
                    <a:lnTo>
                      <a:pt x="5818" y="5310"/>
                    </a:lnTo>
                    <a:lnTo>
                      <a:pt x="6189" y="1333"/>
                    </a:lnTo>
                    <a:lnTo>
                      <a:pt x="8411" y="608"/>
                    </a:lnTo>
                    <a:lnTo>
                      <a:pt x="9904" y="725"/>
                    </a:lnTo>
                    <a:lnTo>
                      <a:pt x="11326" y="0"/>
                    </a:lnTo>
                    <a:lnTo>
                      <a:pt x="12378" y="1825"/>
                    </a:lnTo>
                    <a:lnTo>
                      <a:pt x="13978" y="1333"/>
                    </a:lnTo>
                    <a:lnTo>
                      <a:pt x="15711" y="3509"/>
                    </a:lnTo>
                    <a:lnTo>
                      <a:pt x="16762" y="5684"/>
                    </a:lnTo>
                    <a:lnTo>
                      <a:pt x="18184" y="6058"/>
                    </a:lnTo>
                    <a:lnTo>
                      <a:pt x="19116" y="6901"/>
                    </a:lnTo>
                    <a:lnTo>
                      <a:pt x="19988" y="72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3" name="Freeform 146"/>
              <p:cNvSpPr>
                <a:spLocks/>
              </p:cNvSpPr>
              <p:nvPr/>
            </p:nvSpPr>
            <p:spPr bwMode="auto">
              <a:xfrm>
                <a:off x="6873875" y="3100388"/>
                <a:ext cx="266700" cy="141287"/>
              </a:xfrm>
              <a:custGeom>
                <a:avLst/>
                <a:gdLst>
                  <a:gd name="T0" fmla="*/ 19952 w 20000"/>
                  <a:gd name="T1" fmla="*/ 5471 h 20000"/>
                  <a:gd name="T2" fmla="*/ 16762 w 20000"/>
                  <a:gd name="T3" fmla="*/ 8789 h 20000"/>
                  <a:gd name="T4" fmla="*/ 16000 w 20000"/>
                  <a:gd name="T5" fmla="*/ 11121 h 20000"/>
                  <a:gd name="T6" fmla="*/ 13524 w 20000"/>
                  <a:gd name="T7" fmla="*/ 11570 h 20000"/>
                  <a:gd name="T8" fmla="*/ 13333 w 20000"/>
                  <a:gd name="T9" fmla="*/ 13901 h 20000"/>
                  <a:gd name="T10" fmla="*/ 11571 w 20000"/>
                  <a:gd name="T11" fmla="*/ 14798 h 20000"/>
                  <a:gd name="T12" fmla="*/ 11095 w 20000"/>
                  <a:gd name="T13" fmla="*/ 13901 h 20000"/>
                  <a:gd name="T14" fmla="*/ 10095 w 20000"/>
                  <a:gd name="T15" fmla="*/ 14798 h 20000"/>
                  <a:gd name="T16" fmla="*/ 8095 w 20000"/>
                  <a:gd name="T17" fmla="*/ 17130 h 20000"/>
                  <a:gd name="T18" fmla="*/ 8381 w 20000"/>
                  <a:gd name="T19" fmla="*/ 19910 h 20000"/>
                  <a:gd name="T20" fmla="*/ 7619 w 20000"/>
                  <a:gd name="T21" fmla="*/ 19910 h 20000"/>
                  <a:gd name="T22" fmla="*/ 1238 w 20000"/>
                  <a:gd name="T23" fmla="*/ 16233 h 20000"/>
                  <a:gd name="T24" fmla="*/ 2952 w 20000"/>
                  <a:gd name="T25" fmla="*/ 16233 h 20000"/>
                  <a:gd name="T26" fmla="*/ 3714 w 20000"/>
                  <a:gd name="T27" fmla="*/ 14798 h 20000"/>
                  <a:gd name="T28" fmla="*/ 5667 w 20000"/>
                  <a:gd name="T29" fmla="*/ 11570 h 20000"/>
                  <a:gd name="T30" fmla="*/ 4381 w 20000"/>
                  <a:gd name="T31" fmla="*/ 11570 h 20000"/>
                  <a:gd name="T32" fmla="*/ 1952 w 20000"/>
                  <a:gd name="T33" fmla="*/ 9686 h 20000"/>
                  <a:gd name="T34" fmla="*/ 0 w 20000"/>
                  <a:gd name="T35" fmla="*/ 9686 h 20000"/>
                  <a:gd name="T36" fmla="*/ 1238 w 20000"/>
                  <a:gd name="T37" fmla="*/ 5471 h 20000"/>
                  <a:gd name="T38" fmla="*/ 6905 w 20000"/>
                  <a:gd name="T39" fmla="*/ 0 h 20000"/>
                  <a:gd name="T40" fmla="*/ 9619 w 20000"/>
                  <a:gd name="T41" fmla="*/ 359 h 20000"/>
                  <a:gd name="T42" fmla="*/ 9619 w 20000"/>
                  <a:gd name="T43" fmla="*/ 1794 h 20000"/>
                  <a:gd name="T44" fmla="*/ 18476 w 20000"/>
                  <a:gd name="T45" fmla="*/ 3677 h 20000"/>
                  <a:gd name="T46" fmla="*/ 18476 w 20000"/>
                  <a:gd name="T47" fmla="*/ 5112 h 20000"/>
                  <a:gd name="T48" fmla="*/ 19952 w 20000"/>
                  <a:gd name="T49" fmla="*/ 547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19952" y="5471"/>
                    </a:moveTo>
                    <a:lnTo>
                      <a:pt x="16762" y="8789"/>
                    </a:lnTo>
                    <a:lnTo>
                      <a:pt x="16000" y="11121"/>
                    </a:lnTo>
                    <a:lnTo>
                      <a:pt x="13524" y="11570"/>
                    </a:lnTo>
                    <a:lnTo>
                      <a:pt x="13333" y="13901"/>
                    </a:lnTo>
                    <a:lnTo>
                      <a:pt x="11571" y="14798"/>
                    </a:lnTo>
                    <a:lnTo>
                      <a:pt x="11095" y="13901"/>
                    </a:lnTo>
                    <a:lnTo>
                      <a:pt x="10095" y="14798"/>
                    </a:lnTo>
                    <a:lnTo>
                      <a:pt x="8095" y="17130"/>
                    </a:lnTo>
                    <a:lnTo>
                      <a:pt x="8381" y="19910"/>
                    </a:lnTo>
                    <a:lnTo>
                      <a:pt x="7619" y="19910"/>
                    </a:lnTo>
                    <a:lnTo>
                      <a:pt x="1238" y="16233"/>
                    </a:lnTo>
                    <a:lnTo>
                      <a:pt x="2952" y="16233"/>
                    </a:lnTo>
                    <a:lnTo>
                      <a:pt x="3714" y="14798"/>
                    </a:lnTo>
                    <a:lnTo>
                      <a:pt x="5667" y="11570"/>
                    </a:lnTo>
                    <a:lnTo>
                      <a:pt x="4381" y="11570"/>
                    </a:lnTo>
                    <a:lnTo>
                      <a:pt x="1952" y="9686"/>
                    </a:lnTo>
                    <a:lnTo>
                      <a:pt x="0" y="9686"/>
                    </a:lnTo>
                    <a:lnTo>
                      <a:pt x="1238" y="5471"/>
                    </a:lnTo>
                    <a:lnTo>
                      <a:pt x="6905" y="0"/>
                    </a:lnTo>
                    <a:lnTo>
                      <a:pt x="9619" y="359"/>
                    </a:lnTo>
                    <a:lnTo>
                      <a:pt x="9619" y="1794"/>
                    </a:lnTo>
                    <a:lnTo>
                      <a:pt x="18476" y="3677"/>
                    </a:lnTo>
                    <a:lnTo>
                      <a:pt x="18476" y="5112"/>
                    </a:lnTo>
                    <a:lnTo>
                      <a:pt x="19952" y="547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4" name="Freeform 145"/>
              <p:cNvSpPr>
                <a:spLocks/>
              </p:cNvSpPr>
              <p:nvPr/>
            </p:nvSpPr>
            <p:spPr bwMode="auto">
              <a:xfrm>
                <a:off x="6477000" y="3019425"/>
                <a:ext cx="474663" cy="309563"/>
              </a:xfrm>
              <a:custGeom>
                <a:avLst/>
                <a:gdLst>
                  <a:gd name="T0" fmla="*/ 12477 w 20000"/>
                  <a:gd name="T1" fmla="*/ 19548 h 20000"/>
                  <a:gd name="T2" fmla="*/ 12477 w 20000"/>
                  <a:gd name="T3" fmla="*/ 17823 h 20000"/>
                  <a:gd name="T4" fmla="*/ 8461 w 20000"/>
                  <a:gd name="T5" fmla="*/ 14251 h 20000"/>
                  <a:gd name="T6" fmla="*/ 7604 w 20000"/>
                  <a:gd name="T7" fmla="*/ 13347 h 20000"/>
                  <a:gd name="T8" fmla="*/ 6078 w 20000"/>
                  <a:gd name="T9" fmla="*/ 11663 h 20000"/>
                  <a:gd name="T10" fmla="*/ 5408 w 20000"/>
                  <a:gd name="T11" fmla="*/ 9733 h 20000"/>
                  <a:gd name="T12" fmla="*/ 3722 w 20000"/>
                  <a:gd name="T13" fmla="*/ 8706 h 20000"/>
                  <a:gd name="T14" fmla="*/ 2624 w 20000"/>
                  <a:gd name="T15" fmla="*/ 7023 h 20000"/>
                  <a:gd name="T16" fmla="*/ 2490 w 20000"/>
                  <a:gd name="T17" fmla="*/ 4846 h 20000"/>
                  <a:gd name="T18" fmla="*/ 1526 w 20000"/>
                  <a:gd name="T19" fmla="*/ 7023 h 20000"/>
                  <a:gd name="T20" fmla="*/ 696 w 20000"/>
                  <a:gd name="T21" fmla="*/ 10390 h 20000"/>
                  <a:gd name="T22" fmla="*/ 0 w 20000"/>
                  <a:gd name="T23" fmla="*/ 7844 h 20000"/>
                  <a:gd name="T24" fmla="*/ 0 w 20000"/>
                  <a:gd name="T25" fmla="*/ 2094 h 20000"/>
                  <a:gd name="T26" fmla="*/ 2222 w 20000"/>
                  <a:gd name="T27" fmla="*/ 0 h 20000"/>
                  <a:gd name="T28" fmla="*/ 2490 w 20000"/>
                  <a:gd name="T29" fmla="*/ 4230 h 20000"/>
                  <a:gd name="T30" fmla="*/ 3588 w 20000"/>
                  <a:gd name="T31" fmla="*/ 4846 h 20000"/>
                  <a:gd name="T32" fmla="*/ 5141 w 20000"/>
                  <a:gd name="T33" fmla="*/ 4846 h 20000"/>
                  <a:gd name="T34" fmla="*/ 9130 w 20000"/>
                  <a:gd name="T35" fmla="*/ 6119 h 20000"/>
                  <a:gd name="T36" fmla="*/ 9853 w 20000"/>
                  <a:gd name="T37" fmla="*/ 7844 h 20000"/>
                  <a:gd name="T38" fmla="*/ 10549 w 20000"/>
                  <a:gd name="T39" fmla="*/ 9322 h 20000"/>
                  <a:gd name="T40" fmla="*/ 14137 w 20000"/>
                  <a:gd name="T41" fmla="*/ 10637 h 20000"/>
                  <a:gd name="T42" fmla="*/ 14270 w 20000"/>
                  <a:gd name="T43" fmla="*/ 12074 h 20000"/>
                  <a:gd name="T44" fmla="*/ 14967 w 20000"/>
                  <a:gd name="T45" fmla="*/ 9733 h 20000"/>
                  <a:gd name="T46" fmla="*/ 17456 w 20000"/>
                  <a:gd name="T47" fmla="*/ 7844 h 20000"/>
                  <a:gd name="T48" fmla="*/ 17885 w 20000"/>
                  <a:gd name="T49" fmla="*/ 9733 h 20000"/>
                  <a:gd name="T50" fmla="*/ 19973 w 20000"/>
                  <a:gd name="T51" fmla="*/ 10637 h 20000"/>
                  <a:gd name="T52" fmla="*/ 18447 w 20000"/>
                  <a:gd name="T53" fmla="*/ 12731 h 20000"/>
                  <a:gd name="T54" fmla="*/ 17456 w 20000"/>
                  <a:gd name="T55" fmla="*/ 11663 h 20000"/>
                  <a:gd name="T56" fmla="*/ 17189 w 20000"/>
                  <a:gd name="T57" fmla="*/ 10390 h 20000"/>
                  <a:gd name="T58" fmla="*/ 15930 w 20000"/>
                  <a:gd name="T59" fmla="*/ 13758 h 20000"/>
                  <a:gd name="T60" fmla="*/ 13842 w 20000"/>
                  <a:gd name="T61" fmla="*/ 14415 h 20000"/>
                  <a:gd name="T62" fmla="*/ 14270 w 20000"/>
                  <a:gd name="T63" fmla="*/ 15483 h 20000"/>
                  <a:gd name="T64" fmla="*/ 14137 w 20000"/>
                  <a:gd name="T65" fmla="*/ 1782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3440" y="19959"/>
                    </a:moveTo>
                    <a:lnTo>
                      <a:pt x="12477" y="19548"/>
                    </a:lnTo>
                    <a:lnTo>
                      <a:pt x="12744" y="18686"/>
                    </a:lnTo>
                    <a:lnTo>
                      <a:pt x="12477" y="17823"/>
                    </a:lnTo>
                    <a:lnTo>
                      <a:pt x="11647" y="17823"/>
                    </a:lnTo>
                    <a:lnTo>
                      <a:pt x="8461" y="14251"/>
                    </a:lnTo>
                    <a:lnTo>
                      <a:pt x="8032" y="14415"/>
                    </a:lnTo>
                    <a:lnTo>
                      <a:pt x="7604" y="13347"/>
                    </a:lnTo>
                    <a:lnTo>
                      <a:pt x="6667" y="11458"/>
                    </a:lnTo>
                    <a:lnTo>
                      <a:pt x="6078" y="11663"/>
                    </a:lnTo>
                    <a:lnTo>
                      <a:pt x="5542" y="11663"/>
                    </a:lnTo>
                    <a:lnTo>
                      <a:pt x="5408" y="9733"/>
                    </a:lnTo>
                    <a:lnTo>
                      <a:pt x="4980" y="9322"/>
                    </a:lnTo>
                    <a:lnTo>
                      <a:pt x="3722" y="8706"/>
                    </a:lnTo>
                    <a:lnTo>
                      <a:pt x="3588" y="7023"/>
                    </a:lnTo>
                    <a:lnTo>
                      <a:pt x="2624" y="7023"/>
                    </a:lnTo>
                    <a:lnTo>
                      <a:pt x="2490" y="5955"/>
                    </a:lnTo>
                    <a:lnTo>
                      <a:pt x="2490" y="4846"/>
                    </a:lnTo>
                    <a:lnTo>
                      <a:pt x="1794" y="5955"/>
                    </a:lnTo>
                    <a:lnTo>
                      <a:pt x="1526" y="7023"/>
                    </a:lnTo>
                    <a:lnTo>
                      <a:pt x="2062" y="9979"/>
                    </a:lnTo>
                    <a:lnTo>
                      <a:pt x="696" y="10390"/>
                    </a:lnTo>
                    <a:lnTo>
                      <a:pt x="0" y="10637"/>
                    </a:lnTo>
                    <a:lnTo>
                      <a:pt x="0" y="7844"/>
                    </a:lnTo>
                    <a:lnTo>
                      <a:pt x="0" y="5298"/>
                    </a:lnTo>
                    <a:lnTo>
                      <a:pt x="0" y="2094"/>
                    </a:lnTo>
                    <a:lnTo>
                      <a:pt x="696" y="411"/>
                    </a:lnTo>
                    <a:lnTo>
                      <a:pt x="2222" y="0"/>
                    </a:lnTo>
                    <a:lnTo>
                      <a:pt x="1794" y="4435"/>
                    </a:lnTo>
                    <a:lnTo>
                      <a:pt x="2490" y="4230"/>
                    </a:lnTo>
                    <a:lnTo>
                      <a:pt x="2892" y="4846"/>
                    </a:lnTo>
                    <a:lnTo>
                      <a:pt x="3588" y="4846"/>
                    </a:lnTo>
                    <a:lnTo>
                      <a:pt x="4311" y="4435"/>
                    </a:lnTo>
                    <a:lnTo>
                      <a:pt x="5141" y="4846"/>
                    </a:lnTo>
                    <a:lnTo>
                      <a:pt x="6667" y="5955"/>
                    </a:lnTo>
                    <a:lnTo>
                      <a:pt x="9130" y="6119"/>
                    </a:lnTo>
                    <a:lnTo>
                      <a:pt x="9853" y="6530"/>
                    </a:lnTo>
                    <a:lnTo>
                      <a:pt x="9853" y="7844"/>
                    </a:lnTo>
                    <a:lnTo>
                      <a:pt x="10950" y="7844"/>
                    </a:lnTo>
                    <a:lnTo>
                      <a:pt x="10549" y="9322"/>
                    </a:lnTo>
                    <a:lnTo>
                      <a:pt x="11647" y="9979"/>
                    </a:lnTo>
                    <a:lnTo>
                      <a:pt x="14137" y="10637"/>
                    </a:lnTo>
                    <a:lnTo>
                      <a:pt x="13440" y="11047"/>
                    </a:lnTo>
                    <a:lnTo>
                      <a:pt x="14270" y="12074"/>
                    </a:lnTo>
                    <a:lnTo>
                      <a:pt x="14833" y="10637"/>
                    </a:lnTo>
                    <a:lnTo>
                      <a:pt x="14967" y="9733"/>
                    </a:lnTo>
                    <a:lnTo>
                      <a:pt x="15930" y="9733"/>
                    </a:lnTo>
                    <a:lnTo>
                      <a:pt x="17456" y="7844"/>
                    </a:lnTo>
                    <a:lnTo>
                      <a:pt x="16787" y="9733"/>
                    </a:lnTo>
                    <a:lnTo>
                      <a:pt x="17885" y="9733"/>
                    </a:lnTo>
                    <a:lnTo>
                      <a:pt x="19250" y="10637"/>
                    </a:lnTo>
                    <a:lnTo>
                      <a:pt x="19973" y="10637"/>
                    </a:lnTo>
                    <a:lnTo>
                      <a:pt x="18876" y="12074"/>
                    </a:lnTo>
                    <a:lnTo>
                      <a:pt x="18447" y="12731"/>
                    </a:lnTo>
                    <a:lnTo>
                      <a:pt x="17456" y="12731"/>
                    </a:lnTo>
                    <a:lnTo>
                      <a:pt x="17456" y="11663"/>
                    </a:lnTo>
                    <a:lnTo>
                      <a:pt x="17885" y="11047"/>
                    </a:lnTo>
                    <a:lnTo>
                      <a:pt x="17189" y="10390"/>
                    </a:lnTo>
                    <a:lnTo>
                      <a:pt x="16359" y="10637"/>
                    </a:lnTo>
                    <a:lnTo>
                      <a:pt x="15930" y="13758"/>
                    </a:lnTo>
                    <a:lnTo>
                      <a:pt x="14967" y="13758"/>
                    </a:lnTo>
                    <a:lnTo>
                      <a:pt x="13842" y="14415"/>
                    </a:lnTo>
                    <a:lnTo>
                      <a:pt x="13842" y="15072"/>
                    </a:lnTo>
                    <a:lnTo>
                      <a:pt x="14270" y="15483"/>
                    </a:lnTo>
                    <a:lnTo>
                      <a:pt x="14967" y="15483"/>
                    </a:lnTo>
                    <a:lnTo>
                      <a:pt x="14137" y="17823"/>
                    </a:lnTo>
                    <a:lnTo>
                      <a:pt x="13440" y="199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5" name="Freeform 144"/>
              <p:cNvSpPr>
                <a:spLocks/>
              </p:cNvSpPr>
              <p:nvPr/>
            </p:nvSpPr>
            <p:spPr bwMode="auto">
              <a:xfrm>
                <a:off x="6794500" y="3179763"/>
                <a:ext cx="234950" cy="165100"/>
              </a:xfrm>
              <a:custGeom>
                <a:avLst/>
                <a:gdLst>
                  <a:gd name="T0" fmla="*/ 15447 w 20000"/>
                  <a:gd name="T1" fmla="*/ 7538 h 20000"/>
                  <a:gd name="T2" fmla="*/ 16314 w 20000"/>
                  <a:gd name="T3" fmla="*/ 10692 h 20000"/>
                  <a:gd name="T4" fmla="*/ 17182 w 20000"/>
                  <a:gd name="T5" fmla="*/ 10692 h 20000"/>
                  <a:gd name="T6" fmla="*/ 18537 w 20000"/>
                  <a:gd name="T7" fmla="*/ 11615 h 20000"/>
                  <a:gd name="T8" fmla="*/ 19946 w 20000"/>
                  <a:gd name="T9" fmla="*/ 16000 h 20000"/>
                  <a:gd name="T10" fmla="*/ 19079 w 20000"/>
                  <a:gd name="T11" fmla="*/ 17154 h 20000"/>
                  <a:gd name="T12" fmla="*/ 18266 w 20000"/>
                  <a:gd name="T13" fmla="*/ 16769 h 20000"/>
                  <a:gd name="T14" fmla="*/ 17724 w 20000"/>
                  <a:gd name="T15" fmla="*/ 16769 h 20000"/>
                  <a:gd name="T16" fmla="*/ 16314 w 20000"/>
                  <a:gd name="T17" fmla="*/ 16000 h 20000"/>
                  <a:gd name="T18" fmla="*/ 14634 w 20000"/>
                  <a:gd name="T19" fmla="*/ 17154 h 20000"/>
                  <a:gd name="T20" fmla="*/ 13225 w 20000"/>
                  <a:gd name="T21" fmla="*/ 18692 h 20000"/>
                  <a:gd name="T22" fmla="*/ 11762 w 20000"/>
                  <a:gd name="T23" fmla="*/ 19923 h 20000"/>
                  <a:gd name="T24" fmla="*/ 11003 w 20000"/>
                  <a:gd name="T25" fmla="*/ 13923 h 20000"/>
                  <a:gd name="T26" fmla="*/ 10407 w 20000"/>
                  <a:gd name="T27" fmla="*/ 13538 h 20000"/>
                  <a:gd name="T28" fmla="*/ 8997 w 20000"/>
                  <a:gd name="T29" fmla="*/ 11923 h 20000"/>
                  <a:gd name="T30" fmla="*/ 8130 w 20000"/>
                  <a:gd name="T31" fmla="*/ 14769 h 20000"/>
                  <a:gd name="T32" fmla="*/ 8726 w 20000"/>
                  <a:gd name="T33" fmla="*/ 15538 h 20000"/>
                  <a:gd name="T34" fmla="*/ 6450 w 20000"/>
                  <a:gd name="T35" fmla="*/ 16769 h 20000"/>
                  <a:gd name="T36" fmla="*/ 5908 w 20000"/>
                  <a:gd name="T37" fmla="*/ 17923 h 20000"/>
                  <a:gd name="T38" fmla="*/ 5366 w 20000"/>
                  <a:gd name="T39" fmla="*/ 17154 h 20000"/>
                  <a:gd name="T40" fmla="*/ 3089 w 20000"/>
                  <a:gd name="T41" fmla="*/ 19154 h 20000"/>
                  <a:gd name="T42" fmla="*/ 0 w 20000"/>
                  <a:gd name="T43" fmla="*/ 17923 h 20000"/>
                  <a:gd name="T44" fmla="*/ 1463 w 20000"/>
                  <a:gd name="T45" fmla="*/ 13923 h 20000"/>
                  <a:gd name="T46" fmla="*/ 3089 w 20000"/>
                  <a:gd name="T47" fmla="*/ 9538 h 20000"/>
                  <a:gd name="T48" fmla="*/ 1680 w 20000"/>
                  <a:gd name="T49" fmla="*/ 9538 h 20000"/>
                  <a:gd name="T50" fmla="*/ 867 w 20000"/>
                  <a:gd name="T51" fmla="*/ 8769 h 20000"/>
                  <a:gd name="T52" fmla="*/ 867 w 20000"/>
                  <a:gd name="T53" fmla="*/ 7538 h 20000"/>
                  <a:gd name="T54" fmla="*/ 3089 w 20000"/>
                  <a:gd name="T55" fmla="*/ 6385 h 20000"/>
                  <a:gd name="T56" fmla="*/ 5095 w 20000"/>
                  <a:gd name="T57" fmla="*/ 6385 h 20000"/>
                  <a:gd name="T58" fmla="*/ 5908 w 20000"/>
                  <a:gd name="T59" fmla="*/ 462 h 20000"/>
                  <a:gd name="T60" fmla="*/ 7588 w 20000"/>
                  <a:gd name="T61" fmla="*/ 0 h 20000"/>
                  <a:gd name="T62" fmla="*/ 8997 w 20000"/>
                  <a:gd name="T63" fmla="*/ 1231 h 20000"/>
                  <a:gd name="T64" fmla="*/ 8130 w 20000"/>
                  <a:gd name="T65" fmla="*/ 2385 h 20000"/>
                  <a:gd name="T66" fmla="*/ 8130 w 20000"/>
                  <a:gd name="T67" fmla="*/ 4385 h 20000"/>
                  <a:gd name="T68" fmla="*/ 15447 w 20000"/>
                  <a:gd name="T69" fmla="*/ 753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5447" y="7538"/>
                    </a:moveTo>
                    <a:lnTo>
                      <a:pt x="16314" y="10692"/>
                    </a:lnTo>
                    <a:lnTo>
                      <a:pt x="17182" y="10692"/>
                    </a:lnTo>
                    <a:lnTo>
                      <a:pt x="18537" y="11615"/>
                    </a:lnTo>
                    <a:lnTo>
                      <a:pt x="19946" y="16000"/>
                    </a:lnTo>
                    <a:lnTo>
                      <a:pt x="19079" y="17154"/>
                    </a:lnTo>
                    <a:lnTo>
                      <a:pt x="18266" y="16769"/>
                    </a:lnTo>
                    <a:lnTo>
                      <a:pt x="17724" y="16769"/>
                    </a:lnTo>
                    <a:lnTo>
                      <a:pt x="16314" y="16000"/>
                    </a:lnTo>
                    <a:lnTo>
                      <a:pt x="14634" y="17154"/>
                    </a:lnTo>
                    <a:lnTo>
                      <a:pt x="13225" y="18692"/>
                    </a:lnTo>
                    <a:lnTo>
                      <a:pt x="11762" y="19923"/>
                    </a:lnTo>
                    <a:lnTo>
                      <a:pt x="11003" y="13923"/>
                    </a:lnTo>
                    <a:lnTo>
                      <a:pt x="10407" y="13538"/>
                    </a:lnTo>
                    <a:lnTo>
                      <a:pt x="8997" y="11923"/>
                    </a:lnTo>
                    <a:lnTo>
                      <a:pt x="8130" y="14769"/>
                    </a:lnTo>
                    <a:lnTo>
                      <a:pt x="8726" y="15538"/>
                    </a:lnTo>
                    <a:lnTo>
                      <a:pt x="6450" y="16769"/>
                    </a:lnTo>
                    <a:lnTo>
                      <a:pt x="5908" y="17923"/>
                    </a:lnTo>
                    <a:lnTo>
                      <a:pt x="5366" y="17154"/>
                    </a:lnTo>
                    <a:lnTo>
                      <a:pt x="3089" y="19154"/>
                    </a:lnTo>
                    <a:lnTo>
                      <a:pt x="0" y="17923"/>
                    </a:lnTo>
                    <a:lnTo>
                      <a:pt x="1463" y="13923"/>
                    </a:lnTo>
                    <a:lnTo>
                      <a:pt x="3089" y="9538"/>
                    </a:lnTo>
                    <a:lnTo>
                      <a:pt x="1680" y="9538"/>
                    </a:lnTo>
                    <a:lnTo>
                      <a:pt x="867" y="8769"/>
                    </a:lnTo>
                    <a:lnTo>
                      <a:pt x="867" y="7538"/>
                    </a:lnTo>
                    <a:lnTo>
                      <a:pt x="3089" y="6385"/>
                    </a:lnTo>
                    <a:lnTo>
                      <a:pt x="5095" y="6385"/>
                    </a:lnTo>
                    <a:lnTo>
                      <a:pt x="5908" y="462"/>
                    </a:lnTo>
                    <a:lnTo>
                      <a:pt x="7588" y="0"/>
                    </a:lnTo>
                    <a:lnTo>
                      <a:pt x="8997" y="1231"/>
                    </a:lnTo>
                    <a:lnTo>
                      <a:pt x="8130" y="2385"/>
                    </a:lnTo>
                    <a:lnTo>
                      <a:pt x="8130" y="4385"/>
                    </a:lnTo>
                    <a:lnTo>
                      <a:pt x="15447" y="753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6" name="Freeform 143"/>
              <p:cNvSpPr>
                <a:spLocks/>
              </p:cNvSpPr>
              <p:nvPr/>
            </p:nvSpPr>
            <p:spPr bwMode="auto">
              <a:xfrm>
                <a:off x="6386513" y="3094038"/>
                <a:ext cx="392112" cy="309562"/>
              </a:xfrm>
              <a:custGeom>
                <a:avLst/>
                <a:gdLst>
                  <a:gd name="T0" fmla="*/ 6375 w 20000"/>
                  <a:gd name="T1" fmla="*/ 2131 h 20000"/>
                  <a:gd name="T2" fmla="*/ 6699 w 20000"/>
                  <a:gd name="T3" fmla="*/ 1107 h 20000"/>
                  <a:gd name="T4" fmla="*/ 7540 w 20000"/>
                  <a:gd name="T5" fmla="*/ 0 h 20000"/>
                  <a:gd name="T6" fmla="*/ 7540 w 20000"/>
                  <a:gd name="T7" fmla="*/ 1107 h 20000"/>
                  <a:gd name="T8" fmla="*/ 7735 w 20000"/>
                  <a:gd name="T9" fmla="*/ 2131 h 20000"/>
                  <a:gd name="T10" fmla="*/ 8867 w 20000"/>
                  <a:gd name="T11" fmla="*/ 2131 h 20000"/>
                  <a:gd name="T12" fmla="*/ 9061 w 20000"/>
                  <a:gd name="T13" fmla="*/ 3852 h 20000"/>
                  <a:gd name="T14" fmla="*/ 11068 w 20000"/>
                  <a:gd name="T15" fmla="*/ 4877 h 20000"/>
                  <a:gd name="T16" fmla="*/ 11262 w 20000"/>
                  <a:gd name="T17" fmla="*/ 6803 h 20000"/>
                  <a:gd name="T18" fmla="*/ 11909 w 20000"/>
                  <a:gd name="T19" fmla="*/ 6803 h 20000"/>
                  <a:gd name="T20" fmla="*/ 12589 w 20000"/>
                  <a:gd name="T21" fmla="*/ 6557 h 20000"/>
                  <a:gd name="T22" fmla="*/ 13754 w 20000"/>
                  <a:gd name="T23" fmla="*/ 8279 h 20000"/>
                  <a:gd name="T24" fmla="*/ 14272 w 20000"/>
                  <a:gd name="T25" fmla="*/ 9344 h 20000"/>
                  <a:gd name="T26" fmla="*/ 14757 w 20000"/>
                  <a:gd name="T27" fmla="*/ 9344 h 20000"/>
                  <a:gd name="T28" fmla="*/ 17799 w 20000"/>
                  <a:gd name="T29" fmla="*/ 11885 h 20000"/>
                  <a:gd name="T30" fmla="*/ 18641 w 20000"/>
                  <a:gd name="T31" fmla="*/ 12910 h 20000"/>
                  <a:gd name="T32" fmla="*/ 19644 w 20000"/>
                  <a:gd name="T33" fmla="*/ 12910 h 20000"/>
                  <a:gd name="T34" fmla="*/ 19968 w 20000"/>
                  <a:gd name="T35" fmla="*/ 13770 h 20000"/>
                  <a:gd name="T36" fmla="*/ 19644 w 20000"/>
                  <a:gd name="T37" fmla="*/ 14672 h 20000"/>
                  <a:gd name="T38" fmla="*/ 18641 w 20000"/>
                  <a:gd name="T39" fmla="*/ 15082 h 20000"/>
                  <a:gd name="T40" fmla="*/ 18641 w 20000"/>
                  <a:gd name="T41" fmla="*/ 16762 h 20000"/>
                  <a:gd name="T42" fmla="*/ 16472 w 20000"/>
                  <a:gd name="T43" fmla="*/ 18279 h 20000"/>
                  <a:gd name="T44" fmla="*/ 16796 w 20000"/>
                  <a:gd name="T45" fmla="*/ 18443 h 20000"/>
                  <a:gd name="T46" fmla="*/ 15437 w 20000"/>
                  <a:gd name="T47" fmla="*/ 19959 h 20000"/>
                  <a:gd name="T48" fmla="*/ 15437 w 20000"/>
                  <a:gd name="T49" fmla="*/ 19098 h 20000"/>
                  <a:gd name="T50" fmla="*/ 13754 w 20000"/>
                  <a:gd name="T51" fmla="*/ 18443 h 20000"/>
                  <a:gd name="T52" fmla="*/ 13430 w 20000"/>
                  <a:gd name="T53" fmla="*/ 16352 h 20000"/>
                  <a:gd name="T54" fmla="*/ 9903 w 20000"/>
                  <a:gd name="T55" fmla="*/ 14426 h 20000"/>
                  <a:gd name="T56" fmla="*/ 8058 w 20000"/>
                  <a:gd name="T57" fmla="*/ 13770 h 20000"/>
                  <a:gd name="T58" fmla="*/ 7735 w 20000"/>
                  <a:gd name="T59" fmla="*/ 12910 h 20000"/>
                  <a:gd name="T60" fmla="*/ 6375 w 20000"/>
                  <a:gd name="T61" fmla="*/ 13361 h 20000"/>
                  <a:gd name="T62" fmla="*/ 5372 w 20000"/>
                  <a:gd name="T63" fmla="*/ 13361 h 20000"/>
                  <a:gd name="T64" fmla="*/ 4563 w 20000"/>
                  <a:gd name="T65" fmla="*/ 15082 h 20000"/>
                  <a:gd name="T66" fmla="*/ 3204 w 20000"/>
                  <a:gd name="T67" fmla="*/ 15492 h 20000"/>
                  <a:gd name="T68" fmla="*/ 2848 w 20000"/>
                  <a:gd name="T69" fmla="*/ 11885 h 20000"/>
                  <a:gd name="T70" fmla="*/ 1521 w 20000"/>
                  <a:gd name="T71" fmla="*/ 11066 h 20000"/>
                  <a:gd name="T72" fmla="*/ 1521 w 20000"/>
                  <a:gd name="T73" fmla="*/ 10164 h 20000"/>
                  <a:gd name="T74" fmla="*/ 2362 w 20000"/>
                  <a:gd name="T75" fmla="*/ 10164 h 20000"/>
                  <a:gd name="T76" fmla="*/ 1845 w 20000"/>
                  <a:gd name="T77" fmla="*/ 9549 h 20000"/>
                  <a:gd name="T78" fmla="*/ 1003 w 20000"/>
                  <a:gd name="T79" fmla="*/ 9959 h 20000"/>
                  <a:gd name="T80" fmla="*/ 680 w 20000"/>
                  <a:gd name="T81" fmla="*/ 7459 h 20000"/>
                  <a:gd name="T82" fmla="*/ 1003 w 20000"/>
                  <a:gd name="T83" fmla="*/ 7459 h 20000"/>
                  <a:gd name="T84" fmla="*/ 1845 w 20000"/>
                  <a:gd name="T85" fmla="*/ 7459 h 20000"/>
                  <a:gd name="T86" fmla="*/ 2848 w 20000"/>
                  <a:gd name="T87" fmla="*/ 7869 h 20000"/>
                  <a:gd name="T88" fmla="*/ 3204 w 20000"/>
                  <a:gd name="T89" fmla="*/ 7459 h 20000"/>
                  <a:gd name="T90" fmla="*/ 3204 w 20000"/>
                  <a:gd name="T91" fmla="*/ 6803 h 20000"/>
                  <a:gd name="T92" fmla="*/ 2362 w 20000"/>
                  <a:gd name="T93" fmla="*/ 6148 h 20000"/>
                  <a:gd name="T94" fmla="*/ 1845 w 20000"/>
                  <a:gd name="T95" fmla="*/ 4877 h 20000"/>
                  <a:gd name="T96" fmla="*/ 1003 w 20000"/>
                  <a:gd name="T97" fmla="*/ 4467 h 20000"/>
                  <a:gd name="T98" fmla="*/ 518 w 20000"/>
                  <a:gd name="T99" fmla="*/ 5533 h 20000"/>
                  <a:gd name="T100" fmla="*/ 680 w 20000"/>
                  <a:gd name="T101" fmla="*/ 6803 h 20000"/>
                  <a:gd name="T102" fmla="*/ 0 w 20000"/>
                  <a:gd name="T103" fmla="*/ 5533 h 20000"/>
                  <a:gd name="T104" fmla="*/ 680 w 20000"/>
                  <a:gd name="T105" fmla="*/ 4057 h 20000"/>
                  <a:gd name="T106" fmla="*/ 2006 w 20000"/>
                  <a:gd name="T107" fmla="*/ 4467 h 20000"/>
                  <a:gd name="T108" fmla="*/ 2848 w 20000"/>
                  <a:gd name="T109" fmla="*/ 5123 h 20000"/>
                  <a:gd name="T110" fmla="*/ 4563 w 20000"/>
                  <a:gd name="T111" fmla="*/ 5738 h 20000"/>
                  <a:gd name="T112" fmla="*/ 5372 w 20000"/>
                  <a:gd name="T113" fmla="*/ 5533 h 20000"/>
                  <a:gd name="T114" fmla="*/ 7055 w 20000"/>
                  <a:gd name="T115" fmla="*/ 5123 h 20000"/>
                  <a:gd name="T116" fmla="*/ 6375 w 20000"/>
                  <a:gd name="T117" fmla="*/ 21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6375" y="2131"/>
                    </a:moveTo>
                    <a:lnTo>
                      <a:pt x="6699" y="1107"/>
                    </a:lnTo>
                    <a:lnTo>
                      <a:pt x="7540" y="0"/>
                    </a:lnTo>
                    <a:lnTo>
                      <a:pt x="7540" y="1107"/>
                    </a:lnTo>
                    <a:lnTo>
                      <a:pt x="7735" y="2131"/>
                    </a:lnTo>
                    <a:lnTo>
                      <a:pt x="8867" y="2131"/>
                    </a:lnTo>
                    <a:lnTo>
                      <a:pt x="9061" y="3852"/>
                    </a:lnTo>
                    <a:lnTo>
                      <a:pt x="11068" y="4877"/>
                    </a:lnTo>
                    <a:lnTo>
                      <a:pt x="11262" y="6803"/>
                    </a:lnTo>
                    <a:lnTo>
                      <a:pt x="11909" y="6803"/>
                    </a:lnTo>
                    <a:lnTo>
                      <a:pt x="12589" y="6557"/>
                    </a:lnTo>
                    <a:lnTo>
                      <a:pt x="13754" y="8279"/>
                    </a:lnTo>
                    <a:lnTo>
                      <a:pt x="14272" y="9344"/>
                    </a:lnTo>
                    <a:lnTo>
                      <a:pt x="14757" y="9344"/>
                    </a:lnTo>
                    <a:lnTo>
                      <a:pt x="17799" y="11885"/>
                    </a:lnTo>
                    <a:lnTo>
                      <a:pt x="18641" y="12910"/>
                    </a:lnTo>
                    <a:lnTo>
                      <a:pt x="19644" y="12910"/>
                    </a:lnTo>
                    <a:lnTo>
                      <a:pt x="19968" y="13770"/>
                    </a:lnTo>
                    <a:lnTo>
                      <a:pt x="19644" y="14672"/>
                    </a:lnTo>
                    <a:lnTo>
                      <a:pt x="18641" y="15082"/>
                    </a:lnTo>
                    <a:lnTo>
                      <a:pt x="18641" y="16762"/>
                    </a:lnTo>
                    <a:lnTo>
                      <a:pt x="16472" y="18279"/>
                    </a:lnTo>
                    <a:lnTo>
                      <a:pt x="16796" y="18443"/>
                    </a:lnTo>
                    <a:lnTo>
                      <a:pt x="15437" y="19959"/>
                    </a:lnTo>
                    <a:lnTo>
                      <a:pt x="15437" y="19098"/>
                    </a:lnTo>
                    <a:lnTo>
                      <a:pt x="13754" y="18443"/>
                    </a:lnTo>
                    <a:lnTo>
                      <a:pt x="13430" y="16352"/>
                    </a:lnTo>
                    <a:lnTo>
                      <a:pt x="9903" y="14426"/>
                    </a:lnTo>
                    <a:lnTo>
                      <a:pt x="8058" y="13770"/>
                    </a:lnTo>
                    <a:lnTo>
                      <a:pt x="7735" y="12910"/>
                    </a:lnTo>
                    <a:lnTo>
                      <a:pt x="6375" y="13361"/>
                    </a:lnTo>
                    <a:lnTo>
                      <a:pt x="5372" y="13361"/>
                    </a:lnTo>
                    <a:lnTo>
                      <a:pt x="4563" y="15082"/>
                    </a:lnTo>
                    <a:lnTo>
                      <a:pt x="3204" y="15492"/>
                    </a:lnTo>
                    <a:lnTo>
                      <a:pt x="2848" y="11885"/>
                    </a:lnTo>
                    <a:lnTo>
                      <a:pt x="1521" y="11066"/>
                    </a:lnTo>
                    <a:lnTo>
                      <a:pt x="1521" y="10164"/>
                    </a:lnTo>
                    <a:lnTo>
                      <a:pt x="2362" y="10164"/>
                    </a:lnTo>
                    <a:lnTo>
                      <a:pt x="1845" y="9549"/>
                    </a:lnTo>
                    <a:lnTo>
                      <a:pt x="1003" y="9959"/>
                    </a:lnTo>
                    <a:lnTo>
                      <a:pt x="680" y="7459"/>
                    </a:lnTo>
                    <a:lnTo>
                      <a:pt x="1003" y="7459"/>
                    </a:lnTo>
                    <a:lnTo>
                      <a:pt x="1845" y="7459"/>
                    </a:lnTo>
                    <a:lnTo>
                      <a:pt x="2848" y="7869"/>
                    </a:lnTo>
                    <a:lnTo>
                      <a:pt x="3204" y="7459"/>
                    </a:lnTo>
                    <a:lnTo>
                      <a:pt x="3204" y="6803"/>
                    </a:lnTo>
                    <a:lnTo>
                      <a:pt x="2362" y="6148"/>
                    </a:lnTo>
                    <a:lnTo>
                      <a:pt x="1845" y="4877"/>
                    </a:lnTo>
                    <a:lnTo>
                      <a:pt x="1003" y="4467"/>
                    </a:lnTo>
                    <a:lnTo>
                      <a:pt x="518" y="5533"/>
                    </a:lnTo>
                    <a:lnTo>
                      <a:pt x="680" y="6803"/>
                    </a:lnTo>
                    <a:lnTo>
                      <a:pt x="0" y="5533"/>
                    </a:lnTo>
                    <a:lnTo>
                      <a:pt x="680" y="4057"/>
                    </a:lnTo>
                    <a:lnTo>
                      <a:pt x="2006" y="4467"/>
                    </a:lnTo>
                    <a:lnTo>
                      <a:pt x="2848" y="5123"/>
                    </a:lnTo>
                    <a:lnTo>
                      <a:pt x="4563" y="5738"/>
                    </a:lnTo>
                    <a:lnTo>
                      <a:pt x="5372" y="5533"/>
                    </a:lnTo>
                    <a:lnTo>
                      <a:pt x="7055" y="5123"/>
                    </a:lnTo>
                    <a:lnTo>
                      <a:pt x="6375" y="213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7" name="Freeform 142"/>
              <p:cNvSpPr>
                <a:spLocks/>
              </p:cNvSpPr>
              <p:nvPr/>
            </p:nvSpPr>
            <p:spPr bwMode="auto">
              <a:xfrm>
                <a:off x="5673725" y="3517900"/>
                <a:ext cx="339725" cy="303213"/>
              </a:xfrm>
              <a:custGeom>
                <a:avLst/>
                <a:gdLst>
                  <a:gd name="T0" fmla="*/ 374 w 20000"/>
                  <a:gd name="T1" fmla="*/ 671 h 20000"/>
                  <a:gd name="T2" fmla="*/ 1159 w 20000"/>
                  <a:gd name="T3" fmla="*/ 671 h 20000"/>
                  <a:gd name="T4" fmla="*/ 2542 w 20000"/>
                  <a:gd name="T5" fmla="*/ 671 h 20000"/>
                  <a:gd name="T6" fmla="*/ 6579 w 20000"/>
                  <a:gd name="T7" fmla="*/ 1719 h 20000"/>
                  <a:gd name="T8" fmla="*/ 8710 w 20000"/>
                  <a:gd name="T9" fmla="*/ 1551 h 20000"/>
                  <a:gd name="T10" fmla="*/ 8710 w 20000"/>
                  <a:gd name="T11" fmla="*/ 671 h 20000"/>
                  <a:gd name="T12" fmla="*/ 9308 w 20000"/>
                  <a:gd name="T13" fmla="*/ 1090 h 20000"/>
                  <a:gd name="T14" fmla="*/ 9682 w 20000"/>
                  <a:gd name="T15" fmla="*/ 671 h 20000"/>
                  <a:gd name="T16" fmla="*/ 11028 w 20000"/>
                  <a:gd name="T17" fmla="*/ 1090 h 20000"/>
                  <a:gd name="T18" fmla="*/ 11626 w 20000"/>
                  <a:gd name="T19" fmla="*/ 1719 h 20000"/>
                  <a:gd name="T20" fmla="*/ 11626 w 20000"/>
                  <a:gd name="T21" fmla="*/ 1090 h 20000"/>
                  <a:gd name="T22" fmla="*/ 11850 w 20000"/>
                  <a:gd name="T23" fmla="*/ 1090 h 20000"/>
                  <a:gd name="T24" fmla="*/ 12224 w 20000"/>
                  <a:gd name="T25" fmla="*/ 1551 h 20000"/>
                  <a:gd name="T26" fmla="*/ 13383 w 20000"/>
                  <a:gd name="T27" fmla="*/ 1551 h 20000"/>
                  <a:gd name="T28" fmla="*/ 15140 w 20000"/>
                  <a:gd name="T29" fmla="*/ 1090 h 20000"/>
                  <a:gd name="T30" fmla="*/ 15290 w 20000"/>
                  <a:gd name="T31" fmla="*/ 0 h 20000"/>
                  <a:gd name="T32" fmla="*/ 15664 w 20000"/>
                  <a:gd name="T33" fmla="*/ 671 h 20000"/>
                  <a:gd name="T34" fmla="*/ 15290 w 20000"/>
                  <a:gd name="T35" fmla="*/ 1551 h 20000"/>
                  <a:gd name="T36" fmla="*/ 15888 w 20000"/>
                  <a:gd name="T37" fmla="*/ 2390 h 20000"/>
                  <a:gd name="T38" fmla="*/ 16262 w 20000"/>
                  <a:gd name="T39" fmla="*/ 3438 h 20000"/>
                  <a:gd name="T40" fmla="*/ 16262 w 20000"/>
                  <a:gd name="T41" fmla="*/ 4990 h 20000"/>
                  <a:gd name="T42" fmla="*/ 15888 w 20000"/>
                  <a:gd name="T43" fmla="*/ 4990 h 20000"/>
                  <a:gd name="T44" fmla="*/ 15888 w 20000"/>
                  <a:gd name="T45" fmla="*/ 5660 h 20000"/>
                  <a:gd name="T46" fmla="*/ 15664 w 20000"/>
                  <a:gd name="T47" fmla="*/ 7379 h 20000"/>
                  <a:gd name="T48" fmla="*/ 15290 w 20000"/>
                  <a:gd name="T49" fmla="*/ 8050 h 20000"/>
                  <a:gd name="T50" fmla="*/ 13757 w 20000"/>
                  <a:gd name="T51" fmla="*/ 6709 h 20000"/>
                  <a:gd name="T52" fmla="*/ 13383 w 20000"/>
                  <a:gd name="T53" fmla="*/ 5660 h 20000"/>
                  <a:gd name="T54" fmla="*/ 13159 w 20000"/>
                  <a:gd name="T55" fmla="*/ 5241 h 20000"/>
                  <a:gd name="T56" fmla="*/ 12598 w 20000"/>
                  <a:gd name="T57" fmla="*/ 4361 h 20000"/>
                  <a:gd name="T58" fmla="*/ 12224 w 20000"/>
                  <a:gd name="T59" fmla="*/ 4361 h 20000"/>
                  <a:gd name="T60" fmla="*/ 12224 w 20000"/>
                  <a:gd name="T61" fmla="*/ 4570 h 20000"/>
                  <a:gd name="T62" fmla="*/ 12598 w 20000"/>
                  <a:gd name="T63" fmla="*/ 5241 h 20000"/>
                  <a:gd name="T64" fmla="*/ 14131 w 20000"/>
                  <a:gd name="T65" fmla="*/ 7799 h 20000"/>
                  <a:gd name="T66" fmla="*/ 14131 w 20000"/>
                  <a:gd name="T67" fmla="*/ 8470 h 20000"/>
                  <a:gd name="T68" fmla="*/ 15140 w 20000"/>
                  <a:gd name="T69" fmla="*/ 10189 h 20000"/>
                  <a:gd name="T70" fmla="*/ 15888 w 20000"/>
                  <a:gd name="T71" fmla="*/ 11908 h 20000"/>
                  <a:gd name="T72" fmla="*/ 17832 w 20000"/>
                  <a:gd name="T73" fmla="*/ 15849 h 20000"/>
                  <a:gd name="T74" fmla="*/ 18206 w 20000"/>
                  <a:gd name="T75" fmla="*/ 16268 h 20000"/>
                  <a:gd name="T76" fmla="*/ 17832 w 20000"/>
                  <a:gd name="T77" fmla="*/ 16268 h 20000"/>
                  <a:gd name="T78" fmla="*/ 18393 w 20000"/>
                  <a:gd name="T79" fmla="*/ 18239 h 20000"/>
                  <a:gd name="T80" fmla="*/ 19178 w 20000"/>
                  <a:gd name="T81" fmla="*/ 18658 h 20000"/>
                  <a:gd name="T82" fmla="*/ 19364 w 20000"/>
                  <a:gd name="T83" fmla="*/ 19287 h 20000"/>
                  <a:gd name="T84" fmla="*/ 19963 w 20000"/>
                  <a:gd name="T85" fmla="*/ 19958 h 20000"/>
                  <a:gd name="T86" fmla="*/ 972 w 20000"/>
                  <a:gd name="T87" fmla="*/ 19748 h 20000"/>
                  <a:gd name="T88" fmla="*/ 374 w 20000"/>
                  <a:gd name="T89" fmla="*/ 5241 h 20000"/>
                  <a:gd name="T90" fmla="*/ 0 w 20000"/>
                  <a:gd name="T91" fmla="*/ 3438 h 20000"/>
                  <a:gd name="T92" fmla="*/ 374 w 20000"/>
                  <a:gd name="T93" fmla="*/ 2390 h 20000"/>
                  <a:gd name="T94" fmla="*/ 0 w 20000"/>
                  <a:gd name="T95" fmla="*/ 1090 h 20000"/>
                  <a:gd name="T96" fmla="*/ 374 w 20000"/>
                  <a:gd name="T97" fmla="*/ 67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374" y="671"/>
                    </a:moveTo>
                    <a:lnTo>
                      <a:pt x="1159" y="671"/>
                    </a:lnTo>
                    <a:lnTo>
                      <a:pt x="2542" y="671"/>
                    </a:lnTo>
                    <a:lnTo>
                      <a:pt x="6579" y="1719"/>
                    </a:lnTo>
                    <a:lnTo>
                      <a:pt x="8710" y="1551"/>
                    </a:lnTo>
                    <a:lnTo>
                      <a:pt x="8710" y="671"/>
                    </a:lnTo>
                    <a:lnTo>
                      <a:pt x="9308" y="1090"/>
                    </a:lnTo>
                    <a:lnTo>
                      <a:pt x="9682" y="671"/>
                    </a:lnTo>
                    <a:lnTo>
                      <a:pt x="11028" y="1090"/>
                    </a:lnTo>
                    <a:lnTo>
                      <a:pt x="11626" y="1719"/>
                    </a:lnTo>
                    <a:lnTo>
                      <a:pt x="11626" y="1090"/>
                    </a:lnTo>
                    <a:lnTo>
                      <a:pt x="11850" y="1090"/>
                    </a:lnTo>
                    <a:lnTo>
                      <a:pt x="12224" y="1551"/>
                    </a:lnTo>
                    <a:lnTo>
                      <a:pt x="13383" y="1551"/>
                    </a:lnTo>
                    <a:lnTo>
                      <a:pt x="15140" y="1090"/>
                    </a:lnTo>
                    <a:lnTo>
                      <a:pt x="15290" y="0"/>
                    </a:lnTo>
                    <a:lnTo>
                      <a:pt x="15664" y="671"/>
                    </a:lnTo>
                    <a:lnTo>
                      <a:pt x="15290" y="1551"/>
                    </a:lnTo>
                    <a:lnTo>
                      <a:pt x="15888" y="2390"/>
                    </a:lnTo>
                    <a:lnTo>
                      <a:pt x="16262" y="3438"/>
                    </a:lnTo>
                    <a:lnTo>
                      <a:pt x="16262" y="4990"/>
                    </a:lnTo>
                    <a:lnTo>
                      <a:pt x="15888" y="4990"/>
                    </a:lnTo>
                    <a:lnTo>
                      <a:pt x="15888" y="5660"/>
                    </a:lnTo>
                    <a:lnTo>
                      <a:pt x="15664" y="7379"/>
                    </a:lnTo>
                    <a:lnTo>
                      <a:pt x="15290" y="8050"/>
                    </a:lnTo>
                    <a:lnTo>
                      <a:pt x="13757" y="6709"/>
                    </a:lnTo>
                    <a:lnTo>
                      <a:pt x="13383" y="5660"/>
                    </a:lnTo>
                    <a:lnTo>
                      <a:pt x="13159" y="5241"/>
                    </a:lnTo>
                    <a:lnTo>
                      <a:pt x="12598" y="4361"/>
                    </a:lnTo>
                    <a:lnTo>
                      <a:pt x="12224" y="4361"/>
                    </a:lnTo>
                    <a:lnTo>
                      <a:pt x="12224" y="4570"/>
                    </a:lnTo>
                    <a:lnTo>
                      <a:pt x="12598" y="5241"/>
                    </a:lnTo>
                    <a:lnTo>
                      <a:pt x="14131" y="7799"/>
                    </a:lnTo>
                    <a:lnTo>
                      <a:pt x="14131" y="8470"/>
                    </a:lnTo>
                    <a:lnTo>
                      <a:pt x="15140" y="10189"/>
                    </a:lnTo>
                    <a:lnTo>
                      <a:pt x="15888" y="11908"/>
                    </a:lnTo>
                    <a:lnTo>
                      <a:pt x="17832" y="15849"/>
                    </a:lnTo>
                    <a:lnTo>
                      <a:pt x="18206" y="16268"/>
                    </a:lnTo>
                    <a:lnTo>
                      <a:pt x="17832" y="16268"/>
                    </a:lnTo>
                    <a:lnTo>
                      <a:pt x="18393" y="18239"/>
                    </a:lnTo>
                    <a:lnTo>
                      <a:pt x="19178" y="18658"/>
                    </a:lnTo>
                    <a:lnTo>
                      <a:pt x="19364" y="19287"/>
                    </a:lnTo>
                    <a:lnTo>
                      <a:pt x="19963" y="19958"/>
                    </a:lnTo>
                    <a:lnTo>
                      <a:pt x="972" y="19748"/>
                    </a:lnTo>
                    <a:lnTo>
                      <a:pt x="374" y="5241"/>
                    </a:lnTo>
                    <a:lnTo>
                      <a:pt x="0" y="3438"/>
                    </a:lnTo>
                    <a:lnTo>
                      <a:pt x="374" y="2390"/>
                    </a:lnTo>
                    <a:lnTo>
                      <a:pt x="0" y="1090"/>
                    </a:lnTo>
                    <a:lnTo>
                      <a:pt x="374" y="67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8" name="Freeform 141"/>
              <p:cNvSpPr>
                <a:spLocks/>
              </p:cNvSpPr>
              <p:nvPr/>
            </p:nvSpPr>
            <p:spPr bwMode="auto">
              <a:xfrm>
                <a:off x="4749799" y="3352801"/>
                <a:ext cx="579438" cy="552446"/>
              </a:xfrm>
              <a:custGeom>
                <a:avLst/>
                <a:gdLst>
                  <a:gd name="T0" fmla="*/ 6579 w 20000"/>
                  <a:gd name="T1" fmla="*/ 2250 h 20000"/>
                  <a:gd name="T2" fmla="*/ 7478 w 20000"/>
                  <a:gd name="T3" fmla="*/ 1791 h 20000"/>
                  <a:gd name="T4" fmla="*/ 8158 w 20000"/>
                  <a:gd name="T5" fmla="*/ 1309 h 20000"/>
                  <a:gd name="T6" fmla="*/ 9868 w 20000"/>
                  <a:gd name="T7" fmla="*/ 597 h 20000"/>
                  <a:gd name="T8" fmla="*/ 11338 w 20000"/>
                  <a:gd name="T9" fmla="*/ 367 h 20000"/>
                  <a:gd name="T10" fmla="*/ 12500 w 20000"/>
                  <a:gd name="T11" fmla="*/ 230 h 20000"/>
                  <a:gd name="T12" fmla="*/ 13399 w 20000"/>
                  <a:gd name="T13" fmla="*/ 597 h 20000"/>
                  <a:gd name="T14" fmla="*/ 14298 w 20000"/>
                  <a:gd name="T15" fmla="*/ 0 h 20000"/>
                  <a:gd name="T16" fmla="*/ 14868 w 20000"/>
                  <a:gd name="T17" fmla="*/ 230 h 20000"/>
                  <a:gd name="T18" fmla="*/ 15768 w 20000"/>
                  <a:gd name="T19" fmla="*/ 367 h 20000"/>
                  <a:gd name="T20" fmla="*/ 16447 w 20000"/>
                  <a:gd name="T21" fmla="*/ 367 h 20000"/>
                  <a:gd name="T22" fmla="*/ 16118 w 20000"/>
                  <a:gd name="T23" fmla="*/ 850 h 20000"/>
                  <a:gd name="T24" fmla="*/ 16118 w 20000"/>
                  <a:gd name="T25" fmla="*/ 2503 h 20000"/>
                  <a:gd name="T26" fmla="*/ 15768 w 20000"/>
                  <a:gd name="T27" fmla="*/ 4271 h 20000"/>
                  <a:gd name="T28" fmla="*/ 16360 w 20000"/>
                  <a:gd name="T29" fmla="*/ 5235 h 20000"/>
                  <a:gd name="T30" fmla="*/ 17368 w 20000"/>
                  <a:gd name="T31" fmla="*/ 7738 h 20000"/>
                  <a:gd name="T32" fmla="*/ 17829 w 20000"/>
                  <a:gd name="T33" fmla="*/ 10356 h 20000"/>
                  <a:gd name="T34" fmla="*/ 17829 w 20000"/>
                  <a:gd name="T35" fmla="*/ 11871 h 20000"/>
                  <a:gd name="T36" fmla="*/ 17939 w 20000"/>
                  <a:gd name="T37" fmla="*/ 13318 h 20000"/>
                  <a:gd name="T38" fmla="*/ 18289 w 20000"/>
                  <a:gd name="T39" fmla="*/ 14259 h 20000"/>
                  <a:gd name="T40" fmla="*/ 19408 w 20000"/>
                  <a:gd name="T41" fmla="*/ 14397 h 20000"/>
                  <a:gd name="T42" fmla="*/ 19079 w 20000"/>
                  <a:gd name="T43" fmla="*/ 15798 h 20000"/>
                  <a:gd name="T44" fmla="*/ 14079 w 20000"/>
                  <a:gd name="T45" fmla="*/ 19265 h 20000"/>
                  <a:gd name="T46" fmla="*/ 11579 w 20000"/>
                  <a:gd name="T47" fmla="*/ 19977 h 20000"/>
                  <a:gd name="T48" fmla="*/ 11579 w 20000"/>
                  <a:gd name="T49" fmla="*/ 19380 h 20000"/>
                  <a:gd name="T50" fmla="*/ 11009 w 20000"/>
                  <a:gd name="T51" fmla="*/ 18760 h 20000"/>
                  <a:gd name="T52" fmla="*/ 10088 w 20000"/>
                  <a:gd name="T53" fmla="*/ 18439 h 20000"/>
                  <a:gd name="T54" fmla="*/ 9539 w 20000"/>
                  <a:gd name="T55" fmla="*/ 17819 h 20000"/>
                  <a:gd name="T56" fmla="*/ 0 w 20000"/>
                  <a:gd name="T57" fmla="*/ 10815 h 20000"/>
                  <a:gd name="T58" fmla="*/ 351 w 20000"/>
                  <a:gd name="T59" fmla="*/ 9047 h 20000"/>
                  <a:gd name="T60" fmla="*/ 1820 w 20000"/>
                  <a:gd name="T61" fmla="*/ 8450 h 20000"/>
                  <a:gd name="T62" fmla="*/ 2500 w 20000"/>
                  <a:gd name="T63" fmla="*/ 8450 h 20000"/>
                  <a:gd name="T64" fmla="*/ 4430 w 20000"/>
                  <a:gd name="T65" fmla="*/ 7256 h 20000"/>
                  <a:gd name="T66" fmla="*/ 4759 w 20000"/>
                  <a:gd name="T67" fmla="*/ 6521 h 20000"/>
                  <a:gd name="T68" fmla="*/ 5461 w 20000"/>
                  <a:gd name="T69" fmla="*/ 6177 h 20000"/>
                  <a:gd name="T70" fmla="*/ 7149 w 20000"/>
                  <a:gd name="T71" fmla="*/ 5580 h 20000"/>
                  <a:gd name="T72" fmla="*/ 7149 w 20000"/>
                  <a:gd name="T73" fmla="*/ 4983 h 20000"/>
                  <a:gd name="T74" fmla="*/ 6798 w 20000"/>
                  <a:gd name="T75" fmla="*/ 3812 h 20000"/>
                  <a:gd name="T76" fmla="*/ 6579 w 20000"/>
                  <a:gd name="T77" fmla="*/ 27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6228" y="2250"/>
                    </a:moveTo>
                    <a:lnTo>
                      <a:pt x="6579" y="2250"/>
                    </a:lnTo>
                    <a:lnTo>
                      <a:pt x="6930" y="1906"/>
                    </a:lnTo>
                    <a:lnTo>
                      <a:pt x="7478" y="1791"/>
                    </a:lnTo>
                    <a:lnTo>
                      <a:pt x="7829" y="1538"/>
                    </a:lnTo>
                    <a:lnTo>
                      <a:pt x="8158" y="1309"/>
                    </a:lnTo>
                    <a:lnTo>
                      <a:pt x="8728" y="941"/>
                    </a:lnTo>
                    <a:lnTo>
                      <a:pt x="9868" y="597"/>
                    </a:lnTo>
                    <a:lnTo>
                      <a:pt x="10789" y="597"/>
                    </a:lnTo>
                    <a:lnTo>
                      <a:pt x="11338" y="367"/>
                    </a:lnTo>
                    <a:lnTo>
                      <a:pt x="11689" y="230"/>
                    </a:lnTo>
                    <a:lnTo>
                      <a:pt x="12500" y="230"/>
                    </a:lnTo>
                    <a:lnTo>
                      <a:pt x="13048" y="597"/>
                    </a:lnTo>
                    <a:lnTo>
                      <a:pt x="13399" y="597"/>
                    </a:lnTo>
                    <a:lnTo>
                      <a:pt x="13750" y="367"/>
                    </a:lnTo>
                    <a:lnTo>
                      <a:pt x="14298" y="0"/>
                    </a:lnTo>
                    <a:lnTo>
                      <a:pt x="14430" y="0"/>
                    </a:lnTo>
                    <a:lnTo>
                      <a:pt x="14868" y="230"/>
                    </a:lnTo>
                    <a:lnTo>
                      <a:pt x="14978" y="0"/>
                    </a:lnTo>
                    <a:lnTo>
                      <a:pt x="15768" y="367"/>
                    </a:lnTo>
                    <a:lnTo>
                      <a:pt x="16447" y="230"/>
                    </a:lnTo>
                    <a:lnTo>
                      <a:pt x="16447" y="367"/>
                    </a:lnTo>
                    <a:lnTo>
                      <a:pt x="16118" y="597"/>
                    </a:lnTo>
                    <a:lnTo>
                      <a:pt x="16118" y="850"/>
                    </a:lnTo>
                    <a:lnTo>
                      <a:pt x="16118" y="1538"/>
                    </a:lnTo>
                    <a:lnTo>
                      <a:pt x="16118" y="2503"/>
                    </a:lnTo>
                    <a:lnTo>
                      <a:pt x="15461" y="3467"/>
                    </a:lnTo>
                    <a:lnTo>
                      <a:pt x="15768" y="4271"/>
                    </a:lnTo>
                    <a:lnTo>
                      <a:pt x="16118" y="4409"/>
                    </a:lnTo>
                    <a:lnTo>
                      <a:pt x="16360" y="5235"/>
                    </a:lnTo>
                    <a:lnTo>
                      <a:pt x="17039" y="5580"/>
                    </a:lnTo>
                    <a:lnTo>
                      <a:pt x="17368" y="7738"/>
                    </a:lnTo>
                    <a:lnTo>
                      <a:pt x="17610" y="9047"/>
                    </a:lnTo>
                    <a:lnTo>
                      <a:pt x="17829" y="10356"/>
                    </a:lnTo>
                    <a:lnTo>
                      <a:pt x="17610" y="10930"/>
                    </a:lnTo>
                    <a:lnTo>
                      <a:pt x="17829" y="11871"/>
                    </a:lnTo>
                    <a:lnTo>
                      <a:pt x="17368" y="12377"/>
                    </a:lnTo>
                    <a:lnTo>
                      <a:pt x="17939" y="13318"/>
                    </a:lnTo>
                    <a:lnTo>
                      <a:pt x="17939" y="13685"/>
                    </a:lnTo>
                    <a:lnTo>
                      <a:pt x="18289" y="14259"/>
                    </a:lnTo>
                    <a:lnTo>
                      <a:pt x="18728" y="14030"/>
                    </a:lnTo>
                    <a:lnTo>
                      <a:pt x="19408" y="14397"/>
                    </a:lnTo>
                    <a:lnTo>
                      <a:pt x="19978" y="15201"/>
                    </a:lnTo>
                    <a:lnTo>
                      <a:pt x="19079" y="15798"/>
                    </a:lnTo>
                    <a:lnTo>
                      <a:pt x="15548" y="17819"/>
                    </a:lnTo>
                    <a:lnTo>
                      <a:pt x="14079" y="19265"/>
                    </a:lnTo>
                    <a:lnTo>
                      <a:pt x="12500" y="19839"/>
                    </a:lnTo>
                    <a:lnTo>
                      <a:pt x="11579" y="19977"/>
                    </a:lnTo>
                    <a:lnTo>
                      <a:pt x="11338" y="19839"/>
                    </a:lnTo>
                    <a:lnTo>
                      <a:pt x="11579" y="19380"/>
                    </a:lnTo>
                    <a:lnTo>
                      <a:pt x="11338" y="19036"/>
                    </a:lnTo>
                    <a:lnTo>
                      <a:pt x="11009" y="18760"/>
                    </a:lnTo>
                    <a:lnTo>
                      <a:pt x="10570" y="18668"/>
                    </a:lnTo>
                    <a:lnTo>
                      <a:pt x="10088" y="18439"/>
                    </a:lnTo>
                    <a:lnTo>
                      <a:pt x="9539" y="18071"/>
                    </a:lnTo>
                    <a:lnTo>
                      <a:pt x="9539" y="17819"/>
                    </a:lnTo>
                    <a:lnTo>
                      <a:pt x="3618" y="13433"/>
                    </a:lnTo>
                    <a:lnTo>
                      <a:pt x="0" y="10815"/>
                    </a:lnTo>
                    <a:lnTo>
                      <a:pt x="0" y="9277"/>
                    </a:lnTo>
                    <a:lnTo>
                      <a:pt x="351" y="9047"/>
                    </a:lnTo>
                    <a:lnTo>
                      <a:pt x="1250" y="8450"/>
                    </a:lnTo>
                    <a:lnTo>
                      <a:pt x="1820" y="8450"/>
                    </a:lnTo>
                    <a:lnTo>
                      <a:pt x="2149" y="8312"/>
                    </a:lnTo>
                    <a:lnTo>
                      <a:pt x="2500" y="8450"/>
                    </a:lnTo>
                    <a:lnTo>
                      <a:pt x="3268" y="8312"/>
                    </a:lnTo>
                    <a:lnTo>
                      <a:pt x="4430" y="7256"/>
                    </a:lnTo>
                    <a:lnTo>
                      <a:pt x="4759" y="6889"/>
                    </a:lnTo>
                    <a:lnTo>
                      <a:pt x="4759" y="6521"/>
                    </a:lnTo>
                    <a:lnTo>
                      <a:pt x="4759" y="6292"/>
                    </a:lnTo>
                    <a:lnTo>
                      <a:pt x="5461" y="6177"/>
                    </a:lnTo>
                    <a:lnTo>
                      <a:pt x="5461" y="5832"/>
                    </a:lnTo>
                    <a:lnTo>
                      <a:pt x="7149" y="5580"/>
                    </a:lnTo>
                    <a:lnTo>
                      <a:pt x="7149" y="5350"/>
                    </a:lnTo>
                    <a:lnTo>
                      <a:pt x="7149" y="4983"/>
                    </a:lnTo>
                    <a:lnTo>
                      <a:pt x="6930" y="4638"/>
                    </a:lnTo>
                    <a:lnTo>
                      <a:pt x="6798" y="3812"/>
                    </a:lnTo>
                    <a:lnTo>
                      <a:pt x="6798" y="3330"/>
                    </a:lnTo>
                    <a:lnTo>
                      <a:pt x="6579" y="2732"/>
                    </a:lnTo>
                    <a:lnTo>
                      <a:pt x="6228" y="225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799" name="Freeform 140"/>
              <p:cNvSpPr>
                <a:spLocks/>
              </p:cNvSpPr>
              <p:nvPr/>
            </p:nvSpPr>
            <p:spPr bwMode="auto">
              <a:xfrm>
                <a:off x="5311775" y="4618038"/>
                <a:ext cx="352425" cy="349250"/>
              </a:xfrm>
              <a:custGeom>
                <a:avLst/>
                <a:gdLst>
                  <a:gd name="T0" fmla="*/ 2955 w 20000"/>
                  <a:gd name="T1" fmla="*/ 0 h 20000"/>
                  <a:gd name="T2" fmla="*/ 4288 w 20000"/>
                  <a:gd name="T3" fmla="*/ 0 h 20000"/>
                  <a:gd name="T4" fmla="*/ 8216 w 20000"/>
                  <a:gd name="T5" fmla="*/ 0 h 20000"/>
                  <a:gd name="T6" fmla="*/ 8396 w 20000"/>
                  <a:gd name="T7" fmla="*/ 1127 h 20000"/>
                  <a:gd name="T8" fmla="*/ 8757 w 20000"/>
                  <a:gd name="T9" fmla="*/ 2073 h 20000"/>
                  <a:gd name="T10" fmla="*/ 11207 w 20000"/>
                  <a:gd name="T11" fmla="*/ 3564 h 20000"/>
                  <a:gd name="T12" fmla="*/ 12685 w 20000"/>
                  <a:gd name="T13" fmla="*/ 3200 h 20000"/>
                  <a:gd name="T14" fmla="*/ 13045 w 20000"/>
                  <a:gd name="T15" fmla="*/ 2655 h 20000"/>
                  <a:gd name="T16" fmla="*/ 13802 w 20000"/>
                  <a:gd name="T17" fmla="*/ 1709 h 20000"/>
                  <a:gd name="T18" fmla="*/ 14739 w 20000"/>
                  <a:gd name="T19" fmla="*/ 2473 h 20000"/>
                  <a:gd name="T20" fmla="*/ 16613 w 20000"/>
                  <a:gd name="T21" fmla="*/ 3564 h 20000"/>
                  <a:gd name="T22" fmla="*/ 16216 w 20000"/>
                  <a:gd name="T23" fmla="*/ 5673 h 20000"/>
                  <a:gd name="T24" fmla="*/ 17189 w 20000"/>
                  <a:gd name="T25" fmla="*/ 6618 h 20000"/>
                  <a:gd name="T26" fmla="*/ 17189 w 20000"/>
                  <a:gd name="T27" fmla="*/ 8473 h 20000"/>
                  <a:gd name="T28" fmla="*/ 17694 w 20000"/>
                  <a:gd name="T29" fmla="*/ 8473 h 20000"/>
                  <a:gd name="T30" fmla="*/ 19387 w 20000"/>
                  <a:gd name="T31" fmla="*/ 8109 h 20000"/>
                  <a:gd name="T32" fmla="*/ 19964 w 20000"/>
                  <a:gd name="T33" fmla="*/ 8109 h 20000"/>
                  <a:gd name="T34" fmla="*/ 19964 w 20000"/>
                  <a:gd name="T35" fmla="*/ 11127 h 20000"/>
                  <a:gd name="T36" fmla="*/ 19964 w 20000"/>
                  <a:gd name="T37" fmla="*/ 11891 h 20000"/>
                  <a:gd name="T38" fmla="*/ 16613 w 20000"/>
                  <a:gd name="T39" fmla="*/ 16945 h 20000"/>
                  <a:gd name="T40" fmla="*/ 18667 w 20000"/>
                  <a:gd name="T41" fmla="*/ 19382 h 20000"/>
                  <a:gd name="T42" fmla="*/ 15099 w 20000"/>
                  <a:gd name="T43" fmla="*/ 19964 h 20000"/>
                  <a:gd name="T44" fmla="*/ 13622 w 20000"/>
                  <a:gd name="T45" fmla="*/ 19964 h 20000"/>
                  <a:gd name="T46" fmla="*/ 10847 w 20000"/>
                  <a:gd name="T47" fmla="*/ 19382 h 20000"/>
                  <a:gd name="T48" fmla="*/ 4288 w 20000"/>
                  <a:gd name="T49" fmla="*/ 19018 h 20000"/>
                  <a:gd name="T50" fmla="*/ 2955 w 20000"/>
                  <a:gd name="T51" fmla="*/ 18473 h 20000"/>
                  <a:gd name="T52" fmla="*/ 1477 w 20000"/>
                  <a:gd name="T53" fmla="*/ 18836 h 20000"/>
                  <a:gd name="T54" fmla="*/ 577 w 20000"/>
                  <a:gd name="T55" fmla="*/ 18836 h 20000"/>
                  <a:gd name="T56" fmla="*/ 360 w 20000"/>
                  <a:gd name="T57" fmla="*/ 17527 h 20000"/>
                  <a:gd name="T58" fmla="*/ 577 w 20000"/>
                  <a:gd name="T59" fmla="*/ 16400 h 20000"/>
                  <a:gd name="T60" fmla="*/ 1333 w 20000"/>
                  <a:gd name="T61" fmla="*/ 13382 h 20000"/>
                  <a:gd name="T62" fmla="*/ 2054 w 20000"/>
                  <a:gd name="T63" fmla="*/ 11491 h 20000"/>
                  <a:gd name="T64" fmla="*/ 3387 w 20000"/>
                  <a:gd name="T65" fmla="*/ 10545 h 20000"/>
                  <a:gd name="T66" fmla="*/ 3387 w 20000"/>
                  <a:gd name="T67" fmla="*/ 7927 h 20000"/>
                  <a:gd name="T68" fmla="*/ 2450 w 20000"/>
                  <a:gd name="T69" fmla="*/ 5127 h 20000"/>
                  <a:gd name="T70" fmla="*/ 2054 w 20000"/>
                  <a:gd name="T71" fmla="*/ 1709 h 20000"/>
                  <a:gd name="T72" fmla="*/ 2054 w 20000"/>
                  <a:gd name="T73" fmla="*/ 2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2450" y="0"/>
                    </a:moveTo>
                    <a:lnTo>
                      <a:pt x="2955" y="0"/>
                    </a:lnTo>
                    <a:lnTo>
                      <a:pt x="3532" y="218"/>
                    </a:lnTo>
                    <a:lnTo>
                      <a:pt x="4288" y="0"/>
                    </a:lnTo>
                    <a:lnTo>
                      <a:pt x="7279" y="0"/>
                    </a:lnTo>
                    <a:lnTo>
                      <a:pt x="8216" y="0"/>
                    </a:lnTo>
                    <a:lnTo>
                      <a:pt x="8396" y="764"/>
                    </a:lnTo>
                    <a:lnTo>
                      <a:pt x="8396" y="1127"/>
                    </a:lnTo>
                    <a:lnTo>
                      <a:pt x="8757" y="1709"/>
                    </a:lnTo>
                    <a:lnTo>
                      <a:pt x="8757" y="2073"/>
                    </a:lnTo>
                    <a:lnTo>
                      <a:pt x="9730" y="3564"/>
                    </a:lnTo>
                    <a:lnTo>
                      <a:pt x="11207" y="3564"/>
                    </a:lnTo>
                    <a:lnTo>
                      <a:pt x="11351" y="3200"/>
                    </a:lnTo>
                    <a:lnTo>
                      <a:pt x="12685" y="3200"/>
                    </a:lnTo>
                    <a:lnTo>
                      <a:pt x="12685" y="2655"/>
                    </a:lnTo>
                    <a:lnTo>
                      <a:pt x="13045" y="2655"/>
                    </a:lnTo>
                    <a:lnTo>
                      <a:pt x="13045" y="2073"/>
                    </a:lnTo>
                    <a:lnTo>
                      <a:pt x="13802" y="1709"/>
                    </a:lnTo>
                    <a:lnTo>
                      <a:pt x="14739" y="1491"/>
                    </a:lnTo>
                    <a:lnTo>
                      <a:pt x="14739" y="2473"/>
                    </a:lnTo>
                    <a:lnTo>
                      <a:pt x="16216" y="2473"/>
                    </a:lnTo>
                    <a:lnTo>
                      <a:pt x="16613" y="3564"/>
                    </a:lnTo>
                    <a:lnTo>
                      <a:pt x="16973" y="4545"/>
                    </a:lnTo>
                    <a:lnTo>
                      <a:pt x="16216" y="5673"/>
                    </a:lnTo>
                    <a:lnTo>
                      <a:pt x="16973" y="6400"/>
                    </a:lnTo>
                    <a:lnTo>
                      <a:pt x="17189" y="6618"/>
                    </a:lnTo>
                    <a:lnTo>
                      <a:pt x="17189" y="7927"/>
                    </a:lnTo>
                    <a:lnTo>
                      <a:pt x="17189" y="8473"/>
                    </a:lnTo>
                    <a:lnTo>
                      <a:pt x="17550" y="8836"/>
                    </a:lnTo>
                    <a:lnTo>
                      <a:pt x="17694" y="8473"/>
                    </a:lnTo>
                    <a:lnTo>
                      <a:pt x="18486" y="8473"/>
                    </a:lnTo>
                    <a:lnTo>
                      <a:pt x="19387" y="8109"/>
                    </a:lnTo>
                    <a:lnTo>
                      <a:pt x="19964" y="8473"/>
                    </a:lnTo>
                    <a:lnTo>
                      <a:pt x="19964" y="8109"/>
                    </a:lnTo>
                    <a:lnTo>
                      <a:pt x="19964" y="9964"/>
                    </a:lnTo>
                    <a:lnTo>
                      <a:pt x="19964" y="11127"/>
                    </a:lnTo>
                    <a:lnTo>
                      <a:pt x="19964" y="11491"/>
                    </a:lnTo>
                    <a:lnTo>
                      <a:pt x="19964" y="11891"/>
                    </a:lnTo>
                    <a:lnTo>
                      <a:pt x="16973" y="11891"/>
                    </a:lnTo>
                    <a:lnTo>
                      <a:pt x="16613" y="16945"/>
                    </a:lnTo>
                    <a:lnTo>
                      <a:pt x="18126" y="18291"/>
                    </a:lnTo>
                    <a:lnTo>
                      <a:pt x="18667" y="19382"/>
                    </a:lnTo>
                    <a:lnTo>
                      <a:pt x="15676" y="19964"/>
                    </a:lnTo>
                    <a:lnTo>
                      <a:pt x="15099" y="19964"/>
                    </a:lnTo>
                    <a:lnTo>
                      <a:pt x="14523" y="19964"/>
                    </a:lnTo>
                    <a:lnTo>
                      <a:pt x="13622" y="19964"/>
                    </a:lnTo>
                    <a:lnTo>
                      <a:pt x="11351" y="19782"/>
                    </a:lnTo>
                    <a:lnTo>
                      <a:pt x="10847" y="19382"/>
                    </a:lnTo>
                    <a:lnTo>
                      <a:pt x="10631" y="18836"/>
                    </a:lnTo>
                    <a:lnTo>
                      <a:pt x="4288" y="19018"/>
                    </a:lnTo>
                    <a:lnTo>
                      <a:pt x="3928" y="19018"/>
                    </a:lnTo>
                    <a:lnTo>
                      <a:pt x="2955" y="18473"/>
                    </a:lnTo>
                    <a:lnTo>
                      <a:pt x="2450" y="18291"/>
                    </a:lnTo>
                    <a:lnTo>
                      <a:pt x="1477" y="18836"/>
                    </a:lnTo>
                    <a:lnTo>
                      <a:pt x="1333" y="18836"/>
                    </a:lnTo>
                    <a:lnTo>
                      <a:pt x="577" y="18836"/>
                    </a:lnTo>
                    <a:lnTo>
                      <a:pt x="360" y="18836"/>
                    </a:lnTo>
                    <a:lnTo>
                      <a:pt x="360" y="17527"/>
                    </a:lnTo>
                    <a:lnTo>
                      <a:pt x="0" y="16764"/>
                    </a:lnTo>
                    <a:lnTo>
                      <a:pt x="577" y="16400"/>
                    </a:lnTo>
                    <a:lnTo>
                      <a:pt x="1333" y="14873"/>
                    </a:lnTo>
                    <a:lnTo>
                      <a:pt x="1333" y="13382"/>
                    </a:lnTo>
                    <a:lnTo>
                      <a:pt x="1874" y="12036"/>
                    </a:lnTo>
                    <a:lnTo>
                      <a:pt x="2054" y="11491"/>
                    </a:lnTo>
                    <a:lnTo>
                      <a:pt x="2811" y="10945"/>
                    </a:lnTo>
                    <a:lnTo>
                      <a:pt x="3387" y="10545"/>
                    </a:lnTo>
                    <a:lnTo>
                      <a:pt x="3532" y="9055"/>
                    </a:lnTo>
                    <a:lnTo>
                      <a:pt x="3387" y="7927"/>
                    </a:lnTo>
                    <a:lnTo>
                      <a:pt x="2811" y="6618"/>
                    </a:lnTo>
                    <a:lnTo>
                      <a:pt x="2450" y="5127"/>
                    </a:lnTo>
                    <a:lnTo>
                      <a:pt x="2955" y="4545"/>
                    </a:lnTo>
                    <a:lnTo>
                      <a:pt x="2054" y="1709"/>
                    </a:lnTo>
                    <a:lnTo>
                      <a:pt x="1333" y="218"/>
                    </a:lnTo>
                    <a:lnTo>
                      <a:pt x="2054" y="218"/>
                    </a:lnTo>
                    <a:lnTo>
                      <a:pt x="245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0" name="Freeform 139"/>
              <p:cNvSpPr>
                <a:spLocks/>
              </p:cNvSpPr>
              <p:nvPr/>
            </p:nvSpPr>
            <p:spPr bwMode="auto">
              <a:xfrm>
                <a:off x="5327650" y="4575175"/>
                <a:ext cx="26988" cy="36513"/>
              </a:xfrm>
              <a:custGeom>
                <a:avLst/>
                <a:gdLst>
                  <a:gd name="T0" fmla="*/ 0 w 20000"/>
                  <a:gd name="T1" fmla="*/ 10690 h 20000"/>
                  <a:gd name="T2" fmla="*/ 6977 w 20000"/>
                  <a:gd name="T3" fmla="*/ 5517 h 20000"/>
                  <a:gd name="T4" fmla="*/ 6977 w 20000"/>
                  <a:gd name="T5" fmla="*/ 2069 h 20000"/>
                  <a:gd name="T6" fmla="*/ 14419 w 20000"/>
                  <a:gd name="T7" fmla="*/ 0 h 20000"/>
                  <a:gd name="T8" fmla="*/ 19535 w 20000"/>
                  <a:gd name="T9" fmla="*/ 2069 h 20000"/>
                  <a:gd name="T10" fmla="*/ 19535 w 20000"/>
                  <a:gd name="T11" fmla="*/ 5517 h 20000"/>
                  <a:gd name="T12" fmla="*/ 12093 w 20000"/>
                  <a:gd name="T13" fmla="*/ 10690 h 20000"/>
                  <a:gd name="T14" fmla="*/ 12093 w 20000"/>
                  <a:gd name="T15" fmla="*/ 19655 h 20000"/>
                  <a:gd name="T16" fmla="*/ 5116 w 20000"/>
                  <a:gd name="T17" fmla="*/ 19655 h 20000"/>
                  <a:gd name="T18" fmla="*/ 5116 w 20000"/>
                  <a:gd name="T19" fmla="*/ 16207 h 20000"/>
                  <a:gd name="T20" fmla="*/ 0 w 20000"/>
                  <a:gd name="T21" fmla="*/ 106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0" y="10690"/>
                    </a:moveTo>
                    <a:lnTo>
                      <a:pt x="6977" y="5517"/>
                    </a:lnTo>
                    <a:lnTo>
                      <a:pt x="6977" y="2069"/>
                    </a:lnTo>
                    <a:lnTo>
                      <a:pt x="14419" y="0"/>
                    </a:lnTo>
                    <a:lnTo>
                      <a:pt x="19535" y="2069"/>
                    </a:lnTo>
                    <a:lnTo>
                      <a:pt x="19535" y="5517"/>
                    </a:lnTo>
                    <a:lnTo>
                      <a:pt x="12093" y="10690"/>
                    </a:lnTo>
                    <a:lnTo>
                      <a:pt x="12093" y="19655"/>
                    </a:lnTo>
                    <a:lnTo>
                      <a:pt x="5116" y="19655"/>
                    </a:lnTo>
                    <a:lnTo>
                      <a:pt x="5116" y="16207"/>
                    </a:lnTo>
                    <a:lnTo>
                      <a:pt x="0" y="106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1" name="Freeform 138"/>
              <p:cNvSpPr>
                <a:spLocks/>
              </p:cNvSpPr>
              <p:nvPr/>
            </p:nvSpPr>
            <p:spPr bwMode="auto">
              <a:xfrm>
                <a:off x="5922963" y="3938588"/>
                <a:ext cx="422275" cy="419100"/>
              </a:xfrm>
              <a:custGeom>
                <a:avLst/>
                <a:gdLst>
                  <a:gd name="T0" fmla="*/ 7470 w 20000"/>
                  <a:gd name="T1" fmla="*/ 1578 h 20000"/>
                  <a:gd name="T2" fmla="*/ 8584 w 20000"/>
                  <a:gd name="T3" fmla="*/ 4097 h 20000"/>
                  <a:gd name="T4" fmla="*/ 8735 w 20000"/>
                  <a:gd name="T5" fmla="*/ 3460 h 20000"/>
                  <a:gd name="T6" fmla="*/ 9518 w 20000"/>
                  <a:gd name="T7" fmla="*/ 4249 h 20000"/>
                  <a:gd name="T8" fmla="*/ 11386 w 20000"/>
                  <a:gd name="T9" fmla="*/ 5524 h 20000"/>
                  <a:gd name="T10" fmla="*/ 12771 w 20000"/>
                  <a:gd name="T11" fmla="*/ 7071 h 20000"/>
                  <a:gd name="T12" fmla="*/ 13434 w 20000"/>
                  <a:gd name="T13" fmla="*/ 7405 h 20000"/>
                  <a:gd name="T14" fmla="*/ 12319 w 20000"/>
                  <a:gd name="T15" fmla="*/ 7860 h 20000"/>
                  <a:gd name="T16" fmla="*/ 11536 w 20000"/>
                  <a:gd name="T17" fmla="*/ 8801 h 20000"/>
                  <a:gd name="T18" fmla="*/ 12771 w 20000"/>
                  <a:gd name="T19" fmla="*/ 9621 h 20000"/>
                  <a:gd name="T20" fmla="*/ 12771 w 20000"/>
                  <a:gd name="T21" fmla="*/ 10379 h 20000"/>
                  <a:gd name="T22" fmla="*/ 14669 w 20000"/>
                  <a:gd name="T23" fmla="*/ 12109 h 20000"/>
                  <a:gd name="T24" fmla="*/ 19970 w 20000"/>
                  <a:gd name="T25" fmla="*/ 13657 h 20000"/>
                  <a:gd name="T26" fmla="*/ 15602 w 20000"/>
                  <a:gd name="T27" fmla="*/ 17754 h 20000"/>
                  <a:gd name="T28" fmla="*/ 13434 w 20000"/>
                  <a:gd name="T29" fmla="*/ 19029 h 20000"/>
                  <a:gd name="T30" fmla="*/ 12018 w 20000"/>
                  <a:gd name="T31" fmla="*/ 19332 h 20000"/>
                  <a:gd name="T32" fmla="*/ 10602 w 20000"/>
                  <a:gd name="T33" fmla="*/ 19029 h 20000"/>
                  <a:gd name="T34" fmla="*/ 9367 w 20000"/>
                  <a:gd name="T35" fmla="*/ 19029 h 20000"/>
                  <a:gd name="T36" fmla="*/ 7349 w 20000"/>
                  <a:gd name="T37" fmla="*/ 19788 h 20000"/>
                  <a:gd name="T38" fmla="*/ 4518 w 20000"/>
                  <a:gd name="T39" fmla="*/ 18543 h 20000"/>
                  <a:gd name="T40" fmla="*/ 3765 w 20000"/>
                  <a:gd name="T41" fmla="*/ 17299 h 20000"/>
                  <a:gd name="T42" fmla="*/ 2952 w 20000"/>
                  <a:gd name="T43" fmla="*/ 16662 h 20000"/>
                  <a:gd name="T44" fmla="*/ 1717 w 20000"/>
                  <a:gd name="T45" fmla="*/ 15266 h 20000"/>
                  <a:gd name="T46" fmla="*/ 0 w 20000"/>
                  <a:gd name="T47" fmla="*/ 13991 h 20000"/>
                  <a:gd name="T48" fmla="*/ 934 w 20000"/>
                  <a:gd name="T49" fmla="*/ 13202 h 20000"/>
                  <a:gd name="T50" fmla="*/ 1566 w 20000"/>
                  <a:gd name="T51" fmla="*/ 11472 h 20000"/>
                  <a:gd name="T52" fmla="*/ 1717 w 20000"/>
                  <a:gd name="T53" fmla="*/ 10379 h 20000"/>
                  <a:gd name="T54" fmla="*/ 2530 w 20000"/>
                  <a:gd name="T55" fmla="*/ 9924 h 20000"/>
                  <a:gd name="T56" fmla="*/ 2952 w 20000"/>
                  <a:gd name="T57" fmla="*/ 8316 h 20000"/>
                  <a:gd name="T58" fmla="*/ 4066 w 20000"/>
                  <a:gd name="T59" fmla="*/ 7071 h 20000"/>
                  <a:gd name="T60" fmla="*/ 4518 w 20000"/>
                  <a:gd name="T61" fmla="*/ 4583 h 20000"/>
                  <a:gd name="T62" fmla="*/ 5000 w 20000"/>
                  <a:gd name="T63" fmla="*/ 2064 h 20000"/>
                  <a:gd name="T64" fmla="*/ 5783 w 20000"/>
                  <a:gd name="T65" fmla="*/ 1244 h 20000"/>
                  <a:gd name="T66" fmla="*/ 6235 w 20000"/>
                  <a:gd name="T67" fmla="*/ 486 h 20000"/>
                  <a:gd name="T68" fmla="*/ 7018 w 20000"/>
                  <a:gd name="T6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7018" y="0"/>
                    </a:moveTo>
                    <a:lnTo>
                      <a:pt x="7470" y="1578"/>
                    </a:lnTo>
                    <a:lnTo>
                      <a:pt x="8133" y="3005"/>
                    </a:lnTo>
                    <a:lnTo>
                      <a:pt x="8584" y="4097"/>
                    </a:lnTo>
                    <a:lnTo>
                      <a:pt x="8735" y="4097"/>
                    </a:lnTo>
                    <a:lnTo>
                      <a:pt x="8735" y="3460"/>
                    </a:lnTo>
                    <a:lnTo>
                      <a:pt x="9367" y="4249"/>
                    </a:lnTo>
                    <a:lnTo>
                      <a:pt x="9518" y="4249"/>
                    </a:lnTo>
                    <a:lnTo>
                      <a:pt x="10301" y="4583"/>
                    </a:lnTo>
                    <a:lnTo>
                      <a:pt x="11386" y="5524"/>
                    </a:lnTo>
                    <a:lnTo>
                      <a:pt x="12018" y="6586"/>
                    </a:lnTo>
                    <a:lnTo>
                      <a:pt x="12771" y="7071"/>
                    </a:lnTo>
                    <a:lnTo>
                      <a:pt x="13072" y="7071"/>
                    </a:lnTo>
                    <a:lnTo>
                      <a:pt x="13434" y="7405"/>
                    </a:lnTo>
                    <a:lnTo>
                      <a:pt x="12771" y="7557"/>
                    </a:lnTo>
                    <a:lnTo>
                      <a:pt x="12319" y="7860"/>
                    </a:lnTo>
                    <a:lnTo>
                      <a:pt x="12018" y="8316"/>
                    </a:lnTo>
                    <a:lnTo>
                      <a:pt x="11536" y="8801"/>
                    </a:lnTo>
                    <a:lnTo>
                      <a:pt x="11837" y="9621"/>
                    </a:lnTo>
                    <a:lnTo>
                      <a:pt x="12771" y="9621"/>
                    </a:lnTo>
                    <a:lnTo>
                      <a:pt x="13072" y="9924"/>
                    </a:lnTo>
                    <a:lnTo>
                      <a:pt x="12771" y="10379"/>
                    </a:lnTo>
                    <a:lnTo>
                      <a:pt x="13886" y="11654"/>
                    </a:lnTo>
                    <a:lnTo>
                      <a:pt x="14669" y="12109"/>
                    </a:lnTo>
                    <a:lnTo>
                      <a:pt x="18735" y="13657"/>
                    </a:lnTo>
                    <a:lnTo>
                      <a:pt x="19970" y="13657"/>
                    </a:lnTo>
                    <a:lnTo>
                      <a:pt x="16084" y="17754"/>
                    </a:lnTo>
                    <a:lnTo>
                      <a:pt x="15602" y="17754"/>
                    </a:lnTo>
                    <a:lnTo>
                      <a:pt x="13886" y="18240"/>
                    </a:lnTo>
                    <a:lnTo>
                      <a:pt x="13434" y="19029"/>
                    </a:lnTo>
                    <a:lnTo>
                      <a:pt x="12651" y="19029"/>
                    </a:lnTo>
                    <a:lnTo>
                      <a:pt x="12018" y="19332"/>
                    </a:lnTo>
                    <a:lnTo>
                      <a:pt x="11084" y="19332"/>
                    </a:lnTo>
                    <a:lnTo>
                      <a:pt x="10602" y="19029"/>
                    </a:lnTo>
                    <a:lnTo>
                      <a:pt x="9819" y="19029"/>
                    </a:lnTo>
                    <a:lnTo>
                      <a:pt x="9367" y="19029"/>
                    </a:lnTo>
                    <a:lnTo>
                      <a:pt x="8735" y="19970"/>
                    </a:lnTo>
                    <a:lnTo>
                      <a:pt x="7349" y="19788"/>
                    </a:lnTo>
                    <a:lnTo>
                      <a:pt x="6084" y="19029"/>
                    </a:lnTo>
                    <a:lnTo>
                      <a:pt x="4518" y="18543"/>
                    </a:lnTo>
                    <a:lnTo>
                      <a:pt x="3765" y="18240"/>
                    </a:lnTo>
                    <a:lnTo>
                      <a:pt x="3765" y="17299"/>
                    </a:lnTo>
                    <a:lnTo>
                      <a:pt x="3283" y="17299"/>
                    </a:lnTo>
                    <a:lnTo>
                      <a:pt x="2952" y="16662"/>
                    </a:lnTo>
                    <a:lnTo>
                      <a:pt x="2831" y="16055"/>
                    </a:lnTo>
                    <a:lnTo>
                      <a:pt x="1717" y="15266"/>
                    </a:lnTo>
                    <a:lnTo>
                      <a:pt x="934" y="14446"/>
                    </a:lnTo>
                    <a:lnTo>
                      <a:pt x="0" y="13991"/>
                    </a:lnTo>
                    <a:lnTo>
                      <a:pt x="0" y="13202"/>
                    </a:lnTo>
                    <a:lnTo>
                      <a:pt x="934" y="13202"/>
                    </a:lnTo>
                    <a:lnTo>
                      <a:pt x="1566" y="12898"/>
                    </a:lnTo>
                    <a:lnTo>
                      <a:pt x="1566" y="11472"/>
                    </a:lnTo>
                    <a:lnTo>
                      <a:pt x="1717" y="10865"/>
                    </a:lnTo>
                    <a:lnTo>
                      <a:pt x="1717" y="10379"/>
                    </a:lnTo>
                    <a:lnTo>
                      <a:pt x="2048" y="9924"/>
                    </a:lnTo>
                    <a:lnTo>
                      <a:pt x="2530" y="9924"/>
                    </a:lnTo>
                    <a:lnTo>
                      <a:pt x="2831" y="9621"/>
                    </a:lnTo>
                    <a:lnTo>
                      <a:pt x="2952" y="8316"/>
                    </a:lnTo>
                    <a:lnTo>
                      <a:pt x="3584" y="7405"/>
                    </a:lnTo>
                    <a:lnTo>
                      <a:pt x="4066" y="7071"/>
                    </a:lnTo>
                    <a:lnTo>
                      <a:pt x="4217" y="6282"/>
                    </a:lnTo>
                    <a:lnTo>
                      <a:pt x="4518" y="4583"/>
                    </a:lnTo>
                    <a:lnTo>
                      <a:pt x="5000" y="2853"/>
                    </a:lnTo>
                    <a:lnTo>
                      <a:pt x="5000" y="2064"/>
                    </a:lnTo>
                    <a:lnTo>
                      <a:pt x="5301" y="1244"/>
                    </a:lnTo>
                    <a:lnTo>
                      <a:pt x="5783" y="1244"/>
                    </a:lnTo>
                    <a:lnTo>
                      <a:pt x="5783" y="941"/>
                    </a:lnTo>
                    <a:lnTo>
                      <a:pt x="6235" y="486"/>
                    </a:lnTo>
                    <a:lnTo>
                      <a:pt x="6867" y="819"/>
                    </a:lnTo>
                    <a:lnTo>
                      <a:pt x="701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2" name="Freeform 137"/>
              <p:cNvSpPr>
                <a:spLocks/>
              </p:cNvSpPr>
              <p:nvPr/>
            </p:nvSpPr>
            <p:spPr bwMode="auto">
              <a:xfrm>
                <a:off x="5010150" y="4095750"/>
                <a:ext cx="85725" cy="177800"/>
              </a:xfrm>
              <a:custGeom>
                <a:avLst/>
                <a:gdLst>
                  <a:gd name="T0" fmla="*/ 10815 w 20000"/>
                  <a:gd name="T1" fmla="*/ 1495 h 20000"/>
                  <a:gd name="T2" fmla="*/ 12296 w 20000"/>
                  <a:gd name="T3" fmla="*/ 0 h 20000"/>
                  <a:gd name="T4" fmla="*/ 13778 w 20000"/>
                  <a:gd name="T5" fmla="*/ 0 h 20000"/>
                  <a:gd name="T6" fmla="*/ 16000 w 20000"/>
                  <a:gd name="T7" fmla="*/ 1495 h 20000"/>
                  <a:gd name="T8" fmla="*/ 18370 w 20000"/>
                  <a:gd name="T9" fmla="*/ 2633 h 20000"/>
                  <a:gd name="T10" fmla="*/ 18370 w 20000"/>
                  <a:gd name="T11" fmla="*/ 2918 h 20000"/>
                  <a:gd name="T12" fmla="*/ 19852 w 20000"/>
                  <a:gd name="T13" fmla="*/ 5552 h 20000"/>
                  <a:gd name="T14" fmla="*/ 18370 w 20000"/>
                  <a:gd name="T15" fmla="*/ 6690 h 20000"/>
                  <a:gd name="T16" fmla="*/ 18370 w 20000"/>
                  <a:gd name="T17" fmla="*/ 7758 h 20000"/>
                  <a:gd name="T18" fmla="*/ 17630 w 20000"/>
                  <a:gd name="T19" fmla="*/ 8470 h 20000"/>
                  <a:gd name="T20" fmla="*/ 16000 w 20000"/>
                  <a:gd name="T21" fmla="*/ 10320 h 20000"/>
                  <a:gd name="T22" fmla="*/ 13778 w 20000"/>
                  <a:gd name="T23" fmla="*/ 10747 h 20000"/>
                  <a:gd name="T24" fmla="*/ 13778 w 20000"/>
                  <a:gd name="T25" fmla="*/ 12527 h 20000"/>
                  <a:gd name="T26" fmla="*/ 13778 w 20000"/>
                  <a:gd name="T27" fmla="*/ 16157 h 20000"/>
                  <a:gd name="T28" fmla="*/ 14519 w 20000"/>
                  <a:gd name="T29" fmla="*/ 19217 h 20000"/>
                  <a:gd name="T30" fmla="*/ 10815 w 20000"/>
                  <a:gd name="T31" fmla="*/ 19217 h 20000"/>
                  <a:gd name="T32" fmla="*/ 6074 w 20000"/>
                  <a:gd name="T33" fmla="*/ 19929 h 20000"/>
                  <a:gd name="T34" fmla="*/ 6074 w 20000"/>
                  <a:gd name="T35" fmla="*/ 18434 h 20000"/>
                  <a:gd name="T36" fmla="*/ 6074 w 20000"/>
                  <a:gd name="T37" fmla="*/ 18078 h 20000"/>
                  <a:gd name="T38" fmla="*/ 6074 w 20000"/>
                  <a:gd name="T39" fmla="*/ 10320 h 20000"/>
                  <a:gd name="T40" fmla="*/ 4593 w 20000"/>
                  <a:gd name="T41" fmla="*/ 9181 h 20000"/>
                  <a:gd name="T42" fmla="*/ 3852 w 20000"/>
                  <a:gd name="T43" fmla="*/ 7758 h 20000"/>
                  <a:gd name="T44" fmla="*/ 1481 w 20000"/>
                  <a:gd name="T45" fmla="*/ 6690 h 20000"/>
                  <a:gd name="T46" fmla="*/ 0 w 20000"/>
                  <a:gd name="T47" fmla="*/ 4840 h 20000"/>
                  <a:gd name="T48" fmla="*/ 2370 w 20000"/>
                  <a:gd name="T49" fmla="*/ 4413 h 20000"/>
                  <a:gd name="T50" fmla="*/ 4593 w 20000"/>
                  <a:gd name="T51" fmla="*/ 3701 h 20000"/>
                  <a:gd name="T52" fmla="*/ 8444 w 20000"/>
                  <a:gd name="T53" fmla="*/ 2918 h 20000"/>
                  <a:gd name="T54" fmla="*/ 10815 w 20000"/>
                  <a:gd name="T55" fmla="*/ 149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10815" y="1495"/>
                    </a:moveTo>
                    <a:lnTo>
                      <a:pt x="12296" y="0"/>
                    </a:lnTo>
                    <a:lnTo>
                      <a:pt x="13778" y="0"/>
                    </a:lnTo>
                    <a:lnTo>
                      <a:pt x="16000" y="1495"/>
                    </a:lnTo>
                    <a:lnTo>
                      <a:pt x="18370" y="2633"/>
                    </a:lnTo>
                    <a:lnTo>
                      <a:pt x="18370" y="2918"/>
                    </a:lnTo>
                    <a:lnTo>
                      <a:pt x="19852" y="5552"/>
                    </a:lnTo>
                    <a:lnTo>
                      <a:pt x="18370" y="6690"/>
                    </a:lnTo>
                    <a:lnTo>
                      <a:pt x="18370" y="7758"/>
                    </a:lnTo>
                    <a:lnTo>
                      <a:pt x="17630" y="8470"/>
                    </a:lnTo>
                    <a:lnTo>
                      <a:pt x="16000" y="10320"/>
                    </a:lnTo>
                    <a:lnTo>
                      <a:pt x="13778" y="10747"/>
                    </a:lnTo>
                    <a:lnTo>
                      <a:pt x="13778" y="12527"/>
                    </a:lnTo>
                    <a:lnTo>
                      <a:pt x="13778" y="16157"/>
                    </a:lnTo>
                    <a:lnTo>
                      <a:pt x="14519" y="19217"/>
                    </a:lnTo>
                    <a:lnTo>
                      <a:pt x="10815" y="19217"/>
                    </a:lnTo>
                    <a:lnTo>
                      <a:pt x="6074" y="19929"/>
                    </a:lnTo>
                    <a:lnTo>
                      <a:pt x="6074" y="18434"/>
                    </a:lnTo>
                    <a:lnTo>
                      <a:pt x="6074" y="18078"/>
                    </a:lnTo>
                    <a:lnTo>
                      <a:pt x="6074" y="10320"/>
                    </a:lnTo>
                    <a:lnTo>
                      <a:pt x="4593" y="9181"/>
                    </a:lnTo>
                    <a:lnTo>
                      <a:pt x="3852" y="7758"/>
                    </a:lnTo>
                    <a:lnTo>
                      <a:pt x="1481" y="6690"/>
                    </a:lnTo>
                    <a:lnTo>
                      <a:pt x="0" y="4840"/>
                    </a:lnTo>
                    <a:lnTo>
                      <a:pt x="2370" y="4413"/>
                    </a:lnTo>
                    <a:lnTo>
                      <a:pt x="4593" y="3701"/>
                    </a:lnTo>
                    <a:lnTo>
                      <a:pt x="8444" y="2918"/>
                    </a:lnTo>
                    <a:lnTo>
                      <a:pt x="10815" y="149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3" name="Freeform 136"/>
              <p:cNvSpPr>
                <a:spLocks/>
              </p:cNvSpPr>
              <p:nvPr/>
            </p:nvSpPr>
            <p:spPr bwMode="auto">
              <a:xfrm>
                <a:off x="5541963" y="4964113"/>
                <a:ext cx="254000" cy="269875"/>
              </a:xfrm>
              <a:custGeom>
                <a:avLst/>
                <a:gdLst>
                  <a:gd name="T0" fmla="*/ 11900 w 20000"/>
                  <a:gd name="T1" fmla="*/ 0 h 20000"/>
                  <a:gd name="T2" fmla="*/ 12400 w 20000"/>
                  <a:gd name="T3" fmla="*/ 1224 h 20000"/>
                  <a:gd name="T4" fmla="*/ 13750 w 20000"/>
                  <a:gd name="T5" fmla="*/ 2682 h 20000"/>
                  <a:gd name="T6" fmla="*/ 13750 w 20000"/>
                  <a:gd name="T7" fmla="*/ 3435 h 20000"/>
                  <a:gd name="T8" fmla="*/ 15050 w 20000"/>
                  <a:gd name="T9" fmla="*/ 4141 h 20000"/>
                  <a:gd name="T10" fmla="*/ 16300 w 20000"/>
                  <a:gd name="T11" fmla="*/ 4612 h 20000"/>
                  <a:gd name="T12" fmla="*/ 16600 w 20000"/>
                  <a:gd name="T13" fmla="*/ 5835 h 20000"/>
                  <a:gd name="T14" fmla="*/ 17100 w 20000"/>
                  <a:gd name="T15" fmla="*/ 5835 h 20000"/>
                  <a:gd name="T16" fmla="*/ 17400 w 20000"/>
                  <a:gd name="T17" fmla="*/ 7294 h 20000"/>
                  <a:gd name="T18" fmla="*/ 17900 w 20000"/>
                  <a:gd name="T19" fmla="*/ 8282 h 20000"/>
                  <a:gd name="T20" fmla="*/ 18650 w 20000"/>
                  <a:gd name="T21" fmla="*/ 8282 h 20000"/>
                  <a:gd name="T22" fmla="*/ 19950 w 20000"/>
                  <a:gd name="T23" fmla="*/ 8518 h 20000"/>
                  <a:gd name="T24" fmla="*/ 19950 w 20000"/>
                  <a:gd name="T25" fmla="*/ 9694 h 20000"/>
                  <a:gd name="T26" fmla="*/ 19150 w 20000"/>
                  <a:gd name="T27" fmla="*/ 10447 h 20000"/>
                  <a:gd name="T28" fmla="*/ 18400 w 20000"/>
                  <a:gd name="T29" fmla="*/ 10447 h 20000"/>
                  <a:gd name="T30" fmla="*/ 17100 w 20000"/>
                  <a:gd name="T31" fmla="*/ 11718 h 20000"/>
                  <a:gd name="T32" fmla="*/ 16600 w 20000"/>
                  <a:gd name="T33" fmla="*/ 11718 h 20000"/>
                  <a:gd name="T34" fmla="*/ 16300 w 20000"/>
                  <a:gd name="T35" fmla="*/ 12188 h 20000"/>
                  <a:gd name="T36" fmla="*/ 15800 w 20000"/>
                  <a:gd name="T37" fmla="*/ 12376 h 20000"/>
                  <a:gd name="T38" fmla="*/ 15050 w 20000"/>
                  <a:gd name="T39" fmla="*/ 13365 h 20000"/>
                  <a:gd name="T40" fmla="*/ 15050 w 20000"/>
                  <a:gd name="T41" fmla="*/ 14400 h 20000"/>
                  <a:gd name="T42" fmla="*/ 14250 w 20000"/>
                  <a:gd name="T43" fmla="*/ 14871 h 20000"/>
                  <a:gd name="T44" fmla="*/ 13000 w 20000"/>
                  <a:gd name="T45" fmla="*/ 15341 h 20000"/>
                  <a:gd name="T46" fmla="*/ 11900 w 20000"/>
                  <a:gd name="T47" fmla="*/ 17271 h 20000"/>
                  <a:gd name="T48" fmla="*/ 10850 w 20000"/>
                  <a:gd name="T49" fmla="*/ 17271 h 20000"/>
                  <a:gd name="T50" fmla="*/ 9600 w 20000"/>
                  <a:gd name="T51" fmla="*/ 17271 h 20000"/>
                  <a:gd name="T52" fmla="*/ 8300 w 20000"/>
                  <a:gd name="T53" fmla="*/ 17271 h 20000"/>
                  <a:gd name="T54" fmla="*/ 7000 w 20000"/>
                  <a:gd name="T55" fmla="*/ 16518 h 20000"/>
                  <a:gd name="T56" fmla="*/ 5750 w 20000"/>
                  <a:gd name="T57" fmla="*/ 16518 h 20000"/>
                  <a:gd name="T58" fmla="*/ 5750 w 20000"/>
                  <a:gd name="T59" fmla="*/ 18024 h 20000"/>
                  <a:gd name="T60" fmla="*/ 4400 w 20000"/>
                  <a:gd name="T61" fmla="*/ 19200 h 20000"/>
                  <a:gd name="T62" fmla="*/ 3600 w 20000"/>
                  <a:gd name="T63" fmla="*/ 19200 h 20000"/>
                  <a:gd name="T64" fmla="*/ 3600 w 20000"/>
                  <a:gd name="T65" fmla="*/ 19482 h 20000"/>
                  <a:gd name="T66" fmla="*/ 2350 w 20000"/>
                  <a:gd name="T67" fmla="*/ 19482 h 20000"/>
                  <a:gd name="T68" fmla="*/ 1050 w 20000"/>
                  <a:gd name="T69" fmla="*/ 19953 h 20000"/>
                  <a:gd name="T70" fmla="*/ 1050 w 20000"/>
                  <a:gd name="T71" fmla="*/ 18729 h 20000"/>
                  <a:gd name="T72" fmla="*/ 1550 w 20000"/>
                  <a:gd name="T73" fmla="*/ 18024 h 20000"/>
                  <a:gd name="T74" fmla="*/ 1050 w 20000"/>
                  <a:gd name="T75" fmla="*/ 17271 h 20000"/>
                  <a:gd name="T76" fmla="*/ 800 w 20000"/>
                  <a:gd name="T77" fmla="*/ 16047 h 20000"/>
                  <a:gd name="T78" fmla="*/ 0 w 20000"/>
                  <a:gd name="T79" fmla="*/ 15341 h 20000"/>
                  <a:gd name="T80" fmla="*/ 300 w 20000"/>
                  <a:gd name="T81" fmla="*/ 8988 h 20000"/>
                  <a:gd name="T82" fmla="*/ 2350 w 20000"/>
                  <a:gd name="T83" fmla="*/ 8988 h 20000"/>
                  <a:gd name="T84" fmla="*/ 2850 w 20000"/>
                  <a:gd name="T85" fmla="*/ 1224 h 20000"/>
                  <a:gd name="T86" fmla="*/ 5750 w 20000"/>
                  <a:gd name="T87" fmla="*/ 753 h 20000"/>
                  <a:gd name="T88" fmla="*/ 7500 w 20000"/>
                  <a:gd name="T89" fmla="*/ 188 h 20000"/>
                  <a:gd name="T90" fmla="*/ 8300 w 20000"/>
                  <a:gd name="T91" fmla="*/ 1224 h 20000"/>
                  <a:gd name="T92" fmla="*/ 9850 w 20000"/>
                  <a:gd name="T93" fmla="*/ 188 h 20000"/>
                  <a:gd name="T94" fmla="*/ 10350 w 20000"/>
                  <a:gd name="T95" fmla="*/ 188 h 20000"/>
                  <a:gd name="T96" fmla="*/ 11150 w 20000"/>
                  <a:gd name="T97" fmla="*/ 0 h 20000"/>
                  <a:gd name="T98" fmla="*/ 11900 w 20000"/>
                  <a:gd name="T9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11900" y="0"/>
                    </a:moveTo>
                    <a:lnTo>
                      <a:pt x="12400" y="1224"/>
                    </a:lnTo>
                    <a:lnTo>
                      <a:pt x="13750" y="2682"/>
                    </a:lnTo>
                    <a:lnTo>
                      <a:pt x="13750" y="3435"/>
                    </a:lnTo>
                    <a:lnTo>
                      <a:pt x="15050" y="4141"/>
                    </a:lnTo>
                    <a:lnTo>
                      <a:pt x="16300" y="4612"/>
                    </a:lnTo>
                    <a:lnTo>
                      <a:pt x="16600" y="5835"/>
                    </a:lnTo>
                    <a:lnTo>
                      <a:pt x="17100" y="5835"/>
                    </a:lnTo>
                    <a:lnTo>
                      <a:pt x="17400" y="7294"/>
                    </a:lnTo>
                    <a:lnTo>
                      <a:pt x="17900" y="8282"/>
                    </a:lnTo>
                    <a:lnTo>
                      <a:pt x="18650" y="8282"/>
                    </a:lnTo>
                    <a:lnTo>
                      <a:pt x="19950" y="8518"/>
                    </a:lnTo>
                    <a:lnTo>
                      <a:pt x="19950" y="9694"/>
                    </a:lnTo>
                    <a:lnTo>
                      <a:pt x="19150" y="10447"/>
                    </a:lnTo>
                    <a:lnTo>
                      <a:pt x="18400" y="10447"/>
                    </a:lnTo>
                    <a:lnTo>
                      <a:pt x="17100" y="11718"/>
                    </a:lnTo>
                    <a:lnTo>
                      <a:pt x="16600" y="11718"/>
                    </a:lnTo>
                    <a:lnTo>
                      <a:pt x="16300" y="12188"/>
                    </a:lnTo>
                    <a:lnTo>
                      <a:pt x="15800" y="12376"/>
                    </a:lnTo>
                    <a:lnTo>
                      <a:pt x="15050" y="13365"/>
                    </a:lnTo>
                    <a:lnTo>
                      <a:pt x="15050" y="14400"/>
                    </a:lnTo>
                    <a:lnTo>
                      <a:pt x="14250" y="14871"/>
                    </a:lnTo>
                    <a:lnTo>
                      <a:pt x="13000" y="15341"/>
                    </a:lnTo>
                    <a:lnTo>
                      <a:pt x="11900" y="17271"/>
                    </a:lnTo>
                    <a:lnTo>
                      <a:pt x="10850" y="17271"/>
                    </a:lnTo>
                    <a:lnTo>
                      <a:pt x="9600" y="17271"/>
                    </a:lnTo>
                    <a:lnTo>
                      <a:pt x="8300" y="17271"/>
                    </a:lnTo>
                    <a:lnTo>
                      <a:pt x="7000" y="16518"/>
                    </a:lnTo>
                    <a:lnTo>
                      <a:pt x="5750" y="16518"/>
                    </a:lnTo>
                    <a:lnTo>
                      <a:pt x="5750" y="18024"/>
                    </a:lnTo>
                    <a:lnTo>
                      <a:pt x="4400" y="19200"/>
                    </a:lnTo>
                    <a:lnTo>
                      <a:pt x="3600" y="19200"/>
                    </a:lnTo>
                    <a:lnTo>
                      <a:pt x="3600" y="19482"/>
                    </a:lnTo>
                    <a:lnTo>
                      <a:pt x="2350" y="19482"/>
                    </a:lnTo>
                    <a:lnTo>
                      <a:pt x="1050" y="19953"/>
                    </a:lnTo>
                    <a:lnTo>
                      <a:pt x="1050" y="18729"/>
                    </a:lnTo>
                    <a:lnTo>
                      <a:pt x="1550" y="18024"/>
                    </a:lnTo>
                    <a:lnTo>
                      <a:pt x="1050" y="17271"/>
                    </a:lnTo>
                    <a:lnTo>
                      <a:pt x="800" y="16047"/>
                    </a:lnTo>
                    <a:lnTo>
                      <a:pt x="0" y="15341"/>
                    </a:lnTo>
                    <a:lnTo>
                      <a:pt x="300" y="8988"/>
                    </a:lnTo>
                    <a:lnTo>
                      <a:pt x="2350" y="8988"/>
                    </a:lnTo>
                    <a:lnTo>
                      <a:pt x="2850" y="1224"/>
                    </a:lnTo>
                    <a:lnTo>
                      <a:pt x="5750" y="753"/>
                    </a:lnTo>
                    <a:lnTo>
                      <a:pt x="7500" y="188"/>
                    </a:lnTo>
                    <a:lnTo>
                      <a:pt x="8300" y="1224"/>
                    </a:lnTo>
                    <a:lnTo>
                      <a:pt x="9850" y="188"/>
                    </a:lnTo>
                    <a:lnTo>
                      <a:pt x="10350" y="188"/>
                    </a:lnTo>
                    <a:lnTo>
                      <a:pt x="11150" y="0"/>
                    </a:lnTo>
                    <a:lnTo>
                      <a:pt x="1190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4" name="Freeform 135"/>
              <p:cNvSpPr>
                <a:spLocks/>
              </p:cNvSpPr>
              <p:nvPr/>
            </p:nvSpPr>
            <p:spPr bwMode="auto">
              <a:xfrm>
                <a:off x="4835525" y="4017963"/>
                <a:ext cx="222250" cy="165100"/>
              </a:xfrm>
              <a:custGeom>
                <a:avLst/>
                <a:gdLst>
                  <a:gd name="T0" fmla="*/ 14269 w 20000"/>
                  <a:gd name="T1" fmla="*/ 769 h 20000"/>
                  <a:gd name="T2" fmla="*/ 14269 w 20000"/>
                  <a:gd name="T3" fmla="*/ 2000 h 20000"/>
                  <a:gd name="T4" fmla="*/ 14900 w 20000"/>
                  <a:gd name="T5" fmla="*/ 3154 h 20000"/>
                  <a:gd name="T6" fmla="*/ 15129 w 20000"/>
                  <a:gd name="T7" fmla="*/ 4385 h 20000"/>
                  <a:gd name="T8" fmla="*/ 16332 w 20000"/>
                  <a:gd name="T9" fmla="*/ 5923 h 20000"/>
                  <a:gd name="T10" fmla="*/ 17249 w 20000"/>
                  <a:gd name="T11" fmla="*/ 5923 h 20000"/>
                  <a:gd name="T12" fmla="*/ 17249 w 20000"/>
                  <a:gd name="T13" fmla="*/ 6385 h 20000"/>
                  <a:gd name="T14" fmla="*/ 16332 w 20000"/>
                  <a:gd name="T15" fmla="*/ 6385 h 20000"/>
                  <a:gd name="T16" fmla="*/ 16332 w 20000"/>
                  <a:gd name="T17" fmla="*/ 7154 h 20000"/>
                  <a:gd name="T18" fmla="*/ 18166 w 20000"/>
                  <a:gd name="T19" fmla="*/ 8308 h 20000"/>
                  <a:gd name="T20" fmla="*/ 19026 w 20000"/>
                  <a:gd name="T21" fmla="*/ 8308 h 20000"/>
                  <a:gd name="T22" fmla="*/ 19599 w 20000"/>
                  <a:gd name="T23" fmla="*/ 9154 h 20000"/>
                  <a:gd name="T24" fmla="*/ 19026 w 20000"/>
                  <a:gd name="T25" fmla="*/ 9538 h 20000"/>
                  <a:gd name="T26" fmla="*/ 19943 w 20000"/>
                  <a:gd name="T27" fmla="*/ 11154 h 20000"/>
                  <a:gd name="T28" fmla="*/ 19026 w 20000"/>
                  <a:gd name="T29" fmla="*/ 12692 h 20000"/>
                  <a:gd name="T30" fmla="*/ 17593 w 20000"/>
                  <a:gd name="T31" fmla="*/ 13538 h 20000"/>
                  <a:gd name="T32" fmla="*/ 16676 w 20000"/>
                  <a:gd name="T33" fmla="*/ 14308 h 20000"/>
                  <a:gd name="T34" fmla="*/ 15759 w 20000"/>
                  <a:gd name="T35" fmla="*/ 14769 h 20000"/>
                  <a:gd name="T36" fmla="*/ 14900 w 20000"/>
                  <a:gd name="T37" fmla="*/ 14769 h 20000"/>
                  <a:gd name="T38" fmla="*/ 14269 w 20000"/>
                  <a:gd name="T39" fmla="*/ 14769 h 20000"/>
                  <a:gd name="T40" fmla="*/ 13696 w 20000"/>
                  <a:gd name="T41" fmla="*/ 14308 h 20000"/>
                  <a:gd name="T42" fmla="*/ 12779 w 20000"/>
                  <a:gd name="T43" fmla="*/ 14308 h 20000"/>
                  <a:gd name="T44" fmla="*/ 12550 w 20000"/>
                  <a:gd name="T45" fmla="*/ 14769 h 20000"/>
                  <a:gd name="T46" fmla="*/ 6590 w 20000"/>
                  <a:gd name="T47" fmla="*/ 14308 h 20000"/>
                  <a:gd name="T48" fmla="*/ 6246 w 20000"/>
                  <a:gd name="T49" fmla="*/ 15538 h 20000"/>
                  <a:gd name="T50" fmla="*/ 6590 w 20000"/>
                  <a:gd name="T51" fmla="*/ 17923 h 20000"/>
                  <a:gd name="T52" fmla="*/ 6590 w 20000"/>
                  <a:gd name="T53" fmla="*/ 19923 h 20000"/>
                  <a:gd name="T54" fmla="*/ 4814 w 20000"/>
                  <a:gd name="T55" fmla="*/ 17923 h 20000"/>
                  <a:gd name="T56" fmla="*/ 3324 w 20000"/>
                  <a:gd name="T57" fmla="*/ 17923 h 20000"/>
                  <a:gd name="T58" fmla="*/ 2693 w 20000"/>
                  <a:gd name="T59" fmla="*/ 19462 h 20000"/>
                  <a:gd name="T60" fmla="*/ 1777 w 20000"/>
                  <a:gd name="T61" fmla="*/ 19462 h 20000"/>
                  <a:gd name="T62" fmla="*/ 917 w 20000"/>
                  <a:gd name="T63" fmla="*/ 17538 h 20000"/>
                  <a:gd name="T64" fmla="*/ 0 w 20000"/>
                  <a:gd name="T65" fmla="*/ 16769 h 20000"/>
                  <a:gd name="T66" fmla="*/ 0 w 20000"/>
                  <a:gd name="T67" fmla="*/ 15846 h 20000"/>
                  <a:gd name="T68" fmla="*/ 0 w 20000"/>
                  <a:gd name="T69" fmla="*/ 14769 h 20000"/>
                  <a:gd name="T70" fmla="*/ 344 w 20000"/>
                  <a:gd name="T71" fmla="*/ 13538 h 20000"/>
                  <a:gd name="T72" fmla="*/ 0 w 20000"/>
                  <a:gd name="T73" fmla="*/ 11538 h 20000"/>
                  <a:gd name="T74" fmla="*/ 1203 w 20000"/>
                  <a:gd name="T75" fmla="*/ 11154 h 20000"/>
                  <a:gd name="T76" fmla="*/ 1777 w 20000"/>
                  <a:gd name="T77" fmla="*/ 11154 h 20000"/>
                  <a:gd name="T78" fmla="*/ 2693 w 20000"/>
                  <a:gd name="T79" fmla="*/ 9538 h 20000"/>
                  <a:gd name="T80" fmla="*/ 2693 w 20000"/>
                  <a:gd name="T81" fmla="*/ 8308 h 20000"/>
                  <a:gd name="T82" fmla="*/ 3324 w 20000"/>
                  <a:gd name="T83" fmla="*/ 8308 h 20000"/>
                  <a:gd name="T84" fmla="*/ 2693 w 20000"/>
                  <a:gd name="T85" fmla="*/ 6385 h 20000"/>
                  <a:gd name="T86" fmla="*/ 3897 w 20000"/>
                  <a:gd name="T87" fmla="*/ 5923 h 20000"/>
                  <a:gd name="T88" fmla="*/ 4814 w 20000"/>
                  <a:gd name="T89" fmla="*/ 7154 h 20000"/>
                  <a:gd name="T90" fmla="*/ 5673 w 20000"/>
                  <a:gd name="T91" fmla="*/ 6385 h 20000"/>
                  <a:gd name="T92" fmla="*/ 5043 w 20000"/>
                  <a:gd name="T93" fmla="*/ 5154 h 20000"/>
                  <a:gd name="T94" fmla="*/ 6246 w 20000"/>
                  <a:gd name="T95" fmla="*/ 5154 h 20000"/>
                  <a:gd name="T96" fmla="*/ 6590 w 20000"/>
                  <a:gd name="T97" fmla="*/ 4385 h 20000"/>
                  <a:gd name="T98" fmla="*/ 8653 w 20000"/>
                  <a:gd name="T99" fmla="*/ 3154 h 20000"/>
                  <a:gd name="T100" fmla="*/ 8940 w 20000"/>
                  <a:gd name="T101" fmla="*/ 1231 h 20000"/>
                  <a:gd name="T102" fmla="*/ 11289 w 20000"/>
                  <a:gd name="T103" fmla="*/ 1231 h 20000"/>
                  <a:gd name="T104" fmla="*/ 11862 w 20000"/>
                  <a:gd name="T105" fmla="*/ 0 h 20000"/>
                  <a:gd name="T106" fmla="*/ 14269 w 20000"/>
                  <a:gd name="T107" fmla="*/ 7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14269" y="769"/>
                    </a:moveTo>
                    <a:lnTo>
                      <a:pt x="14269" y="2000"/>
                    </a:lnTo>
                    <a:lnTo>
                      <a:pt x="14900" y="3154"/>
                    </a:lnTo>
                    <a:lnTo>
                      <a:pt x="15129" y="4385"/>
                    </a:lnTo>
                    <a:lnTo>
                      <a:pt x="16332" y="5923"/>
                    </a:lnTo>
                    <a:lnTo>
                      <a:pt x="17249" y="5923"/>
                    </a:lnTo>
                    <a:lnTo>
                      <a:pt x="17249" y="6385"/>
                    </a:lnTo>
                    <a:lnTo>
                      <a:pt x="16332" y="6385"/>
                    </a:lnTo>
                    <a:lnTo>
                      <a:pt x="16332" y="7154"/>
                    </a:lnTo>
                    <a:lnTo>
                      <a:pt x="18166" y="8308"/>
                    </a:lnTo>
                    <a:lnTo>
                      <a:pt x="19026" y="8308"/>
                    </a:lnTo>
                    <a:lnTo>
                      <a:pt x="19599" y="9154"/>
                    </a:lnTo>
                    <a:lnTo>
                      <a:pt x="19026" y="9538"/>
                    </a:lnTo>
                    <a:lnTo>
                      <a:pt x="19943" y="11154"/>
                    </a:lnTo>
                    <a:lnTo>
                      <a:pt x="19026" y="12692"/>
                    </a:lnTo>
                    <a:lnTo>
                      <a:pt x="17593" y="13538"/>
                    </a:lnTo>
                    <a:lnTo>
                      <a:pt x="16676" y="14308"/>
                    </a:lnTo>
                    <a:lnTo>
                      <a:pt x="15759" y="14769"/>
                    </a:lnTo>
                    <a:lnTo>
                      <a:pt x="14900" y="14769"/>
                    </a:lnTo>
                    <a:lnTo>
                      <a:pt x="14269" y="14769"/>
                    </a:lnTo>
                    <a:lnTo>
                      <a:pt x="13696" y="14308"/>
                    </a:lnTo>
                    <a:lnTo>
                      <a:pt x="12779" y="14308"/>
                    </a:lnTo>
                    <a:lnTo>
                      <a:pt x="12550" y="14769"/>
                    </a:lnTo>
                    <a:lnTo>
                      <a:pt x="6590" y="14308"/>
                    </a:lnTo>
                    <a:lnTo>
                      <a:pt x="6246" y="15538"/>
                    </a:lnTo>
                    <a:lnTo>
                      <a:pt x="6590" y="17923"/>
                    </a:lnTo>
                    <a:lnTo>
                      <a:pt x="6590" y="19923"/>
                    </a:lnTo>
                    <a:lnTo>
                      <a:pt x="4814" y="17923"/>
                    </a:lnTo>
                    <a:lnTo>
                      <a:pt x="3324" y="17923"/>
                    </a:lnTo>
                    <a:lnTo>
                      <a:pt x="2693" y="19462"/>
                    </a:lnTo>
                    <a:lnTo>
                      <a:pt x="1777" y="19462"/>
                    </a:lnTo>
                    <a:lnTo>
                      <a:pt x="917" y="17538"/>
                    </a:lnTo>
                    <a:lnTo>
                      <a:pt x="0" y="16769"/>
                    </a:lnTo>
                    <a:lnTo>
                      <a:pt x="0" y="15846"/>
                    </a:lnTo>
                    <a:lnTo>
                      <a:pt x="0" y="14769"/>
                    </a:lnTo>
                    <a:lnTo>
                      <a:pt x="344" y="13538"/>
                    </a:lnTo>
                    <a:lnTo>
                      <a:pt x="0" y="11538"/>
                    </a:lnTo>
                    <a:lnTo>
                      <a:pt x="1203" y="11154"/>
                    </a:lnTo>
                    <a:lnTo>
                      <a:pt x="1777" y="11154"/>
                    </a:lnTo>
                    <a:lnTo>
                      <a:pt x="2693" y="9538"/>
                    </a:lnTo>
                    <a:lnTo>
                      <a:pt x="2693" y="8308"/>
                    </a:lnTo>
                    <a:lnTo>
                      <a:pt x="3324" y="8308"/>
                    </a:lnTo>
                    <a:lnTo>
                      <a:pt x="2693" y="6385"/>
                    </a:lnTo>
                    <a:lnTo>
                      <a:pt x="3897" y="5923"/>
                    </a:lnTo>
                    <a:lnTo>
                      <a:pt x="4814" y="7154"/>
                    </a:lnTo>
                    <a:lnTo>
                      <a:pt x="5673" y="6385"/>
                    </a:lnTo>
                    <a:lnTo>
                      <a:pt x="5043" y="5154"/>
                    </a:lnTo>
                    <a:lnTo>
                      <a:pt x="6246" y="5154"/>
                    </a:lnTo>
                    <a:lnTo>
                      <a:pt x="6590" y="4385"/>
                    </a:lnTo>
                    <a:lnTo>
                      <a:pt x="8653" y="3154"/>
                    </a:lnTo>
                    <a:lnTo>
                      <a:pt x="8940" y="1231"/>
                    </a:lnTo>
                    <a:lnTo>
                      <a:pt x="11289" y="1231"/>
                    </a:lnTo>
                    <a:lnTo>
                      <a:pt x="11862" y="0"/>
                    </a:lnTo>
                    <a:lnTo>
                      <a:pt x="14269" y="7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5" name="Freeform 134"/>
              <p:cNvSpPr>
                <a:spLocks/>
              </p:cNvSpPr>
              <p:nvPr/>
            </p:nvSpPr>
            <p:spPr bwMode="auto">
              <a:xfrm>
                <a:off x="5805488" y="4516438"/>
                <a:ext cx="60325" cy="63500"/>
              </a:xfrm>
              <a:custGeom>
                <a:avLst/>
                <a:gdLst>
                  <a:gd name="T0" fmla="*/ 0 w 20000"/>
                  <a:gd name="T1" fmla="*/ 3200 h 20000"/>
                  <a:gd name="T2" fmla="*/ 5474 w 20000"/>
                  <a:gd name="T3" fmla="*/ 2200 h 20000"/>
                  <a:gd name="T4" fmla="*/ 5474 w 20000"/>
                  <a:gd name="T5" fmla="*/ 5400 h 20000"/>
                  <a:gd name="T6" fmla="*/ 8632 w 20000"/>
                  <a:gd name="T7" fmla="*/ 3200 h 20000"/>
                  <a:gd name="T8" fmla="*/ 10737 w 20000"/>
                  <a:gd name="T9" fmla="*/ 2200 h 20000"/>
                  <a:gd name="T10" fmla="*/ 14105 w 20000"/>
                  <a:gd name="T11" fmla="*/ 0 h 20000"/>
                  <a:gd name="T12" fmla="*/ 16421 w 20000"/>
                  <a:gd name="T13" fmla="*/ 3200 h 20000"/>
                  <a:gd name="T14" fmla="*/ 16421 w 20000"/>
                  <a:gd name="T15" fmla="*/ 5400 h 20000"/>
                  <a:gd name="T16" fmla="*/ 19789 w 20000"/>
                  <a:gd name="T17" fmla="*/ 6200 h 20000"/>
                  <a:gd name="T18" fmla="*/ 19789 w 20000"/>
                  <a:gd name="T19" fmla="*/ 10400 h 20000"/>
                  <a:gd name="T20" fmla="*/ 16421 w 20000"/>
                  <a:gd name="T21" fmla="*/ 13600 h 20000"/>
                  <a:gd name="T22" fmla="*/ 10737 w 20000"/>
                  <a:gd name="T23" fmla="*/ 18600 h 20000"/>
                  <a:gd name="T24" fmla="*/ 5474 w 20000"/>
                  <a:gd name="T25" fmla="*/ 19800 h 20000"/>
                  <a:gd name="T26" fmla="*/ 5474 w 20000"/>
                  <a:gd name="T27" fmla="*/ 18600 h 20000"/>
                  <a:gd name="T28" fmla="*/ 4421 w 20000"/>
                  <a:gd name="T29" fmla="*/ 13600 h 20000"/>
                  <a:gd name="T30" fmla="*/ 4421 w 20000"/>
                  <a:gd name="T31" fmla="*/ 10400 h 20000"/>
                  <a:gd name="T32" fmla="*/ 4421 w 20000"/>
                  <a:gd name="T33" fmla="*/ 8200 h 20000"/>
                  <a:gd name="T34" fmla="*/ 2105 w 20000"/>
                  <a:gd name="T35" fmla="*/ 6200 h 20000"/>
                  <a:gd name="T36" fmla="*/ 0 w 20000"/>
                  <a:gd name="T37" fmla="*/ 320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0" y="3200"/>
                    </a:moveTo>
                    <a:lnTo>
                      <a:pt x="5474" y="2200"/>
                    </a:lnTo>
                    <a:lnTo>
                      <a:pt x="5474" y="5400"/>
                    </a:lnTo>
                    <a:lnTo>
                      <a:pt x="8632" y="3200"/>
                    </a:lnTo>
                    <a:lnTo>
                      <a:pt x="10737" y="2200"/>
                    </a:lnTo>
                    <a:lnTo>
                      <a:pt x="14105" y="0"/>
                    </a:lnTo>
                    <a:lnTo>
                      <a:pt x="16421" y="3200"/>
                    </a:lnTo>
                    <a:lnTo>
                      <a:pt x="16421" y="5400"/>
                    </a:lnTo>
                    <a:lnTo>
                      <a:pt x="19789" y="6200"/>
                    </a:lnTo>
                    <a:lnTo>
                      <a:pt x="19789" y="10400"/>
                    </a:lnTo>
                    <a:lnTo>
                      <a:pt x="16421" y="13600"/>
                    </a:lnTo>
                    <a:lnTo>
                      <a:pt x="10737" y="18600"/>
                    </a:lnTo>
                    <a:lnTo>
                      <a:pt x="5474" y="19800"/>
                    </a:lnTo>
                    <a:lnTo>
                      <a:pt x="5474" y="18600"/>
                    </a:lnTo>
                    <a:lnTo>
                      <a:pt x="4421" y="13600"/>
                    </a:lnTo>
                    <a:lnTo>
                      <a:pt x="4421" y="10400"/>
                    </a:lnTo>
                    <a:lnTo>
                      <a:pt x="4421" y="8200"/>
                    </a:lnTo>
                    <a:lnTo>
                      <a:pt x="2105" y="6200"/>
                    </a:lnTo>
                    <a:lnTo>
                      <a:pt x="0" y="320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6" name="Freeform 133"/>
              <p:cNvSpPr>
                <a:spLocks/>
              </p:cNvSpPr>
              <p:nvPr/>
            </p:nvSpPr>
            <p:spPr bwMode="auto">
              <a:xfrm>
                <a:off x="6167438" y="4092575"/>
                <a:ext cx="42862" cy="53975"/>
              </a:xfrm>
              <a:custGeom>
                <a:avLst/>
                <a:gdLst>
                  <a:gd name="T0" fmla="*/ 18235 w 20000"/>
                  <a:gd name="T1" fmla="*/ 0 h 20000"/>
                  <a:gd name="T2" fmla="*/ 19706 w 20000"/>
                  <a:gd name="T3" fmla="*/ 7143 h 20000"/>
                  <a:gd name="T4" fmla="*/ 10882 w 20000"/>
                  <a:gd name="T5" fmla="*/ 10952 h 20000"/>
                  <a:gd name="T6" fmla="*/ 10882 w 20000"/>
                  <a:gd name="T7" fmla="*/ 13571 h 20000"/>
                  <a:gd name="T8" fmla="*/ 18235 w 20000"/>
                  <a:gd name="T9" fmla="*/ 10952 h 20000"/>
                  <a:gd name="T10" fmla="*/ 19706 w 20000"/>
                  <a:gd name="T11" fmla="*/ 13571 h 20000"/>
                  <a:gd name="T12" fmla="*/ 18235 w 20000"/>
                  <a:gd name="T13" fmla="*/ 15952 h 20000"/>
                  <a:gd name="T14" fmla="*/ 15000 w 20000"/>
                  <a:gd name="T15" fmla="*/ 19762 h 20000"/>
                  <a:gd name="T16" fmla="*/ 12059 w 20000"/>
                  <a:gd name="T17" fmla="*/ 17381 h 20000"/>
                  <a:gd name="T18" fmla="*/ 2941 w 20000"/>
                  <a:gd name="T19" fmla="*/ 17381 h 20000"/>
                  <a:gd name="T20" fmla="*/ 0 w 20000"/>
                  <a:gd name="T21" fmla="*/ 10952 h 20000"/>
                  <a:gd name="T22" fmla="*/ 4706 w 20000"/>
                  <a:gd name="T23" fmla="*/ 7143 h 20000"/>
                  <a:gd name="T24" fmla="*/ 7647 w 20000"/>
                  <a:gd name="T25" fmla="*/ 3571 h 20000"/>
                  <a:gd name="T26" fmla="*/ 12059 w 20000"/>
                  <a:gd name="T27" fmla="*/ 952 h 20000"/>
                  <a:gd name="T28" fmla="*/ 18235 w 20000"/>
                  <a:gd name="T2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8235" y="0"/>
                    </a:moveTo>
                    <a:lnTo>
                      <a:pt x="19706" y="7143"/>
                    </a:lnTo>
                    <a:lnTo>
                      <a:pt x="10882" y="10952"/>
                    </a:lnTo>
                    <a:lnTo>
                      <a:pt x="10882" y="13571"/>
                    </a:lnTo>
                    <a:lnTo>
                      <a:pt x="18235" y="10952"/>
                    </a:lnTo>
                    <a:lnTo>
                      <a:pt x="19706" y="13571"/>
                    </a:lnTo>
                    <a:lnTo>
                      <a:pt x="18235" y="15952"/>
                    </a:lnTo>
                    <a:lnTo>
                      <a:pt x="15000" y="19762"/>
                    </a:lnTo>
                    <a:lnTo>
                      <a:pt x="12059" y="17381"/>
                    </a:lnTo>
                    <a:lnTo>
                      <a:pt x="2941" y="17381"/>
                    </a:lnTo>
                    <a:lnTo>
                      <a:pt x="0" y="10952"/>
                    </a:lnTo>
                    <a:lnTo>
                      <a:pt x="4706" y="7143"/>
                    </a:lnTo>
                    <a:lnTo>
                      <a:pt x="7647" y="3571"/>
                    </a:lnTo>
                    <a:lnTo>
                      <a:pt x="12059" y="952"/>
                    </a:lnTo>
                    <a:lnTo>
                      <a:pt x="1823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7" name="Freeform 132"/>
              <p:cNvSpPr>
                <a:spLocks/>
              </p:cNvSpPr>
              <p:nvPr/>
            </p:nvSpPr>
            <p:spPr bwMode="auto">
              <a:xfrm>
                <a:off x="4749800" y="4144963"/>
                <a:ext cx="165100" cy="180975"/>
              </a:xfrm>
              <a:custGeom>
                <a:avLst/>
                <a:gdLst>
                  <a:gd name="T0" fmla="*/ 2000 w 20000"/>
                  <a:gd name="T1" fmla="*/ 1825 h 20000"/>
                  <a:gd name="T2" fmla="*/ 3154 w 20000"/>
                  <a:gd name="T3" fmla="*/ 281 h 20000"/>
                  <a:gd name="T4" fmla="*/ 3538 w 20000"/>
                  <a:gd name="T5" fmla="*/ 1123 h 20000"/>
                  <a:gd name="T6" fmla="*/ 5154 w 20000"/>
                  <a:gd name="T7" fmla="*/ 1825 h 20000"/>
                  <a:gd name="T8" fmla="*/ 5154 w 20000"/>
                  <a:gd name="T9" fmla="*/ 1123 h 20000"/>
                  <a:gd name="T10" fmla="*/ 5615 w 20000"/>
                  <a:gd name="T11" fmla="*/ 281 h 20000"/>
                  <a:gd name="T12" fmla="*/ 6385 w 20000"/>
                  <a:gd name="T13" fmla="*/ 0 h 20000"/>
                  <a:gd name="T14" fmla="*/ 7154 w 20000"/>
                  <a:gd name="T15" fmla="*/ 0 h 20000"/>
                  <a:gd name="T16" fmla="*/ 7538 w 20000"/>
                  <a:gd name="T17" fmla="*/ 1123 h 20000"/>
                  <a:gd name="T18" fmla="*/ 8769 w 20000"/>
                  <a:gd name="T19" fmla="*/ 1123 h 20000"/>
                  <a:gd name="T20" fmla="*/ 10308 w 20000"/>
                  <a:gd name="T21" fmla="*/ 281 h 20000"/>
                  <a:gd name="T22" fmla="*/ 10308 w 20000"/>
                  <a:gd name="T23" fmla="*/ 1123 h 20000"/>
                  <a:gd name="T24" fmla="*/ 11538 w 20000"/>
                  <a:gd name="T25" fmla="*/ 1825 h 20000"/>
                  <a:gd name="T26" fmla="*/ 12692 w 20000"/>
                  <a:gd name="T27" fmla="*/ 3579 h 20000"/>
                  <a:gd name="T28" fmla="*/ 13923 w 20000"/>
                  <a:gd name="T29" fmla="*/ 3579 h 20000"/>
                  <a:gd name="T30" fmla="*/ 14769 w 20000"/>
                  <a:gd name="T31" fmla="*/ 2175 h 20000"/>
                  <a:gd name="T32" fmla="*/ 16769 w 20000"/>
                  <a:gd name="T33" fmla="*/ 2175 h 20000"/>
                  <a:gd name="T34" fmla="*/ 19154 w 20000"/>
                  <a:gd name="T35" fmla="*/ 4000 h 20000"/>
                  <a:gd name="T36" fmla="*/ 19154 w 20000"/>
                  <a:gd name="T37" fmla="*/ 4702 h 20000"/>
                  <a:gd name="T38" fmla="*/ 19923 w 20000"/>
                  <a:gd name="T39" fmla="*/ 6877 h 20000"/>
                  <a:gd name="T40" fmla="*/ 19923 w 20000"/>
                  <a:gd name="T41" fmla="*/ 8000 h 20000"/>
                  <a:gd name="T42" fmla="*/ 18692 w 20000"/>
                  <a:gd name="T43" fmla="*/ 8702 h 20000"/>
                  <a:gd name="T44" fmla="*/ 18692 w 20000"/>
                  <a:gd name="T45" fmla="*/ 10456 h 20000"/>
                  <a:gd name="T46" fmla="*/ 17077 w 20000"/>
                  <a:gd name="T47" fmla="*/ 12351 h 20000"/>
                  <a:gd name="T48" fmla="*/ 18692 w 20000"/>
                  <a:gd name="T49" fmla="*/ 15228 h 20000"/>
                  <a:gd name="T50" fmla="*/ 19154 w 20000"/>
                  <a:gd name="T51" fmla="*/ 17053 h 20000"/>
                  <a:gd name="T52" fmla="*/ 19154 w 20000"/>
                  <a:gd name="T53" fmla="*/ 18105 h 20000"/>
                  <a:gd name="T54" fmla="*/ 17923 w 20000"/>
                  <a:gd name="T55" fmla="*/ 17404 h 20000"/>
                  <a:gd name="T56" fmla="*/ 17923 w 20000"/>
                  <a:gd name="T57" fmla="*/ 16351 h 20000"/>
                  <a:gd name="T58" fmla="*/ 17077 w 20000"/>
                  <a:gd name="T59" fmla="*/ 17404 h 20000"/>
                  <a:gd name="T60" fmla="*/ 15538 w 20000"/>
                  <a:gd name="T61" fmla="*/ 17053 h 20000"/>
                  <a:gd name="T62" fmla="*/ 13923 w 20000"/>
                  <a:gd name="T63" fmla="*/ 17404 h 20000"/>
                  <a:gd name="T64" fmla="*/ 10308 w 20000"/>
                  <a:gd name="T65" fmla="*/ 17404 h 20000"/>
                  <a:gd name="T66" fmla="*/ 7154 w 20000"/>
                  <a:gd name="T67" fmla="*/ 18105 h 20000"/>
                  <a:gd name="T68" fmla="*/ 3154 w 20000"/>
                  <a:gd name="T69" fmla="*/ 19930 h 20000"/>
                  <a:gd name="T70" fmla="*/ 2385 w 20000"/>
                  <a:gd name="T71" fmla="*/ 17404 h 20000"/>
                  <a:gd name="T72" fmla="*/ 3154 w 20000"/>
                  <a:gd name="T73" fmla="*/ 15228 h 20000"/>
                  <a:gd name="T74" fmla="*/ 2385 w 20000"/>
                  <a:gd name="T75" fmla="*/ 14456 h 20000"/>
                  <a:gd name="T76" fmla="*/ 2000 w 20000"/>
                  <a:gd name="T77" fmla="*/ 14175 h 20000"/>
                  <a:gd name="T78" fmla="*/ 308 w 20000"/>
                  <a:gd name="T79" fmla="*/ 14175 h 20000"/>
                  <a:gd name="T80" fmla="*/ 0 w 20000"/>
                  <a:gd name="T81" fmla="*/ 12632 h 20000"/>
                  <a:gd name="T82" fmla="*/ 0 w 20000"/>
                  <a:gd name="T83" fmla="*/ 12351 h 20000"/>
                  <a:gd name="T84" fmla="*/ 0 w 20000"/>
                  <a:gd name="T85" fmla="*/ 11228 h 20000"/>
                  <a:gd name="T86" fmla="*/ 0 w 20000"/>
                  <a:gd name="T87" fmla="*/ 9754 h 20000"/>
                  <a:gd name="T88" fmla="*/ 308 w 20000"/>
                  <a:gd name="T89" fmla="*/ 9754 h 20000"/>
                  <a:gd name="T90" fmla="*/ 1231 w 20000"/>
                  <a:gd name="T91" fmla="*/ 8000 h 20000"/>
                  <a:gd name="T92" fmla="*/ 308 w 20000"/>
                  <a:gd name="T93" fmla="*/ 7579 h 20000"/>
                  <a:gd name="T94" fmla="*/ 1231 w 20000"/>
                  <a:gd name="T95" fmla="*/ 6877 h 20000"/>
                  <a:gd name="T96" fmla="*/ 2385 w 20000"/>
                  <a:gd name="T97" fmla="*/ 6877 h 20000"/>
                  <a:gd name="T98" fmla="*/ 2000 w 20000"/>
                  <a:gd name="T99" fmla="*/ 5754 h 20000"/>
                  <a:gd name="T100" fmla="*/ 2000 w 20000"/>
                  <a:gd name="T101" fmla="*/ 5053 h 20000"/>
                  <a:gd name="T102" fmla="*/ 2000 w 20000"/>
                  <a:gd name="T103" fmla="*/ 4000 h 20000"/>
                  <a:gd name="T104" fmla="*/ 1231 w 20000"/>
                  <a:gd name="T105" fmla="*/ 3579 h 20000"/>
                  <a:gd name="T106" fmla="*/ 1231 w 20000"/>
                  <a:gd name="T107" fmla="*/ 2175 h 20000"/>
                  <a:gd name="T108" fmla="*/ 2000 w 20000"/>
                  <a:gd name="T109" fmla="*/ 182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2000" y="1825"/>
                    </a:moveTo>
                    <a:lnTo>
                      <a:pt x="3154" y="281"/>
                    </a:lnTo>
                    <a:lnTo>
                      <a:pt x="3538" y="1123"/>
                    </a:lnTo>
                    <a:lnTo>
                      <a:pt x="5154" y="1825"/>
                    </a:lnTo>
                    <a:lnTo>
                      <a:pt x="5154" y="1123"/>
                    </a:lnTo>
                    <a:lnTo>
                      <a:pt x="5615" y="281"/>
                    </a:lnTo>
                    <a:lnTo>
                      <a:pt x="6385" y="0"/>
                    </a:lnTo>
                    <a:lnTo>
                      <a:pt x="7154" y="0"/>
                    </a:lnTo>
                    <a:lnTo>
                      <a:pt x="7538" y="1123"/>
                    </a:lnTo>
                    <a:lnTo>
                      <a:pt x="8769" y="1123"/>
                    </a:lnTo>
                    <a:lnTo>
                      <a:pt x="10308" y="281"/>
                    </a:lnTo>
                    <a:lnTo>
                      <a:pt x="10308" y="1123"/>
                    </a:lnTo>
                    <a:lnTo>
                      <a:pt x="11538" y="1825"/>
                    </a:lnTo>
                    <a:lnTo>
                      <a:pt x="12692" y="3579"/>
                    </a:lnTo>
                    <a:lnTo>
                      <a:pt x="13923" y="3579"/>
                    </a:lnTo>
                    <a:lnTo>
                      <a:pt x="14769" y="2175"/>
                    </a:lnTo>
                    <a:lnTo>
                      <a:pt x="16769" y="2175"/>
                    </a:lnTo>
                    <a:lnTo>
                      <a:pt x="19154" y="4000"/>
                    </a:lnTo>
                    <a:lnTo>
                      <a:pt x="19154" y="4702"/>
                    </a:lnTo>
                    <a:lnTo>
                      <a:pt x="19923" y="6877"/>
                    </a:lnTo>
                    <a:lnTo>
                      <a:pt x="19923" y="8000"/>
                    </a:lnTo>
                    <a:lnTo>
                      <a:pt x="18692" y="8702"/>
                    </a:lnTo>
                    <a:lnTo>
                      <a:pt x="18692" y="10456"/>
                    </a:lnTo>
                    <a:lnTo>
                      <a:pt x="17077" y="12351"/>
                    </a:lnTo>
                    <a:lnTo>
                      <a:pt x="18692" y="15228"/>
                    </a:lnTo>
                    <a:lnTo>
                      <a:pt x="19154" y="17053"/>
                    </a:lnTo>
                    <a:lnTo>
                      <a:pt x="19154" y="18105"/>
                    </a:lnTo>
                    <a:lnTo>
                      <a:pt x="17923" y="17404"/>
                    </a:lnTo>
                    <a:lnTo>
                      <a:pt x="17923" y="16351"/>
                    </a:lnTo>
                    <a:lnTo>
                      <a:pt x="17077" y="17404"/>
                    </a:lnTo>
                    <a:lnTo>
                      <a:pt x="15538" y="17053"/>
                    </a:lnTo>
                    <a:lnTo>
                      <a:pt x="13923" y="17404"/>
                    </a:lnTo>
                    <a:lnTo>
                      <a:pt x="10308" y="17404"/>
                    </a:lnTo>
                    <a:lnTo>
                      <a:pt x="7154" y="18105"/>
                    </a:lnTo>
                    <a:lnTo>
                      <a:pt x="3154" y="19930"/>
                    </a:lnTo>
                    <a:lnTo>
                      <a:pt x="2385" y="17404"/>
                    </a:lnTo>
                    <a:lnTo>
                      <a:pt x="3154" y="15228"/>
                    </a:lnTo>
                    <a:lnTo>
                      <a:pt x="2385" y="14456"/>
                    </a:lnTo>
                    <a:lnTo>
                      <a:pt x="2000" y="14175"/>
                    </a:lnTo>
                    <a:lnTo>
                      <a:pt x="308" y="14175"/>
                    </a:lnTo>
                    <a:lnTo>
                      <a:pt x="0" y="12632"/>
                    </a:lnTo>
                    <a:lnTo>
                      <a:pt x="0" y="12351"/>
                    </a:lnTo>
                    <a:lnTo>
                      <a:pt x="0" y="11228"/>
                    </a:lnTo>
                    <a:lnTo>
                      <a:pt x="0" y="9754"/>
                    </a:lnTo>
                    <a:lnTo>
                      <a:pt x="308" y="9754"/>
                    </a:lnTo>
                    <a:lnTo>
                      <a:pt x="1231" y="8000"/>
                    </a:lnTo>
                    <a:lnTo>
                      <a:pt x="308" y="7579"/>
                    </a:lnTo>
                    <a:lnTo>
                      <a:pt x="1231" y="6877"/>
                    </a:lnTo>
                    <a:lnTo>
                      <a:pt x="2385" y="6877"/>
                    </a:lnTo>
                    <a:lnTo>
                      <a:pt x="2000" y="5754"/>
                    </a:lnTo>
                    <a:lnTo>
                      <a:pt x="2000" y="5053"/>
                    </a:lnTo>
                    <a:lnTo>
                      <a:pt x="2000" y="4000"/>
                    </a:lnTo>
                    <a:lnTo>
                      <a:pt x="1231" y="3579"/>
                    </a:lnTo>
                    <a:lnTo>
                      <a:pt x="1231" y="2175"/>
                    </a:lnTo>
                    <a:lnTo>
                      <a:pt x="2000" y="182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8" name="Freeform 131"/>
              <p:cNvSpPr>
                <a:spLocks/>
              </p:cNvSpPr>
              <p:nvPr/>
            </p:nvSpPr>
            <p:spPr bwMode="auto">
              <a:xfrm>
                <a:off x="5235575" y="4384675"/>
                <a:ext cx="168275" cy="174625"/>
              </a:xfrm>
              <a:custGeom>
                <a:avLst/>
                <a:gdLst>
                  <a:gd name="T0" fmla="*/ 8981 w 20000"/>
                  <a:gd name="T1" fmla="*/ 291 h 20000"/>
                  <a:gd name="T2" fmla="*/ 8981 w 20000"/>
                  <a:gd name="T3" fmla="*/ 0 h 20000"/>
                  <a:gd name="T4" fmla="*/ 11774 w 20000"/>
                  <a:gd name="T5" fmla="*/ 0 h 20000"/>
                  <a:gd name="T6" fmla="*/ 14113 w 20000"/>
                  <a:gd name="T7" fmla="*/ 0 h 20000"/>
                  <a:gd name="T8" fmla="*/ 15245 w 20000"/>
                  <a:gd name="T9" fmla="*/ 0 h 20000"/>
                  <a:gd name="T10" fmla="*/ 16075 w 20000"/>
                  <a:gd name="T11" fmla="*/ 0 h 20000"/>
                  <a:gd name="T12" fmla="*/ 15245 w 20000"/>
                  <a:gd name="T13" fmla="*/ 1164 h 20000"/>
                  <a:gd name="T14" fmla="*/ 15245 w 20000"/>
                  <a:gd name="T15" fmla="*/ 3345 h 20000"/>
                  <a:gd name="T16" fmla="*/ 16377 w 20000"/>
                  <a:gd name="T17" fmla="*/ 2982 h 20000"/>
                  <a:gd name="T18" fmla="*/ 17962 w 20000"/>
                  <a:gd name="T19" fmla="*/ 2982 h 20000"/>
                  <a:gd name="T20" fmla="*/ 18415 w 20000"/>
                  <a:gd name="T21" fmla="*/ 3345 h 20000"/>
                  <a:gd name="T22" fmla="*/ 19170 w 20000"/>
                  <a:gd name="T23" fmla="*/ 4436 h 20000"/>
                  <a:gd name="T24" fmla="*/ 18415 w 20000"/>
                  <a:gd name="T25" fmla="*/ 5236 h 20000"/>
                  <a:gd name="T26" fmla="*/ 17962 w 20000"/>
                  <a:gd name="T27" fmla="*/ 5964 h 20000"/>
                  <a:gd name="T28" fmla="*/ 17962 w 20000"/>
                  <a:gd name="T29" fmla="*/ 7855 h 20000"/>
                  <a:gd name="T30" fmla="*/ 19925 w 20000"/>
                  <a:gd name="T31" fmla="*/ 9018 h 20000"/>
                  <a:gd name="T32" fmla="*/ 19925 w 20000"/>
                  <a:gd name="T33" fmla="*/ 12000 h 20000"/>
                  <a:gd name="T34" fmla="*/ 19170 w 20000"/>
                  <a:gd name="T35" fmla="*/ 13091 h 20000"/>
                  <a:gd name="T36" fmla="*/ 18415 w 20000"/>
                  <a:gd name="T37" fmla="*/ 14255 h 20000"/>
                  <a:gd name="T38" fmla="*/ 18415 w 20000"/>
                  <a:gd name="T39" fmla="*/ 15782 h 20000"/>
                  <a:gd name="T40" fmla="*/ 17962 w 20000"/>
                  <a:gd name="T41" fmla="*/ 15782 h 20000"/>
                  <a:gd name="T42" fmla="*/ 17208 w 20000"/>
                  <a:gd name="T43" fmla="*/ 14255 h 20000"/>
                  <a:gd name="T44" fmla="*/ 15245 w 20000"/>
                  <a:gd name="T45" fmla="*/ 14982 h 20000"/>
                  <a:gd name="T46" fmla="*/ 12906 w 20000"/>
                  <a:gd name="T47" fmla="*/ 13091 h 20000"/>
                  <a:gd name="T48" fmla="*/ 12075 w 20000"/>
                  <a:gd name="T49" fmla="*/ 14982 h 20000"/>
                  <a:gd name="T50" fmla="*/ 10943 w 20000"/>
                  <a:gd name="T51" fmla="*/ 14982 h 20000"/>
                  <a:gd name="T52" fmla="*/ 10189 w 20000"/>
                  <a:gd name="T53" fmla="*/ 14255 h 20000"/>
                  <a:gd name="T54" fmla="*/ 9736 w 20000"/>
                  <a:gd name="T55" fmla="*/ 16145 h 20000"/>
                  <a:gd name="T56" fmla="*/ 10943 w 20000"/>
                  <a:gd name="T57" fmla="*/ 16945 h 20000"/>
                  <a:gd name="T58" fmla="*/ 10943 w 20000"/>
                  <a:gd name="T59" fmla="*/ 19127 h 20000"/>
                  <a:gd name="T60" fmla="*/ 10189 w 20000"/>
                  <a:gd name="T61" fmla="*/ 19127 h 20000"/>
                  <a:gd name="T62" fmla="*/ 9736 w 20000"/>
                  <a:gd name="T63" fmla="*/ 18764 h 20000"/>
                  <a:gd name="T64" fmla="*/ 8981 w 20000"/>
                  <a:gd name="T65" fmla="*/ 19127 h 20000"/>
                  <a:gd name="T66" fmla="*/ 7849 w 20000"/>
                  <a:gd name="T67" fmla="*/ 19927 h 20000"/>
                  <a:gd name="T68" fmla="*/ 4679 w 20000"/>
                  <a:gd name="T69" fmla="*/ 16945 h 20000"/>
                  <a:gd name="T70" fmla="*/ 3547 w 20000"/>
                  <a:gd name="T71" fmla="*/ 15782 h 20000"/>
                  <a:gd name="T72" fmla="*/ 4679 w 20000"/>
                  <a:gd name="T73" fmla="*/ 16145 h 20000"/>
                  <a:gd name="T74" fmla="*/ 4679 w 20000"/>
                  <a:gd name="T75" fmla="*/ 15782 h 20000"/>
                  <a:gd name="T76" fmla="*/ 2792 w 20000"/>
                  <a:gd name="T77" fmla="*/ 14982 h 20000"/>
                  <a:gd name="T78" fmla="*/ 1962 w 20000"/>
                  <a:gd name="T79" fmla="*/ 13818 h 20000"/>
                  <a:gd name="T80" fmla="*/ 2792 w 20000"/>
                  <a:gd name="T81" fmla="*/ 13818 h 20000"/>
                  <a:gd name="T82" fmla="*/ 1962 w 20000"/>
                  <a:gd name="T83" fmla="*/ 13091 h 20000"/>
                  <a:gd name="T84" fmla="*/ 2792 w 20000"/>
                  <a:gd name="T85" fmla="*/ 12364 h 20000"/>
                  <a:gd name="T86" fmla="*/ 1962 w 20000"/>
                  <a:gd name="T87" fmla="*/ 12000 h 20000"/>
                  <a:gd name="T88" fmla="*/ 1585 w 20000"/>
                  <a:gd name="T89" fmla="*/ 12364 h 20000"/>
                  <a:gd name="T90" fmla="*/ 830 w 20000"/>
                  <a:gd name="T91" fmla="*/ 10836 h 20000"/>
                  <a:gd name="T92" fmla="*/ 0 w 20000"/>
                  <a:gd name="T93" fmla="*/ 9382 h 20000"/>
                  <a:gd name="T94" fmla="*/ 1585 w 20000"/>
                  <a:gd name="T95" fmla="*/ 9382 h 20000"/>
                  <a:gd name="T96" fmla="*/ 1962 w 20000"/>
                  <a:gd name="T97" fmla="*/ 7127 h 20000"/>
                  <a:gd name="T98" fmla="*/ 2792 w 20000"/>
                  <a:gd name="T99" fmla="*/ 7855 h 20000"/>
                  <a:gd name="T100" fmla="*/ 3925 w 20000"/>
                  <a:gd name="T101" fmla="*/ 7127 h 20000"/>
                  <a:gd name="T102" fmla="*/ 1962 w 20000"/>
                  <a:gd name="T103" fmla="*/ 6400 h 20000"/>
                  <a:gd name="T104" fmla="*/ 1962 w 20000"/>
                  <a:gd name="T105" fmla="*/ 5236 h 20000"/>
                  <a:gd name="T106" fmla="*/ 2792 w 20000"/>
                  <a:gd name="T107" fmla="*/ 5236 h 20000"/>
                  <a:gd name="T108" fmla="*/ 2792 w 20000"/>
                  <a:gd name="T109" fmla="*/ 4145 h 20000"/>
                  <a:gd name="T110" fmla="*/ 5132 w 20000"/>
                  <a:gd name="T111" fmla="*/ 4145 h 20000"/>
                  <a:gd name="T112" fmla="*/ 7094 w 20000"/>
                  <a:gd name="T113" fmla="*/ 4145 h 20000"/>
                  <a:gd name="T114" fmla="*/ 8981 w 20000"/>
                  <a:gd name="T115" fmla="*/ 4145 h 20000"/>
                  <a:gd name="T116" fmla="*/ 8981 w 20000"/>
                  <a:gd name="T117" fmla="*/ 29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8981" y="291"/>
                    </a:moveTo>
                    <a:lnTo>
                      <a:pt x="8981" y="0"/>
                    </a:lnTo>
                    <a:lnTo>
                      <a:pt x="11774" y="0"/>
                    </a:lnTo>
                    <a:lnTo>
                      <a:pt x="14113" y="0"/>
                    </a:lnTo>
                    <a:lnTo>
                      <a:pt x="15245" y="0"/>
                    </a:lnTo>
                    <a:lnTo>
                      <a:pt x="16075" y="0"/>
                    </a:lnTo>
                    <a:lnTo>
                      <a:pt x="15245" y="1164"/>
                    </a:lnTo>
                    <a:lnTo>
                      <a:pt x="15245" y="3345"/>
                    </a:lnTo>
                    <a:lnTo>
                      <a:pt x="16377" y="2982"/>
                    </a:lnTo>
                    <a:lnTo>
                      <a:pt x="17962" y="2982"/>
                    </a:lnTo>
                    <a:lnTo>
                      <a:pt x="18415" y="3345"/>
                    </a:lnTo>
                    <a:lnTo>
                      <a:pt x="19170" y="4436"/>
                    </a:lnTo>
                    <a:lnTo>
                      <a:pt x="18415" y="5236"/>
                    </a:lnTo>
                    <a:lnTo>
                      <a:pt x="17962" y="5964"/>
                    </a:lnTo>
                    <a:lnTo>
                      <a:pt x="17962" y="7855"/>
                    </a:lnTo>
                    <a:lnTo>
                      <a:pt x="19925" y="9018"/>
                    </a:lnTo>
                    <a:lnTo>
                      <a:pt x="19925" y="12000"/>
                    </a:lnTo>
                    <a:lnTo>
                      <a:pt x="19170" y="13091"/>
                    </a:lnTo>
                    <a:lnTo>
                      <a:pt x="18415" y="14255"/>
                    </a:lnTo>
                    <a:lnTo>
                      <a:pt x="18415" y="15782"/>
                    </a:lnTo>
                    <a:lnTo>
                      <a:pt x="17962" y="15782"/>
                    </a:lnTo>
                    <a:lnTo>
                      <a:pt x="17208" y="14255"/>
                    </a:lnTo>
                    <a:lnTo>
                      <a:pt x="15245" y="14982"/>
                    </a:lnTo>
                    <a:lnTo>
                      <a:pt x="12906" y="13091"/>
                    </a:lnTo>
                    <a:lnTo>
                      <a:pt x="12075" y="14982"/>
                    </a:lnTo>
                    <a:lnTo>
                      <a:pt x="10943" y="14982"/>
                    </a:lnTo>
                    <a:lnTo>
                      <a:pt x="10189" y="14255"/>
                    </a:lnTo>
                    <a:lnTo>
                      <a:pt x="9736" y="16145"/>
                    </a:lnTo>
                    <a:lnTo>
                      <a:pt x="10943" y="16945"/>
                    </a:lnTo>
                    <a:lnTo>
                      <a:pt x="10943" y="19127"/>
                    </a:lnTo>
                    <a:lnTo>
                      <a:pt x="10189" y="19127"/>
                    </a:lnTo>
                    <a:lnTo>
                      <a:pt x="9736" y="18764"/>
                    </a:lnTo>
                    <a:lnTo>
                      <a:pt x="8981" y="19127"/>
                    </a:lnTo>
                    <a:lnTo>
                      <a:pt x="7849" y="19927"/>
                    </a:lnTo>
                    <a:lnTo>
                      <a:pt x="4679" y="16945"/>
                    </a:lnTo>
                    <a:lnTo>
                      <a:pt x="3547" y="15782"/>
                    </a:lnTo>
                    <a:lnTo>
                      <a:pt x="4679" y="16145"/>
                    </a:lnTo>
                    <a:lnTo>
                      <a:pt x="4679" y="15782"/>
                    </a:lnTo>
                    <a:lnTo>
                      <a:pt x="2792" y="14982"/>
                    </a:lnTo>
                    <a:lnTo>
                      <a:pt x="1962" y="13818"/>
                    </a:lnTo>
                    <a:lnTo>
                      <a:pt x="2792" y="13818"/>
                    </a:lnTo>
                    <a:lnTo>
                      <a:pt x="1962" y="13091"/>
                    </a:lnTo>
                    <a:lnTo>
                      <a:pt x="2792" y="12364"/>
                    </a:lnTo>
                    <a:lnTo>
                      <a:pt x="1962" y="12000"/>
                    </a:lnTo>
                    <a:lnTo>
                      <a:pt x="1585" y="12364"/>
                    </a:lnTo>
                    <a:lnTo>
                      <a:pt x="830" y="10836"/>
                    </a:lnTo>
                    <a:lnTo>
                      <a:pt x="0" y="9382"/>
                    </a:lnTo>
                    <a:lnTo>
                      <a:pt x="1585" y="9382"/>
                    </a:lnTo>
                    <a:lnTo>
                      <a:pt x="1962" y="7127"/>
                    </a:lnTo>
                    <a:lnTo>
                      <a:pt x="2792" y="7855"/>
                    </a:lnTo>
                    <a:lnTo>
                      <a:pt x="3925" y="7127"/>
                    </a:lnTo>
                    <a:lnTo>
                      <a:pt x="1962" y="6400"/>
                    </a:lnTo>
                    <a:lnTo>
                      <a:pt x="1962" y="5236"/>
                    </a:lnTo>
                    <a:lnTo>
                      <a:pt x="2792" y="5236"/>
                    </a:lnTo>
                    <a:lnTo>
                      <a:pt x="2792" y="4145"/>
                    </a:lnTo>
                    <a:lnTo>
                      <a:pt x="5132" y="4145"/>
                    </a:lnTo>
                    <a:lnTo>
                      <a:pt x="7094" y="4145"/>
                    </a:lnTo>
                    <a:lnTo>
                      <a:pt x="8981" y="4145"/>
                    </a:lnTo>
                    <a:lnTo>
                      <a:pt x="8981" y="29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09" name="Freeform 130"/>
              <p:cNvSpPr>
                <a:spLocks/>
              </p:cNvSpPr>
              <p:nvPr/>
            </p:nvSpPr>
            <p:spPr bwMode="auto">
              <a:xfrm>
                <a:off x="4510088" y="4052888"/>
                <a:ext cx="92075" cy="23812"/>
              </a:xfrm>
              <a:custGeom>
                <a:avLst/>
                <a:gdLst>
                  <a:gd name="T0" fmla="*/ 1370 w 20000"/>
                  <a:gd name="T1" fmla="*/ 5405 h 20000"/>
                  <a:gd name="T2" fmla="*/ 7808 w 20000"/>
                  <a:gd name="T3" fmla="*/ 0 h 20000"/>
                  <a:gd name="T4" fmla="*/ 12740 w 20000"/>
                  <a:gd name="T5" fmla="*/ 0 h 20000"/>
                  <a:gd name="T6" fmla="*/ 16164 w 20000"/>
                  <a:gd name="T7" fmla="*/ 5405 h 20000"/>
                  <a:gd name="T8" fmla="*/ 19863 w 20000"/>
                  <a:gd name="T9" fmla="*/ 5405 h 20000"/>
                  <a:gd name="T10" fmla="*/ 16986 w 20000"/>
                  <a:gd name="T11" fmla="*/ 14054 h 20000"/>
                  <a:gd name="T12" fmla="*/ 11233 w 20000"/>
                  <a:gd name="T13" fmla="*/ 5405 h 20000"/>
                  <a:gd name="T14" fmla="*/ 9178 w 20000"/>
                  <a:gd name="T15" fmla="*/ 10811 h 20000"/>
                  <a:gd name="T16" fmla="*/ 6986 w 20000"/>
                  <a:gd name="T17" fmla="*/ 10811 h 20000"/>
                  <a:gd name="T18" fmla="*/ 6986 w 20000"/>
                  <a:gd name="T19" fmla="*/ 14054 h 20000"/>
                  <a:gd name="T20" fmla="*/ 0 w 20000"/>
                  <a:gd name="T21" fmla="*/ 19459 h 20000"/>
                  <a:gd name="T22" fmla="*/ 0 w 20000"/>
                  <a:gd name="T23" fmla="*/ 14054 h 20000"/>
                  <a:gd name="T24" fmla="*/ 1370 w 20000"/>
                  <a:gd name="T25" fmla="*/ 10811 h 20000"/>
                  <a:gd name="T26" fmla="*/ 1370 w 20000"/>
                  <a:gd name="T27" fmla="*/ 540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1370" y="5405"/>
                    </a:moveTo>
                    <a:lnTo>
                      <a:pt x="7808" y="0"/>
                    </a:lnTo>
                    <a:lnTo>
                      <a:pt x="12740" y="0"/>
                    </a:lnTo>
                    <a:lnTo>
                      <a:pt x="16164" y="5405"/>
                    </a:lnTo>
                    <a:lnTo>
                      <a:pt x="19863" y="5405"/>
                    </a:lnTo>
                    <a:lnTo>
                      <a:pt x="16986" y="14054"/>
                    </a:lnTo>
                    <a:lnTo>
                      <a:pt x="11233" y="5405"/>
                    </a:lnTo>
                    <a:lnTo>
                      <a:pt x="9178" y="10811"/>
                    </a:lnTo>
                    <a:lnTo>
                      <a:pt x="6986" y="10811"/>
                    </a:lnTo>
                    <a:lnTo>
                      <a:pt x="6986" y="14054"/>
                    </a:lnTo>
                    <a:lnTo>
                      <a:pt x="0" y="19459"/>
                    </a:lnTo>
                    <a:lnTo>
                      <a:pt x="0" y="14054"/>
                    </a:lnTo>
                    <a:lnTo>
                      <a:pt x="1370" y="10811"/>
                    </a:lnTo>
                    <a:lnTo>
                      <a:pt x="1370" y="540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0" name="Freeform 129"/>
              <p:cNvSpPr>
                <a:spLocks/>
              </p:cNvSpPr>
              <p:nvPr/>
            </p:nvSpPr>
            <p:spPr bwMode="auto">
              <a:xfrm>
                <a:off x="4891088" y="4135438"/>
                <a:ext cx="130175" cy="174625"/>
              </a:xfrm>
              <a:custGeom>
                <a:avLst/>
                <a:gdLst>
                  <a:gd name="T0" fmla="*/ 2647 w 20000"/>
                  <a:gd name="T1" fmla="*/ 5236 h 20000"/>
                  <a:gd name="T2" fmla="*/ 2647 w 20000"/>
                  <a:gd name="T3" fmla="*/ 3418 h 20000"/>
                  <a:gd name="T4" fmla="*/ 2059 w 20000"/>
                  <a:gd name="T5" fmla="*/ 1164 h 20000"/>
                  <a:gd name="T6" fmla="*/ 2647 w 20000"/>
                  <a:gd name="T7" fmla="*/ 0 h 20000"/>
                  <a:gd name="T8" fmla="*/ 12745 w 20000"/>
                  <a:gd name="T9" fmla="*/ 436 h 20000"/>
                  <a:gd name="T10" fmla="*/ 13235 w 20000"/>
                  <a:gd name="T11" fmla="*/ 0 h 20000"/>
                  <a:gd name="T12" fmla="*/ 14706 w 20000"/>
                  <a:gd name="T13" fmla="*/ 0 h 20000"/>
                  <a:gd name="T14" fmla="*/ 15784 w 20000"/>
                  <a:gd name="T15" fmla="*/ 436 h 20000"/>
                  <a:gd name="T16" fmla="*/ 14706 w 20000"/>
                  <a:gd name="T17" fmla="*/ 1164 h 20000"/>
                  <a:gd name="T18" fmla="*/ 16863 w 20000"/>
                  <a:gd name="T19" fmla="*/ 2255 h 20000"/>
                  <a:gd name="T20" fmla="*/ 16863 w 20000"/>
                  <a:gd name="T21" fmla="*/ 3418 h 20000"/>
                  <a:gd name="T22" fmla="*/ 15784 w 20000"/>
                  <a:gd name="T23" fmla="*/ 4873 h 20000"/>
                  <a:gd name="T24" fmla="*/ 17255 w 20000"/>
                  <a:gd name="T25" fmla="*/ 5236 h 20000"/>
                  <a:gd name="T26" fmla="*/ 17255 w 20000"/>
                  <a:gd name="T27" fmla="*/ 6400 h 20000"/>
                  <a:gd name="T28" fmla="*/ 17255 w 20000"/>
                  <a:gd name="T29" fmla="*/ 7127 h 20000"/>
                  <a:gd name="T30" fmla="*/ 18333 w 20000"/>
                  <a:gd name="T31" fmla="*/ 8291 h 20000"/>
                  <a:gd name="T32" fmla="*/ 17255 w 20000"/>
                  <a:gd name="T33" fmla="*/ 9382 h 20000"/>
                  <a:gd name="T34" fmla="*/ 17255 w 20000"/>
                  <a:gd name="T35" fmla="*/ 10836 h 20000"/>
                  <a:gd name="T36" fmla="*/ 17255 w 20000"/>
                  <a:gd name="T37" fmla="*/ 12800 h 20000"/>
                  <a:gd name="T38" fmla="*/ 18333 w 20000"/>
                  <a:gd name="T39" fmla="*/ 15055 h 20000"/>
                  <a:gd name="T40" fmla="*/ 19902 w 20000"/>
                  <a:gd name="T41" fmla="*/ 16145 h 20000"/>
                  <a:gd name="T42" fmla="*/ 19314 w 20000"/>
                  <a:gd name="T43" fmla="*/ 16945 h 20000"/>
                  <a:gd name="T44" fmla="*/ 15784 w 20000"/>
                  <a:gd name="T45" fmla="*/ 17236 h 20000"/>
                  <a:gd name="T46" fmla="*/ 13235 w 20000"/>
                  <a:gd name="T47" fmla="*/ 18036 h 20000"/>
                  <a:gd name="T48" fmla="*/ 8627 w 20000"/>
                  <a:gd name="T49" fmla="*/ 19200 h 20000"/>
                  <a:gd name="T50" fmla="*/ 6078 w 20000"/>
                  <a:gd name="T51" fmla="*/ 19927 h 20000"/>
                  <a:gd name="T52" fmla="*/ 2647 w 20000"/>
                  <a:gd name="T53" fmla="*/ 19927 h 20000"/>
                  <a:gd name="T54" fmla="*/ 2647 w 20000"/>
                  <a:gd name="T55" fmla="*/ 18764 h 20000"/>
                  <a:gd name="T56" fmla="*/ 2059 w 20000"/>
                  <a:gd name="T57" fmla="*/ 16945 h 20000"/>
                  <a:gd name="T58" fmla="*/ 0 w 20000"/>
                  <a:gd name="T59" fmla="*/ 13891 h 20000"/>
                  <a:gd name="T60" fmla="*/ 2059 w 20000"/>
                  <a:gd name="T61" fmla="*/ 12000 h 20000"/>
                  <a:gd name="T62" fmla="*/ 2059 w 20000"/>
                  <a:gd name="T63" fmla="*/ 10109 h 20000"/>
                  <a:gd name="T64" fmla="*/ 3627 w 20000"/>
                  <a:gd name="T65" fmla="*/ 9382 h 20000"/>
                  <a:gd name="T66" fmla="*/ 3627 w 20000"/>
                  <a:gd name="T67" fmla="*/ 8291 h 20000"/>
                  <a:gd name="T68" fmla="*/ 2647 w 20000"/>
                  <a:gd name="T69" fmla="*/ 5964 h 20000"/>
                  <a:gd name="T70" fmla="*/ 2647 w 20000"/>
                  <a:gd name="T71" fmla="*/ 52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2647" y="5236"/>
                    </a:moveTo>
                    <a:lnTo>
                      <a:pt x="2647" y="3418"/>
                    </a:lnTo>
                    <a:lnTo>
                      <a:pt x="2059" y="1164"/>
                    </a:lnTo>
                    <a:lnTo>
                      <a:pt x="2647" y="0"/>
                    </a:lnTo>
                    <a:lnTo>
                      <a:pt x="12745" y="436"/>
                    </a:lnTo>
                    <a:lnTo>
                      <a:pt x="13235" y="0"/>
                    </a:lnTo>
                    <a:lnTo>
                      <a:pt x="14706" y="0"/>
                    </a:lnTo>
                    <a:lnTo>
                      <a:pt x="15784" y="436"/>
                    </a:lnTo>
                    <a:lnTo>
                      <a:pt x="14706" y="1164"/>
                    </a:lnTo>
                    <a:lnTo>
                      <a:pt x="16863" y="2255"/>
                    </a:lnTo>
                    <a:lnTo>
                      <a:pt x="16863" y="3418"/>
                    </a:lnTo>
                    <a:lnTo>
                      <a:pt x="15784" y="4873"/>
                    </a:lnTo>
                    <a:lnTo>
                      <a:pt x="17255" y="5236"/>
                    </a:lnTo>
                    <a:lnTo>
                      <a:pt x="17255" y="6400"/>
                    </a:lnTo>
                    <a:lnTo>
                      <a:pt x="17255" y="7127"/>
                    </a:lnTo>
                    <a:lnTo>
                      <a:pt x="18333" y="8291"/>
                    </a:lnTo>
                    <a:lnTo>
                      <a:pt x="17255" y="9382"/>
                    </a:lnTo>
                    <a:lnTo>
                      <a:pt x="17255" y="10836"/>
                    </a:lnTo>
                    <a:lnTo>
                      <a:pt x="17255" y="12800"/>
                    </a:lnTo>
                    <a:lnTo>
                      <a:pt x="18333" y="15055"/>
                    </a:lnTo>
                    <a:lnTo>
                      <a:pt x="19902" y="16145"/>
                    </a:lnTo>
                    <a:lnTo>
                      <a:pt x="19314" y="16945"/>
                    </a:lnTo>
                    <a:lnTo>
                      <a:pt x="15784" y="17236"/>
                    </a:lnTo>
                    <a:lnTo>
                      <a:pt x="13235" y="18036"/>
                    </a:lnTo>
                    <a:lnTo>
                      <a:pt x="8627" y="19200"/>
                    </a:lnTo>
                    <a:lnTo>
                      <a:pt x="6078" y="19927"/>
                    </a:lnTo>
                    <a:lnTo>
                      <a:pt x="2647" y="19927"/>
                    </a:lnTo>
                    <a:lnTo>
                      <a:pt x="2647" y="18764"/>
                    </a:lnTo>
                    <a:lnTo>
                      <a:pt x="2059" y="16945"/>
                    </a:lnTo>
                    <a:lnTo>
                      <a:pt x="0" y="13891"/>
                    </a:lnTo>
                    <a:lnTo>
                      <a:pt x="2059" y="12000"/>
                    </a:lnTo>
                    <a:lnTo>
                      <a:pt x="2059" y="10109"/>
                    </a:lnTo>
                    <a:lnTo>
                      <a:pt x="3627" y="9382"/>
                    </a:lnTo>
                    <a:lnTo>
                      <a:pt x="3627" y="8291"/>
                    </a:lnTo>
                    <a:lnTo>
                      <a:pt x="2647" y="5964"/>
                    </a:lnTo>
                    <a:lnTo>
                      <a:pt x="2647" y="52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1" name="Freeform 128"/>
              <p:cNvSpPr>
                <a:spLocks/>
              </p:cNvSpPr>
              <p:nvPr/>
            </p:nvSpPr>
            <p:spPr bwMode="auto">
              <a:xfrm>
                <a:off x="4562475" y="4086225"/>
                <a:ext cx="207963" cy="155575"/>
              </a:xfrm>
              <a:custGeom>
                <a:avLst/>
                <a:gdLst>
                  <a:gd name="T0" fmla="*/ 3780 w 20000"/>
                  <a:gd name="T1" fmla="*/ 0 h 20000"/>
                  <a:gd name="T2" fmla="*/ 5671 w 20000"/>
                  <a:gd name="T3" fmla="*/ 0 h 20000"/>
                  <a:gd name="T4" fmla="*/ 5671 w 20000"/>
                  <a:gd name="T5" fmla="*/ 902 h 20000"/>
                  <a:gd name="T6" fmla="*/ 7256 w 20000"/>
                  <a:gd name="T7" fmla="*/ 1311 h 20000"/>
                  <a:gd name="T8" fmla="*/ 8232 w 20000"/>
                  <a:gd name="T9" fmla="*/ 902 h 20000"/>
                  <a:gd name="T10" fmla="*/ 8841 w 20000"/>
                  <a:gd name="T11" fmla="*/ 902 h 20000"/>
                  <a:gd name="T12" fmla="*/ 10427 w 20000"/>
                  <a:gd name="T13" fmla="*/ 902 h 20000"/>
                  <a:gd name="T14" fmla="*/ 10427 w 20000"/>
                  <a:gd name="T15" fmla="*/ 1311 h 20000"/>
                  <a:gd name="T16" fmla="*/ 10732 w 20000"/>
                  <a:gd name="T17" fmla="*/ 2131 h 20000"/>
                  <a:gd name="T18" fmla="*/ 11341 w 20000"/>
                  <a:gd name="T19" fmla="*/ 2131 h 20000"/>
                  <a:gd name="T20" fmla="*/ 12317 w 20000"/>
                  <a:gd name="T21" fmla="*/ 3361 h 20000"/>
                  <a:gd name="T22" fmla="*/ 13902 w 20000"/>
                  <a:gd name="T23" fmla="*/ 2131 h 20000"/>
                  <a:gd name="T24" fmla="*/ 14817 w 20000"/>
                  <a:gd name="T25" fmla="*/ 2131 h 20000"/>
                  <a:gd name="T26" fmla="*/ 15488 w 20000"/>
                  <a:gd name="T27" fmla="*/ 1311 h 20000"/>
                  <a:gd name="T28" fmla="*/ 15793 w 20000"/>
                  <a:gd name="T29" fmla="*/ 902 h 20000"/>
                  <a:gd name="T30" fmla="*/ 17073 w 20000"/>
                  <a:gd name="T31" fmla="*/ 3361 h 20000"/>
                  <a:gd name="T32" fmla="*/ 17317 w 20000"/>
                  <a:gd name="T33" fmla="*/ 4262 h 20000"/>
                  <a:gd name="T34" fmla="*/ 18049 w 20000"/>
                  <a:gd name="T35" fmla="*/ 4672 h 20000"/>
                  <a:gd name="T36" fmla="*/ 18049 w 20000"/>
                  <a:gd name="T37" fmla="*/ 6393 h 20000"/>
                  <a:gd name="T38" fmla="*/ 18293 w 20000"/>
                  <a:gd name="T39" fmla="*/ 6885 h 20000"/>
                  <a:gd name="T40" fmla="*/ 18293 w 20000"/>
                  <a:gd name="T41" fmla="*/ 8033 h 20000"/>
                  <a:gd name="T42" fmla="*/ 19573 w 20000"/>
                  <a:gd name="T43" fmla="*/ 9754 h 20000"/>
                  <a:gd name="T44" fmla="*/ 18963 w 20000"/>
                  <a:gd name="T45" fmla="*/ 10246 h 20000"/>
                  <a:gd name="T46" fmla="*/ 18963 w 20000"/>
                  <a:gd name="T47" fmla="*/ 11885 h 20000"/>
                  <a:gd name="T48" fmla="*/ 19573 w 20000"/>
                  <a:gd name="T49" fmla="*/ 12295 h 20000"/>
                  <a:gd name="T50" fmla="*/ 19573 w 20000"/>
                  <a:gd name="T51" fmla="*/ 13607 h 20000"/>
                  <a:gd name="T52" fmla="*/ 19573 w 20000"/>
                  <a:gd name="T53" fmla="*/ 14426 h 20000"/>
                  <a:gd name="T54" fmla="*/ 19939 w 20000"/>
                  <a:gd name="T55" fmla="*/ 15738 h 20000"/>
                  <a:gd name="T56" fmla="*/ 18963 w 20000"/>
                  <a:gd name="T57" fmla="*/ 15738 h 20000"/>
                  <a:gd name="T58" fmla="*/ 18293 w 20000"/>
                  <a:gd name="T59" fmla="*/ 16557 h 20000"/>
                  <a:gd name="T60" fmla="*/ 18963 w 20000"/>
                  <a:gd name="T61" fmla="*/ 16967 h 20000"/>
                  <a:gd name="T62" fmla="*/ 18293 w 20000"/>
                  <a:gd name="T63" fmla="*/ 19098 h 20000"/>
                  <a:gd name="T64" fmla="*/ 18049 w 20000"/>
                  <a:gd name="T65" fmla="*/ 19098 h 20000"/>
                  <a:gd name="T66" fmla="*/ 17073 w 20000"/>
                  <a:gd name="T67" fmla="*/ 18607 h 20000"/>
                  <a:gd name="T68" fmla="*/ 17073 w 20000"/>
                  <a:gd name="T69" fmla="*/ 19918 h 20000"/>
                  <a:gd name="T70" fmla="*/ 15793 w 20000"/>
                  <a:gd name="T71" fmla="*/ 19918 h 20000"/>
                  <a:gd name="T72" fmla="*/ 14817 w 20000"/>
                  <a:gd name="T73" fmla="*/ 19918 h 20000"/>
                  <a:gd name="T74" fmla="*/ 14817 w 20000"/>
                  <a:gd name="T75" fmla="*/ 17787 h 20000"/>
                  <a:gd name="T76" fmla="*/ 14207 w 20000"/>
                  <a:gd name="T77" fmla="*/ 15738 h 20000"/>
                  <a:gd name="T78" fmla="*/ 12927 w 20000"/>
                  <a:gd name="T79" fmla="*/ 15738 h 20000"/>
                  <a:gd name="T80" fmla="*/ 11707 w 20000"/>
                  <a:gd name="T81" fmla="*/ 15738 h 20000"/>
                  <a:gd name="T82" fmla="*/ 11707 w 20000"/>
                  <a:gd name="T83" fmla="*/ 13607 h 20000"/>
                  <a:gd name="T84" fmla="*/ 11341 w 20000"/>
                  <a:gd name="T85" fmla="*/ 13115 h 20000"/>
                  <a:gd name="T86" fmla="*/ 11341 w 20000"/>
                  <a:gd name="T87" fmla="*/ 11885 h 20000"/>
                  <a:gd name="T88" fmla="*/ 10427 w 20000"/>
                  <a:gd name="T89" fmla="*/ 9754 h 20000"/>
                  <a:gd name="T90" fmla="*/ 7561 w 20000"/>
                  <a:gd name="T91" fmla="*/ 10246 h 20000"/>
                  <a:gd name="T92" fmla="*/ 7256 w 20000"/>
                  <a:gd name="T93" fmla="*/ 10246 h 20000"/>
                  <a:gd name="T94" fmla="*/ 6341 w 20000"/>
                  <a:gd name="T95" fmla="*/ 12295 h 20000"/>
                  <a:gd name="T96" fmla="*/ 5671 w 20000"/>
                  <a:gd name="T97" fmla="*/ 12295 h 20000"/>
                  <a:gd name="T98" fmla="*/ 4756 w 20000"/>
                  <a:gd name="T99" fmla="*/ 13607 h 20000"/>
                  <a:gd name="T100" fmla="*/ 4085 w 20000"/>
                  <a:gd name="T101" fmla="*/ 12295 h 20000"/>
                  <a:gd name="T102" fmla="*/ 3780 w 20000"/>
                  <a:gd name="T103" fmla="*/ 11066 h 20000"/>
                  <a:gd name="T104" fmla="*/ 1585 w 20000"/>
                  <a:gd name="T105" fmla="*/ 8934 h 20000"/>
                  <a:gd name="T106" fmla="*/ 976 w 20000"/>
                  <a:gd name="T107" fmla="*/ 7705 h 20000"/>
                  <a:gd name="T108" fmla="*/ 0 w 20000"/>
                  <a:gd name="T109" fmla="*/ 6885 h 20000"/>
                  <a:gd name="T110" fmla="*/ 976 w 20000"/>
                  <a:gd name="T111" fmla="*/ 4672 h 20000"/>
                  <a:gd name="T112" fmla="*/ 3110 w 20000"/>
                  <a:gd name="T113" fmla="*/ 3361 h 20000"/>
                  <a:gd name="T114" fmla="*/ 3780 w 20000"/>
                  <a:gd name="T115" fmla="*/ 2131 h 20000"/>
                  <a:gd name="T116" fmla="*/ 3110 w 20000"/>
                  <a:gd name="T117" fmla="*/ 1311 h 20000"/>
                  <a:gd name="T118" fmla="*/ 3780 w 20000"/>
                  <a:gd name="T119" fmla="*/ 902 h 20000"/>
                  <a:gd name="T120" fmla="*/ 3780 w 20000"/>
                  <a:gd name="T12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3780" y="0"/>
                    </a:moveTo>
                    <a:lnTo>
                      <a:pt x="5671" y="0"/>
                    </a:lnTo>
                    <a:lnTo>
                      <a:pt x="5671" y="902"/>
                    </a:lnTo>
                    <a:lnTo>
                      <a:pt x="7256" y="1311"/>
                    </a:lnTo>
                    <a:lnTo>
                      <a:pt x="8232" y="902"/>
                    </a:lnTo>
                    <a:lnTo>
                      <a:pt x="8841" y="902"/>
                    </a:lnTo>
                    <a:lnTo>
                      <a:pt x="10427" y="902"/>
                    </a:lnTo>
                    <a:lnTo>
                      <a:pt x="10427" y="1311"/>
                    </a:lnTo>
                    <a:lnTo>
                      <a:pt x="10732" y="2131"/>
                    </a:lnTo>
                    <a:lnTo>
                      <a:pt x="11341" y="2131"/>
                    </a:lnTo>
                    <a:lnTo>
                      <a:pt x="12317" y="3361"/>
                    </a:lnTo>
                    <a:lnTo>
                      <a:pt x="13902" y="2131"/>
                    </a:lnTo>
                    <a:lnTo>
                      <a:pt x="14817" y="2131"/>
                    </a:lnTo>
                    <a:lnTo>
                      <a:pt x="15488" y="1311"/>
                    </a:lnTo>
                    <a:lnTo>
                      <a:pt x="15793" y="902"/>
                    </a:lnTo>
                    <a:lnTo>
                      <a:pt x="17073" y="3361"/>
                    </a:lnTo>
                    <a:lnTo>
                      <a:pt x="17317" y="4262"/>
                    </a:lnTo>
                    <a:lnTo>
                      <a:pt x="18049" y="4672"/>
                    </a:lnTo>
                    <a:lnTo>
                      <a:pt x="18049" y="6393"/>
                    </a:lnTo>
                    <a:lnTo>
                      <a:pt x="18293" y="6885"/>
                    </a:lnTo>
                    <a:lnTo>
                      <a:pt x="18293" y="8033"/>
                    </a:lnTo>
                    <a:lnTo>
                      <a:pt x="19573" y="9754"/>
                    </a:lnTo>
                    <a:lnTo>
                      <a:pt x="18963" y="10246"/>
                    </a:lnTo>
                    <a:lnTo>
                      <a:pt x="18963" y="11885"/>
                    </a:lnTo>
                    <a:lnTo>
                      <a:pt x="19573" y="12295"/>
                    </a:lnTo>
                    <a:lnTo>
                      <a:pt x="19573" y="13607"/>
                    </a:lnTo>
                    <a:lnTo>
                      <a:pt x="19573" y="14426"/>
                    </a:lnTo>
                    <a:lnTo>
                      <a:pt x="19939" y="15738"/>
                    </a:lnTo>
                    <a:lnTo>
                      <a:pt x="18963" y="15738"/>
                    </a:lnTo>
                    <a:lnTo>
                      <a:pt x="18293" y="16557"/>
                    </a:lnTo>
                    <a:lnTo>
                      <a:pt x="18963" y="16967"/>
                    </a:lnTo>
                    <a:lnTo>
                      <a:pt x="18293" y="19098"/>
                    </a:lnTo>
                    <a:lnTo>
                      <a:pt x="18049" y="19098"/>
                    </a:lnTo>
                    <a:lnTo>
                      <a:pt x="17073" y="18607"/>
                    </a:lnTo>
                    <a:lnTo>
                      <a:pt x="17073" y="19918"/>
                    </a:lnTo>
                    <a:lnTo>
                      <a:pt x="15793" y="19918"/>
                    </a:lnTo>
                    <a:lnTo>
                      <a:pt x="14817" y="19918"/>
                    </a:lnTo>
                    <a:lnTo>
                      <a:pt x="14817" y="17787"/>
                    </a:lnTo>
                    <a:lnTo>
                      <a:pt x="14207" y="15738"/>
                    </a:lnTo>
                    <a:lnTo>
                      <a:pt x="12927" y="15738"/>
                    </a:lnTo>
                    <a:lnTo>
                      <a:pt x="11707" y="15738"/>
                    </a:lnTo>
                    <a:lnTo>
                      <a:pt x="11707" y="13607"/>
                    </a:lnTo>
                    <a:lnTo>
                      <a:pt x="11341" y="13115"/>
                    </a:lnTo>
                    <a:lnTo>
                      <a:pt x="11341" y="11885"/>
                    </a:lnTo>
                    <a:lnTo>
                      <a:pt x="10427" y="9754"/>
                    </a:lnTo>
                    <a:lnTo>
                      <a:pt x="7561" y="10246"/>
                    </a:lnTo>
                    <a:lnTo>
                      <a:pt x="7256" y="10246"/>
                    </a:lnTo>
                    <a:lnTo>
                      <a:pt x="6341" y="12295"/>
                    </a:lnTo>
                    <a:lnTo>
                      <a:pt x="5671" y="12295"/>
                    </a:lnTo>
                    <a:lnTo>
                      <a:pt x="4756" y="13607"/>
                    </a:lnTo>
                    <a:lnTo>
                      <a:pt x="4085" y="12295"/>
                    </a:lnTo>
                    <a:lnTo>
                      <a:pt x="3780" y="11066"/>
                    </a:lnTo>
                    <a:lnTo>
                      <a:pt x="1585" y="8934"/>
                    </a:lnTo>
                    <a:lnTo>
                      <a:pt x="976" y="7705"/>
                    </a:lnTo>
                    <a:lnTo>
                      <a:pt x="0" y="6885"/>
                    </a:lnTo>
                    <a:lnTo>
                      <a:pt x="976" y="4672"/>
                    </a:lnTo>
                    <a:lnTo>
                      <a:pt x="3110" y="3361"/>
                    </a:lnTo>
                    <a:lnTo>
                      <a:pt x="3780" y="2131"/>
                    </a:lnTo>
                    <a:lnTo>
                      <a:pt x="3110" y="1311"/>
                    </a:lnTo>
                    <a:lnTo>
                      <a:pt x="3780" y="902"/>
                    </a:lnTo>
                    <a:lnTo>
                      <a:pt x="378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2" name="Freeform 127"/>
              <p:cNvSpPr>
                <a:spLocks/>
              </p:cNvSpPr>
              <p:nvPr/>
            </p:nvSpPr>
            <p:spPr bwMode="auto">
              <a:xfrm>
                <a:off x="4516438" y="4086225"/>
                <a:ext cx="85725" cy="53975"/>
              </a:xfrm>
              <a:custGeom>
                <a:avLst/>
                <a:gdLst>
                  <a:gd name="T0" fmla="*/ 0 w 20000"/>
                  <a:gd name="T1" fmla="*/ 3765 h 20000"/>
                  <a:gd name="T2" fmla="*/ 4559 w 20000"/>
                  <a:gd name="T3" fmla="*/ 2588 h 20000"/>
                  <a:gd name="T4" fmla="*/ 6912 w 20000"/>
                  <a:gd name="T5" fmla="*/ 2588 h 20000"/>
                  <a:gd name="T6" fmla="*/ 9853 w 20000"/>
                  <a:gd name="T7" fmla="*/ 0 h 20000"/>
                  <a:gd name="T8" fmla="*/ 19853 w 20000"/>
                  <a:gd name="T9" fmla="*/ 0 h 20000"/>
                  <a:gd name="T10" fmla="*/ 19853 w 20000"/>
                  <a:gd name="T11" fmla="*/ 2588 h 20000"/>
                  <a:gd name="T12" fmla="*/ 18235 w 20000"/>
                  <a:gd name="T13" fmla="*/ 3765 h 20000"/>
                  <a:gd name="T14" fmla="*/ 19853 w 20000"/>
                  <a:gd name="T15" fmla="*/ 6118 h 20000"/>
                  <a:gd name="T16" fmla="*/ 18235 w 20000"/>
                  <a:gd name="T17" fmla="*/ 9647 h 20000"/>
                  <a:gd name="T18" fmla="*/ 12941 w 20000"/>
                  <a:gd name="T19" fmla="*/ 13412 h 20000"/>
                  <a:gd name="T20" fmla="*/ 10588 w 20000"/>
                  <a:gd name="T21" fmla="*/ 19765 h 20000"/>
                  <a:gd name="T22" fmla="*/ 9853 w 20000"/>
                  <a:gd name="T23" fmla="*/ 16000 h 20000"/>
                  <a:gd name="T24" fmla="*/ 8382 w 20000"/>
                  <a:gd name="T25" fmla="*/ 18353 h 20000"/>
                  <a:gd name="T26" fmla="*/ 8382 w 20000"/>
                  <a:gd name="T27" fmla="*/ 9647 h 20000"/>
                  <a:gd name="T28" fmla="*/ 4559 w 20000"/>
                  <a:gd name="T29" fmla="*/ 9647 h 20000"/>
                  <a:gd name="T30" fmla="*/ 4559 w 20000"/>
                  <a:gd name="T31" fmla="*/ 8706 h 20000"/>
                  <a:gd name="T32" fmla="*/ 2353 w 20000"/>
                  <a:gd name="T33" fmla="*/ 6118 h 20000"/>
                  <a:gd name="T34" fmla="*/ 0 w 20000"/>
                  <a:gd name="T35" fmla="*/ 3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0" y="3765"/>
                    </a:moveTo>
                    <a:lnTo>
                      <a:pt x="4559" y="2588"/>
                    </a:lnTo>
                    <a:lnTo>
                      <a:pt x="6912" y="2588"/>
                    </a:lnTo>
                    <a:lnTo>
                      <a:pt x="9853" y="0"/>
                    </a:lnTo>
                    <a:lnTo>
                      <a:pt x="19853" y="0"/>
                    </a:lnTo>
                    <a:lnTo>
                      <a:pt x="19853" y="2588"/>
                    </a:lnTo>
                    <a:lnTo>
                      <a:pt x="18235" y="3765"/>
                    </a:lnTo>
                    <a:lnTo>
                      <a:pt x="19853" y="6118"/>
                    </a:lnTo>
                    <a:lnTo>
                      <a:pt x="18235" y="9647"/>
                    </a:lnTo>
                    <a:lnTo>
                      <a:pt x="12941" y="13412"/>
                    </a:lnTo>
                    <a:lnTo>
                      <a:pt x="10588" y="19765"/>
                    </a:lnTo>
                    <a:lnTo>
                      <a:pt x="9853" y="16000"/>
                    </a:lnTo>
                    <a:lnTo>
                      <a:pt x="8382" y="18353"/>
                    </a:lnTo>
                    <a:lnTo>
                      <a:pt x="8382" y="9647"/>
                    </a:lnTo>
                    <a:lnTo>
                      <a:pt x="4559" y="9647"/>
                    </a:lnTo>
                    <a:lnTo>
                      <a:pt x="4559" y="8706"/>
                    </a:lnTo>
                    <a:lnTo>
                      <a:pt x="2353" y="6118"/>
                    </a:lnTo>
                    <a:lnTo>
                      <a:pt x="0" y="3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3" name="Freeform 126"/>
              <p:cNvSpPr>
                <a:spLocks/>
              </p:cNvSpPr>
              <p:nvPr/>
            </p:nvSpPr>
            <p:spPr bwMode="auto">
              <a:xfrm>
                <a:off x="5226050" y="4076700"/>
                <a:ext cx="217488" cy="312738"/>
              </a:xfrm>
              <a:custGeom>
                <a:avLst/>
                <a:gdLst>
                  <a:gd name="T0" fmla="*/ 15743 w 20000"/>
                  <a:gd name="T1" fmla="*/ 0 h 20000"/>
                  <a:gd name="T2" fmla="*/ 16618 w 20000"/>
                  <a:gd name="T3" fmla="*/ 1095 h 20000"/>
                  <a:gd name="T4" fmla="*/ 17201 w 20000"/>
                  <a:gd name="T5" fmla="*/ 2961 h 20000"/>
                  <a:gd name="T6" fmla="*/ 17551 w 20000"/>
                  <a:gd name="T7" fmla="*/ 5071 h 20000"/>
                  <a:gd name="T8" fmla="*/ 16327 w 20000"/>
                  <a:gd name="T9" fmla="*/ 5720 h 20000"/>
                  <a:gd name="T10" fmla="*/ 14810 w 20000"/>
                  <a:gd name="T11" fmla="*/ 6531 h 20000"/>
                  <a:gd name="T12" fmla="*/ 17551 w 20000"/>
                  <a:gd name="T13" fmla="*/ 8195 h 20000"/>
                  <a:gd name="T14" fmla="*/ 18717 w 20000"/>
                  <a:gd name="T15" fmla="*/ 9858 h 20000"/>
                  <a:gd name="T16" fmla="*/ 17551 w 20000"/>
                  <a:gd name="T17" fmla="*/ 10953 h 20000"/>
                  <a:gd name="T18" fmla="*/ 16327 w 20000"/>
                  <a:gd name="T19" fmla="*/ 12819 h 20000"/>
                  <a:gd name="T20" fmla="*/ 16618 w 20000"/>
                  <a:gd name="T21" fmla="*/ 14523 h 20000"/>
                  <a:gd name="T22" fmla="*/ 17551 w 20000"/>
                  <a:gd name="T23" fmla="*/ 15984 h 20000"/>
                  <a:gd name="T24" fmla="*/ 19592 w 20000"/>
                  <a:gd name="T25" fmla="*/ 18296 h 20000"/>
                  <a:gd name="T26" fmla="*/ 19592 w 20000"/>
                  <a:gd name="T27" fmla="*/ 19310 h 20000"/>
                  <a:gd name="T28" fmla="*/ 16618 w 20000"/>
                  <a:gd name="T29" fmla="*/ 19310 h 20000"/>
                  <a:gd name="T30" fmla="*/ 11837 w 20000"/>
                  <a:gd name="T31" fmla="*/ 19757 h 20000"/>
                  <a:gd name="T32" fmla="*/ 7872 w 20000"/>
                  <a:gd name="T33" fmla="*/ 19757 h 20000"/>
                  <a:gd name="T34" fmla="*/ 4548 w 20000"/>
                  <a:gd name="T35" fmla="*/ 19757 h 20000"/>
                  <a:gd name="T36" fmla="*/ 3615 w 20000"/>
                  <a:gd name="T37" fmla="*/ 17890 h 20000"/>
                  <a:gd name="T38" fmla="*/ 2391 w 20000"/>
                  <a:gd name="T39" fmla="*/ 16592 h 20000"/>
                  <a:gd name="T40" fmla="*/ 1574 w 20000"/>
                  <a:gd name="T41" fmla="*/ 15984 h 20000"/>
                  <a:gd name="T42" fmla="*/ 0 w 20000"/>
                  <a:gd name="T43" fmla="*/ 15578 h 20000"/>
                  <a:gd name="T44" fmla="*/ 1574 w 20000"/>
                  <a:gd name="T45" fmla="*/ 12819 h 20000"/>
                  <a:gd name="T46" fmla="*/ 4548 w 20000"/>
                  <a:gd name="T47" fmla="*/ 11116 h 20000"/>
                  <a:gd name="T48" fmla="*/ 6064 w 20000"/>
                  <a:gd name="T49" fmla="*/ 10953 h 20000"/>
                  <a:gd name="T50" fmla="*/ 6939 w 20000"/>
                  <a:gd name="T51" fmla="*/ 11765 h 20000"/>
                  <a:gd name="T52" fmla="*/ 8746 w 20000"/>
                  <a:gd name="T53" fmla="*/ 11116 h 20000"/>
                  <a:gd name="T54" fmla="*/ 8746 w 20000"/>
                  <a:gd name="T55" fmla="*/ 10507 h 20000"/>
                  <a:gd name="T56" fmla="*/ 11195 w 20000"/>
                  <a:gd name="T57" fmla="*/ 7789 h 20000"/>
                  <a:gd name="T58" fmla="*/ 12653 w 20000"/>
                  <a:gd name="T59" fmla="*/ 6531 h 20000"/>
                  <a:gd name="T60" fmla="*/ 13294 w 20000"/>
                  <a:gd name="T61" fmla="*/ 5071 h 20000"/>
                  <a:gd name="T62" fmla="*/ 14227 w 20000"/>
                  <a:gd name="T63" fmla="*/ 3408 h 20000"/>
                  <a:gd name="T64" fmla="*/ 16327 w 20000"/>
                  <a:gd name="T65" fmla="*/ 2759 h 20000"/>
                  <a:gd name="T66" fmla="*/ 14810 w 20000"/>
                  <a:gd name="T67" fmla="*/ 125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4810" y="0"/>
                    </a:moveTo>
                    <a:lnTo>
                      <a:pt x="15743" y="0"/>
                    </a:lnTo>
                    <a:lnTo>
                      <a:pt x="15743" y="649"/>
                    </a:lnTo>
                    <a:lnTo>
                      <a:pt x="16618" y="1095"/>
                    </a:lnTo>
                    <a:lnTo>
                      <a:pt x="17201" y="2110"/>
                    </a:lnTo>
                    <a:lnTo>
                      <a:pt x="17201" y="2961"/>
                    </a:lnTo>
                    <a:lnTo>
                      <a:pt x="17201" y="4016"/>
                    </a:lnTo>
                    <a:lnTo>
                      <a:pt x="17551" y="5071"/>
                    </a:lnTo>
                    <a:lnTo>
                      <a:pt x="18717" y="5720"/>
                    </a:lnTo>
                    <a:lnTo>
                      <a:pt x="16327" y="5720"/>
                    </a:lnTo>
                    <a:lnTo>
                      <a:pt x="15102" y="5720"/>
                    </a:lnTo>
                    <a:lnTo>
                      <a:pt x="14810" y="6531"/>
                    </a:lnTo>
                    <a:lnTo>
                      <a:pt x="16618" y="7789"/>
                    </a:lnTo>
                    <a:lnTo>
                      <a:pt x="17551" y="8195"/>
                    </a:lnTo>
                    <a:lnTo>
                      <a:pt x="18134" y="9452"/>
                    </a:lnTo>
                    <a:lnTo>
                      <a:pt x="18717" y="9858"/>
                    </a:lnTo>
                    <a:lnTo>
                      <a:pt x="18717" y="10507"/>
                    </a:lnTo>
                    <a:lnTo>
                      <a:pt x="17551" y="10953"/>
                    </a:lnTo>
                    <a:lnTo>
                      <a:pt x="16618" y="12617"/>
                    </a:lnTo>
                    <a:lnTo>
                      <a:pt x="16327" y="12819"/>
                    </a:lnTo>
                    <a:lnTo>
                      <a:pt x="16327" y="14280"/>
                    </a:lnTo>
                    <a:lnTo>
                      <a:pt x="16618" y="14523"/>
                    </a:lnTo>
                    <a:lnTo>
                      <a:pt x="16618" y="15578"/>
                    </a:lnTo>
                    <a:lnTo>
                      <a:pt x="17551" y="15984"/>
                    </a:lnTo>
                    <a:lnTo>
                      <a:pt x="17551" y="16998"/>
                    </a:lnTo>
                    <a:lnTo>
                      <a:pt x="19592" y="18296"/>
                    </a:lnTo>
                    <a:lnTo>
                      <a:pt x="19942" y="18296"/>
                    </a:lnTo>
                    <a:lnTo>
                      <a:pt x="19592" y="19310"/>
                    </a:lnTo>
                    <a:lnTo>
                      <a:pt x="19942" y="19757"/>
                    </a:lnTo>
                    <a:lnTo>
                      <a:pt x="16618" y="19310"/>
                    </a:lnTo>
                    <a:lnTo>
                      <a:pt x="12653" y="19757"/>
                    </a:lnTo>
                    <a:lnTo>
                      <a:pt x="11837" y="19757"/>
                    </a:lnTo>
                    <a:lnTo>
                      <a:pt x="10029" y="19757"/>
                    </a:lnTo>
                    <a:lnTo>
                      <a:pt x="7872" y="19757"/>
                    </a:lnTo>
                    <a:lnTo>
                      <a:pt x="7872" y="19959"/>
                    </a:lnTo>
                    <a:lnTo>
                      <a:pt x="4548" y="19757"/>
                    </a:lnTo>
                    <a:lnTo>
                      <a:pt x="3615" y="19310"/>
                    </a:lnTo>
                    <a:lnTo>
                      <a:pt x="3615" y="17890"/>
                    </a:lnTo>
                    <a:lnTo>
                      <a:pt x="3615" y="16998"/>
                    </a:lnTo>
                    <a:lnTo>
                      <a:pt x="2391" y="16592"/>
                    </a:lnTo>
                    <a:lnTo>
                      <a:pt x="2157" y="16592"/>
                    </a:lnTo>
                    <a:lnTo>
                      <a:pt x="1574" y="15984"/>
                    </a:lnTo>
                    <a:lnTo>
                      <a:pt x="641" y="15578"/>
                    </a:lnTo>
                    <a:lnTo>
                      <a:pt x="0" y="15578"/>
                    </a:lnTo>
                    <a:lnTo>
                      <a:pt x="933" y="14280"/>
                    </a:lnTo>
                    <a:lnTo>
                      <a:pt x="1574" y="12819"/>
                    </a:lnTo>
                    <a:lnTo>
                      <a:pt x="3032" y="11765"/>
                    </a:lnTo>
                    <a:lnTo>
                      <a:pt x="4548" y="11116"/>
                    </a:lnTo>
                    <a:lnTo>
                      <a:pt x="5481" y="11116"/>
                    </a:lnTo>
                    <a:lnTo>
                      <a:pt x="6064" y="10953"/>
                    </a:lnTo>
                    <a:lnTo>
                      <a:pt x="6939" y="11602"/>
                    </a:lnTo>
                    <a:lnTo>
                      <a:pt x="6939" y="11765"/>
                    </a:lnTo>
                    <a:lnTo>
                      <a:pt x="7872" y="11765"/>
                    </a:lnTo>
                    <a:lnTo>
                      <a:pt x="8746" y="11116"/>
                    </a:lnTo>
                    <a:lnTo>
                      <a:pt x="9329" y="11116"/>
                    </a:lnTo>
                    <a:lnTo>
                      <a:pt x="8746" y="10507"/>
                    </a:lnTo>
                    <a:lnTo>
                      <a:pt x="10262" y="8398"/>
                    </a:lnTo>
                    <a:lnTo>
                      <a:pt x="11195" y="7789"/>
                    </a:lnTo>
                    <a:lnTo>
                      <a:pt x="11195" y="6734"/>
                    </a:lnTo>
                    <a:lnTo>
                      <a:pt x="12653" y="6531"/>
                    </a:lnTo>
                    <a:lnTo>
                      <a:pt x="12420" y="5720"/>
                    </a:lnTo>
                    <a:lnTo>
                      <a:pt x="13294" y="5071"/>
                    </a:lnTo>
                    <a:lnTo>
                      <a:pt x="13294" y="4422"/>
                    </a:lnTo>
                    <a:lnTo>
                      <a:pt x="14227" y="3408"/>
                    </a:lnTo>
                    <a:lnTo>
                      <a:pt x="15102" y="3813"/>
                    </a:lnTo>
                    <a:lnTo>
                      <a:pt x="16327" y="2759"/>
                    </a:lnTo>
                    <a:lnTo>
                      <a:pt x="15743" y="1663"/>
                    </a:lnTo>
                    <a:lnTo>
                      <a:pt x="14810" y="1258"/>
                    </a:lnTo>
                    <a:lnTo>
                      <a:pt x="1481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4" name="Freeform 125"/>
              <p:cNvSpPr>
                <a:spLocks/>
              </p:cNvSpPr>
              <p:nvPr/>
            </p:nvSpPr>
            <p:spPr bwMode="auto">
              <a:xfrm>
                <a:off x="5949950" y="4310063"/>
                <a:ext cx="228600" cy="282575"/>
              </a:xfrm>
              <a:custGeom>
                <a:avLst/>
                <a:gdLst>
                  <a:gd name="T0" fmla="*/ 613 w 20000"/>
                  <a:gd name="T1" fmla="*/ 1839 h 20000"/>
                  <a:gd name="T2" fmla="*/ 891 w 20000"/>
                  <a:gd name="T3" fmla="*/ 1166 h 20000"/>
                  <a:gd name="T4" fmla="*/ 2340 w 20000"/>
                  <a:gd name="T5" fmla="*/ 717 h 20000"/>
                  <a:gd name="T6" fmla="*/ 3788 w 20000"/>
                  <a:gd name="T7" fmla="*/ 0 h 20000"/>
                  <a:gd name="T8" fmla="*/ 4345 w 20000"/>
                  <a:gd name="T9" fmla="*/ 717 h 20000"/>
                  <a:gd name="T10" fmla="*/ 4680 w 20000"/>
                  <a:gd name="T11" fmla="*/ 717 h 20000"/>
                  <a:gd name="T12" fmla="*/ 6072 w 20000"/>
                  <a:gd name="T13" fmla="*/ 1166 h 20000"/>
                  <a:gd name="T14" fmla="*/ 8969 w 20000"/>
                  <a:gd name="T15" fmla="*/ 1839 h 20000"/>
                  <a:gd name="T16" fmla="*/ 11309 w 20000"/>
                  <a:gd name="T17" fmla="*/ 3004 h 20000"/>
                  <a:gd name="T18" fmla="*/ 13872 w 20000"/>
                  <a:gd name="T19" fmla="*/ 3229 h 20000"/>
                  <a:gd name="T20" fmla="*/ 15042 w 20000"/>
                  <a:gd name="T21" fmla="*/ 1839 h 20000"/>
                  <a:gd name="T22" fmla="*/ 15877 w 20000"/>
                  <a:gd name="T23" fmla="*/ 1839 h 20000"/>
                  <a:gd name="T24" fmla="*/ 17326 w 20000"/>
                  <a:gd name="T25" fmla="*/ 1839 h 20000"/>
                  <a:gd name="T26" fmla="*/ 18217 w 20000"/>
                  <a:gd name="T27" fmla="*/ 2287 h 20000"/>
                  <a:gd name="T28" fmla="*/ 19944 w 20000"/>
                  <a:gd name="T29" fmla="*/ 2287 h 20000"/>
                  <a:gd name="T30" fmla="*/ 17660 w 20000"/>
                  <a:gd name="T31" fmla="*/ 4395 h 20000"/>
                  <a:gd name="T32" fmla="*/ 17660 w 20000"/>
                  <a:gd name="T33" fmla="*/ 11614 h 20000"/>
                  <a:gd name="T34" fmla="*/ 19053 w 20000"/>
                  <a:gd name="T35" fmla="*/ 13004 h 20000"/>
                  <a:gd name="T36" fmla="*/ 18774 w 20000"/>
                  <a:gd name="T37" fmla="*/ 13901 h 20000"/>
                  <a:gd name="T38" fmla="*/ 17326 w 20000"/>
                  <a:gd name="T39" fmla="*/ 14619 h 20000"/>
                  <a:gd name="T40" fmla="*/ 17326 w 20000"/>
                  <a:gd name="T41" fmla="*/ 15112 h 20000"/>
                  <a:gd name="T42" fmla="*/ 16435 w 20000"/>
                  <a:gd name="T43" fmla="*/ 15291 h 20000"/>
                  <a:gd name="T44" fmla="*/ 15320 w 20000"/>
                  <a:gd name="T45" fmla="*/ 15785 h 20000"/>
                  <a:gd name="T46" fmla="*/ 15042 w 20000"/>
                  <a:gd name="T47" fmla="*/ 16951 h 20000"/>
                  <a:gd name="T48" fmla="*/ 13872 w 20000"/>
                  <a:gd name="T49" fmla="*/ 18789 h 20000"/>
                  <a:gd name="T50" fmla="*/ 12981 w 20000"/>
                  <a:gd name="T51" fmla="*/ 19955 h 20000"/>
                  <a:gd name="T52" fmla="*/ 9805 w 20000"/>
                  <a:gd name="T53" fmla="*/ 17668 h 20000"/>
                  <a:gd name="T54" fmla="*/ 9805 w 20000"/>
                  <a:gd name="T55" fmla="*/ 16457 h 20000"/>
                  <a:gd name="T56" fmla="*/ 891 w 20000"/>
                  <a:gd name="T57" fmla="*/ 12063 h 20000"/>
                  <a:gd name="T58" fmla="*/ 0 w 20000"/>
                  <a:gd name="T59" fmla="*/ 12063 h 20000"/>
                  <a:gd name="T60" fmla="*/ 0 w 20000"/>
                  <a:gd name="T61" fmla="*/ 9731 h 20000"/>
                  <a:gd name="T62" fmla="*/ 1727 w 20000"/>
                  <a:gd name="T63" fmla="*/ 7399 h 20000"/>
                  <a:gd name="T64" fmla="*/ 2897 w 20000"/>
                  <a:gd name="T65" fmla="*/ 6233 h 20000"/>
                  <a:gd name="T66" fmla="*/ 1727 w 20000"/>
                  <a:gd name="T67" fmla="*/ 4395 h 20000"/>
                  <a:gd name="T68" fmla="*/ 1504 w 20000"/>
                  <a:gd name="T69" fmla="*/ 3229 h 20000"/>
                  <a:gd name="T70" fmla="*/ 1504 w 20000"/>
                  <a:gd name="T71" fmla="*/ 2556 h 20000"/>
                  <a:gd name="T72" fmla="*/ 613 w 20000"/>
                  <a:gd name="T73" fmla="*/ 2287 h 20000"/>
                  <a:gd name="T74" fmla="*/ 613 w 20000"/>
                  <a:gd name="T75" fmla="*/ 18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613" y="1839"/>
                    </a:moveTo>
                    <a:lnTo>
                      <a:pt x="891" y="1166"/>
                    </a:lnTo>
                    <a:lnTo>
                      <a:pt x="2340" y="717"/>
                    </a:lnTo>
                    <a:lnTo>
                      <a:pt x="3788" y="0"/>
                    </a:lnTo>
                    <a:lnTo>
                      <a:pt x="4345" y="717"/>
                    </a:lnTo>
                    <a:lnTo>
                      <a:pt x="4680" y="717"/>
                    </a:lnTo>
                    <a:lnTo>
                      <a:pt x="6072" y="1166"/>
                    </a:lnTo>
                    <a:lnTo>
                      <a:pt x="8969" y="1839"/>
                    </a:lnTo>
                    <a:lnTo>
                      <a:pt x="11309" y="3004"/>
                    </a:lnTo>
                    <a:lnTo>
                      <a:pt x="13872" y="3229"/>
                    </a:lnTo>
                    <a:lnTo>
                      <a:pt x="15042" y="1839"/>
                    </a:lnTo>
                    <a:lnTo>
                      <a:pt x="15877" y="1839"/>
                    </a:lnTo>
                    <a:lnTo>
                      <a:pt x="17326" y="1839"/>
                    </a:lnTo>
                    <a:lnTo>
                      <a:pt x="18217" y="2287"/>
                    </a:lnTo>
                    <a:lnTo>
                      <a:pt x="19944" y="2287"/>
                    </a:lnTo>
                    <a:lnTo>
                      <a:pt x="17660" y="4395"/>
                    </a:lnTo>
                    <a:lnTo>
                      <a:pt x="17660" y="11614"/>
                    </a:lnTo>
                    <a:lnTo>
                      <a:pt x="19053" y="13004"/>
                    </a:lnTo>
                    <a:lnTo>
                      <a:pt x="18774" y="13901"/>
                    </a:lnTo>
                    <a:lnTo>
                      <a:pt x="17326" y="14619"/>
                    </a:lnTo>
                    <a:lnTo>
                      <a:pt x="17326" y="15112"/>
                    </a:lnTo>
                    <a:lnTo>
                      <a:pt x="16435" y="15291"/>
                    </a:lnTo>
                    <a:lnTo>
                      <a:pt x="15320" y="15785"/>
                    </a:lnTo>
                    <a:lnTo>
                      <a:pt x="15042" y="16951"/>
                    </a:lnTo>
                    <a:lnTo>
                      <a:pt x="13872" y="18789"/>
                    </a:lnTo>
                    <a:lnTo>
                      <a:pt x="12981" y="19955"/>
                    </a:lnTo>
                    <a:lnTo>
                      <a:pt x="9805" y="17668"/>
                    </a:lnTo>
                    <a:lnTo>
                      <a:pt x="9805" y="16457"/>
                    </a:lnTo>
                    <a:lnTo>
                      <a:pt x="891" y="12063"/>
                    </a:lnTo>
                    <a:lnTo>
                      <a:pt x="0" y="12063"/>
                    </a:lnTo>
                    <a:lnTo>
                      <a:pt x="0" y="9731"/>
                    </a:lnTo>
                    <a:lnTo>
                      <a:pt x="1727" y="7399"/>
                    </a:lnTo>
                    <a:lnTo>
                      <a:pt x="2897" y="6233"/>
                    </a:lnTo>
                    <a:lnTo>
                      <a:pt x="1727" y="4395"/>
                    </a:lnTo>
                    <a:lnTo>
                      <a:pt x="1504" y="3229"/>
                    </a:lnTo>
                    <a:lnTo>
                      <a:pt x="1504" y="2556"/>
                    </a:lnTo>
                    <a:lnTo>
                      <a:pt x="613" y="2287"/>
                    </a:lnTo>
                    <a:lnTo>
                      <a:pt x="613" y="183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5" name="Freeform 124"/>
              <p:cNvSpPr>
                <a:spLocks/>
              </p:cNvSpPr>
              <p:nvPr/>
            </p:nvSpPr>
            <p:spPr bwMode="auto">
              <a:xfrm>
                <a:off x="6207125" y="4781550"/>
                <a:ext cx="3175" cy="17463"/>
              </a:xfrm>
              <a:custGeom>
                <a:avLst/>
                <a:gdLst>
                  <a:gd name="T0" fmla="*/ 16667 w 20000"/>
                  <a:gd name="T1" fmla="*/ 19286 h 20000"/>
                  <a:gd name="T2" fmla="*/ 0 w 20000"/>
                  <a:gd name="T3" fmla="*/ 11429 h 20000"/>
                  <a:gd name="T4" fmla="*/ 0 w 20000"/>
                  <a:gd name="T5" fmla="*/ 4286 h 20000"/>
                  <a:gd name="T6" fmla="*/ 0 w 20000"/>
                  <a:gd name="T7" fmla="*/ 0 h 20000"/>
                  <a:gd name="T8" fmla="*/ 16667 w 20000"/>
                  <a:gd name="T9" fmla="*/ 0 h 20000"/>
                  <a:gd name="T10" fmla="*/ 16667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16667" y="19286"/>
                    </a:moveTo>
                    <a:lnTo>
                      <a:pt x="0" y="11429"/>
                    </a:lnTo>
                    <a:lnTo>
                      <a:pt x="0" y="4286"/>
                    </a:lnTo>
                    <a:lnTo>
                      <a:pt x="0" y="0"/>
                    </a:lnTo>
                    <a:lnTo>
                      <a:pt x="16667" y="0"/>
                    </a:lnTo>
                    <a:lnTo>
                      <a:pt x="16667"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6" name="Freeform 123"/>
              <p:cNvSpPr>
                <a:spLocks/>
              </p:cNvSpPr>
              <p:nvPr/>
            </p:nvSpPr>
            <p:spPr bwMode="auto">
              <a:xfrm>
                <a:off x="5302250" y="4346575"/>
                <a:ext cx="211138" cy="250825"/>
              </a:xfrm>
              <a:custGeom>
                <a:avLst/>
                <a:gdLst>
                  <a:gd name="T0" fmla="*/ 14699 w 20000"/>
                  <a:gd name="T1" fmla="*/ 1823 h 20000"/>
                  <a:gd name="T2" fmla="*/ 17169 w 20000"/>
                  <a:gd name="T3" fmla="*/ 0 h 20000"/>
                  <a:gd name="T4" fmla="*/ 19940 w 20000"/>
                  <a:gd name="T5" fmla="*/ 0 h 20000"/>
                  <a:gd name="T6" fmla="*/ 19639 w 20000"/>
                  <a:gd name="T7" fmla="*/ 2076 h 20000"/>
                  <a:gd name="T8" fmla="*/ 18735 w 20000"/>
                  <a:gd name="T9" fmla="*/ 5266 h 20000"/>
                  <a:gd name="T10" fmla="*/ 18133 w 20000"/>
                  <a:gd name="T11" fmla="*/ 7646 h 20000"/>
                  <a:gd name="T12" fmla="*/ 18133 w 20000"/>
                  <a:gd name="T13" fmla="*/ 9418 h 20000"/>
                  <a:gd name="T14" fmla="*/ 15542 w 20000"/>
                  <a:gd name="T15" fmla="*/ 10734 h 20000"/>
                  <a:gd name="T16" fmla="*/ 14699 w 20000"/>
                  <a:gd name="T17" fmla="*/ 12304 h 20000"/>
                  <a:gd name="T18" fmla="*/ 13434 w 20000"/>
                  <a:gd name="T19" fmla="*/ 14430 h 20000"/>
                  <a:gd name="T20" fmla="*/ 13072 w 20000"/>
                  <a:gd name="T21" fmla="*/ 17063 h 20000"/>
                  <a:gd name="T22" fmla="*/ 10964 w 20000"/>
                  <a:gd name="T23" fmla="*/ 18380 h 20000"/>
                  <a:gd name="T24" fmla="*/ 9639 w 20000"/>
                  <a:gd name="T25" fmla="*/ 19646 h 20000"/>
                  <a:gd name="T26" fmla="*/ 8434 w 20000"/>
                  <a:gd name="T27" fmla="*/ 18380 h 20000"/>
                  <a:gd name="T28" fmla="*/ 6867 w 20000"/>
                  <a:gd name="T29" fmla="*/ 19139 h 20000"/>
                  <a:gd name="T30" fmla="*/ 5663 w 20000"/>
                  <a:gd name="T31" fmla="*/ 18633 h 20000"/>
                  <a:gd name="T32" fmla="*/ 4337 w 20000"/>
                  <a:gd name="T33" fmla="*/ 18380 h 20000"/>
                  <a:gd name="T34" fmla="*/ 3434 w 20000"/>
                  <a:gd name="T35" fmla="*/ 19139 h 20000"/>
                  <a:gd name="T36" fmla="*/ 1867 w 20000"/>
                  <a:gd name="T37" fmla="*/ 19139 h 20000"/>
                  <a:gd name="T38" fmla="*/ 964 w 20000"/>
                  <a:gd name="T39" fmla="*/ 16506 h 20000"/>
                  <a:gd name="T40" fmla="*/ 1867 w 20000"/>
                  <a:gd name="T41" fmla="*/ 16506 h 20000"/>
                  <a:gd name="T42" fmla="*/ 2470 w 20000"/>
                  <a:gd name="T43" fmla="*/ 14987 h 20000"/>
                  <a:gd name="T44" fmla="*/ 1867 w 20000"/>
                  <a:gd name="T45" fmla="*/ 13114 h 20000"/>
                  <a:gd name="T46" fmla="*/ 3434 w 20000"/>
                  <a:gd name="T47" fmla="*/ 13620 h 20000"/>
                  <a:gd name="T48" fmla="*/ 5904 w 20000"/>
                  <a:gd name="T49" fmla="*/ 13620 h 20000"/>
                  <a:gd name="T50" fmla="*/ 8133 w 20000"/>
                  <a:gd name="T51" fmla="*/ 14177 h 20000"/>
                  <a:gd name="T52" fmla="*/ 8434 w 20000"/>
                  <a:gd name="T53" fmla="*/ 13114 h 20000"/>
                  <a:gd name="T54" fmla="*/ 9639 w 20000"/>
                  <a:gd name="T55" fmla="*/ 11544 h 20000"/>
                  <a:gd name="T56" fmla="*/ 8133 w 20000"/>
                  <a:gd name="T57" fmla="*/ 8658 h 20000"/>
                  <a:gd name="T58" fmla="*/ 8434 w 20000"/>
                  <a:gd name="T59" fmla="*/ 6835 h 20000"/>
                  <a:gd name="T60" fmla="*/ 8434 w 20000"/>
                  <a:gd name="T61" fmla="*/ 5468 h 20000"/>
                  <a:gd name="T62" fmla="*/ 6867 w 20000"/>
                  <a:gd name="T63" fmla="*/ 5266 h 20000"/>
                  <a:gd name="T64" fmla="*/ 5904 w 20000"/>
                  <a:gd name="T65" fmla="*/ 3949 h 20000"/>
                  <a:gd name="T66" fmla="*/ 5904 w 20000"/>
                  <a:gd name="T67" fmla="*/ 3139 h 20000"/>
                  <a:gd name="T68" fmla="*/ 13434 w 20000"/>
                  <a:gd name="T69" fmla="*/ 31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3434" y="3139"/>
                    </a:moveTo>
                    <a:lnTo>
                      <a:pt x="14699" y="1823"/>
                    </a:lnTo>
                    <a:lnTo>
                      <a:pt x="14940" y="0"/>
                    </a:lnTo>
                    <a:lnTo>
                      <a:pt x="17169" y="0"/>
                    </a:lnTo>
                    <a:lnTo>
                      <a:pt x="18735" y="0"/>
                    </a:lnTo>
                    <a:lnTo>
                      <a:pt x="19940" y="0"/>
                    </a:lnTo>
                    <a:lnTo>
                      <a:pt x="19940" y="1316"/>
                    </a:lnTo>
                    <a:lnTo>
                      <a:pt x="19639" y="2076"/>
                    </a:lnTo>
                    <a:lnTo>
                      <a:pt x="18735" y="3949"/>
                    </a:lnTo>
                    <a:lnTo>
                      <a:pt x="18735" y="5266"/>
                    </a:lnTo>
                    <a:lnTo>
                      <a:pt x="18133" y="6278"/>
                    </a:lnTo>
                    <a:lnTo>
                      <a:pt x="18133" y="7646"/>
                    </a:lnTo>
                    <a:lnTo>
                      <a:pt x="18133" y="8658"/>
                    </a:lnTo>
                    <a:lnTo>
                      <a:pt x="18133" y="9418"/>
                    </a:lnTo>
                    <a:lnTo>
                      <a:pt x="16506" y="10734"/>
                    </a:lnTo>
                    <a:lnTo>
                      <a:pt x="15542" y="10734"/>
                    </a:lnTo>
                    <a:lnTo>
                      <a:pt x="14940" y="11797"/>
                    </a:lnTo>
                    <a:lnTo>
                      <a:pt x="14699" y="12304"/>
                    </a:lnTo>
                    <a:lnTo>
                      <a:pt x="13434" y="13114"/>
                    </a:lnTo>
                    <a:lnTo>
                      <a:pt x="13434" y="14430"/>
                    </a:lnTo>
                    <a:lnTo>
                      <a:pt x="13434" y="15696"/>
                    </a:lnTo>
                    <a:lnTo>
                      <a:pt x="13072" y="17063"/>
                    </a:lnTo>
                    <a:lnTo>
                      <a:pt x="12169" y="17873"/>
                    </a:lnTo>
                    <a:lnTo>
                      <a:pt x="10964" y="18380"/>
                    </a:lnTo>
                    <a:lnTo>
                      <a:pt x="10602" y="18633"/>
                    </a:lnTo>
                    <a:lnTo>
                      <a:pt x="9639" y="19646"/>
                    </a:lnTo>
                    <a:lnTo>
                      <a:pt x="9036" y="18633"/>
                    </a:lnTo>
                    <a:lnTo>
                      <a:pt x="8434" y="18380"/>
                    </a:lnTo>
                    <a:lnTo>
                      <a:pt x="7530" y="18380"/>
                    </a:lnTo>
                    <a:lnTo>
                      <a:pt x="6867" y="19139"/>
                    </a:lnTo>
                    <a:lnTo>
                      <a:pt x="5904" y="19139"/>
                    </a:lnTo>
                    <a:lnTo>
                      <a:pt x="5663" y="18633"/>
                    </a:lnTo>
                    <a:lnTo>
                      <a:pt x="5060" y="18633"/>
                    </a:lnTo>
                    <a:lnTo>
                      <a:pt x="4337" y="18380"/>
                    </a:lnTo>
                    <a:lnTo>
                      <a:pt x="3434" y="18633"/>
                    </a:lnTo>
                    <a:lnTo>
                      <a:pt x="3434" y="19139"/>
                    </a:lnTo>
                    <a:lnTo>
                      <a:pt x="2470" y="19949"/>
                    </a:lnTo>
                    <a:lnTo>
                      <a:pt x="1867" y="19139"/>
                    </a:lnTo>
                    <a:lnTo>
                      <a:pt x="0" y="17063"/>
                    </a:lnTo>
                    <a:lnTo>
                      <a:pt x="964" y="16506"/>
                    </a:lnTo>
                    <a:lnTo>
                      <a:pt x="1566" y="16253"/>
                    </a:lnTo>
                    <a:lnTo>
                      <a:pt x="1867" y="16506"/>
                    </a:lnTo>
                    <a:lnTo>
                      <a:pt x="2470" y="16506"/>
                    </a:lnTo>
                    <a:lnTo>
                      <a:pt x="2470" y="14987"/>
                    </a:lnTo>
                    <a:lnTo>
                      <a:pt x="1566" y="14430"/>
                    </a:lnTo>
                    <a:lnTo>
                      <a:pt x="1867" y="13114"/>
                    </a:lnTo>
                    <a:lnTo>
                      <a:pt x="2470" y="13620"/>
                    </a:lnTo>
                    <a:lnTo>
                      <a:pt x="3434" y="13620"/>
                    </a:lnTo>
                    <a:lnTo>
                      <a:pt x="4096" y="12304"/>
                    </a:lnTo>
                    <a:lnTo>
                      <a:pt x="5904" y="13620"/>
                    </a:lnTo>
                    <a:lnTo>
                      <a:pt x="7530" y="13114"/>
                    </a:lnTo>
                    <a:lnTo>
                      <a:pt x="8133" y="14177"/>
                    </a:lnTo>
                    <a:lnTo>
                      <a:pt x="8434" y="14177"/>
                    </a:lnTo>
                    <a:lnTo>
                      <a:pt x="8434" y="13114"/>
                    </a:lnTo>
                    <a:lnTo>
                      <a:pt x="9036" y="12304"/>
                    </a:lnTo>
                    <a:lnTo>
                      <a:pt x="9639" y="11544"/>
                    </a:lnTo>
                    <a:lnTo>
                      <a:pt x="9639" y="9418"/>
                    </a:lnTo>
                    <a:lnTo>
                      <a:pt x="8133" y="8658"/>
                    </a:lnTo>
                    <a:lnTo>
                      <a:pt x="8133" y="7342"/>
                    </a:lnTo>
                    <a:lnTo>
                      <a:pt x="8434" y="6835"/>
                    </a:lnTo>
                    <a:lnTo>
                      <a:pt x="9036" y="6278"/>
                    </a:lnTo>
                    <a:lnTo>
                      <a:pt x="8434" y="5468"/>
                    </a:lnTo>
                    <a:lnTo>
                      <a:pt x="8133" y="5266"/>
                    </a:lnTo>
                    <a:lnTo>
                      <a:pt x="6867" y="5266"/>
                    </a:lnTo>
                    <a:lnTo>
                      <a:pt x="5904" y="5468"/>
                    </a:lnTo>
                    <a:lnTo>
                      <a:pt x="5904" y="3949"/>
                    </a:lnTo>
                    <a:lnTo>
                      <a:pt x="6566" y="3139"/>
                    </a:lnTo>
                    <a:lnTo>
                      <a:pt x="5904" y="3139"/>
                    </a:lnTo>
                    <a:lnTo>
                      <a:pt x="10000" y="2582"/>
                    </a:lnTo>
                    <a:lnTo>
                      <a:pt x="13434" y="313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7" name="Freeform 122"/>
              <p:cNvSpPr>
                <a:spLocks/>
              </p:cNvSpPr>
              <p:nvPr/>
            </p:nvSpPr>
            <p:spPr bwMode="auto">
              <a:xfrm>
                <a:off x="4670425" y="4206875"/>
                <a:ext cx="106363" cy="119063"/>
              </a:xfrm>
              <a:custGeom>
                <a:avLst/>
                <a:gdLst>
                  <a:gd name="T0" fmla="*/ 4910 w 20000"/>
                  <a:gd name="T1" fmla="*/ 0 h 20000"/>
                  <a:gd name="T2" fmla="*/ 7425 w 20000"/>
                  <a:gd name="T3" fmla="*/ 0 h 20000"/>
                  <a:gd name="T4" fmla="*/ 8623 w 20000"/>
                  <a:gd name="T5" fmla="*/ 2781 h 20000"/>
                  <a:gd name="T6" fmla="*/ 8623 w 20000"/>
                  <a:gd name="T7" fmla="*/ 5455 h 20000"/>
                  <a:gd name="T8" fmla="*/ 10539 w 20000"/>
                  <a:gd name="T9" fmla="*/ 5455 h 20000"/>
                  <a:gd name="T10" fmla="*/ 13054 w 20000"/>
                  <a:gd name="T11" fmla="*/ 5455 h 20000"/>
                  <a:gd name="T12" fmla="*/ 13054 w 20000"/>
                  <a:gd name="T13" fmla="*/ 3850 h 20000"/>
                  <a:gd name="T14" fmla="*/ 14970 w 20000"/>
                  <a:gd name="T15" fmla="*/ 4385 h 20000"/>
                  <a:gd name="T16" fmla="*/ 14970 w 20000"/>
                  <a:gd name="T17" fmla="*/ 6631 h 20000"/>
                  <a:gd name="T18" fmla="*/ 14970 w 20000"/>
                  <a:gd name="T19" fmla="*/ 8342 h 20000"/>
                  <a:gd name="T20" fmla="*/ 14970 w 20000"/>
                  <a:gd name="T21" fmla="*/ 8770 h 20000"/>
                  <a:gd name="T22" fmla="*/ 15449 w 20000"/>
                  <a:gd name="T23" fmla="*/ 11123 h 20000"/>
                  <a:gd name="T24" fmla="*/ 17964 w 20000"/>
                  <a:gd name="T25" fmla="*/ 11123 h 20000"/>
                  <a:gd name="T26" fmla="*/ 18683 w 20000"/>
                  <a:gd name="T27" fmla="*/ 11551 h 20000"/>
                  <a:gd name="T28" fmla="*/ 19880 w 20000"/>
                  <a:gd name="T29" fmla="*/ 12727 h 20000"/>
                  <a:gd name="T30" fmla="*/ 18683 w 20000"/>
                  <a:gd name="T31" fmla="*/ 16043 h 20000"/>
                  <a:gd name="T32" fmla="*/ 19880 w 20000"/>
                  <a:gd name="T33" fmla="*/ 19893 h 20000"/>
                  <a:gd name="T34" fmla="*/ 14970 w 20000"/>
                  <a:gd name="T35" fmla="*/ 18824 h 20000"/>
                  <a:gd name="T36" fmla="*/ 5629 w 20000"/>
                  <a:gd name="T37" fmla="*/ 12727 h 20000"/>
                  <a:gd name="T38" fmla="*/ 0 w 20000"/>
                  <a:gd name="T39" fmla="*/ 8342 h 20000"/>
                  <a:gd name="T40" fmla="*/ 1916 w 20000"/>
                  <a:gd name="T41" fmla="*/ 5455 h 20000"/>
                  <a:gd name="T42" fmla="*/ 3713 w 20000"/>
                  <a:gd name="T43" fmla="*/ 3850 h 20000"/>
                  <a:gd name="T44" fmla="*/ 3713 w 20000"/>
                  <a:gd name="T45" fmla="*/ 1711 h 20000"/>
                  <a:gd name="T46" fmla="*/ 4910 w 20000"/>
                  <a:gd name="T47" fmla="*/ 1711 h 20000"/>
                  <a:gd name="T48" fmla="*/ 4910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4910" y="0"/>
                    </a:moveTo>
                    <a:lnTo>
                      <a:pt x="7425" y="0"/>
                    </a:lnTo>
                    <a:lnTo>
                      <a:pt x="8623" y="2781"/>
                    </a:lnTo>
                    <a:lnTo>
                      <a:pt x="8623" y="5455"/>
                    </a:lnTo>
                    <a:lnTo>
                      <a:pt x="10539" y="5455"/>
                    </a:lnTo>
                    <a:lnTo>
                      <a:pt x="13054" y="5455"/>
                    </a:lnTo>
                    <a:lnTo>
                      <a:pt x="13054" y="3850"/>
                    </a:lnTo>
                    <a:lnTo>
                      <a:pt x="14970" y="4385"/>
                    </a:lnTo>
                    <a:lnTo>
                      <a:pt x="14970" y="6631"/>
                    </a:lnTo>
                    <a:lnTo>
                      <a:pt x="14970" y="8342"/>
                    </a:lnTo>
                    <a:lnTo>
                      <a:pt x="14970" y="8770"/>
                    </a:lnTo>
                    <a:lnTo>
                      <a:pt x="15449" y="11123"/>
                    </a:lnTo>
                    <a:lnTo>
                      <a:pt x="17964" y="11123"/>
                    </a:lnTo>
                    <a:lnTo>
                      <a:pt x="18683" y="11551"/>
                    </a:lnTo>
                    <a:lnTo>
                      <a:pt x="19880" y="12727"/>
                    </a:lnTo>
                    <a:lnTo>
                      <a:pt x="18683" y="16043"/>
                    </a:lnTo>
                    <a:lnTo>
                      <a:pt x="19880" y="19893"/>
                    </a:lnTo>
                    <a:lnTo>
                      <a:pt x="14970" y="18824"/>
                    </a:lnTo>
                    <a:lnTo>
                      <a:pt x="5629" y="12727"/>
                    </a:lnTo>
                    <a:lnTo>
                      <a:pt x="0" y="8342"/>
                    </a:lnTo>
                    <a:lnTo>
                      <a:pt x="1916" y="5455"/>
                    </a:lnTo>
                    <a:lnTo>
                      <a:pt x="3713" y="3850"/>
                    </a:lnTo>
                    <a:lnTo>
                      <a:pt x="3713" y="1711"/>
                    </a:lnTo>
                    <a:lnTo>
                      <a:pt x="4910" y="1711"/>
                    </a:lnTo>
                    <a:lnTo>
                      <a:pt x="491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8" name="Freeform 121"/>
              <p:cNvSpPr>
                <a:spLocks/>
              </p:cNvSpPr>
              <p:nvPr/>
            </p:nvSpPr>
            <p:spPr bwMode="auto">
              <a:xfrm>
                <a:off x="5251450" y="3481388"/>
                <a:ext cx="438150" cy="407987"/>
              </a:xfrm>
              <a:custGeom>
                <a:avLst/>
                <a:gdLst>
                  <a:gd name="T0" fmla="*/ 0 w 20000"/>
                  <a:gd name="T1" fmla="*/ 4199 h 20000"/>
                  <a:gd name="T2" fmla="*/ 319 w 20000"/>
                  <a:gd name="T3" fmla="*/ 4199 h 20000"/>
                  <a:gd name="T4" fmla="*/ 1072 w 20000"/>
                  <a:gd name="T5" fmla="*/ 3390 h 20000"/>
                  <a:gd name="T6" fmla="*/ 783 w 20000"/>
                  <a:gd name="T7" fmla="*/ 2240 h 20000"/>
                  <a:gd name="T8" fmla="*/ 1797 w 20000"/>
                  <a:gd name="T9" fmla="*/ 1275 h 20000"/>
                  <a:gd name="T10" fmla="*/ 2725 w 20000"/>
                  <a:gd name="T11" fmla="*/ 964 h 20000"/>
                  <a:gd name="T12" fmla="*/ 2435 w 20000"/>
                  <a:gd name="T13" fmla="*/ 498 h 20000"/>
                  <a:gd name="T14" fmla="*/ 2435 w 20000"/>
                  <a:gd name="T15" fmla="*/ 0 h 20000"/>
                  <a:gd name="T16" fmla="*/ 3768 w 20000"/>
                  <a:gd name="T17" fmla="*/ 187 h 20000"/>
                  <a:gd name="T18" fmla="*/ 5101 w 20000"/>
                  <a:gd name="T19" fmla="*/ 498 h 20000"/>
                  <a:gd name="T20" fmla="*/ 5884 w 20000"/>
                  <a:gd name="T21" fmla="*/ 809 h 20000"/>
                  <a:gd name="T22" fmla="*/ 7072 w 20000"/>
                  <a:gd name="T23" fmla="*/ 964 h 20000"/>
                  <a:gd name="T24" fmla="*/ 7536 w 20000"/>
                  <a:gd name="T25" fmla="*/ 2240 h 20000"/>
                  <a:gd name="T26" fmla="*/ 9478 w 20000"/>
                  <a:gd name="T27" fmla="*/ 2924 h 20000"/>
                  <a:gd name="T28" fmla="*/ 12174 w 20000"/>
                  <a:gd name="T29" fmla="*/ 4323 h 20000"/>
                  <a:gd name="T30" fmla="*/ 12928 w 20000"/>
                  <a:gd name="T31" fmla="*/ 3546 h 20000"/>
                  <a:gd name="T32" fmla="*/ 13217 w 20000"/>
                  <a:gd name="T33" fmla="*/ 2924 h 20000"/>
                  <a:gd name="T34" fmla="*/ 12928 w 20000"/>
                  <a:gd name="T35" fmla="*/ 1617 h 20000"/>
                  <a:gd name="T36" fmla="*/ 13362 w 20000"/>
                  <a:gd name="T37" fmla="*/ 809 h 20000"/>
                  <a:gd name="T38" fmla="*/ 14406 w 20000"/>
                  <a:gd name="T39" fmla="*/ 498 h 20000"/>
                  <a:gd name="T40" fmla="*/ 14580 w 20000"/>
                  <a:gd name="T41" fmla="*/ 498 h 20000"/>
                  <a:gd name="T42" fmla="*/ 14870 w 20000"/>
                  <a:gd name="T43" fmla="*/ 187 h 20000"/>
                  <a:gd name="T44" fmla="*/ 15768 w 20000"/>
                  <a:gd name="T45" fmla="*/ 187 h 20000"/>
                  <a:gd name="T46" fmla="*/ 16551 w 20000"/>
                  <a:gd name="T47" fmla="*/ 498 h 20000"/>
                  <a:gd name="T48" fmla="*/ 16841 w 20000"/>
                  <a:gd name="T49" fmla="*/ 964 h 20000"/>
                  <a:gd name="T50" fmla="*/ 18029 w 20000"/>
                  <a:gd name="T51" fmla="*/ 1617 h 20000"/>
                  <a:gd name="T52" fmla="*/ 19507 w 20000"/>
                  <a:gd name="T53" fmla="*/ 2240 h 20000"/>
                  <a:gd name="T54" fmla="*/ 19217 w 20000"/>
                  <a:gd name="T55" fmla="*/ 2551 h 20000"/>
                  <a:gd name="T56" fmla="*/ 19507 w 20000"/>
                  <a:gd name="T57" fmla="*/ 3546 h 20000"/>
                  <a:gd name="T58" fmla="*/ 19217 w 20000"/>
                  <a:gd name="T59" fmla="*/ 4323 h 20000"/>
                  <a:gd name="T60" fmla="*/ 19507 w 20000"/>
                  <a:gd name="T61" fmla="*/ 5661 h 20000"/>
                  <a:gd name="T62" fmla="*/ 19971 w 20000"/>
                  <a:gd name="T63" fmla="*/ 16423 h 20000"/>
                  <a:gd name="T64" fmla="*/ 19971 w 20000"/>
                  <a:gd name="T65" fmla="*/ 19471 h 20000"/>
                  <a:gd name="T66" fmla="*/ 18783 w 20000"/>
                  <a:gd name="T67" fmla="*/ 19471 h 20000"/>
                  <a:gd name="T68" fmla="*/ 18783 w 20000"/>
                  <a:gd name="T69" fmla="*/ 19969 h 20000"/>
                  <a:gd name="T70" fmla="*/ 8551 w 20000"/>
                  <a:gd name="T71" fmla="*/ 14495 h 20000"/>
                  <a:gd name="T72" fmla="*/ 7072 w 20000"/>
                  <a:gd name="T73" fmla="*/ 15117 h 20000"/>
                  <a:gd name="T74" fmla="*/ 6174 w 20000"/>
                  <a:gd name="T75" fmla="*/ 15583 h 20000"/>
                  <a:gd name="T76" fmla="*/ 5101 w 20000"/>
                  <a:gd name="T77" fmla="*/ 14806 h 20000"/>
                  <a:gd name="T78" fmla="*/ 3449 w 20000"/>
                  <a:gd name="T79" fmla="*/ 14308 h 20000"/>
                  <a:gd name="T80" fmla="*/ 2725 w 20000"/>
                  <a:gd name="T81" fmla="*/ 13219 h 20000"/>
                  <a:gd name="T82" fmla="*/ 1797 w 20000"/>
                  <a:gd name="T83" fmla="*/ 12722 h 20000"/>
                  <a:gd name="T84" fmla="*/ 1217 w 20000"/>
                  <a:gd name="T85" fmla="*/ 13033 h 20000"/>
                  <a:gd name="T86" fmla="*/ 783 w 20000"/>
                  <a:gd name="T87" fmla="*/ 12224 h 20000"/>
                  <a:gd name="T88" fmla="*/ 783 w 20000"/>
                  <a:gd name="T89" fmla="*/ 11757 h 20000"/>
                  <a:gd name="T90" fmla="*/ 0 w 20000"/>
                  <a:gd name="T91" fmla="*/ 10482 h 20000"/>
                  <a:gd name="T92" fmla="*/ 609 w 20000"/>
                  <a:gd name="T93" fmla="*/ 9798 h 20000"/>
                  <a:gd name="T94" fmla="*/ 319 w 20000"/>
                  <a:gd name="T95" fmla="*/ 8523 h 20000"/>
                  <a:gd name="T96" fmla="*/ 609 w 20000"/>
                  <a:gd name="T97" fmla="*/ 7745 h 20000"/>
                  <a:gd name="T98" fmla="*/ 319 w 20000"/>
                  <a:gd name="T99" fmla="*/ 5972 h 20000"/>
                  <a:gd name="T100" fmla="*/ 0 w 20000"/>
                  <a:gd name="T101" fmla="*/ 419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0" y="4199"/>
                    </a:moveTo>
                    <a:lnTo>
                      <a:pt x="319" y="4199"/>
                    </a:lnTo>
                    <a:lnTo>
                      <a:pt x="1072" y="3390"/>
                    </a:lnTo>
                    <a:lnTo>
                      <a:pt x="783" y="2240"/>
                    </a:lnTo>
                    <a:lnTo>
                      <a:pt x="1797" y="1275"/>
                    </a:lnTo>
                    <a:lnTo>
                      <a:pt x="2725" y="964"/>
                    </a:lnTo>
                    <a:lnTo>
                      <a:pt x="2435" y="498"/>
                    </a:lnTo>
                    <a:lnTo>
                      <a:pt x="2435" y="0"/>
                    </a:lnTo>
                    <a:lnTo>
                      <a:pt x="3768" y="187"/>
                    </a:lnTo>
                    <a:lnTo>
                      <a:pt x="5101" y="498"/>
                    </a:lnTo>
                    <a:lnTo>
                      <a:pt x="5884" y="809"/>
                    </a:lnTo>
                    <a:lnTo>
                      <a:pt x="7072" y="964"/>
                    </a:lnTo>
                    <a:lnTo>
                      <a:pt x="7536" y="2240"/>
                    </a:lnTo>
                    <a:lnTo>
                      <a:pt x="9478" y="2924"/>
                    </a:lnTo>
                    <a:lnTo>
                      <a:pt x="12174" y="4323"/>
                    </a:lnTo>
                    <a:lnTo>
                      <a:pt x="12928" y="3546"/>
                    </a:lnTo>
                    <a:lnTo>
                      <a:pt x="13217" y="2924"/>
                    </a:lnTo>
                    <a:lnTo>
                      <a:pt x="12928" y="1617"/>
                    </a:lnTo>
                    <a:lnTo>
                      <a:pt x="13362" y="809"/>
                    </a:lnTo>
                    <a:lnTo>
                      <a:pt x="14406" y="498"/>
                    </a:lnTo>
                    <a:lnTo>
                      <a:pt x="14580" y="498"/>
                    </a:lnTo>
                    <a:lnTo>
                      <a:pt x="14870" y="187"/>
                    </a:lnTo>
                    <a:lnTo>
                      <a:pt x="15768" y="187"/>
                    </a:lnTo>
                    <a:lnTo>
                      <a:pt x="16551" y="498"/>
                    </a:lnTo>
                    <a:lnTo>
                      <a:pt x="16841" y="964"/>
                    </a:lnTo>
                    <a:lnTo>
                      <a:pt x="18029" y="1617"/>
                    </a:lnTo>
                    <a:lnTo>
                      <a:pt x="19507" y="2240"/>
                    </a:lnTo>
                    <a:lnTo>
                      <a:pt x="19217" y="2551"/>
                    </a:lnTo>
                    <a:lnTo>
                      <a:pt x="19507" y="3546"/>
                    </a:lnTo>
                    <a:lnTo>
                      <a:pt x="19217" y="4323"/>
                    </a:lnTo>
                    <a:lnTo>
                      <a:pt x="19507" y="5661"/>
                    </a:lnTo>
                    <a:lnTo>
                      <a:pt x="19971" y="16423"/>
                    </a:lnTo>
                    <a:lnTo>
                      <a:pt x="19971" y="19471"/>
                    </a:lnTo>
                    <a:lnTo>
                      <a:pt x="18783" y="19471"/>
                    </a:lnTo>
                    <a:lnTo>
                      <a:pt x="18783" y="19969"/>
                    </a:lnTo>
                    <a:lnTo>
                      <a:pt x="8551" y="14495"/>
                    </a:lnTo>
                    <a:lnTo>
                      <a:pt x="7072" y="15117"/>
                    </a:lnTo>
                    <a:lnTo>
                      <a:pt x="6174" y="15583"/>
                    </a:lnTo>
                    <a:lnTo>
                      <a:pt x="5101" y="14806"/>
                    </a:lnTo>
                    <a:lnTo>
                      <a:pt x="3449" y="14308"/>
                    </a:lnTo>
                    <a:lnTo>
                      <a:pt x="2725" y="13219"/>
                    </a:lnTo>
                    <a:lnTo>
                      <a:pt x="1797" y="12722"/>
                    </a:lnTo>
                    <a:lnTo>
                      <a:pt x="1217" y="13033"/>
                    </a:lnTo>
                    <a:lnTo>
                      <a:pt x="783" y="12224"/>
                    </a:lnTo>
                    <a:lnTo>
                      <a:pt x="783" y="11757"/>
                    </a:lnTo>
                    <a:lnTo>
                      <a:pt x="0" y="10482"/>
                    </a:lnTo>
                    <a:lnTo>
                      <a:pt x="609" y="9798"/>
                    </a:lnTo>
                    <a:lnTo>
                      <a:pt x="319" y="8523"/>
                    </a:lnTo>
                    <a:lnTo>
                      <a:pt x="609" y="7745"/>
                    </a:lnTo>
                    <a:lnTo>
                      <a:pt x="319" y="5972"/>
                    </a:lnTo>
                    <a:lnTo>
                      <a:pt x="0" y="419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19" name="Freeform 120"/>
              <p:cNvSpPr>
                <a:spLocks/>
              </p:cNvSpPr>
              <p:nvPr/>
            </p:nvSpPr>
            <p:spPr bwMode="auto">
              <a:xfrm>
                <a:off x="6189663" y="4799013"/>
                <a:ext cx="217487" cy="407987"/>
              </a:xfrm>
              <a:custGeom>
                <a:avLst/>
                <a:gdLst>
                  <a:gd name="T0" fmla="*/ 3918 w 20000"/>
                  <a:gd name="T1" fmla="*/ 19470 h 20000"/>
                  <a:gd name="T2" fmla="*/ 819 w 20000"/>
                  <a:gd name="T3" fmla="*/ 18193 h 20000"/>
                  <a:gd name="T4" fmla="*/ 234 w 20000"/>
                  <a:gd name="T5" fmla="*/ 16106 h 20000"/>
                  <a:gd name="T6" fmla="*/ 819 w 20000"/>
                  <a:gd name="T7" fmla="*/ 13676 h 20000"/>
                  <a:gd name="T8" fmla="*/ 3918 w 20000"/>
                  <a:gd name="T9" fmla="*/ 11589 h 20000"/>
                  <a:gd name="T10" fmla="*/ 3918 w 20000"/>
                  <a:gd name="T11" fmla="*/ 10810 h 20000"/>
                  <a:gd name="T12" fmla="*/ 2690 w 20000"/>
                  <a:gd name="T13" fmla="*/ 9813 h 20000"/>
                  <a:gd name="T14" fmla="*/ 3918 w 20000"/>
                  <a:gd name="T15" fmla="*/ 6760 h 20000"/>
                  <a:gd name="T16" fmla="*/ 5380 w 20000"/>
                  <a:gd name="T17" fmla="*/ 5950 h 20000"/>
                  <a:gd name="T18" fmla="*/ 7251 w 20000"/>
                  <a:gd name="T19" fmla="*/ 5950 h 20000"/>
                  <a:gd name="T20" fmla="*/ 8129 w 20000"/>
                  <a:gd name="T21" fmla="*/ 5452 h 20000"/>
                  <a:gd name="T22" fmla="*/ 8713 w 20000"/>
                  <a:gd name="T23" fmla="*/ 5140 h 20000"/>
                  <a:gd name="T24" fmla="*/ 10526 w 20000"/>
                  <a:gd name="T25" fmla="*/ 5140 h 20000"/>
                  <a:gd name="T26" fmla="*/ 11111 w 20000"/>
                  <a:gd name="T27" fmla="*/ 4642 h 20000"/>
                  <a:gd name="T28" fmla="*/ 12047 w 20000"/>
                  <a:gd name="T29" fmla="*/ 4330 h 20000"/>
                  <a:gd name="T30" fmla="*/ 13626 w 20000"/>
                  <a:gd name="T31" fmla="*/ 3863 h 20000"/>
                  <a:gd name="T32" fmla="*/ 12982 w 20000"/>
                  <a:gd name="T33" fmla="*/ 3053 h 20000"/>
                  <a:gd name="T34" fmla="*/ 13626 w 20000"/>
                  <a:gd name="T35" fmla="*/ 3053 h 20000"/>
                  <a:gd name="T36" fmla="*/ 14211 w 20000"/>
                  <a:gd name="T37" fmla="*/ 2243 h 20000"/>
                  <a:gd name="T38" fmla="*/ 15088 w 20000"/>
                  <a:gd name="T39" fmla="*/ 2087 h 20000"/>
                  <a:gd name="T40" fmla="*/ 16023 w 20000"/>
                  <a:gd name="T41" fmla="*/ 1433 h 20000"/>
                  <a:gd name="T42" fmla="*/ 16608 w 20000"/>
                  <a:gd name="T43" fmla="*/ 498 h 20000"/>
                  <a:gd name="T44" fmla="*/ 16959 w 20000"/>
                  <a:gd name="T45" fmla="*/ 498 h 20000"/>
                  <a:gd name="T46" fmla="*/ 17544 w 20000"/>
                  <a:gd name="T47" fmla="*/ 935 h 20000"/>
                  <a:gd name="T48" fmla="*/ 19357 w 20000"/>
                  <a:gd name="T49" fmla="*/ 3364 h 20000"/>
                  <a:gd name="T50" fmla="*/ 19006 w 20000"/>
                  <a:gd name="T51" fmla="*/ 5639 h 20000"/>
                  <a:gd name="T52" fmla="*/ 17544 w 20000"/>
                  <a:gd name="T53" fmla="*/ 5140 h 20000"/>
                  <a:gd name="T54" fmla="*/ 18129 w 20000"/>
                  <a:gd name="T55" fmla="*/ 6417 h 20000"/>
                  <a:gd name="T56" fmla="*/ 16959 w 20000"/>
                  <a:gd name="T57" fmla="*/ 8069 h 20000"/>
                  <a:gd name="T58" fmla="*/ 12047 w 20000"/>
                  <a:gd name="T59" fmla="*/ 14829 h 20000"/>
                  <a:gd name="T60" fmla="*/ 7836 w 20000"/>
                  <a:gd name="T61" fmla="*/ 19470 h 20000"/>
                  <a:gd name="T62" fmla="*/ 4795 w 20000"/>
                  <a:gd name="T63" fmla="*/ 199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4795" y="19969"/>
                    </a:moveTo>
                    <a:lnTo>
                      <a:pt x="3918" y="19470"/>
                    </a:lnTo>
                    <a:lnTo>
                      <a:pt x="1754" y="19159"/>
                    </a:lnTo>
                    <a:lnTo>
                      <a:pt x="819" y="18193"/>
                    </a:lnTo>
                    <a:lnTo>
                      <a:pt x="819" y="16604"/>
                    </a:lnTo>
                    <a:lnTo>
                      <a:pt x="234" y="16106"/>
                    </a:lnTo>
                    <a:lnTo>
                      <a:pt x="0" y="14486"/>
                    </a:lnTo>
                    <a:lnTo>
                      <a:pt x="819" y="13676"/>
                    </a:lnTo>
                    <a:lnTo>
                      <a:pt x="1520" y="13551"/>
                    </a:lnTo>
                    <a:lnTo>
                      <a:pt x="3918" y="11589"/>
                    </a:lnTo>
                    <a:lnTo>
                      <a:pt x="3918" y="11433"/>
                    </a:lnTo>
                    <a:lnTo>
                      <a:pt x="3918" y="10810"/>
                    </a:lnTo>
                    <a:lnTo>
                      <a:pt x="3333" y="10312"/>
                    </a:lnTo>
                    <a:lnTo>
                      <a:pt x="2690" y="9813"/>
                    </a:lnTo>
                    <a:lnTo>
                      <a:pt x="2690" y="8536"/>
                    </a:lnTo>
                    <a:lnTo>
                      <a:pt x="3918" y="6760"/>
                    </a:lnTo>
                    <a:lnTo>
                      <a:pt x="4211" y="6106"/>
                    </a:lnTo>
                    <a:lnTo>
                      <a:pt x="5380" y="5950"/>
                    </a:lnTo>
                    <a:lnTo>
                      <a:pt x="6316" y="5639"/>
                    </a:lnTo>
                    <a:lnTo>
                      <a:pt x="7251" y="5950"/>
                    </a:lnTo>
                    <a:lnTo>
                      <a:pt x="7251" y="5639"/>
                    </a:lnTo>
                    <a:lnTo>
                      <a:pt x="8129" y="5452"/>
                    </a:lnTo>
                    <a:lnTo>
                      <a:pt x="9064" y="5639"/>
                    </a:lnTo>
                    <a:lnTo>
                      <a:pt x="8713" y="5140"/>
                    </a:lnTo>
                    <a:lnTo>
                      <a:pt x="10526" y="4642"/>
                    </a:lnTo>
                    <a:lnTo>
                      <a:pt x="10526" y="5140"/>
                    </a:lnTo>
                    <a:lnTo>
                      <a:pt x="11813" y="4829"/>
                    </a:lnTo>
                    <a:lnTo>
                      <a:pt x="11111" y="4642"/>
                    </a:lnTo>
                    <a:lnTo>
                      <a:pt x="12047" y="3863"/>
                    </a:lnTo>
                    <a:lnTo>
                      <a:pt x="12047" y="4330"/>
                    </a:lnTo>
                    <a:lnTo>
                      <a:pt x="12982" y="3863"/>
                    </a:lnTo>
                    <a:lnTo>
                      <a:pt x="13626" y="3863"/>
                    </a:lnTo>
                    <a:lnTo>
                      <a:pt x="12690" y="3551"/>
                    </a:lnTo>
                    <a:lnTo>
                      <a:pt x="12982" y="3053"/>
                    </a:lnTo>
                    <a:lnTo>
                      <a:pt x="13626" y="3364"/>
                    </a:lnTo>
                    <a:lnTo>
                      <a:pt x="13626" y="3053"/>
                    </a:lnTo>
                    <a:lnTo>
                      <a:pt x="12982" y="2243"/>
                    </a:lnTo>
                    <a:lnTo>
                      <a:pt x="14211" y="2243"/>
                    </a:lnTo>
                    <a:lnTo>
                      <a:pt x="14211" y="2555"/>
                    </a:lnTo>
                    <a:lnTo>
                      <a:pt x="15088" y="2087"/>
                    </a:lnTo>
                    <a:lnTo>
                      <a:pt x="15380" y="2243"/>
                    </a:lnTo>
                    <a:lnTo>
                      <a:pt x="16023" y="1433"/>
                    </a:lnTo>
                    <a:lnTo>
                      <a:pt x="15380" y="623"/>
                    </a:lnTo>
                    <a:lnTo>
                      <a:pt x="16608" y="498"/>
                    </a:lnTo>
                    <a:lnTo>
                      <a:pt x="16959" y="0"/>
                    </a:lnTo>
                    <a:lnTo>
                      <a:pt x="16959" y="498"/>
                    </a:lnTo>
                    <a:lnTo>
                      <a:pt x="17544" y="498"/>
                    </a:lnTo>
                    <a:lnTo>
                      <a:pt x="17544" y="935"/>
                    </a:lnTo>
                    <a:lnTo>
                      <a:pt x="18129" y="1277"/>
                    </a:lnTo>
                    <a:lnTo>
                      <a:pt x="19357" y="3364"/>
                    </a:lnTo>
                    <a:lnTo>
                      <a:pt x="19942" y="4642"/>
                    </a:lnTo>
                    <a:lnTo>
                      <a:pt x="19006" y="5639"/>
                    </a:lnTo>
                    <a:lnTo>
                      <a:pt x="18129" y="5140"/>
                    </a:lnTo>
                    <a:lnTo>
                      <a:pt x="17544" y="5140"/>
                    </a:lnTo>
                    <a:lnTo>
                      <a:pt x="17544" y="5639"/>
                    </a:lnTo>
                    <a:lnTo>
                      <a:pt x="18129" y="6417"/>
                    </a:lnTo>
                    <a:lnTo>
                      <a:pt x="16959" y="7383"/>
                    </a:lnTo>
                    <a:lnTo>
                      <a:pt x="16959" y="8069"/>
                    </a:lnTo>
                    <a:lnTo>
                      <a:pt x="15088" y="11121"/>
                    </a:lnTo>
                    <a:lnTo>
                      <a:pt x="12047" y="14829"/>
                    </a:lnTo>
                    <a:lnTo>
                      <a:pt x="9064" y="19003"/>
                    </a:lnTo>
                    <a:lnTo>
                      <a:pt x="7836" y="19470"/>
                    </a:lnTo>
                    <a:lnTo>
                      <a:pt x="6316" y="19657"/>
                    </a:lnTo>
                    <a:lnTo>
                      <a:pt x="4795" y="199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0" name="Freeform 119"/>
              <p:cNvSpPr>
                <a:spLocks/>
              </p:cNvSpPr>
              <p:nvPr/>
            </p:nvSpPr>
            <p:spPr bwMode="auto">
              <a:xfrm>
                <a:off x="5913438" y="4718050"/>
                <a:ext cx="90487" cy="230188"/>
              </a:xfrm>
              <a:custGeom>
                <a:avLst/>
                <a:gdLst>
                  <a:gd name="T0" fmla="*/ 845 w 20000"/>
                  <a:gd name="T1" fmla="*/ 0 h 20000"/>
                  <a:gd name="T2" fmla="*/ 4366 w 20000"/>
                  <a:gd name="T3" fmla="*/ 552 h 20000"/>
                  <a:gd name="T4" fmla="*/ 6620 w 20000"/>
                  <a:gd name="T5" fmla="*/ 1105 h 20000"/>
                  <a:gd name="T6" fmla="*/ 10282 w 20000"/>
                  <a:gd name="T7" fmla="*/ 4254 h 20000"/>
                  <a:gd name="T8" fmla="*/ 10282 w 20000"/>
                  <a:gd name="T9" fmla="*/ 5635 h 20000"/>
                  <a:gd name="T10" fmla="*/ 11831 w 20000"/>
                  <a:gd name="T11" fmla="*/ 5967 h 20000"/>
                  <a:gd name="T12" fmla="*/ 10282 w 20000"/>
                  <a:gd name="T13" fmla="*/ 7403 h 20000"/>
                  <a:gd name="T14" fmla="*/ 10282 w 20000"/>
                  <a:gd name="T15" fmla="*/ 10829 h 20000"/>
                  <a:gd name="T16" fmla="*/ 12394 w 20000"/>
                  <a:gd name="T17" fmla="*/ 10829 h 20000"/>
                  <a:gd name="T18" fmla="*/ 15493 w 20000"/>
                  <a:gd name="T19" fmla="*/ 11713 h 20000"/>
                  <a:gd name="T20" fmla="*/ 17606 w 20000"/>
                  <a:gd name="T21" fmla="*/ 13425 h 20000"/>
                  <a:gd name="T22" fmla="*/ 19859 w 20000"/>
                  <a:gd name="T23" fmla="*/ 13978 h 20000"/>
                  <a:gd name="T24" fmla="*/ 19014 w 20000"/>
                  <a:gd name="T25" fmla="*/ 15359 h 20000"/>
                  <a:gd name="T26" fmla="*/ 17606 w 20000"/>
                  <a:gd name="T27" fmla="*/ 17127 h 20000"/>
                  <a:gd name="T28" fmla="*/ 16056 w 20000"/>
                  <a:gd name="T29" fmla="*/ 17680 h 20000"/>
                  <a:gd name="T30" fmla="*/ 15493 w 20000"/>
                  <a:gd name="T31" fmla="*/ 17680 h 20000"/>
                  <a:gd name="T32" fmla="*/ 15493 w 20000"/>
                  <a:gd name="T33" fmla="*/ 19116 h 20000"/>
                  <a:gd name="T34" fmla="*/ 14085 w 20000"/>
                  <a:gd name="T35" fmla="*/ 19945 h 20000"/>
                  <a:gd name="T36" fmla="*/ 12394 w 20000"/>
                  <a:gd name="T37" fmla="*/ 19116 h 20000"/>
                  <a:gd name="T38" fmla="*/ 10282 w 20000"/>
                  <a:gd name="T39" fmla="*/ 17680 h 20000"/>
                  <a:gd name="T40" fmla="*/ 9577 w 20000"/>
                  <a:gd name="T41" fmla="*/ 16796 h 20000"/>
                  <a:gd name="T42" fmla="*/ 10282 w 20000"/>
                  <a:gd name="T43" fmla="*/ 15359 h 20000"/>
                  <a:gd name="T44" fmla="*/ 10282 w 20000"/>
                  <a:gd name="T45" fmla="*/ 13425 h 20000"/>
                  <a:gd name="T46" fmla="*/ 8028 w 20000"/>
                  <a:gd name="T47" fmla="*/ 13094 h 20000"/>
                  <a:gd name="T48" fmla="*/ 4366 w 20000"/>
                  <a:gd name="T49" fmla="*/ 13425 h 20000"/>
                  <a:gd name="T50" fmla="*/ 2254 w 20000"/>
                  <a:gd name="T51" fmla="*/ 11713 h 20000"/>
                  <a:gd name="T52" fmla="*/ 845 w 20000"/>
                  <a:gd name="T53" fmla="*/ 11934 h 20000"/>
                  <a:gd name="T54" fmla="*/ 0 w 20000"/>
                  <a:gd name="T55" fmla="*/ 10829 h 20000"/>
                  <a:gd name="T56" fmla="*/ 845 w 20000"/>
                  <a:gd name="T57" fmla="*/ 9669 h 20000"/>
                  <a:gd name="T58" fmla="*/ 845 w 20000"/>
                  <a:gd name="T59" fmla="*/ 8232 h 20000"/>
                  <a:gd name="T60" fmla="*/ 3803 w 20000"/>
                  <a:gd name="T61" fmla="*/ 8232 h 20000"/>
                  <a:gd name="T62" fmla="*/ 4366 w 20000"/>
                  <a:gd name="T63" fmla="*/ 8011 h 20000"/>
                  <a:gd name="T64" fmla="*/ 2254 w 20000"/>
                  <a:gd name="T65" fmla="*/ 7127 h 20000"/>
                  <a:gd name="T66" fmla="*/ 3803 w 20000"/>
                  <a:gd name="T67" fmla="*/ 6519 h 20000"/>
                  <a:gd name="T68" fmla="*/ 3803 w 20000"/>
                  <a:gd name="T69" fmla="*/ 4807 h 20000"/>
                  <a:gd name="T70" fmla="*/ 3803 w 20000"/>
                  <a:gd name="T71" fmla="*/ 3702 h 20000"/>
                  <a:gd name="T72" fmla="*/ 5775 w 20000"/>
                  <a:gd name="T73" fmla="*/ 3370 h 20000"/>
                  <a:gd name="T74" fmla="*/ 5775 w 20000"/>
                  <a:gd name="T75" fmla="*/ 2818 h 20000"/>
                  <a:gd name="T76" fmla="*/ 4366 w 20000"/>
                  <a:gd name="T77" fmla="*/ 1989 h 20000"/>
                  <a:gd name="T78" fmla="*/ 2254 w 20000"/>
                  <a:gd name="T79" fmla="*/ 1105 h 20000"/>
                  <a:gd name="T80" fmla="*/ 845 w 20000"/>
                  <a:gd name="T8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845" y="0"/>
                    </a:moveTo>
                    <a:lnTo>
                      <a:pt x="4366" y="552"/>
                    </a:lnTo>
                    <a:lnTo>
                      <a:pt x="6620" y="1105"/>
                    </a:lnTo>
                    <a:lnTo>
                      <a:pt x="10282" y="4254"/>
                    </a:lnTo>
                    <a:lnTo>
                      <a:pt x="10282" y="5635"/>
                    </a:lnTo>
                    <a:lnTo>
                      <a:pt x="11831" y="5967"/>
                    </a:lnTo>
                    <a:lnTo>
                      <a:pt x="10282" y="7403"/>
                    </a:lnTo>
                    <a:lnTo>
                      <a:pt x="10282" y="10829"/>
                    </a:lnTo>
                    <a:lnTo>
                      <a:pt x="12394" y="10829"/>
                    </a:lnTo>
                    <a:lnTo>
                      <a:pt x="15493" y="11713"/>
                    </a:lnTo>
                    <a:lnTo>
                      <a:pt x="17606" y="13425"/>
                    </a:lnTo>
                    <a:lnTo>
                      <a:pt x="19859" y="13978"/>
                    </a:lnTo>
                    <a:lnTo>
                      <a:pt x="19014" y="15359"/>
                    </a:lnTo>
                    <a:lnTo>
                      <a:pt x="17606" y="17127"/>
                    </a:lnTo>
                    <a:lnTo>
                      <a:pt x="16056" y="17680"/>
                    </a:lnTo>
                    <a:lnTo>
                      <a:pt x="15493" y="17680"/>
                    </a:lnTo>
                    <a:lnTo>
                      <a:pt x="15493" y="19116"/>
                    </a:lnTo>
                    <a:lnTo>
                      <a:pt x="14085" y="19945"/>
                    </a:lnTo>
                    <a:lnTo>
                      <a:pt x="12394" y="19116"/>
                    </a:lnTo>
                    <a:lnTo>
                      <a:pt x="10282" y="17680"/>
                    </a:lnTo>
                    <a:lnTo>
                      <a:pt x="9577" y="16796"/>
                    </a:lnTo>
                    <a:lnTo>
                      <a:pt x="10282" y="15359"/>
                    </a:lnTo>
                    <a:lnTo>
                      <a:pt x="10282" y="13425"/>
                    </a:lnTo>
                    <a:lnTo>
                      <a:pt x="8028" y="13094"/>
                    </a:lnTo>
                    <a:lnTo>
                      <a:pt x="4366" y="13425"/>
                    </a:lnTo>
                    <a:lnTo>
                      <a:pt x="2254" y="11713"/>
                    </a:lnTo>
                    <a:lnTo>
                      <a:pt x="845" y="11934"/>
                    </a:lnTo>
                    <a:lnTo>
                      <a:pt x="0" y="10829"/>
                    </a:lnTo>
                    <a:lnTo>
                      <a:pt x="845" y="9669"/>
                    </a:lnTo>
                    <a:lnTo>
                      <a:pt x="845" y="8232"/>
                    </a:lnTo>
                    <a:lnTo>
                      <a:pt x="3803" y="8232"/>
                    </a:lnTo>
                    <a:lnTo>
                      <a:pt x="4366" y="8011"/>
                    </a:lnTo>
                    <a:lnTo>
                      <a:pt x="2254" y="7127"/>
                    </a:lnTo>
                    <a:lnTo>
                      <a:pt x="3803" y="6519"/>
                    </a:lnTo>
                    <a:lnTo>
                      <a:pt x="3803" y="4807"/>
                    </a:lnTo>
                    <a:lnTo>
                      <a:pt x="3803" y="3702"/>
                    </a:lnTo>
                    <a:lnTo>
                      <a:pt x="5775" y="3370"/>
                    </a:lnTo>
                    <a:lnTo>
                      <a:pt x="5775" y="2818"/>
                    </a:lnTo>
                    <a:lnTo>
                      <a:pt x="4366" y="1989"/>
                    </a:lnTo>
                    <a:lnTo>
                      <a:pt x="2254" y="1105"/>
                    </a:lnTo>
                    <a:lnTo>
                      <a:pt x="84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1" name="Freeform 118"/>
              <p:cNvSpPr>
                <a:spLocks/>
              </p:cNvSpPr>
              <p:nvPr/>
            </p:nvSpPr>
            <p:spPr bwMode="auto">
              <a:xfrm>
                <a:off x="4648200" y="3724275"/>
                <a:ext cx="463550" cy="438150"/>
              </a:xfrm>
              <a:custGeom>
                <a:avLst/>
                <a:gdLst>
                  <a:gd name="T0" fmla="*/ 16279 w 20000"/>
                  <a:gd name="T1" fmla="*/ 5544 h 20000"/>
                  <a:gd name="T2" fmla="*/ 16990 w 20000"/>
                  <a:gd name="T3" fmla="*/ 6299 h 20000"/>
                  <a:gd name="T4" fmla="*/ 18112 w 20000"/>
                  <a:gd name="T5" fmla="*/ 6734 h 20000"/>
                  <a:gd name="T6" fmla="*/ 18851 w 20000"/>
                  <a:gd name="T7" fmla="*/ 7518 h 20000"/>
                  <a:gd name="T8" fmla="*/ 18851 w 20000"/>
                  <a:gd name="T9" fmla="*/ 8244 h 20000"/>
                  <a:gd name="T10" fmla="*/ 19973 w 20000"/>
                  <a:gd name="T11" fmla="*/ 10653 h 20000"/>
                  <a:gd name="T12" fmla="*/ 19398 w 20000"/>
                  <a:gd name="T13" fmla="*/ 12163 h 20000"/>
                  <a:gd name="T14" fmla="*/ 18550 w 20000"/>
                  <a:gd name="T15" fmla="*/ 12917 h 20000"/>
                  <a:gd name="T16" fmla="*/ 16005 w 20000"/>
                  <a:gd name="T17" fmla="*/ 13353 h 20000"/>
                  <a:gd name="T18" fmla="*/ 13707 w 20000"/>
                  <a:gd name="T19" fmla="*/ 13353 h 20000"/>
                  <a:gd name="T20" fmla="*/ 12312 w 20000"/>
                  <a:gd name="T21" fmla="*/ 13817 h 20000"/>
                  <a:gd name="T22" fmla="*/ 11190 w 20000"/>
                  <a:gd name="T23" fmla="*/ 15007 h 20000"/>
                  <a:gd name="T24" fmla="*/ 10451 w 20000"/>
                  <a:gd name="T25" fmla="*/ 15298 h 20000"/>
                  <a:gd name="T26" fmla="*/ 10342 w 20000"/>
                  <a:gd name="T27" fmla="*/ 16052 h 20000"/>
                  <a:gd name="T28" fmla="*/ 9330 w 20000"/>
                  <a:gd name="T29" fmla="*/ 15762 h 20000"/>
                  <a:gd name="T30" fmla="*/ 9330 w 20000"/>
                  <a:gd name="T31" fmla="*/ 16517 h 20000"/>
                  <a:gd name="T32" fmla="*/ 8892 w 20000"/>
                  <a:gd name="T33" fmla="*/ 17562 h 20000"/>
                  <a:gd name="T34" fmla="*/ 8044 w 20000"/>
                  <a:gd name="T35" fmla="*/ 17707 h 20000"/>
                  <a:gd name="T36" fmla="*/ 8044 w 20000"/>
                  <a:gd name="T37" fmla="*/ 18926 h 20000"/>
                  <a:gd name="T38" fmla="*/ 7497 w 20000"/>
                  <a:gd name="T39" fmla="*/ 19681 h 20000"/>
                  <a:gd name="T40" fmla="*/ 6922 w 20000"/>
                  <a:gd name="T41" fmla="*/ 19216 h 20000"/>
                  <a:gd name="T42" fmla="*/ 6375 w 20000"/>
                  <a:gd name="T43" fmla="*/ 19361 h 20000"/>
                  <a:gd name="T44" fmla="*/ 6211 w 20000"/>
                  <a:gd name="T45" fmla="*/ 19971 h 20000"/>
                  <a:gd name="T46" fmla="*/ 5527 w 20000"/>
                  <a:gd name="T47" fmla="*/ 19361 h 20000"/>
                  <a:gd name="T48" fmla="*/ 4514 w 20000"/>
                  <a:gd name="T49" fmla="*/ 19361 h 20000"/>
                  <a:gd name="T50" fmla="*/ 4378 w 20000"/>
                  <a:gd name="T51" fmla="*/ 18781 h 20000"/>
                  <a:gd name="T52" fmla="*/ 4077 w 20000"/>
                  <a:gd name="T53" fmla="*/ 18026 h 20000"/>
                  <a:gd name="T54" fmla="*/ 3393 w 20000"/>
                  <a:gd name="T55" fmla="*/ 16836 h 20000"/>
                  <a:gd name="T56" fmla="*/ 2955 w 20000"/>
                  <a:gd name="T57" fmla="*/ 17242 h 20000"/>
                  <a:gd name="T58" fmla="*/ 1833 w 20000"/>
                  <a:gd name="T59" fmla="*/ 17707 h 20000"/>
                  <a:gd name="T60" fmla="*/ 1122 w 20000"/>
                  <a:gd name="T61" fmla="*/ 17242 h 20000"/>
                  <a:gd name="T62" fmla="*/ 985 w 20000"/>
                  <a:gd name="T63" fmla="*/ 16836 h 20000"/>
                  <a:gd name="T64" fmla="*/ 438 w 20000"/>
                  <a:gd name="T65" fmla="*/ 15762 h 20000"/>
                  <a:gd name="T66" fmla="*/ 0 w 20000"/>
                  <a:gd name="T67" fmla="*/ 15298 h 20000"/>
                  <a:gd name="T68" fmla="*/ 0 w 20000"/>
                  <a:gd name="T69" fmla="*/ 14398 h 20000"/>
                  <a:gd name="T70" fmla="*/ 274 w 20000"/>
                  <a:gd name="T71" fmla="*/ 13643 h 20000"/>
                  <a:gd name="T72" fmla="*/ 711 w 20000"/>
                  <a:gd name="T73" fmla="*/ 12453 h 20000"/>
                  <a:gd name="T74" fmla="*/ 1560 w 20000"/>
                  <a:gd name="T75" fmla="*/ 12627 h 20000"/>
                  <a:gd name="T76" fmla="*/ 3256 w 20000"/>
                  <a:gd name="T77" fmla="*/ 12627 h 20000"/>
                  <a:gd name="T78" fmla="*/ 7770 w 20000"/>
                  <a:gd name="T79" fmla="*/ 12917 h 20000"/>
                  <a:gd name="T80" fmla="*/ 7770 w 20000"/>
                  <a:gd name="T81" fmla="*/ 11379 h 20000"/>
                  <a:gd name="T82" fmla="*/ 8892 w 20000"/>
                  <a:gd name="T8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8892" y="0"/>
                    </a:moveTo>
                    <a:lnTo>
                      <a:pt x="16279" y="5544"/>
                    </a:lnTo>
                    <a:lnTo>
                      <a:pt x="16279" y="5864"/>
                    </a:lnTo>
                    <a:lnTo>
                      <a:pt x="16990" y="6299"/>
                    </a:lnTo>
                    <a:lnTo>
                      <a:pt x="17565" y="6589"/>
                    </a:lnTo>
                    <a:lnTo>
                      <a:pt x="18112" y="6734"/>
                    </a:lnTo>
                    <a:lnTo>
                      <a:pt x="18550" y="7054"/>
                    </a:lnTo>
                    <a:lnTo>
                      <a:pt x="18851" y="7518"/>
                    </a:lnTo>
                    <a:lnTo>
                      <a:pt x="18550" y="8099"/>
                    </a:lnTo>
                    <a:lnTo>
                      <a:pt x="18851" y="8244"/>
                    </a:lnTo>
                    <a:lnTo>
                      <a:pt x="19973" y="8099"/>
                    </a:lnTo>
                    <a:lnTo>
                      <a:pt x="19973" y="10653"/>
                    </a:lnTo>
                    <a:lnTo>
                      <a:pt x="19672" y="10943"/>
                    </a:lnTo>
                    <a:lnTo>
                      <a:pt x="19398" y="12163"/>
                    </a:lnTo>
                    <a:lnTo>
                      <a:pt x="18960" y="13033"/>
                    </a:lnTo>
                    <a:lnTo>
                      <a:pt x="18550" y="12917"/>
                    </a:lnTo>
                    <a:lnTo>
                      <a:pt x="16279" y="13033"/>
                    </a:lnTo>
                    <a:lnTo>
                      <a:pt x="16005" y="13353"/>
                    </a:lnTo>
                    <a:lnTo>
                      <a:pt x="14856" y="13643"/>
                    </a:lnTo>
                    <a:lnTo>
                      <a:pt x="13707" y="13353"/>
                    </a:lnTo>
                    <a:lnTo>
                      <a:pt x="13434" y="13817"/>
                    </a:lnTo>
                    <a:lnTo>
                      <a:pt x="12312" y="13817"/>
                    </a:lnTo>
                    <a:lnTo>
                      <a:pt x="12175" y="14572"/>
                    </a:lnTo>
                    <a:lnTo>
                      <a:pt x="11190" y="15007"/>
                    </a:lnTo>
                    <a:lnTo>
                      <a:pt x="11026" y="15298"/>
                    </a:lnTo>
                    <a:lnTo>
                      <a:pt x="10451" y="15298"/>
                    </a:lnTo>
                    <a:lnTo>
                      <a:pt x="10752" y="15762"/>
                    </a:lnTo>
                    <a:lnTo>
                      <a:pt x="10342" y="16052"/>
                    </a:lnTo>
                    <a:lnTo>
                      <a:pt x="9904" y="15588"/>
                    </a:lnTo>
                    <a:lnTo>
                      <a:pt x="9330" y="15762"/>
                    </a:lnTo>
                    <a:lnTo>
                      <a:pt x="9631" y="16517"/>
                    </a:lnTo>
                    <a:lnTo>
                      <a:pt x="9330" y="16517"/>
                    </a:lnTo>
                    <a:lnTo>
                      <a:pt x="9330" y="16952"/>
                    </a:lnTo>
                    <a:lnTo>
                      <a:pt x="8892" y="17562"/>
                    </a:lnTo>
                    <a:lnTo>
                      <a:pt x="8618" y="17562"/>
                    </a:lnTo>
                    <a:lnTo>
                      <a:pt x="8044" y="17707"/>
                    </a:lnTo>
                    <a:lnTo>
                      <a:pt x="8208" y="18491"/>
                    </a:lnTo>
                    <a:lnTo>
                      <a:pt x="8044" y="18926"/>
                    </a:lnTo>
                    <a:lnTo>
                      <a:pt x="8044" y="19361"/>
                    </a:lnTo>
                    <a:lnTo>
                      <a:pt x="7497" y="19681"/>
                    </a:lnTo>
                    <a:lnTo>
                      <a:pt x="7086" y="19681"/>
                    </a:lnTo>
                    <a:lnTo>
                      <a:pt x="6922" y="19216"/>
                    </a:lnTo>
                    <a:lnTo>
                      <a:pt x="6648" y="19216"/>
                    </a:lnTo>
                    <a:lnTo>
                      <a:pt x="6375" y="19361"/>
                    </a:lnTo>
                    <a:lnTo>
                      <a:pt x="6211" y="19681"/>
                    </a:lnTo>
                    <a:lnTo>
                      <a:pt x="6211" y="19971"/>
                    </a:lnTo>
                    <a:lnTo>
                      <a:pt x="5636" y="19681"/>
                    </a:lnTo>
                    <a:lnTo>
                      <a:pt x="5527" y="19361"/>
                    </a:lnTo>
                    <a:lnTo>
                      <a:pt x="5089" y="19971"/>
                    </a:lnTo>
                    <a:lnTo>
                      <a:pt x="4514" y="19361"/>
                    </a:lnTo>
                    <a:lnTo>
                      <a:pt x="4514" y="18926"/>
                    </a:lnTo>
                    <a:lnTo>
                      <a:pt x="4378" y="18781"/>
                    </a:lnTo>
                    <a:lnTo>
                      <a:pt x="4378" y="18142"/>
                    </a:lnTo>
                    <a:lnTo>
                      <a:pt x="4077" y="18026"/>
                    </a:lnTo>
                    <a:lnTo>
                      <a:pt x="3967" y="17707"/>
                    </a:lnTo>
                    <a:lnTo>
                      <a:pt x="3393" y="16836"/>
                    </a:lnTo>
                    <a:lnTo>
                      <a:pt x="3256" y="16952"/>
                    </a:lnTo>
                    <a:lnTo>
                      <a:pt x="2955" y="17242"/>
                    </a:lnTo>
                    <a:lnTo>
                      <a:pt x="2517" y="17242"/>
                    </a:lnTo>
                    <a:lnTo>
                      <a:pt x="1833" y="17707"/>
                    </a:lnTo>
                    <a:lnTo>
                      <a:pt x="1395" y="17242"/>
                    </a:lnTo>
                    <a:lnTo>
                      <a:pt x="1122" y="17242"/>
                    </a:lnTo>
                    <a:lnTo>
                      <a:pt x="985" y="16952"/>
                    </a:lnTo>
                    <a:lnTo>
                      <a:pt x="985" y="16836"/>
                    </a:lnTo>
                    <a:lnTo>
                      <a:pt x="985" y="16226"/>
                    </a:lnTo>
                    <a:lnTo>
                      <a:pt x="438" y="15762"/>
                    </a:lnTo>
                    <a:lnTo>
                      <a:pt x="274" y="15762"/>
                    </a:lnTo>
                    <a:lnTo>
                      <a:pt x="0" y="15298"/>
                    </a:lnTo>
                    <a:lnTo>
                      <a:pt x="274" y="14572"/>
                    </a:lnTo>
                    <a:lnTo>
                      <a:pt x="0" y="14398"/>
                    </a:lnTo>
                    <a:lnTo>
                      <a:pt x="0" y="13817"/>
                    </a:lnTo>
                    <a:lnTo>
                      <a:pt x="274" y="13643"/>
                    </a:lnTo>
                    <a:lnTo>
                      <a:pt x="274" y="13033"/>
                    </a:lnTo>
                    <a:lnTo>
                      <a:pt x="711" y="12453"/>
                    </a:lnTo>
                    <a:lnTo>
                      <a:pt x="1395" y="13033"/>
                    </a:lnTo>
                    <a:lnTo>
                      <a:pt x="1560" y="12627"/>
                    </a:lnTo>
                    <a:lnTo>
                      <a:pt x="2955" y="12917"/>
                    </a:lnTo>
                    <a:lnTo>
                      <a:pt x="3256" y="12627"/>
                    </a:lnTo>
                    <a:lnTo>
                      <a:pt x="3393" y="12917"/>
                    </a:lnTo>
                    <a:lnTo>
                      <a:pt x="7770" y="12917"/>
                    </a:lnTo>
                    <a:lnTo>
                      <a:pt x="8208" y="11843"/>
                    </a:lnTo>
                    <a:lnTo>
                      <a:pt x="7770" y="11379"/>
                    </a:lnTo>
                    <a:lnTo>
                      <a:pt x="6922" y="0"/>
                    </a:lnTo>
                    <a:lnTo>
                      <a:pt x="889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2" name="Freeform 117"/>
              <p:cNvSpPr>
                <a:spLocks/>
              </p:cNvSpPr>
              <p:nvPr/>
            </p:nvSpPr>
            <p:spPr bwMode="auto">
              <a:xfrm>
                <a:off x="4510088" y="3395663"/>
                <a:ext cx="447675" cy="447675"/>
              </a:xfrm>
              <a:custGeom>
                <a:avLst/>
                <a:gdLst>
                  <a:gd name="T0" fmla="*/ 18807 w 20000"/>
                  <a:gd name="T1" fmla="*/ 878 h 20000"/>
                  <a:gd name="T2" fmla="*/ 19233 w 20000"/>
                  <a:gd name="T3" fmla="*/ 1473 h 20000"/>
                  <a:gd name="T4" fmla="*/ 19517 w 20000"/>
                  <a:gd name="T5" fmla="*/ 2210 h 20000"/>
                  <a:gd name="T6" fmla="*/ 19517 w 20000"/>
                  <a:gd name="T7" fmla="*/ 2805 h 20000"/>
                  <a:gd name="T8" fmla="*/ 19688 w 20000"/>
                  <a:gd name="T9" fmla="*/ 3824 h 20000"/>
                  <a:gd name="T10" fmla="*/ 19972 w 20000"/>
                  <a:gd name="T11" fmla="*/ 4278 h 20000"/>
                  <a:gd name="T12" fmla="*/ 19972 w 20000"/>
                  <a:gd name="T13" fmla="*/ 4703 h 20000"/>
                  <a:gd name="T14" fmla="*/ 19972 w 20000"/>
                  <a:gd name="T15" fmla="*/ 4986 h 20000"/>
                  <a:gd name="T16" fmla="*/ 17784 w 20000"/>
                  <a:gd name="T17" fmla="*/ 5297 h 20000"/>
                  <a:gd name="T18" fmla="*/ 17784 w 20000"/>
                  <a:gd name="T19" fmla="*/ 5722 h 20000"/>
                  <a:gd name="T20" fmla="*/ 16903 w 20000"/>
                  <a:gd name="T21" fmla="*/ 5864 h 20000"/>
                  <a:gd name="T22" fmla="*/ 16903 w 20000"/>
                  <a:gd name="T23" fmla="*/ 6147 h 20000"/>
                  <a:gd name="T24" fmla="*/ 16903 w 20000"/>
                  <a:gd name="T25" fmla="*/ 6601 h 20000"/>
                  <a:gd name="T26" fmla="*/ 16449 w 20000"/>
                  <a:gd name="T27" fmla="*/ 7054 h 20000"/>
                  <a:gd name="T28" fmla="*/ 14972 w 20000"/>
                  <a:gd name="T29" fmla="*/ 8385 h 20000"/>
                  <a:gd name="T30" fmla="*/ 13949 w 20000"/>
                  <a:gd name="T31" fmla="*/ 8527 h 20000"/>
                  <a:gd name="T32" fmla="*/ 13523 w 20000"/>
                  <a:gd name="T33" fmla="*/ 8385 h 20000"/>
                  <a:gd name="T34" fmla="*/ 13068 w 20000"/>
                  <a:gd name="T35" fmla="*/ 8527 h 20000"/>
                  <a:gd name="T36" fmla="*/ 12330 w 20000"/>
                  <a:gd name="T37" fmla="*/ 8527 h 20000"/>
                  <a:gd name="T38" fmla="*/ 11165 w 20000"/>
                  <a:gd name="T39" fmla="*/ 9263 h 20000"/>
                  <a:gd name="T40" fmla="*/ 10739 w 20000"/>
                  <a:gd name="T41" fmla="*/ 9547 h 20000"/>
                  <a:gd name="T42" fmla="*/ 10739 w 20000"/>
                  <a:gd name="T43" fmla="*/ 11445 h 20000"/>
                  <a:gd name="T44" fmla="*/ 10739 w 20000"/>
                  <a:gd name="T45" fmla="*/ 13371 h 20000"/>
                  <a:gd name="T46" fmla="*/ 6449 w 20000"/>
                  <a:gd name="T47" fmla="*/ 13484 h 20000"/>
                  <a:gd name="T48" fmla="*/ 6449 w 20000"/>
                  <a:gd name="T49" fmla="*/ 16601 h 20000"/>
                  <a:gd name="T50" fmla="*/ 5284 w 20000"/>
                  <a:gd name="T51" fmla="*/ 17025 h 20000"/>
                  <a:gd name="T52" fmla="*/ 4972 w 20000"/>
                  <a:gd name="T53" fmla="*/ 17309 h 20000"/>
                  <a:gd name="T54" fmla="*/ 4972 w 20000"/>
                  <a:gd name="T55" fmla="*/ 17762 h 20000"/>
                  <a:gd name="T56" fmla="*/ 4972 w 20000"/>
                  <a:gd name="T57" fmla="*/ 19518 h 20000"/>
                  <a:gd name="T58" fmla="*/ 284 w 20000"/>
                  <a:gd name="T59" fmla="*/ 19518 h 20000"/>
                  <a:gd name="T60" fmla="*/ 0 w 20000"/>
                  <a:gd name="T61" fmla="*/ 19972 h 20000"/>
                  <a:gd name="T62" fmla="*/ 284 w 20000"/>
                  <a:gd name="T63" fmla="*/ 18810 h 20000"/>
                  <a:gd name="T64" fmla="*/ 739 w 20000"/>
                  <a:gd name="T65" fmla="*/ 18187 h 20000"/>
                  <a:gd name="T66" fmla="*/ 1023 w 20000"/>
                  <a:gd name="T67" fmla="*/ 17762 h 20000"/>
                  <a:gd name="T68" fmla="*/ 1165 w 20000"/>
                  <a:gd name="T69" fmla="*/ 17309 h 20000"/>
                  <a:gd name="T70" fmla="*/ 1449 w 20000"/>
                  <a:gd name="T71" fmla="*/ 16884 h 20000"/>
                  <a:gd name="T72" fmla="*/ 1903 w 20000"/>
                  <a:gd name="T73" fmla="*/ 16147 h 20000"/>
                  <a:gd name="T74" fmla="*/ 2784 w 20000"/>
                  <a:gd name="T75" fmla="*/ 15127 h 20000"/>
                  <a:gd name="T76" fmla="*/ 2784 w 20000"/>
                  <a:gd name="T77" fmla="*/ 14249 h 20000"/>
                  <a:gd name="T78" fmla="*/ 3352 w 20000"/>
                  <a:gd name="T79" fmla="*/ 13371 h 20000"/>
                  <a:gd name="T80" fmla="*/ 4545 w 20000"/>
                  <a:gd name="T81" fmla="*/ 12040 h 20000"/>
                  <a:gd name="T82" fmla="*/ 5284 w 20000"/>
                  <a:gd name="T83" fmla="*/ 10878 h 20000"/>
                  <a:gd name="T84" fmla="*/ 6619 w 20000"/>
                  <a:gd name="T85" fmla="*/ 10425 h 20000"/>
                  <a:gd name="T86" fmla="*/ 7614 w 20000"/>
                  <a:gd name="T87" fmla="*/ 9972 h 20000"/>
                  <a:gd name="T88" fmla="*/ 8807 w 20000"/>
                  <a:gd name="T89" fmla="*/ 8810 h 20000"/>
                  <a:gd name="T90" fmla="*/ 9545 w 20000"/>
                  <a:gd name="T91" fmla="*/ 7649 h 20000"/>
                  <a:gd name="T92" fmla="*/ 9233 w 20000"/>
                  <a:gd name="T93" fmla="*/ 7054 h 20000"/>
                  <a:gd name="T94" fmla="*/ 9233 w 20000"/>
                  <a:gd name="T95" fmla="*/ 5864 h 20000"/>
                  <a:gd name="T96" fmla="*/ 9688 w 20000"/>
                  <a:gd name="T97" fmla="*/ 5297 h 20000"/>
                  <a:gd name="T98" fmla="*/ 9972 w 20000"/>
                  <a:gd name="T99" fmla="*/ 4561 h 20000"/>
                  <a:gd name="T100" fmla="*/ 10739 w 20000"/>
                  <a:gd name="T101" fmla="*/ 3541 h 20000"/>
                  <a:gd name="T102" fmla="*/ 11619 w 20000"/>
                  <a:gd name="T103" fmla="*/ 3088 h 20000"/>
                  <a:gd name="T104" fmla="*/ 13068 w 20000"/>
                  <a:gd name="T105" fmla="*/ 2380 h 20000"/>
                  <a:gd name="T106" fmla="*/ 13523 w 20000"/>
                  <a:gd name="T107" fmla="*/ 1190 h 20000"/>
                  <a:gd name="T108" fmla="*/ 13949 w 20000"/>
                  <a:gd name="T109" fmla="*/ 0 h 20000"/>
                  <a:gd name="T110" fmla="*/ 14688 w 20000"/>
                  <a:gd name="T111" fmla="*/ 0 h 20000"/>
                  <a:gd name="T112" fmla="*/ 15398 w 20000"/>
                  <a:gd name="T113" fmla="*/ 765 h 20000"/>
                  <a:gd name="T114" fmla="*/ 16619 w 20000"/>
                  <a:gd name="T115" fmla="*/ 765 h 20000"/>
                  <a:gd name="T116" fmla="*/ 17330 w 20000"/>
                  <a:gd name="T117" fmla="*/ 765 h 20000"/>
                  <a:gd name="T118" fmla="*/ 17784 w 20000"/>
                  <a:gd name="T119" fmla="*/ 453 h 20000"/>
                  <a:gd name="T120" fmla="*/ 18068 w 20000"/>
                  <a:gd name="T121" fmla="*/ 878 h 20000"/>
                  <a:gd name="T122" fmla="*/ 18807 w 20000"/>
                  <a:gd name="T123" fmla="*/ 8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00" h="20000">
                    <a:moveTo>
                      <a:pt x="18807" y="878"/>
                    </a:moveTo>
                    <a:lnTo>
                      <a:pt x="19233" y="1473"/>
                    </a:lnTo>
                    <a:lnTo>
                      <a:pt x="19517" y="2210"/>
                    </a:lnTo>
                    <a:lnTo>
                      <a:pt x="19517" y="2805"/>
                    </a:lnTo>
                    <a:lnTo>
                      <a:pt x="19688" y="3824"/>
                    </a:lnTo>
                    <a:lnTo>
                      <a:pt x="19972" y="4278"/>
                    </a:lnTo>
                    <a:lnTo>
                      <a:pt x="19972" y="4703"/>
                    </a:lnTo>
                    <a:lnTo>
                      <a:pt x="19972" y="4986"/>
                    </a:lnTo>
                    <a:lnTo>
                      <a:pt x="17784" y="5297"/>
                    </a:lnTo>
                    <a:lnTo>
                      <a:pt x="17784" y="5722"/>
                    </a:lnTo>
                    <a:lnTo>
                      <a:pt x="16903" y="5864"/>
                    </a:lnTo>
                    <a:lnTo>
                      <a:pt x="16903" y="6147"/>
                    </a:lnTo>
                    <a:lnTo>
                      <a:pt x="16903" y="6601"/>
                    </a:lnTo>
                    <a:lnTo>
                      <a:pt x="16449" y="7054"/>
                    </a:lnTo>
                    <a:lnTo>
                      <a:pt x="14972" y="8385"/>
                    </a:lnTo>
                    <a:lnTo>
                      <a:pt x="13949" y="8527"/>
                    </a:lnTo>
                    <a:lnTo>
                      <a:pt x="13523" y="8385"/>
                    </a:lnTo>
                    <a:lnTo>
                      <a:pt x="13068" y="8527"/>
                    </a:lnTo>
                    <a:lnTo>
                      <a:pt x="12330" y="8527"/>
                    </a:lnTo>
                    <a:lnTo>
                      <a:pt x="11165" y="9263"/>
                    </a:lnTo>
                    <a:lnTo>
                      <a:pt x="10739" y="9547"/>
                    </a:lnTo>
                    <a:lnTo>
                      <a:pt x="10739" y="11445"/>
                    </a:lnTo>
                    <a:lnTo>
                      <a:pt x="10739" y="13371"/>
                    </a:lnTo>
                    <a:lnTo>
                      <a:pt x="6449" y="13484"/>
                    </a:lnTo>
                    <a:lnTo>
                      <a:pt x="6449" y="16601"/>
                    </a:lnTo>
                    <a:lnTo>
                      <a:pt x="5284" y="17025"/>
                    </a:lnTo>
                    <a:lnTo>
                      <a:pt x="4972" y="17309"/>
                    </a:lnTo>
                    <a:lnTo>
                      <a:pt x="4972" y="17762"/>
                    </a:lnTo>
                    <a:lnTo>
                      <a:pt x="4972" y="19518"/>
                    </a:lnTo>
                    <a:lnTo>
                      <a:pt x="284" y="19518"/>
                    </a:lnTo>
                    <a:lnTo>
                      <a:pt x="0" y="19972"/>
                    </a:lnTo>
                    <a:lnTo>
                      <a:pt x="284" y="18810"/>
                    </a:lnTo>
                    <a:lnTo>
                      <a:pt x="739" y="18187"/>
                    </a:lnTo>
                    <a:lnTo>
                      <a:pt x="1023" y="17762"/>
                    </a:lnTo>
                    <a:lnTo>
                      <a:pt x="1165" y="17309"/>
                    </a:lnTo>
                    <a:lnTo>
                      <a:pt x="1449" y="16884"/>
                    </a:lnTo>
                    <a:lnTo>
                      <a:pt x="1903" y="16147"/>
                    </a:lnTo>
                    <a:lnTo>
                      <a:pt x="2784" y="15127"/>
                    </a:lnTo>
                    <a:lnTo>
                      <a:pt x="2784" y="14249"/>
                    </a:lnTo>
                    <a:lnTo>
                      <a:pt x="3352" y="13371"/>
                    </a:lnTo>
                    <a:lnTo>
                      <a:pt x="4545" y="12040"/>
                    </a:lnTo>
                    <a:lnTo>
                      <a:pt x="5284" y="10878"/>
                    </a:lnTo>
                    <a:lnTo>
                      <a:pt x="6619" y="10425"/>
                    </a:lnTo>
                    <a:lnTo>
                      <a:pt x="7614" y="9972"/>
                    </a:lnTo>
                    <a:lnTo>
                      <a:pt x="8807" y="8810"/>
                    </a:lnTo>
                    <a:lnTo>
                      <a:pt x="9545" y="7649"/>
                    </a:lnTo>
                    <a:lnTo>
                      <a:pt x="9233" y="7054"/>
                    </a:lnTo>
                    <a:lnTo>
                      <a:pt x="9233" y="5864"/>
                    </a:lnTo>
                    <a:lnTo>
                      <a:pt x="9688" y="5297"/>
                    </a:lnTo>
                    <a:lnTo>
                      <a:pt x="9972" y="4561"/>
                    </a:lnTo>
                    <a:lnTo>
                      <a:pt x="10739" y="3541"/>
                    </a:lnTo>
                    <a:lnTo>
                      <a:pt x="11619" y="3088"/>
                    </a:lnTo>
                    <a:lnTo>
                      <a:pt x="13068" y="2380"/>
                    </a:lnTo>
                    <a:lnTo>
                      <a:pt x="13523" y="1190"/>
                    </a:lnTo>
                    <a:lnTo>
                      <a:pt x="13949" y="0"/>
                    </a:lnTo>
                    <a:lnTo>
                      <a:pt x="14688" y="0"/>
                    </a:lnTo>
                    <a:lnTo>
                      <a:pt x="15398" y="765"/>
                    </a:lnTo>
                    <a:lnTo>
                      <a:pt x="16619" y="765"/>
                    </a:lnTo>
                    <a:lnTo>
                      <a:pt x="17330" y="765"/>
                    </a:lnTo>
                    <a:lnTo>
                      <a:pt x="17784" y="453"/>
                    </a:lnTo>
                    <a:lnTo>
                      <a:pt x="18068" y="878"/>
                    </a:lnTo>
                    <a:lnTo>
                      <a:pt x="18807" y="87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3" name="Freeform 116"/>
              <p:cNvSpPr>
                <a:spLocks/>
              </p:cNvSpPr>
              <p:nvPr/>
            </p:nvSpPr>
            <p:spPr bwMode="auto">
              <a:xfrm>
                <a:off x="4510088" y="3651250"/>
                <a:ext cx="346075" cy="376238"/>
              </a:xfrm>
              <a:custGeom>
                <a:avLst/>
                <a:gdLst>
                  <a:gd name="T0" fmla="*/ 13897 w 20000"/>
                  <a:gd name="T1" fmla="*/ 0 h 20000"/>
                  <a:gd name="T2" fmla="*/ 19963 w 20000"/>
                  <a:gd name="T3" fmla="*/ 3885 h 20000"/>
                  <a:gd name="T4" fmla="*/ 17279 w 20000"/>
                  <a:gd name="T5" fmla="*/ 3885 h 20000"/>
                  <a:gd name="T6" fmla="*/ 18456 w 20000"/>
                  <a:gd name="T7" fmla="*/ 17128 h 20000"/>
                  <a:gd name="T8" fmla="*/ 19007 w 20000"/>
                  <a:gd name="T9" fmla="*/ 17669 h 20000"/>
                  <a:gd name="T10" fmla="*/ 18456 w 20000"/>
                  <a:gd name="T11" fmla="*/ 18919 h 20000"/>
                  <a:gd name="T12" fmla="*/ 12537 w 20000"/>
                  <a:gd name="T13" fmla="*/ 18919 h 20000"/>
                  <a:gd name="T14" fmla="*/ 12390 w 20000"/>
                  <a:gd name="T15" fmla="*/ 18581 h 20000"/>
                  <a:gd name="T16" fmla="*/ 11985 w 20000"/>
                  <a:gd name="T17" fmla="*/ 18919 h 20000"/>
                  <a:gd name="T18" fmla="*/ 10074 w 20000"/>
                  <a:gd name="T19" fmla="*/ 18581 h 20000"/>
                  <a:gd name="T20" fmla="*/ 9890 w 20000"/>
                  <a:gd name="T21" fmla="*/ 19054 h 20000"/>
                  <a:gd name="T22" fmla="*/ 8934 w 20000"/>
                  <a:gd name="T23" fmla="*/ 18378 h 20000"/>
                  <a:gd name="T24" fmla="*/ 8346 w 20000"/>
                  <a:gd name="T25" fmla="*/ 19054 h 20000"/>
                  <a:gd name="T26" fmla="*/ 8346 w 20000"/>
                  <a:gd name="T27" fmla="*/ 19764 h 20000"/>
                  <a:gd name="T28" fmla="*/ 7978 w 20000"/>
                  <a:gd name="T29" fmla="*/ 19966 h 20000"/>
                  <a:gd name="T30" fmla="*/ 7022 w 20000"/>
                  <a:gd name="T31" fmla="*/ 19764 h 20000"/>
                  <a:gd name="T32" fmla="*/ 6838 w 20000"/>
                  <a:gd name="T33" fmla="*/ 19426 h 20000"/>
                  <a:gd name="T34" fmla="*/ 6434 w 20000"/>
                  <a:gd name="T35" fmla="*/ 18919 h 20000"/>
                  <a:gd name="T36" fmla="*/ 6066 w 20000"/>
                  <a:gd name="T37" fmla="*/ 18919 h 20000"/>
                  <a:gd name="T38" fmla="*/ 5919 w 20000"/>
                  <a:gd name="T39" fmla="*/ 18041 h 20000"/>
                  <a:gd name="T40" fmla="*/ 5331 w 20000"/>
                  <a:gd name="T41" fmla="*/ 18041 h 20000"/>
                  <a:gd name="T42" fmla="*/ 4559 w 20000"/>
                  <a:gd name="T43" fmla="*/ 17128 h 20000"/>
                  <a:gd name="T44" fmla="*/ 3971 w 20000"/>
                  <a:gd name="T45" fmla="*/ 16993 h 20000"/>
                  <a:gd name="T46" fmla="*/ 2463 w 20000"/>
                  <a:gd name="T47" fmla="*/ 17128 h 20000"/>
                  <a:gd name="T48" fmla="*/ 1324 w 20000"/>
                  <a:gd name="T49" fmla="*/ 17128 h 20000"/>
                  <a:gd name="T50" fmla="*/ 515 w 20000"/>
                  <a:gd name="T51" fmla="*/ 17669 h 20000"/>
                  <a:gd name="T52" fmla="*/ 956 w 20000"/>
                  <a:gd name="T53" fmla="*/ 16622 h 20000"/>
                  <a:gd name="T54" fmla="*/ 1507 w 20000"/>
                  <a:gd name="T55" fmla="*/ 15203 h 20000"/>
                  <a:gd name="T56" fmla="*/ 1324 w 20000"/>
                  <a:gd name="T57" fmla="*/ 13480 h 20000"/>
                  <a:gd name="T58" fmla="*/ 515 w 20000"/>
                  <a:gd name="T59" fmla="*/ 12601 h 20000"/>
                  <a:gd name="T60" fmla="*/ 1324 w 20000"/>
                  <a:gd name="T61" fmla="*/ 12601 h 20000"/>
                  <a:gd name="T62" fmla="*/ 1324 w 20000"/>
                  <a:gd name="T63" fmla="*/ 11723 h 20000"/>
                  <a:gd name="T64" fmla="*/ 956 w 20000"/>
                  <a:gd name="T65" fmla="*/ 10709 h 20000"/>
                  <a:gd name="T66" fmla="*/ 515 w 20000"/>
                  <a:gd name="T67" fmla="*/ 11047 h 20000"/>
                  <a:gd name="T68" fmla="*/ 368 w 20000"/>
                  <a:gd name="T69" fmla="*/ 10169 h 20000"/>
                  <a:gd name="T70" fmla="*/ 0 w 20000"/>
                  <a:gd name="T71" fmla="*/ 10169 h 20000"/>
                  <a:gd name="T72" fmla="*/ 368 w 20000"/>
                  <a:gd name="T73" fmla="*/ 9628 h 20000"/>
                  <a:gd name="T74" fmla="*/ 6434 w 20000"/>
                  <a:gd name="T75" fmla="*/ 9628 h 20000"/>
                  <a:gd name="T76" fmla="*/ 6434 w 20000"/>
                  <a:gd name="T77" fmla="*/ 7534 h 20000"/>
                  <a:gd name="T78" fmla="*/ 6434 w 20000"/>
                  <a:gd name="T79" fmla="*/ 6993 h 20000"/>
                  <a:gd name="T80" fmla="*/ 6838 w 20000"/>
                  <a:gd name="T81" fmla="*/ 6655 h 20000"/>
                  <a:gd name="T82" fmla="*/ 8346 w 20000"/>
                  <a:gd name="T83" fmla="*/ 6149 h 20000"/>
                  <a:gd name="T84" fmla="*/ 8346 w 20000"/>
                  <a:gd name="T85" fmla="*/ 2432 h 20000"/>
                  <a:gd name="T86" fmla="*/ 13897 w 20000"/>
                  <a:gd name="T87" fmla="*/ 2297 h 20000"/>
                  <a:gd name="T88" fmla="*/ 13897 w 20000"/>
                  <a:gd name="T8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3897" y="0"/>
                    </a:moveTo>
                    <a:lnTo>
                      <a:pt x="19963" y="3885"/>
                    </a:lnTo>
                    <a:lnTo>
                      <a:pt x="17279" y="3885"/>
                    </a:lnTo>
                    <a:lnTo>
                      <a:pt x="18456" y="17128"/>
                    </a:lnTo>
                    <a:lnTo>
                      <a:pt x="19007" y="17669"/>
                    </a:lnTo>
                    <a:lnTo>
                      <a:pt x="18456" y="18919"/>
                    </a:lnTo>
                    <a:lnTo>
                      <a:pt x="12537" y="18919"/>
                    </a:lnTo>
                    <a:lnTo>
                      <a:pt x="12390" y="18581"/>
                    </a:lnTo>
                    <a:lnTo>
                      <a:pt x="11985" y="18919"/>
                    </a:lnTo>
                    <a:lnTo>
                      <a:pt x="10074" y="18581"/>
                    </a:lnTo>
                    <a:lnTo>
                      <a:pt x="9890" y="19054"/>
                    </a:lnTo>
                    <a:lnTo>
                      <a:pt x="8934" y="18378"/>
                    </a:lnTo>
                    <a:lnTo>
                      <a:pt x="8346" y="19054"/>
                    </a:lnTo>
                    <a:lnTo>
                      <a:pt x="8346" y="19764"/>
                    </a:lnTo>
                    <a:lnTo>
                      <a:pt x="7978" y="19966"/>
                    </a:lnTo>
                    <a:lnTo>
                      <a:pt x="7022" y="19764"/>
                    </a:lnTo>
                    <a:lnTo>
                      <a:pt x="6838" y="19426"/>
                    </a:lnTo>
                    <a:lnTo>
                      <a:pt x="6434" y="18919"/>
                    </a:lnTo>
                    <a:lnTo>
                      <a:pt x="6066" y="18919"/>
                    </a:lnTo>
                    <a:lnTo>
                      <a:pt x="5919" y="18041"/>
                    </a:lnTo>
                    <a:lnTo>
                      <a:pt x="5331" y="18041"/>
                    </a:lnTo>
                    <a:lnTo>
                      <a:pt x="4559" y="17128"/>
                    </a:lnTo>
                    <a:lnTo>
                      <a:pt x="3971" y="16993"/>
                    </a:lnTo>
                    <a:lnTo>
                      <a:pt x="2463" y="17128"/>
                    </a:lnTo>
                    <a:lnTo>
                      <a:pt x="1324" y="17128"/>
                    </a:lnTo>
                    <a:lnTo>
                      <a:pt x="515" y="17669"/>
                    </a:lnTo>
                    <a:lnTo>
                      <a:pt x="956" y="16622"/>
                    </a:lnTo>
                    <a:lnTo>
                      <a:pt x="1507" y="15203"/>
                    </a:lnTo>
                    <a:lnTo>
                      <a:pt x="1324" y="13480"/>
                    </a:lnTo>
                    <a:lnTo>
                      <a:pt x="515" y="12601"/>
                    </a:lnTo>
                    <a:lnTo>
                      <a:pt x="1324" y="12601"/>
                    </a:lnTo>
                    <a:lnTo>
                      <a:pt x="1324" y="11723"/>
                    </a:lnTo>
                    <a:lnTo>
                      <a:pt x="956" y="10709"/>
                    </a:lnTo>
                    <a:lnTo>
                      <a:pt x="515" y="11047"/>
                    </a:lnTo>
                    <a:lnTo>
                      <a:pt x="368" y="10169"/>
                    </a:lnTo>
                    <a:lnTo>
                      <a:pt x="0" y="10169"/>
                    </a:lnTo>
                    <a:lnTo>
                      <a:pt x="368" y="9628"/>
                    </a:lnTo>
                    <a:lnTo>
                      <a:pt x="6434" y="9628"/>
                    </a:lnTo>
                    <a:lnTo>
                      <a:pt x="6434" y="7534"/>
                    </a:lnTo>
                    <a:lnTo>
                      <a:pt x="6434" y="6993"/>
                    </a:lnTo>
                    <a:lnTo>
                      <a:pt x="6838" y="6655"/>
                    </a:lnTo>
                    <a:lnTo>
                      <a:pt x="8346" y="6149"/>
                    </a:lnTo>
                    <a:lnTo>
                      <a:pt x="8346" y="2432"/>
                    </a:lnTo>
                    <a:lnTo>
                      <a:pt x="13897" y="2297"/>
                    </a:lnTo>
                    <a:lnTo>
                      <a:pt x="13897"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4" name="Freeform 115"/>
              <p:cNvSpPr>
                <a:spLocks/>
              </p:cNvSpPr>
              <p:nvPr/>
            </p:nvSpPr>
            <p:spPr bwMode="auto">
              <a:xfrm>
                <a:off x="6594475" y="5035550"/>
                <a:ext cx="11113" cy="23813"/>
              </a:xfrm>
              <a:custGeom>
                <a:avLst/>
                <a:gdLst>
                  <a:gd name="T0" fmla="*/ 7059 w 20000"/>
                  <a:gd name="T1" fmla="*/ 19459 h 20000"/>
                  <a:gd name="T2" fmla="*/ 0 w 20000"/>
                  <a:gd name="T3" fmla="*/ 14054 h 20000"/>
                  <a:gd name="T4" fmla="*/ 0 w 20000"/>
                  <a:gd name="T5" fmla="*/ 10811 h 20000"/>
                  <a:gd name="T6" fmla="*/ 7059 w 20000"/>
                  <a:gd name="T7" fmla="*/ 0 h 20000"/>
                  <a:gd name="T8" fmla="*/ 18824 w 20000"/>
                  <a:gd name="T9" fmla="*/ 10811 h 20000"/>
                  <a:gd name="T10" fmla="*/ 7059 w 20000"/>
                  <a:gd name="T11" fmla="*/ 19459 h 20000"/>
                </a:gdLst>
                <a:ahLst/>
                <a:cxnLst>
                  <a:cxn ang="0">
                    <a:pos x="T0" y="T1"/>
                  </a:cxn>
                  <a:cxn ang="0">
                    <a:pos x="T2" y="T3"/>
                  </a:cxn>
                  <a:cxn ang="0">
                    <a:pos x="T4" y="T5"/>
                  </a:cxn>
                  <a:cxn ang="0">
                    <a:pos x="T6" y="T7"/>
                  </a:cxn>
                  <a:cxn ang="0">
                    <a:pos x="T8" y="T9"/>
                  </a:cxn>
                  <a:cxn ang="0">
                    <a:pos x="T10" y="T11"/>
                  </a:cxn>
                </a:cxnLst>
                <a:rect l="0" t="0" r="r" b="b"/>
                <a:pathLst>
                  <a:path w="20000" h="20000">
                    <a:moveTo>
                      <a:pt x="7059" y="19459"/>
                    </a:moveTo>
                    <a:lnTo>
                      <a:pt x="0" y="14054"/>
                    </a:lnTo>
                    <a:lnTo>
                      <a:pt x="0" y="10811"/>
                    </a:lnTo>
                    <a:lnTo>
                      <a:pt x="7059" y="0"/>
                    </a:lnTo>
                    <a:lnTo>
                      <a:pt x="18824" y="10811"/>
                    </a:lnTo>
                    <a:lnTo>
                      <a:pt x="7059" y="194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5" name="Freeform 114"/>
              <p:cNvSpPr>
                <a:spLocks/>
              </p:cNvSpPr>
              <p:nvPr/>
            </p:nvSpPr>
            <p:spPr bwMode="auto">
              <a:xfrm>
                <a:off x="5830888" y="4756150"/>
                <a:ext cx="306387" cy="484188"/>
              </a:xfrm>
              <a:custGeom>
                <a:avLst/>
                <a:gdLst>
                  <a:gd name="T0" fmla="*/ 10062 w 20000"/>
                  <a:gd name="T1" fmla="*/ 1076 h 20000"/>
                  <a:gd name="T2" fmla="*/ 11180 w 20000"/>
                  <a:gd name="T3" fmla="*/ 1076 h 20000"/>
                  <a:gd name="T4" fmla="*/ 12671 w 20000"/>
                  <a:gd name="T5" fmla="*/ 1234 h 20000"/>
                  <a:gd name="T6" fmla="*/ 13954 w 20000"/>
                  <a:gd name="T7" fmla="*/ 1234 h 20000"/>
                  <a:gd name="T8" fmla="*/ 15031 w 20000"/>
                  <a:gd name="T9" fmla="*/ 814 h 20000"/>
                  <a:gd name="T10" fmla="*/ 15652 w 20000"/>
                  <a:gd name="T11" fmla="*/ 1076 h 20000"/>
                  <a:gd name="T12" fmla="*/ 17184 w 20000"/>
                  <a:gd name="T13" fmla="*/ 682 h 20000"/>
                  <a:gd name="T14" fmla="*/ 19130 w 20000"/>
                  <a:gd name="T15" fmla="*/ 0 h 20000"/>
                  <a:gd name="T16" fmla="*/ 19130 w 20000"/>
                  <a:gd name="T17" fmla="*/ 1076 h 20000"/>
                  <a:gd name="T18" fmla="*/ 19130 w 20000"/>
                  <a:gd name="T19" fmla="*/ 2310 h 20000"/>
                  <a:gd name="T20" fmla="*/ 19130 w 20000"/>
                  <a:gd name="T21" fmla="*/ 2992 h 20000"/>
                  <a:gd name="T22" fmla="*/ 19545 w 20000"/>
                  <a:gd name="T23" fmla="*/ 4619 h 20000"/>
                  <a:gd name="T24" fmla="*/ 19545 w 20000"/>
                  <a:gd name="T25" fmla="*/ 5171 h 20000"/>
                  <a:gd name="T26" fmla="*/ 19545 w 20000"/>
                  <a:gd name="T27" fmla="*/ 5696 h 20000"/>
                  <a:gd name="T28" fmla="*/ 18012 w 20000"/>
                  <a:gd name="T29" fmla="*/ 6772 h 20000"/>
                  <a:gd name="T30" fmla="*/ 17350 w 20000"/>
                  <a:gd name="T31" fmla="*/ 7192 h 20000"/>
                  <a:gd name="T32" fmla="*/ 16108 w 20000"/>
                  <a:gd name="T33" fmla="*/ 7874 h 20000"/>
                  <a:gd name="T34" fmla="*/ 12671 w 20000"/>
                  <a:gd name="T35" fmla="*/ 8688 h 20000"/>
                  <a:gd name="T36" fmla="*/ 12257 w 20000"/>
                  <a:gd name="T37" fmla="*/ 9239 h 20000"/>
                  <a:gd name="T38" fmla="*/ 10062 w 20000"/>
                  <a:gd name="T39" fmla="*/ 10315 h 20000"/>
                  <a:gd name="T40" fmla="*/ 8157 w 20000"/>
                  <a:gd name="T41" fmla="*/ 11811 h 20000"/>
                  <a:gd name="T42" fmla="*/ 8820 w 20000"/>
                  <a:gd name="T43" fmla="*/ 13307 h 20000"/>
                  <a:gd name="T44" fmla="*/ 9027 w 20000"/>
                  <a:gd name="T45" fmla="*/ 13990 h 20000"/>
                  <a:gd name="T46" fmla="*/ 9482 w 20000"/>
                  <a:gd name="T47" fmla="*/ 15092 h 20000"/>
                  <a:gd name="T48" fmla="*/ 8820 w 20000"/>
                  <a:gd name="T49" fmla="*/ 16430 h 20000"/>
                  <a:gd name="T50" fmla="*/ 9482 w 20000"/>
                  <a:gd name="T51" fmla="*/ 16588 h 20000"/>
                  <a:gd name="T52" fmla="*/ 5590 w 20000"/>
                  <a:gd name="T53" fmla="*/ 17769 h 20000"/>
                  <a:gd name="T54" fmla="*/ 4306 w 20000"/>
                  <a:gd name="T55" fmla="*/ 18346 h 20000"/>
                  <a:gd name="T56" fmla="*/ 3892 w 20000"/>
                  <a:gd name="T57" fmla="*/ 19003 h 20000"/>
                  <a:gd name="T58" fmla="*/ 4306 w 20000"/>
                  <a:gd name="T59" fmla="*/ 19003 h 20000"/>
                  <a:gd name="T60" fmla="*/ 3644 w 20000"/>
                  <a:gd name="T61" fmla="*/ 19974 h 20000"/>
                  <a:gd name="T62" fmla="*/ 3230 w 20000"/>
                  <a:gd name="T63" fmla="*/ 19003 h 20000"/>
                  <a:gd name="T64" fmla="*/ 2816 w 20000"/>
                  <a:gd name="T65" fmla="*/ 18346 h 20000"/>
                  <a:gd name="T66" fmla="*/ 2816 w 20000"/>
                  <a:gd name="T67" fmla="*/ 16588 h 20000"/>
                  <a:gd name="T68" fmla="*/ 2567 w 20000"/>
                  <a:gd name="T69" fmla="*/ 15092 h 20000"/>
                  <a:gd name="T70" fmla="*/ 1946 w 20000"/>
                  <a:gd name="T71" fmla="*/ 14278 h 20000"/>
                  <a:gd name="T72" fmla="*/ 4306 w 20000"/>
                  <a:gd name="T73" fmla="*/ 12625 h 20000"/>
                  <a:gd name="T74" fmla="*/ 4513 w 20000"/>
                  <a:gd name="T75" fmla="*/ 11811 h 20000"/>
                  <a:gd name="T76" fmla="*/ 4928 w 20000"/>
                  <a:gd name="T77" fmla="*/ 10735 h 20000"/>
                  <a:gd name="T78" fmla="*/ 4928 w 20000"/>
                  <a:gd name="T79" fmla="*/ 9764 h 20000"/>
                  <a:gd name="T80" fmla="*/ 4928 w 20000"/>
                  <a:gd name="T81" fmla="*/ 9659 h 20000"/>
                  <a:gd name="T82" fmla="*/ 5342 w 20000"/>
                  <a:gd name="T83" fmla="*/ 9239 h 20000"/>
                  <a:gd name="T84" fmla="*/ 5342 w 20000"/>
                  <a:gd name="T85" fmla="*/ 7874 h 20000"/>
                  <a:gd name="T86" fmla="*/ 4928 w 20000"/>
                  <a:gd name="T87" fmla="*/ 6929 h 20000"/>
                  <a:gd name="T88" fmla="*/ 3230 w 20000"/>
                  <a:gd name="T89" fmla="*/ 6772 h 20000"/>
                  <a:gd name="T90" fmla="*/ 2153 w 20000"/>
                  <a:gd name="T91" fmla="*/ 6378 h 20000"/>
                  <a:gd name="T92" fmla="*/ 414 w 20000"/>
                  <a:gd name="T93" fmla="*/ 6115 h 20000"/>
                  <a:gd name="T94" fmla="*/ 0 w 20000"/>
                  <a:gd name="T95" fmla="*/ 5171 h 20000"/>
                  <a:gd name="T96" fmla="*/ 6004 w 20000"/>
                  <a:gd name="T97" fmla="*/ 3937 h 20000"/>
                  <a:gd name="T98" fmla="*/ 7702 w 20000"/>
                  <a:gd name="T99" fmla="*/ 4619 h 20000"/>
                  <a:gd name="T100" fmla="*/ 8364 w 20000"/>
                  <a:gd name="T101" fmla="*/ 5696 h 20000"/>
                  <a:gd name="T102" fmla="*/ 8364 w 20000"/>
                  <a:gd name="T103" fmla="*/ 6772 h 20000"/>
                  <a:gd name="T104" fmla="*/ 9482 w 20000"/>
                  <a:gd name="T105" fmla="*/ 7874 h 20000"/>
                  <a:gd name="T106" fmla="*/ 9896 w 20000"/>
                  <a:gd name="T107" fmla="*/ 6772 h 20000"/>
                  <a:gd name="T108" fmla="*/ 10518 w 20000"/>
                  <a:gd name="T109" fmla="*/ 6509 h 20000"/>
                  <a:gd name="T110" fmla="*/ 11180 w 20000"/>
                  <a:gd name="T111" fmla="*/ 5039 h 20000"/>
                  <a:gd name="T112" fmla="*/ 9896 w 20000"/>
                  <a:gd name="T113" fmla="*/ 3937 h 20000"/>
                  <a:gd name="T114" fmla="*/ 8364 w 20000"/>
                  <a:gd name="T115" fmla="*/ 3543 h 20000"/>
                  <a:gd name="T116" fmla="*/ 8820 w 20000"/>
                  <a:gd name="T117" fmla="*/ 123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8820" y="1234"/>
                    </a:moveTo>
                    <a:lnTo>
                      <a:pt x="10062" y="1076"/>
                    </a:lnTo>
                    <a:lnTo>
                      <a:pt x="10518" y="1234"/>
                    </a:lnTo>
                    <a:lnTo>
                      <a:pt x="11180" y="1076"/>
                    </a:lnTo>
                    <a:lnTo>
                      <a:pt x="11843" y="1234"/>
                    </a:lnTo>
                    <a:lnTo>
                      <a:pt x="12671" y="1234"/>
                    </a:lnTo>
                    <a:lnTo>
                      <a:pt x="12878" y="1234"/>
                    </a:lnTo>
                    <a:lnTo>
                      <a:pt x="13954" y="1234"/>
                    </a:lnTo>
                    <a:lnTo>
                      <a:pt x="14576" y="1076"/>
                    </a:lnTo>
                    <a:lnTo>
                      <a:pt x="15031" y="814"/>
                    </a:lnTo>
                    <a:lnTo>
                      <a:pt x="15652" y="814"/>
                    </a:lnTo>
                    <a:lnTo>
                      <a:pt x="15652" y="1076"/>
                    </a:lnTo>
                    <a:lnTo>
                      <a:pt x="16315" y="814"/>
                    </a:lnTo>
                    <a:lnTo>
                      <a:pt x="17184" y="682"/>
                    </a:lnTo>
                    <a:lnTo>
                      <a:pt x="18468" y="420"/>
                    </a:lnTo>
                    <a:lnTo>
                      <a:pt x="19130" y="0"/>
                    </a:lnTo>
                    <a:lnTo>
                      <a:pt x="19545" y="420"/>
                    </a:lnTo>
                    <a:lnTo>
                      <a:pt x="19130" y="1076"/>
                    </a:lnTo>
                    <a:lnTo>
                      <a:pt x="19130" y="1785"/>
                    </a:lnTo>
                    <a:lnTo>
                      <a:pt x="19130" y="2310"/>
                    </a:lnTo>
                    <a:lnTo>
                      <a:pt x="19545" y="2861"/>
                    </a:lnTo>
                    <a:lnTo>
                      <a:pt x="19130" y="2992"/>
                    </a:lnTo>
                    <a:lnTo>
                      <a:pt x="19545" y="3543"/>
                    </a:lnTo>
                    <a:lnTo>
                      <a:pt x="19545" y="4619"/>
                    </a:lnTo>
                    <a:lnTo>
                      <a:pt x="19959" y="4777"/>
                    </a:lnTo>
                    <a:lnTo>
                      <a:pt x="19545" y="5171"/>
                    </a:lnTo>
                    <a:lnTo>
                      <a:pt x="19130" y="5433"/>
                    </a:lnTo>
                    <a:lnTo>
                      <a:pt x="19545" y="5696"/>
                    </a:lnTo>
                    <a:lnTo>
                      <a:pt x="18882" y="6115"/>
                    </a:lnTo>
                    <a:lnTo>
                      <a:pt x="18012" y="6772"/>
                    </a:lnTo>
                    <a:lnTo>
                      <a:pt x="17847" y="6929"/>
                    </a:lnTo>
                    <a:lnTo>
                      <a:pt x="17350" y="7192"/>
                    </a:lnTo>
                    <a:lnTo>
                      <a:pt x="16315" y="7480"/>
                    </a:lnTo>
                    <a:lnTo>
                      <a:pt x="16108" y="7874"/>
                    </a:lnTo>
                    <a:lnTo>
                      <a:pt x="13954" y="8268"/>
                    </a:lnTo>
                    <a:lnTo>
                      <a:pt x="12671" y="8688"/>
                    </a:lnTo>
                    <a:lnTo>
                      <a:pt x="12257" y="8976"/>
                    </a:lnTo>
                    <a:lnTo>
                      <a:pt x="12257" y="9239"/>
                    </a:lnTo>
                    <a:lnTo>
                      <a:pt x="11180" y="9764"/>
                    </a:lnTo>
                    <a:lnTo>
                      <a:pt x="10062" y="10315"/>
                    </a:lnTo>
                    <a:lnTo>
                      <a:pt x="8364" y="11391"/>
                    </a:lnTo>
                    <a:lnTo>
                      <a:pt x="8157" y="11811"/>
                    </a:lnTo>
                    <a:lnTo>
                      <a:pt x="8364" y="12493"/>
                    </a:lnTo>
                    <a:lnTo>
                      <a:pt x="8820" y="13307"/>
                    </a:lnTo>
                    <a:lnTo>
                      <a:pt x="9027" y="14278"/>
                    </a:lnTo>
                    <a:lnTo>
                      <a:pt x="9027" y="13990"/>
                    </a:lnTo>
                    <a:lnTo>
                      <a:pt x="9482" y="14278"/>
                    </a:lnTo>
                    <a:lnTo>
                      <a:pt x="9482" y="15092"/>
                    </a:lnTo>
                    <a:lnTo>
                      <a:pt x="9027" y="15459"/>
                    </a:lnTo>
                    <a:lnTo>
                      <a:pt x="8820" y="16430"/>
                    </a:lnTo>
                    <a:lnTo>
                      <a:pt x="9027" y="16168"/>
                    </a:lnTo>
                    <a:lnTo>
                      <a:pt x="9482" y="16588"/>
                    </a:lnTo>
                    <a:lnTo>
                      <a:pt x="8364" y="17113"/>
                    </a:lnTo>
                    <a:lnTo>
                      <a:pt x="5590" y="17769"/>
                    </a:lnTo>
                    <a:lnTo>
                      <a:pt x="4928" y="17927"/>
                    </a:lnTo>
                    <a:lnTo>
                      <a:pt x="4306" y="18346"/>
                    </a:lnTo>
                    <a:lnTo>
                      <a:pt x="3644" y="18609"/>
                    </a:lnTo>
                    <a:lnTo>
                      <a:pt x="3892" y="19003"/>
                    </a:lnTo>
                    <a:lnTo>
                      <a:pt x="4306" y="18871"/>
                    </a:lnTo>
                    <a:lnTo>
                      <a:pt x="4306" y="19003"/>
                    </a:lnTo>
                    <a:lnTo>
                      <a:pt x="4306" y="19974"/>
                    </a:lnTo>
                    <a:lnTo>
                      <a:pt x="3644" y="19974"/>
                    </a:lnTo>
                    <a:lnTo>
                      <a:pt x="2816" y="19685"/>
                    </a:lnTo>
                    <a:lnTo>
                      <a:pt x="3230" y="19003"/>
                    </a:lnTo>
                    <a:lnTo>
                      <a:pt x="2816" y="18609"/>
                    </a:lnTo>
                    <a:lnTo>
                      <a:pt x="2816" y="18346"/>
                    </a:lnTo>
                    <a:lnTo>
                      <a:pt x="2816" y="17507"/>
                    </a:lnTo>
                    <a:lnTo>
                      <a:pt x="2816" y="16588"/>
                    </a:lnTo>
                    <a:lnTo>
                      <a:pt x="2153" y="15459"/>
                    </a:lnTo>
                    <a:lnTo>
                      <a:pt x="2567" y="15092"/>
                    </a:lnTo>
                    <a:lnTo>
                      <a:pt x="2153" y="14934"/>
                    </a:lnTo>
                    <a:lnTo>
                      <a:pt x="1946" y="14278"/>
                    </a:lnTo>
                    <a:lnTo>
                      <a:pt x="3892" y="13176"/>
                    </a:lnTo>
                    <a:lnTo>
                      <a:pt x="4306" y="12625"/>
                    </a:lnTo>
                    <a:lnTo>
                      <a:pt x="4306" y="12231"/>
                    </a:lnTo>
                    <a:lnTo>
                      <a:pt x="4513" y="11811"/>
                    </a:lnTo>
                    <a:lnTo>
                      <a:pt x="5342" y="11129"/>
                    </a:lnTo>
                    <a:lnTo>
                      <a:pt x="4928" y="10735"/>
                    </a:lnTo>
                    <a:lnTo>
                      <a:pt x="4928" y="10315"/>
                    </a:lnTo>
                    <a:lnTo>
                      <a:pt x="4928" y="9764"/>
                    </a:lnTo>
                    <a:lnTo>
                      <a:pt x="5342" y="9764"/>
                    </a:lnTo>
                    <a:lnTo>
                      <a:pt x="4928" y="9659"/>
                    </a:lnTo>
                    <a:lnTo>
                      <a:pt x="5342" y="9396"/>
                    </a:lnTo>
                    <a:lnTo>
                      <a:pt x="5342" y="9239"/>
                    </a:lnTo>
                    <a:lnTo>
                      <a:pt x="5342" y="8556"/>
                    </a:lnTo>
                    <a:lnTo>
                      <a:pt x="5342" y="7874"/>
                    </a:lnTo>
                    <a:lnTo>
                      <a:pt x="4928" y="7192"/>
                    </a:lnTo>
                    <a:lnTo>
                      <a:pt x="4928" y="6929"/>
                    </a:lnTo>
                    <a:lnTo>
                      <a:pt x="3644" y="6929"/>
                    </a:lnTo>
                    <a:lnTo>
                      <a:pt x="3230" y="6772"/>
                    </a:lnTo>
                    <a:lnTo>
                      <a:pt x="2567" y="6509"/>
                    </a:lnTo>
                    <a:lnTo>
                      <a:pt x="2153" y="6378"/>
                    </a:lnTo>
                    <a:lnTo>
                      <a:pt x="870" y="6509"/>
                    </a:lnTo>
                    <a:lnTo>
                      <a:pt x="414" y="6115"/>
                    </a:lnTo>
                    <a:lnTo>
                      <a:pt x="414" y="5696"/>
                    </a:lnTo>
                    <a:lnTo>
                      <a:pt x="0" y="5171"/>
                    </a:lnTo>
                    <a:lnTo>
                      <a:pt x="5590" y="4068"/>
                    </a:lnTo>
                    <a:lnTo>
                      <a:pt x="6004" y="3937"/>
                    </a:lnTo>
                    <a:lnTo>
                      <a:pt x="6667" y="4777"/>
                    </a:lnTo>
                    <a:lnTo>
                      <a:pt x="7702" y="4619"/>
                    </a:lnTo>
                    <a:lnTo>
                      <a:pt x="8364" y="4777"/>
                    </a:lnTo>
                    <a:lnTo>
                      <a:pt x="8364" y="5696"/>
                    </a:lnTo>
                    <a:lnTo>
                      <a:pt x="8157" y="6378"/>
                    </a:lnTo>
                    <a:lnTo>
                      <a:pt x="8364" y="6772"/>
                    </a:lnTo>
                    <a:lnTo>
                      <a:pt x="9027" y="7480"/>
                    </a:lnTo>
                    <a:lnTo>
                      <a:pt x="9482" y="7874"/>
                    </a:lnTo>
                    <a:lnTo>
                      <a:pt x="9896" y="7480"/>
                    </a:lnTo>
                    <a:lnTo>
                      <a:pt x="9896" y="6772"/>
                    </a:lnTo>
                    <a:lnTo>
                      <a:pt x="10062" y="6772"/>
                    </a:lnTo>
                    <a:lnTo>
                      <a:pt x="10518" y="6509"/>
                    </a:lnTo>
                    <a:lnTo>
                      <a:pt x="10932" y="5696"/>
                    </a:lnTo>
                    <a:lnTo>
                      <a:pt x="11180" y="5039"/>
                    </a:lnTo>
                    <a:lnTo>
                      <a:pt x="10518" y="4777"/>
                    </a:lnTo>
                    <a:lnTo>
                      <a:pt x="9896" y="3937"/>
                    </a:lnTo>
                    <a:lnTo>
                      <a:pt x="9027" y="3543"/>
                    </a:lnTo>
                    <a:lnTo>
                      <a:pt x="8364" y="3543"/>
                    </a:lnTo>
                    <a:lnTo>
                      <a:pt x="8364" y="1890"/>
                    </a:lnTo>
                    <a:lnTo>
                      <a:pt x="8820" y="123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6" name="Freeform 113"/>
              <p:cNvSpPr>
                <a:spLocks/>
              </p:cNvSpPr>
              <p:nvPr/>
            </p:nvSpPr>
            <p:spPr bwMode="auto">
              <a:xfrm>
                <a:off x="5318125" y="4937125"/>
                <a:ext cx="376238" cy="358775"/>
              </a:xfrm>
              <a:custGeom>
                <a:avLst/>
                <a:gdLst>
                  <a:gd name="T0" fmla="*/ 17162 w 20000"/>
                  <a:gd name="T1" fmla="*/ 1062 h 20000"/>
                  <a:gd name="T2" fmla="*/ 18378 w 20000"/>
                  <a:gd name="T3" fmla="*/ 708 h 20000"/>
                  <a:gd name="T4" fmla="*/ 18581 w 20000"/>
                  <a:gd name="T5" fmla="*/ 708 h 20000"/>
                  <a:gd name="T6" fmla="*/ 19426 w 20000"/>
                  <a:gd name="T7" fmla="*/ 1062 h 20000"/>
                  <a:gd name="T8" fmla="*/ 19966 w 20000"/>
                  <a:gd name="T9" fmla="*/ 1451 h 20000"/>
                  <a:gd name="T10" fmla="*/ 19426 w 20000"/>
                  <a:gd name="T11" fmla="*/ 1451 h 20000"/>
                  <a:gd name="T12" fmla="*/ 18919 w 20000"/>
                  <a:gd name="T13" fmla="*/ 1628 h 20000"/>
                  <a:gd name="T14" fmla="*/ 18581 w 20000"/>
                  <a:gd name="T15" fmla="*/ 1628 h 20000"/>
                  <a:gd name="T16" fmla="*/ 17500 w 20000"/>
                  <a:gd name="T17" fmla="*/ 2372 h 20000"/>
                  <a:gd name="T18" fmla="*/ 16993 w 20000"/>
                  <a:gd name="T19" fmla="*/ 1628 h 20000"/>
                  <a:gd name="T20" fmla="*/ 15777 w 20000"/>
                  <a:gd name="T21" fmla="*/ 2018 h 20000"/>
                  <a:gd name="T22" fmla="*/ 13818 w 20000"/>
                  <a:gd name="T23" fmla="*/ 2372 h 20000"/>
                  <a:gd name="T24" fmla="*/ 13480 w 20000"/>
                  <a:gd name="T25" fmla="*/ 8212 h 20000"/>
                  <a:gd name="T26" fmla="*/ 12095 w 20000"/>
                  <a:gd name="T27" fmla="*/ 8212 h 20000"/>
                  <a:gd name="T28" fmla="*/ 11892 w 20000"/>
                  <a:gd name="T29" fmla="*/ 12991 h 20000"/>
                  <a:gd name="T30" fmla="*/ 11554 w 20000"/>
                  <a:gd name="T31" fmla="*/ 19221 h 20000"/>
                  <a:gd name="T32" fmla="*/ 11047 w 20000"/>
                  <a:gd name="T33" fmla="*/ 19221 h 20000"/>
                  <a:gd name="T34" fmla="*/ 10304 w 20000"/>
                  <a:gd name="T35" fmla="*/ 19752 h 20000"/>
                  <a:gd name="T36" fmla="*/ 10169 w 20000"/>
                  <a:gd name="T37" fmla="*/ 19965 h 20000"/>
                  <a:gd name="T38" fmla="*/ 9628 w 20000"/>
                  <a:gd name="T39" fmla="*/ 19752 h 20000"/>
                  <a:gd name="T40" fmla="*/ 8919 w 20000"/>
                  <a:gd name="T41" fmla="*/ 19752 h 20000"/>
                  <a:gd name="T42" fmla="*/ 8412 w 20000"/>
                  <a:gd name="T43" fmla="*/ 19752 h 20000"/>
                  <a:gd name="T44" fmla="*/ 7534 w 20000"/>
                  <a:gd name="T45" fmla="*/ 19398 h 20000"/>
                  <a:gd name="T46" fmla="*/ 7534 w 20000"/>
                  <a:gd name="T47" fmla="*/ 18478 h 20000"/>
                  <a:gd name="T48" fmla="*/ 7399 w 20000"/>
                  <a:gd name="T49" fmla="*/ 18478 h 20000"/>
                  <a:gd name="T50" fmla="*/ 6993 w 20000"/>
                  <a:gd name="T51" fmla="*/ 18478 h 20000"/>
                  <a:gd name="T52" fmla="*/ 6655 w 20000"/>
                  <a:gd name="T53" fmla="*/ 19221 h 20000"/>
                  <a:gd name="T54" fmla="*/ 6486 w 20000"/>
                  <a:gd name="T55" fmla="*/ 19398 h 20000"/>
                  <a:gd name="T56" fmla="*/ 5270 w 20000"/>
                  <a:gd name="T57" fmla="*/ 18301 h 20000"/>
                  <a:gd name="T58" fmla="*/ 4730 w 20000"/>
                  <a:gd name="T59" fmla="*/ 16850 h 20000"/>
                  <a:gd name="T60" fmla="*/ 4730 w 20000"/>
                  <a:gd name="T61" fmla="*/ 16106 h 20000"/>
                  <a:gd name="T62" fmla="*/ 4561 w 20000"/>
                  <a:gd name="T63" fmla="*/ 15540 h 20000"/>
                  <a:gd name="T64" fmla="*/ 4223 w 20000"/>
                  <a:gd name="T65" fmla="*/ 13522 h 20000"/>
                  <a:gd name="T66" fmla="*/ 3885 w 20000"/>
                  <a:gd name="T67" fmla="*/ 12637 h 20000"/>
                  <a:gd name="T68" fmla="*/ 3682 w 20000"/>
                  <a:gd name="T69" fmla="*/ 11150 h 20000"/>
                  <a:gd name="T70" fmla="*/ 3682 w 20000"/>
                  <a:gd name="T71" fmla="*/ 10053 h 20000"/>
                  <a:gd name="T72" fmla="*/ 3682 w 20000"/>
                  <a:gd name="T73" fmla="*/ 9168 h 20000"/>
                  <a:gd name="T74" fmla="*/ 2973 w 20000"/>
                  <a:gd name="T75" fmla="*/ 8212 h 20000"/>
                  <a:gd name="T76" fmla="*/ 1959 w 20000"/>
                  <a:gd name="T77" fmla="*/ 5487 h 20000"/>
                  <a:gd name="T78" fmla="*/ 912 w 20000"/>
                  <a:gd name="T79" fmla="*/ 3469 h 20000"/>
                  <a:gd name="T80" fmla="*/ 541 w 20000"/>
                  <a:gd name="T81" fmla="*/ 2549 h 20000"/>
                  <a:gd name="T82" fmla="*/ 0 w 20000"/>
                  <a:gd name="T83" fmla="*/ 1451 h 20000"/>
                  <a:gd name="T84" fmla="*/ 0 w 20000"/>
                  <a:gd name="T85" fmla="*/ 496 h 20000"/>
                  <a:gd name="T86" fmla="*/ 203 w 20000"/>
                  <a:gd name="T87" fmla="*/ 496 h 20000"/>
                  <a:gd name="T88" fmla="*/ 912 w 20000"/>
                  <a:gd name="T89" fmla="*/ 496 h 20000"/>
                  <a:gd name="T90" fmla="*/ 1047 w 20000"/>
                  <a:gd name="T91" fmla="*/ 496 h 20000"/>
                  <a:gd name="T92" fmla="*/ 1959 w 20000"/>
                  <a:gd name="T93" fmla="*/ 0 h 20000"/>
                  <a:gd name="T94" fmla="*/ 2432 w 20000"/>
                  <a:gd name="T95" fmla="*/ 142 h 20000"/>
                  <a:gd name="T96" fmla="*/ 3345 w 20000"/>
                  <a:gd name="T97" fmla="*/ 708 h 20000"/>
                  <a:gd name="T98" fmla="*/ 3682 w 20000"/>
                  <a:gd name="T99" fmla="*/ 708 h 20000"/>
                  <a:gd name="T100" fmla="*/ 9628 w 20000"/>
                  <a:gd name="T101" fmla="*/ 496 h 20000"/>
                  <a:gd name="T102" fmla="*/ 9831 w 20000"/>
                  <a:gd name="T103" fmla="*/ 1062 h 20000"/>
                  <a:gd name="T104" fmla="*/ 10304 w 20000"/>
                  <a:gd name="T105" fmla="*/ 1451 h 20000"/>
                  <a:gd name="T106" fmla="*/ 12432 w 20000"/>
                  <a:gd name="T107" fmla="*/ 1628 h 20000"/>
                  <a:gd name="T108" fmla="*/ 13311 w 20000"/>
                  <a:gd name="T109" fmla="*/ 1628 h 20000"/>
                  <a:gd name="T110" fmla="*/ 13818 w 20000"/>
                  <a:gd name="T111" fmla="*/ 1628 h 20000"/>
                  <a:gd name="T112" fmla="*/ 14358 w 20000"/>
                  <a:gd name="T113" fmla="*/ 1628 h 20000"/>
                  <a:gd name="T114" fmla="*/ 17162 w 20000"/>
                  <a:gd name="T115" fmla="*/ 106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00" h="20000">
                    <a:moveTo>
                      <a:pt x="17162" y="1062"/>
                    </a:moveTo>
                    <a:lnTo>
                      <a:pt x="18378" y="708"/>
                    </a:lnTo>
                    <a:lnTo>
                      <a:pt x="18581" y="708"/>
                    </a:lnTo>
                    <a:lnTo>
                      <a:pt x="19426" y="1062"/>
                    </a:lnTo>
                    <a:lnTo>
                      <a:pt x="19966" y="1451"/>
                    </a:lnTo>
                    <a:lnTo>
                      <a:pt x="19426" y="1451"/>
                    </a:lnTo>
                    <a:lnTo>
                      <a:pt x="18919" y="1628"/>
                    </a:lnTo>
                    <a:lnTo>
                      <a:pt x="18581" y="1628"/>
                    </a:lnTo>
                    <a:lnTo>
                      <a:pt x="17500" y="2372"/>
                    </a:lnTo>
                    <a:lnTo>
                      <a:pt x="16993" y="1628"/>
                    </a:lnTo>
                    <a:lnTo>
                      <a:pt x="15777" y="2018"/>
                    </a:lnTo>
                    <a:lnTo>
                      <a:pt x="13818" y="2372"/>
                    </a:lnTo>
                    <a:lnTo>
                      <a:pt x="13480" y="8212"/>
                    </a:lnTo>
                    <a:lnTo>
                      <a:pt x="12095" y="8212"/>
                    </a:lnTo>
                    <a:lnTo>
                      <a:pt x="11892" y="12991"/>
                    </a:lnTo>
                    <a:lnTo>
                      <a:pt x="11554" y="19221"/>
                    </a:lnTo>
                    <a:lnTo>
                      <a:pt x="11047" y="19221"/>
                    </a:lnTo>
                    <a:lnTo>
                      <a:pt x="10304" y="19752"/>
                    </a:lnTo>
                    <a:lnTo>
                      <a:pt x="10169" y="19965"/>
                    </a:lnTo>
                    <a:lnTo>
                      <a:pt x="9628" y="19752"/>
                    </a:lnTo>
                    <a:lnTo>
                      <a:pt x="8919" y="19752"/>
                    </a:lnTo>
                    <a:lnTo>
                      <a:pt x="8412" y="19752"/>
                    </a:lnTo>
                    <a:lnTo>
                      <a:pt x="7534" y="19398"/>
                    </a:lnTo>
                    <a:lnTo>
                      <a:pt x="7534" y="18478"/>
                    </a:lnTo>
                    <a:lnTo>
                      <a:pt x="7399" y="18478"/>
                    </a:lnTo>
                    <a:lnTo>
                      <a:pt x="6993" y="18478"/>
                    </a:lnTo>
                    <a:lnTo>
                      <a:pt x="6655" y="19221"/>
                    </a:lnTo>
                    <a:lnTo>
                      <a:pt x="6486" y="19398"/>
                    </a:lnTo>
                    <a:lnTo>
                      <a:pt x="5270" y="18301"/>
                    </a:lnTo>
                    <a:lnTo>
                      <a:pt x="4730" y="16850"/>
                    </a:lnTo>
                    <a:lnTo>
                      <a:pt x="4730" y="16106"/>
                    </a:lnTo>
                    <a:lnTo>
                      <a:pt x="4561" y="15540"/>
                    </a:lnTo>
                    <a:lnTo>
                      <a:pt x="4223" y="13522"/>
                    </a:lnTo>
                    <a:lnTo>
                      <a:pt x="3885" y="12637"/>
                    </a:lnTo>
                    <a:lnTo>
                      <a:pt x="3682" y="11150"/>
                    </a:lnTo>
                    <a:lnTo>
                      <a:pt x="3682" y="10053"/>
                    </a:lnTo>
                    <a:lnTo>
                      <a:pt x="3682" y="9168"/>
                    </a:lnTo>
                    <a:lnTo>
                      <a:pt x="2973" y="8212"/>
                    </a:lnTo>
                    <a:lnTo>
                      <a:pt x="1959" y="5487"/>
                    </a:lnTo>
                    <a:lnTo>
                      <a:pt x="912" y="3469"/>
                    </a:lnTo>
                    <a:lnTo>
                      <a:pt x="541" y="2549"/>
                    </a:lnTo>
                    <a:lnTo>
                      <a:pt x="0" y="1451"/>
                    </a:lnTo>
                    <a:lnTo>
                      <a:pt x="0" y="496"/>
                    </a:lnTo>
                    <a:lnTo>
                      <a:pt x="203" y="496"/>
                    </a:lnTo>
                    <a:lnTo>
                      <a:pt x="912" y="496"/>
                    </a:lnTo>
                    <a:lnTo>
                      <a:pt x="1047" y="496"/>
                    </a:lnTo>
                    <a:lnTo>
                      <a:pt x="1959" y="0"/>
                    </a:lnTo>
                    <a:lnTo>
                      <a:pt x="2432" y="142"/>
                    </a:lnTo>
                    <a:lnTo>
                      <a:pt x="3345" y="708"/>
                    </a:lnTo>
                    <a:lnTo>
                      <a:pt x="3682" y="708"/>
                    </a:lnTo>
                    <a:lnTo>
                      <a:pt x="9628" y="496"/>
                    </a:lnTo>
                    <a:lnTo>
                      <a:pt x="9831" y="1062"/>
                    </a:lnTo>
                    <a:lnTo>
                      <a:pt x="10304" y="1451"/>
                    </a:lnTo>
                    <a:lnTo>
                      <a:pt x="12432" y="1628"/>
                    </a:lnTo>
                    <a:lnTo>
                      <a:pt x="13311" y="1628"/>
                    </a:lnTo>
                    <a:lnTo>
                      <a:pt x="13818" y="1628"/>
                    </a:lnTo>
                    <a:lnTo>
                      <a:pt x="14358" y="1628"/>
                    </a:lnTo>
                    <a:lnTo>
                      <a:pt x="17162" y="10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7" name="Freeform 112"/>
              <p:cNvSpPr>
                <a:spLocks/>
              </p:cNvSpPr>
              <p:nvPr/>
            </p:nvSpPr>
            <p:spPr bwMode="auto">
              <a:xfrm>
                <a:off x="4992688" y="3773488"/>
                <a:ext cx="441325" cy="346075"/>
              </a:xfrm>
              <a:custGeom>
                <a:avLst/>
                <a:gdLst>
                  <a:gd name="T0" fmla="*/ 15201 w 20000"/>
                  <a:gd name="T1" fmla="*/ 0 h 20000"/>
                  <a:gd name="T2" fmla="*/ 16839 w 20000"/>
                  <a:gd name="T3" fmla="*/ 587 h 20000"/>
                  <a:gd name="T4" fmla="*/ 17874 w 20000"/>
                  <a:gd name="T5" fmla="*/ 1505 h 20000"/>
                  <a:gd name="T6" fmla="*/ 18793 w 20000"/>
                  <a:gd name="T7" fmla="*/ 954 h 20000"/>
                  <a:gd name="T8" fmla="*/ 19080 w 20000"/>
                  <a:gd name="T9" fmla="*/ 2092 h 20000"/>
                  <a:gd name="T10" fmla="*/ 19080 w 20000"/>
                  <a:gd name="T11" fmla="*/ 3450 h 20000"/>
                  <a:gd name="T12" fmla="*/ 19511 w 20000"/>
                  <a:gd name="T13" fmla="*/ 4000 h 20000"/>
                  <a:gd name="T14" fmla="*/ 19511 w 20000"/>
                  <a:gd name="T15" fmla="*/ 4587 h 20000"/>
                  <a:gd name="T16" fmla="*/ 19971 w 20000"/>
                  <a:gd name="T17" fmla="*/ 5505 h 20000"/>
                  <a:gd name="T18" fmla="*/ 19799 w 20000"/>
                  <a:gd name="T19" fmla="*/ 5688 h 20000"/>
                  <a:gd name="T20" fmla="*/ 19511 w 20000"/>
                  <a:gd name="T21" fmla="*/ 11009 h 20000"/>
                  <a:gd name="T22" fmla="*/ 17586 w 20000"/>
                  <a:gd name="T23" fmla="*/ 14055 h 20000"/>
                  <a:gd name="T24" fmla="*/ 17270 w 20000"/>
                  <a:gd name="T25" fmla="*/ 14642 h 20000"/>
                  <a:gd name="T26" fmla="*/ 17155 w 20000"/>
                  <a:gd name="T27" fmla="*/ 15376 h 20000"/>
                  <a:gd name="T28" fmla="*/ 17155 w 20000"/>
                  <a:gd name="T29" fmla="*/ 16147 h 20000"/>
                  <a:gd name="T30" fmla="*/ 16839 w 20000"/>
                  <a:gd name="T31" fmla="*/ 16881 h 20000"/>
                  <a:gd name="T32" fmla="*/ 16408 w 20000"/>
                  <a:gd name="T33" fmla="*/ 17101 h 20000"/>
                  <a:gd name="T34" fmla="*/ 15948 w 20000"/>
                  <a:gd name="T35" fmla="*/ 17468 h 20000"/>
                  <a:gd name="T36" fmla="*/ 13707 w 20000"/>
                  <a:gd name="T37" fmla="*/ 16881 h 20000"/>
                  <a:gd name="T38" fmla="*/ 13276 w 20000"/>
                  <a:gd name="T39" fmla="*/ 17101 h 20000"/>
                  <a:gd name="T40" fmla="*/ 12816 w 20000"/>
                  <a:gd name="T41" fmla="*/ 17468 h 20000"/>
                  <a:gd name="T42" fmla="*/ 12385 w 20000"/>
                  <a:gd name="T43" fmla="*/ 17651 h 20000"/>
                  <a:gd name="T44" fmla="*/ 11638 w 20000"/>
                  <a:gd name="T45" fmla="*/ 18055 h 20000"/>
                  <a:gd name="T46" fmla="*/ 10115 w 20000"/>
                  <a:gd name="T47" fmla="*/ 17101 h 20000"/>
                  <a:gd name="T48" fmla="*/ 8649 w 20000"/>
                  <a:gd name="T49" fmla="*/ 17468 h 20000"/>
                  <a:gd name="T50" fmla="*/ 8218 w 20000"/>
                  <a:gd name="T51" fmla="*/ 16881 h 20000"/>
                  <a:gd name="T52" fmla="*/ 7471 w 20000"/>
                  <a:gd name="T53" fmla="*/ 16514 h 20000"/>
                  <a:gd name="T54" fmla="*/ 6724 w 20000"/>
                  <a:gd name="T55" fmla="*/ 16147 h 20000"/>
                  <a:gd name="T56" fmla="*/ 6724 w 20000"/>
                  <a:gd name="T57" fmla="*/ 16514 h 20000"/>
                  <a:gd name="T58" fmla="*/ 5833 w 20000"/>
                  <a:gd name="T59" fmla="*/ 16514 h 20000"/>
                  <a:gd name="T60" fmla="*/ 5374 w 20000"/>
                  <a:gd name="T61" fmla="*/ 16881 h 20000"/>
                  <a:gd name="T62" fmla="*/ 5057 w 20000"/>
                  <a:gd name="T63" fmla="*/ 17651 h 20000"/>
                  <a:gd name="T64" fmla="*/ 4339 w 20000"/>
                  <a:gd name="T65" fmla="*/ 18459 h 20000"/>
                  <a:gd name="T66" fmla="*/ 4339 w 20000"/>
                  <a:gd name="T67" fmla="*/ 19963 h 20000"/>
                  <a:gd name="T68" fmla="*/ 3879 w 20000"/>
                  <a:gd name="T69" fmla="*/ 19376 h 20000"/>
                  <a:gd name="T70" fmla="*/ 3420 w 20000"/>
                  <a:gd name="T71" fmla="*/ 18606 h 20000"/>
                  <a:gd name="T72" fmla="*/ 3132 w 20000"/>
                  <a:gd name="T73" fmla="*/ 18606 h 20000"/>
                  <a:gd name="T74" fmla="*/ 2845 w 20000"/>
                  <a:gd name="T75" fmla="*/ 19376 h 20000"/>
                  <a:gd name="T76" fmla="*/ 2414 w 20000"/>
                  <a:gd name="T77" fmla="*/ 18606 h 20000"/>
                  <a:gd name="T78" fmla="*/ 2701 w 20000"/>
                  <a:gd name="T79" fmla="*/ 18459 h 20000"/>
                  <a:gd name="T80" fmla="*/ 2414 w 20000"/>
                  <a:gd name="T81" fmla="*/ 18055 h 20000"/>
                  <a:gd name="T82" fmla="*/ 1954 w 20000"/>
                  <a:gd name="T83" fmla="*/ 18055 h 20000"/>
                  <a:gd name="T84" fmla="*/ 1063 w 20000"/>
                  <a:gd name="T85" fmla="*/ 17468 h 20000"/>
                  <a:gd name="T86" fmla="*/ 1063 w 20000"/>
                  <a:gd name="T87" fmla="*/ 17101 h 20000"/>
                  <a:gd name="T88" fmla="*/ 1494 w 20000"/>
                  <a:gd name="T89" fmla="*/ 17101 h 20000"/>
                  <a:gd name="T90" fmla="*/ 1494 w 20000"/>
                  <a:gd name="T91" fmla="*/ 16881 h 20000"/>
                  <a:gd name="T92" fmla="*/ 1063 w 20000"/>
                  <a:gd name="T93" fmla="*/ 16881 h 20000"/>
                  <a:gd name="T94" fmla="*/ 460 w 20000"/>
                  <a:gd name="T95" fmla="*/ 16147 h 20000"/>
                  <a:gd name="T96" fmla="*/ 316 w 20000"/>
                  <a:gd name="T97" fmla="*/ 15596 h 20000"/>
                  <a:gd name="T98" fmla="*/ 0 w 20000"/>
                  <a:gd name="T99" fmla="*/ 15009 h 20000"/>
                  <a:gd name="T100" fmla="*/ 0 w 20000"/>
                  <a:gd name="T101" fmla="*/ 14422 h 20000"/>
                  <a:gd name="T102" fmla="*/ 1207 w 20000"/>
                  <a:gd name="T103" fmla="*/ 14055 h 20000"/>
                  <a:gd name="T104" fmla="*/ 1494 w 20000"/>
                  <a:gd name="T105" fmla="*/ 13651 h 20000"/>
                  <a:gd name="T106" fmla="*/ 3879 w 20000"/>
                  <a:gd name="T107" fmla="*/ 13505 h 20000"/>
                  <a:gd name="T108" fmla="*/ 4339 w 20000"/>
                  <a:gd name="T109" fmla="*/ 13651 h 20000"/>
                  <a:gd name="T110" fmla="*/ 4770 w 20000"/>
                  <a:gd name="T111" fmla="*/ 12550 h 20000"/>
                  <a:gd name="T112" fmla="*/ 5057 w 20000"/>
                  <a:gd name="T113" fmla="*/ 11009 h 20000"/>
                  <a:gd name="T114" fmla="*/ 5374 w 20000"/>
                  <a:gd name="T115" fmla="*/ 10642 h 20000"/>
                  <a:gd name="T116" fmla="*/ 5374 w 20000"/>
                  <a:gd name="T117" fmla="*/ 7413 h 20000"/>
                  <a:gd name="T118" fmla="*/ 7471 w 20000"/>
                  <a:gd name="T119" fmla="*/ 6459 h 20000"/>
                  <a:gd name="T120" fmla="*/ 9397 w 20000"/>
                  <a:gd name="T121" fmla="*/ 4183 h 20000"/>
                  <a:gd name="T122" fmla="*/ 13994 w 20000"/>
                  <a:gd name="T123" fmla="*/ 954 h 20000"/>
                  <a:gd name="T124" fmla="*/ 15201 w 20000"/>
                  <a:gd name="T12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5201" y="0"/>
                    </a:moveTo>
                    <a:lnTo>
                      <a:pt x="16839" y="587"/>
                    </a:lnTo>
                    <a:lnTo>
                      <a:pt x="17874" y="1505"/>
                    </a:lnTo>
                    <a:lnTo>
                      <a:pt x="18793" y="954"/>
                    </a:lnTo>
                    <a:lnTo>
                      <a:pt x="19080" y="2092"/>
                    </a:lnTo>
                    <a:lnTo>
                      <a:pt x="19080" y="3450"/>
                    </a:lnTo>
                    <a:lnTo>
                      <a:pt x="19511" y="4000"/>
                    </a:lnTo>
                    <a:lnTo>
                      <a:pt x="19511" y="4587"/>
                    </a:lnTo>
                    <a:lnTo>
                      <a:pt x="19971" y="5505"/>
                    </a:lnTo>
                    <a:lnTo>
                      <a:pt x="19799" y="5688"/>
                    </a:lnTo>
                    <a:lnTo>
                      <a:pt x="19511" y="11009"/>
                    </a:lnTo>
                    <a:lnTo>
                      <a:pt x="17586" y="14055"/>
                    </a:lnTo>
                    <a:lnTo>
                      <a:pt x="17270" y="14642"/>
                    </a:lnTo>
                    <a:lnTo>
                      <a:pt x="17155" y="15376"/>
                    </a:lnTo>
                    <a:lnTo>
                      <a:pt x="17155" y="16147"/>
                    </a:lnTo>
                    <a:lnTo>
                      <a:pt x="16839" y="16881"/>
                    </a:lnTo>
                    <a:lnTo>
                      <a:pt x="16408" y="17101"/>
                    </a:lnTo>
                    <a:lnTo>
                      <a:pt x="15948" y="17468"/>
                    </a:lnTo>
                    <a:lnTo>
                      <a:pt x="13707" y="16881"/>
                    </a:lnTo>
                    <a:lnTo>
                      <a:pt x="13276" y="17101"/>
                    </a:lnTo>
                    <a:lnTo>
                      <a:pt x="12816" y="17468"/>
                    </a:lnTo>
                    <a:lnTo>
                      <a:pt x="12385" y="17651"/>
                    </a:lnTo>
                    <a:lnTo>
                      <a:pt x="11638" y="18055"/>
                    </a:lnTo>
                    <a:lnTo>
                      <a:pt x="10115" y="17101"/>
                    </a:lnTo>
                    <a:lnTo>
                      <a:pt x="8649" y="17468"/>
                    </a:lnTo>
                    <a:lnTo>
                      <a:pt x="8218" y="16881"/>
                    </a:lnTo>
                    <a:lnTo>
                      <a:pt x="7471" y="16514"/>
                    </a:lnTo>
                    <a:lnTo>
                      <a:pt x="6724" y="16147"/>
                    </a:lnTo>
                    <a:lnTo>
                      <a:pt x="6724" y="16514"/>
                    </a:lnTo>
                    <a:lnTo>
                      <a:pt x="5833" y="16514"/>
                    </a:lnTo>
                    <a:lnTo>
                      <a:pt x="5374" y="16881"/>
                    </a:lnTo>
                    <a:lnTo>
                      <a:pt x="5057" y="17651"/>
                    </a:lnTo>
                    <a:lnTo>
                      <a:pt x="4339" y="18459"/>
                    </a:lnTo>
                    <a:lnTo>
                      <a:pt x="4339" y="19963"/>
                    </a:lnTo>
                    <a:lnTo>
                      <a:pt x="3879" y="19376"/>
                    </a:lnTo>
                    <a:lnTo>
                      <a:pt x="3420" y="18606"/>
                    </a:lnTo>
                    <a:lnTo>
                      <a:pt x="3132" y="18606"/>
                    </a:lnTo>
                    <a:lnTo>
                      <a:pt x="2845" y="19376"/>
                    </a:lnTo>
                    <a:lnTo>
                      <a:pt x="2414" y="18606"/>
                    </a:lnTo>
                    <a:lnTo>
                      <a:pt x="2701" y="18459"/>
                    </a:lnTo>
                    <a:lnTo>
                      <a:pt x="2414" y="18055"/>
                    </a:lnTo>
                    <a:lnTo>
                      <a:pt x="1954" y="18055"/>
                    </a:lnTo>
                    <a:lnTo>
                      <a:pt x="1063" y="17468"/>
                    </a:lnTo>
                    <a:lnTo>
                      <a:pt x="1063" y="17101"/>
                    </a:lnTo>
                    <a:lnTo>
                      <a:pt x="1494" y="17101"/>
                    </a:lnTo>
                    <a:lnTo>
                      <a:pt x="1494" y="16881"/>
                    </a:lnTo>
                    <a:lnTo>
                      <a:pt x="1063" y="16881"/>
                    </a:lnTo>
                    <a:lnTo>
                      <a:pt x="460" y="16147"/>
                    </a:lnTo>
                    <a:lnTo>
                      <a:pt x="316" y="15596"/>
                    </a:lnTo>
                    <a:lnTo>
                      <a:pt x="0" y="15009"/>
                    </a:lnTo>
                    <a:lnTo>
                      <a:pt x="0" y="14422"/>
                    </a:lnTo>
                    <a:lnTo>
                      <a:pt x="1207" y="14055"/>
                    </a:lnTo>
                    <a:lnTo>
                      <a:pt x="1494" y="13651"/>
                    </a:lnTo>
                    <a:lnTo>
                      <a:pt x="3879" y="13505"/>
                    </a:lnTo>
                    <a:lnTo>
                      <a:pt x="4339" y="13651"/>
                    </a:lnTo>
                    <a:lnTo>
                      <a:pt x="4770" y="12550"/>
                    </a:lnTo>
                    <a:lnTo>
                      <a:pt x="5057" y="11009"/>
                    </a:lnTo>
                    <a:lnTo>
                      <a:pt x="5374" y="10642"/>
                    </a:lnTo>
                    <a:lnTo>
                      <a:pt x="5374" y="7413"/>
                    </a:lnTo>
                    <a:lnTo>
                      <a:pt x="7471" y="6459"/>
                    </a:lnTo>
                    <a:lnTo>
                      <a:pt x="9397" y="4183"/>
                    </a:lnTo>
                    <a:lnTo>
                      <a:pt x="13994" y="954"/>
                    </a:lnTo>
                    <a:lnTo>
                      <a:pt x="1520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8" name="Freeform 111"/>
              <p:cNvSpPr>
                <a:spLocks/>
              </p:cNvSpPr>
              <p:nvPr/>
            </p:nvSpPr>
            <p:spPr bwMode="auto">
              <a:xfrm>
                <a:off x="5068887" y="4052889"/>
                <a:ext cx="336554" cy="276228"/>
              </a:xfrm>
              <a:custGeom>
                <a:avLst/>
                <a:gdLst>
                  <a:gd name="T0" fmla="*/ 18601 w 20000"/>
                  <a:gd name="T1" fmla="*/ 1193 h 20000"/>
                  <a:gd name="T2" fmla="*/ 18979 w 20000"/>
                  <a:gd name="T3" fmla="*/ 3073 h 20000"/>
                  <a:gd name="T4" fmla="*/ 19962 w 20000"/>
                  <a:gd name="T5" fmla="*/ 4771 h 20000"/>
                  <a:gd name="T6" fmla="*/ 18601 w 20000"/>
                  <a:gd name="T7" fmla="*/ 5459 h 20000"/>
                  <a:gd name="T8" fmla="*/ 18034 w 20000"/>
                  <a:gd name="T9" fmla="*/ 7385 h 20000"/>
                  <a:gd name="T10" fmla="*/ 17618 w 20000"/>
                  <a:gd name="T11" fmla="*/ 8991 h 20000"/>
                  <a:gd name="T12" fmla="*/ 16635 w 20000"/>
                  <a:gd name="T13" fmla="*/ 10413 h 20000"/>
                  <a:gd name="T14" fmla="*/ 15085 w 20000"/>
                  <a:gd name="T15" fmla="*/ 13486 h 20000"/>
                  <a:gd name="T16" fmla="*/ 15085 w 20000"/>
                  <a:gd name="T17" fmla="*/ 14220 h 20000"/>
                  <a:gd name="T18" fmla="*/ 13913 w 20000"/>
                  <a:gd name="T19" fmla="*/ 14954 h 20000"/>
                  <a:gd name="T20" fmla="*/ 13308 w 20000"/>
                  <a:gd name="T21" fmla="*/ 14037 h 20000"/>
                  <a:gd name="T22" fmla="*/ 12325 w 20000"/>
                  <a:gd name="T23" fmla="*/ 14220 h 20000"/>
                  <a:gd name="T24" fmla="*/ 10397 w 20000"/>
                  <a:gd name="T25" fmla="*/ 16101 h 20000"/>
                  <a:gd name="T26" fmla="*/ 9376 w 20000"/>
                  <a:gd name="T27" fmla="*/ 19220 h 20000"/>
                  <a:gd name="T28" fmla="*/ 9225 w 20000"/>
                  <a:gd name="T29" fmla="*/ 19220 h 20000"/>
                  <a:gd name="T30" fmla="*/ 6881 w 20000"/>
                  <a:gd name="T31" fmla="*/ 19220 h 20000"/>
                  <a:gd name="T32" fmla="*/ 5671 w 20000"/>
                  <a:gd name="T33" fmla="*/ 19954 h 20000"/>
                  <a:gd name="T34" fmla="*/ 4121 w 20000"/>
                  <a:gd name="T35" fmla="*/ 18073 h 20000"/>
                  <a:gd name="T36" fmla="*/ 4348 w 20000"/>
                  <a:gd name="T37" fmla="*/ 17339 h 20000"/>
                  <a:gd name="T38" fmla="*/ 3554 w 20000"/>
                  <a:gd name="T39" fmla="*/ 16101 h 20000"/>
                  <a:gd name="T40" fmla="*/ 227 w 20000"/>
                  <a:gd name="T41" fmla="*/ 15459 h 20000"/>
                  <a:gd name="T42" fmla="*/ 0 w 20000"/>
                  <a:gd name="T43" fmla="*/ 11147 h 20000"/>
                  <a:gd name="T44" fmla="*/ 605 w 20000"/>
                  <a:gd name="T45" fmla="*/ 9725 h 20000"/>
                  <a:gd name="T46" fmla="*/ 1172 w 20000"/>
                  <a:gd name="T47" fmla="*/ 8073 h 20000"/>
                  <a:gd name="T48" fmla="*/ 1550 w 20000"/>
                  <a:gd name="T49" fmla="*/ 6651 h 20000"/>
                  <a:gd name="T50" fmla="*/ 1172 w 20000"/>
                  <a:gd name="T51" fmla="*/ 4771 h 20000"/>
                  <a:gd name="T52" fmla="*/ 2155 w 20000"/>
                  <a:gd name="T53" fmla="*/ 1881 h 20000"/>
                  <a:gd name="T54" fmla="*/ 3176 w 20000"/>
                  <a:gd name="T55" fmla="*/ 459 h 20000"/>
                  <a:gd name="T56" fmla="*/ 4348 w 20000"/>
                  <a:gd name="T57" fmla="*/ 0 h 20000"/>
                  <a:gd name="T58" fmla="*/ 6276 w 20000"/>
                  <a:gd name="T59" fmla="*/ 917 h 20000"/>
                  <a:gd name="T60" fmla="*/ 8809 w 20000"/>
                  <a:gd name="T61" fmla="*/ 1193 h 20000"/>
                  <a:gd name="T62" fmla="*/ 11758 w 20000"/>
                  <a:gd name="T63" fmla="*/ 1881 h 20000"/>
                  <a:gd name="T64" fmla="*/ 12930 w 20000"/>
                  <a:gd name="T65" fmla="*/ 1193 h 20000"/>
                  <a:gd name="T66" fmla="*/ 16446 w 20000"/>
                  <a:gd name="T67" fmla="*/ 1651 h 20000"/>
                  <a:gd name="T68" fmla="*/ 17618 w 20000"/>
                  <a:gd name="T69" fmla="*/ 9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8034" y="0"/>
                    </a:moveTo>
                    <a:lnTo>
                      <a:pt x="18601" y="1193"/>
                    </a:lnTo>
                    <a:lnTo>
                      <a:pt x="18979" y="1651"/>
                    </a:lnTo>
                    <a:lnTo>
                      <a:pt x="18979" y="3073"/>
                    </a:lnTo>
                    <a:lnTo>
                      <a:pt x="19584" y="3532"/>
                    </a:lnTo>
                    <a:lnTo>
                      <a:pt x="19962" y="4771"/>
                    </a:lnTo>
                    <a:lnTo>
                      <a:pt x="19206" y="5917"/>
                    </a:lnTo>
                    <a:lnTo>
                      <a:pt x="18601" y="5459"/>
                    </a:lnTo>
                    <a:lnTo>
                      <a:pt x="18034" y="6651"/>
                    </a:lnTo>
                    <a:lnTo>
                      <a:pt x="18034" y="7385"/>
                    </a:lnTo>
                    <a:lnTo>
                      <a:pt x="17429" y="8073"/>
                    </a:lnTo>
                    <a:lnTo>
                      <a:pt x="17618" y="8991"/>
                    </a:lnTo>
                    <a:lnTo>
                      <a:pt x="16635" y="9266"/>
                    </a:lnTo>
                    <a:lnTo>
                      <a:pt x="16635" y="10413"/>
                    </a:lnTo>
                    <a:lnTo>
                      <a:pt x="16030" y="11147"/>
                    </a:lnTo>
                    <a:lnTo>
                      <a:pt x="15085" y="13486"/>
                    </a:lnTo>
                    <a:lnTo>
                      <a:pt x="15463" y="14220"/>
                    </a:lnTo>
                    <a:lnTo>
                      <a:pt x="15085" y="14220"/>
                    </a:lnTo>
                    <a:lnTo>
                      <a:pt x="14480" y="14954"/>
                    </a:lnTo>
                    <a:lnTo>
                      <a:pt x="13913" y="14954"/>
                    </a:lnTo>
                    <a:lnTo>
                      <a:pt x="13913" y="14725"/>
                    </a:lnTo>
                    <a:lnTo>
                      <a:pt x="13308" y="14037"/>
                    </a:lnTo>
                    <a:lnTo>
                      <a:pt x="12930" y="14220"/>
                    </a:lnTo>
                    <a:lnTo>
                      <a:pt x="12325" y="14220"/>
                    </a:lnTo>
                    <a:lnTo>
                      <a:pt x="11380" y="14954"/>
                    </a:lnTo>
                    <a:lnTo>
                      <a:pt x="10397" y="16101"/>
                    </a:lnTo>
                    <a:lnTo>
                      <a:pt x="9981" y="17798"/>
                    </a:lnTo>
                    <a:lnTo>
                      <a:pt x="9376" y="19220"/>
                    </a:lnTo>
                    <a:lnTo>
                      <a:pt x="9225" y="18991"/>
                    </a:lnTo>
                    <a:lnTo>
                      <a:pt x="9225" y="19220"/>
                    </a:lnTo>
                    <a:lnTo>
                      <a:pt x="7826" y="19679"/>
                    </a:lnTo>
                    <a:lnTo>
                      <a:pt x="6881" y="19220"/>
                    </a:lnTo>
                    <a:lnTo>
                      <a:pt x="6881" y="19679"/>
                    </a:lnTo>
                    <a:lnTo>
                      <a:pt x="5671" y="19954"/>
                    </a:lnTo>
                    <a:lnTo>
                      <a:pt x="5104" y="19679"/>
                    </a:lnTo>
                    <a:lnTo>
                      <a:pt x="4121" y="18073"/>
                    </a:lnTo>
                    <a:lnTo>
                      <a:pt x="4348" y="17798"/>
                    </a:lnTo>
                    <a:lnTo>
                      <a:pt x="4348" y="17339"/>
                    </a:lnTo>
                    <a:lnTo>
                      <a:pt x="3743" y="17339"/>
                    </a:lnTo>
                    <a:lnTo>
                      <a:pt x="3554" y="16101"/>
                    </a:lnTo>
                    <a:lnTo>
                      <a:pt x="2155" y="15459"/>
                    </a:lnTo>
                    <a:lnTo>
                      <a:pt x="227" y="15459"/>
                    </a:lnTo>
                    <a:lnTo>
                      <a:pt x="0" y="13486"/>
                    </a:lnTo>
                    <a:lnTo>
                      <a:pt x="0" y="11147"/>
                    </a:lnTo>
                    <a:lnTo>
                      <a:pt x="0" y="9954"/>
                    </a:lnTo>
                    <a:lnTo>
                      <a:pt x="605" y="9725"/>
                    </a:lnTo>
                    <a:lnTo>
                      <a:pt x="1021" y="8532"/>
                    </a:lnTo>
                    <a:lnTo>
                      <a:pt x="1172" y="8073"/>
                    </a:lnTo>
                    <a:lnTo>
                      <a:pt x="1172" y="7385"/>
                    </a:lnTo>
                    <a:lnTo>
                      <a:pt x="1550" y="6651"/>
                    </a:lnTo>
                    <a:lnTo>
                      <a:pt x="1172" y="4954"/>
                    </a:lnTo>
                    <a:lnTo>
                      <a:pt x="1172" y="4771"/>
                    </a:lnTo>
                    <a:lnTo>
                      <a:pt x="1172" y="2844"/>
                    </a:lnTo>
                    <a:lnTo>
                      <a:pt x="2155" y="1881"/>
                    </a:lnTo>
                    <a:lnTo>
                      <a:pt x="2571" y="917"/>
                    </a:lnTo>
                    <a:lnTo>
                      <a:pt x="3176" y="459"/>
                    </a:lnTo>
                    <a:lnTo>
                      <a:pt x="4348" y="459"/>
                    </a:lnTo>
                    <a:lnTo>
                      <a:pt x="4348" y="0"/>
                    </a:lnTo>
                    <a:lnTo>
                      <a:pt x="5293" y="459"/>
                    </a:lnTo>
                    <a:lnTo>
                      <a:pt x="6276" y="917"/>
                    </a:lnTo>
                    <a:lnTo>
                      <a:pt x="6881" y="1651"/>
                    </a:lnTo>
                    <a:lnTo>
                      <a:pt x="8809" y="1193"/>
                    </a:lnTo>
                    <a:lnTo>
                      <a:pt x="10775" y="2339"/>
                    </a:lnTo>
                    <a:lnTo>
                      <a:pt x="11758" y="1881"/>
                    </a:lnTo>
                    <a:lnTo>
                      <a:pt x="12325" y="1651"/>
                    </a:lnTo>
                    <a:lnTo>
                      <a:pt x="12930" y="1193"/>
                    </a:lnTo>
                    <a:lnTo>
                      <a:pt x="13497" y="917"/>
                    </a:lnTo>
                    <a:lnTo>
                      <a:pt x="16446" y="1651"/>
                    </a:lnTo>
                    <a:lnTo>
                      <a:pt x="17051" y="1193"/>
                    </a:lnTo>
                    <a:lnTo>
                      <a:pt x="17618" y="917"/>
                    </a:lnTo>
                    <a:lnTo>
                      <a:pt x="18034"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29" name="Freeform 110"/>
              <p:cNvSpPr>
                <a:spLocks/>
              </p:cNvSpPr>
              <p:nvPr/>
            </p:nvSpPr>
            <p:spPr bwMode="auto">
              <a:xfrm>
                <a:off x="5805488" y="4483100"/>
                <a:ext cx="57150" cy="50800"/>
              </a:xfrm>
              <a:custGeom>
                <a:avLst/>
                <a:gdLst>
                  <a:gd name="T0" fmla="*/ 8090 w 20000"/>
                  <a:gd name="T1" fmla="*/ 2532 h 20000"/>
                  <a:gd name="T2" fmla="*/ 11461 w 20000"/>
                  <a:gd name="T3" fmla="*/ 2532 h 20000"/>
                  <a:gd name="T4" fmla="*/ 11461 w 20000"/>
                  <a:gd name="T5" fmla="*/ 4051 h 20000"/>
                  <a:gd name="T6" fmla="*/ 17528 w 20000"/>
                  <a:gd name="T7" fmla="*/ 0 h 20000"/>
                  <a:gd name="T8" fmla="*/ 19775 w 20000"/>
                  <a:gd name="T9" fmla="*/ 6582 h 20000"/>
                  <a:gd name="T10" fmla="*/ 19775 w 20000"/>
                  <a:gd name="T11" fmla="*/ 12911 h 20000"/>
                  <a:gd name="T12" fmla="*/ 19775 w 20000"/>
                  <a:gd name="T13" fmla="*/ 15696 h 20000"/>
                  <a:gd name="T14" fmla="*/ 17528 w 20000"/>
                  <a:gd name="T15" fmla="*/ 16962 h 20000"/>
                  <a:gd name="T16" fmla="*/ 15056 w 20000"/>
                  <a:gd name="T17" fmla="*/ 12911 h 20000"/>
                  <a:gd name="T18" fmla="*/ 11461 w 20000"/>
                  <a:gd name="T19" fmla="*/ 15696 h 20000"/>
                  <a:gd name="T20" fmla="*/ 9213 w 20000"/>
                  <a:gd name="T21" fmla="*/ 16962 h 20000"/>
                  <a:gd name="T22" fmla="*/ 5843 w 20000"/>
                  <a:gd name="T23" fmla="*/ 19747 h 20000"/>
                  <a:gd name="T24" fmla="*/ 5843 w 20000"/>
                  <a:gd name="T25" fmla="*/ 15696 h 20000"/>
                  <a:gd name="T26" fmla="*/ 0 w 20000"/>
                  <a:gd name="T27" fmla="*/ 16962 h 20000"/>
                  <a:gd name="T28" fmla="*/ 0 w 20000"/>
                  <a:gd name="T29" fmla="*/ 15696 h 20000"/>
                  <a:gd name="T30" fmla="*/ 2247 w 20000"/>
                  <a:gd name="T31" fmla="*/ 12911 h 20000"/>
                  <a:gd name="T32" fmla="*/ 4719 w 20000"/>
                  <a:gd name="T33" fmla="*/ 6582 h 20000"/>
                  <a:gd name="T34" fmla="*/ 8090 w 20000"/>
                  <a:gd name="T35" fmla="*/ 4051 h 20000"/>
                  <a:gd name="T36" fmla="*/ 8090 w 20000"/>
                  <a:gd name="T37" fmla="*/ 25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8090" y="2532"/>
                    </a:moveTo>
                    <a:lnTo>
                      <a:pt x="11461" y="2532"/>
                    </a:lnTo>
                    <a:lnTo>
                      <a:pt x="11461" y="4051"/>
                    </a:lnTo>
                    <a:lnTo>
                      <a:pt x="17528" y="0"/>
                    </a:lnTo>
                    <a:lnTo>
                      <a:pt x="19775" y="6582"/>
                    </a:lnTo>
                    <a:lnTo>
                      <a:pt x="19775" y="12911"/>
                    </a:lnTo>
                    <a:lnTo>
                      <a:pt x="19775" y="15696"/>
                    </a:lnTo>
                    <a:lnTo>
                      <a:pt x="17528" y="16962"/>
                    </a:lnTo>
                    <a:lnTo>
                      <a:pt x="15056" y="12911"/>
                    </a:lnTo>
                    <a:lnTo>
                      <a:pt x="11461" y="15696"/>
                    </a:lnTo>
                    <a:lnTo>
                      <a:pt x="9213" y="16962"/>
                    </a:lnTo>
                    <a:lnTo>
                      <a:pt x="5843" y="19747"/>
                    </a:lnTo>
                    <a:lnTo>
                      <a:pt x="5843" y="15696"/>
                    </a:lnTo>
                    <a:lnTo>
                      <a:pt x="0" y="16962"/>
                    </a:lnTo>
                    <a:lnTo>
                      <a:pt x="0" y="15696"/>
                    </a:lnTo>
                    <a:lnTo>
                      <a:pt x="2247" y="12911"/>
                    </a:lnTo>
                    <a:lnTo>
                      <a:pt x="4719" y="6582"/>
                    </a:lnTo>
                    <a:lnTo>
                      <a:pt x="8090" y="4051"/>
                    </a:lnTo>
                    <a:lnTo>
                      <a:pt x="8090" y="253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0" name="Freeform 109"/>
              <p:cNvSpPr>
                <a:spLocks/>
              </p:cNvSpPr>
              <p:nvPr/>
            </p:nvSpPr>
            <p:spPr bwMode="auto">
              <a:xfrm>
                <a:off x="5603875" y="4687888"/>
                <a:ext cx="334963" cy="285750"/>
              </a:xfrm>
              <a:custGeom>
                <a:avLst/>
                <a:gdLst>
                  <a:gd name="T0" fmla="*/ 15871 w 20000"/>
                  <a:gd name="T1" fmla="*/ 1153 h 20000"/>
                  <a:gd name="T2" fmla="*/ 16818 w 20000"/>
                  <a:gd name="T3" fmla="*/ 1375 h 20000"/>
                  <a:gd name="T4" fmla="*/ 18030 w 20000"/>
                  <a:gd name="T5" fmla="*/ 1818 h 20000"/>
                  <a:gd name="T6" fmla="*/ 18598 w 20000"/>
                  <a:gd name="T7" fmla="*/ 2084 h 20000"/>
                  <a:gd name="T8" fmla="*/ 19583 w 20000"/>
                  <a:gd name="T9" fmla="*/ 3636 h 20000"/>
                  <a:gd name="T10" fmla="*/ 19962 w 20000"/>
                  <a:gd name="T11" fmla="*/ 4789 h 20000"/>
                  <a:gd name="T12" fmla="*/ 19394 w 20000"/>
                  <a:gd name="T13" fmla="*/ 5942 h 20000"/>
                  <a:gd name="T14" fmla="*/ 18977 w 20000"/>
                  <a:gd name="T15" fmla="*/ 7805 h 20000"/>
                  <a:gd name="T16" fmla="*/ 19394 w 20000"/>
                  <a:gd name="T17" fmla="*/ 8692 h 20000"/>
                  <a:gd name="T18" fmla="*/ 18598 w 20000"/>
                  <a:gd name="T19" fmla="*/ 9845 h 20000"/>
                  <a:gd name="T20" fmla="*/ 18598 w 20000"/>
                  <a:gd name="T21" fmla="*/ 11663 h 20000"/>
                  <a:gd name="T22" fmla="*/ 13864 w 20000"/>
                  <a:gd name="T23" fmla="*/ 14412 h 20000"/>
                  <a:gd name="T24" fmla="*/ 13485 w 20000"/>
                  <a:gd name="T25" fmla="*/ 15122 h 20000"/>
                  <a:gd name="T26" fmla="*/ 11364 w 20000"/>
                  <a:gd name="T27" fmla="*/ 15565 h 20000"/>
                  <a:gd name="T28" fmla="*/ 10379 w 20000"/>
                  <a:gd name="T29" fmla="*/ 16940 h 20000"/>
                  <a:gd name="T30" fmla="*/ 8598 w 20000"/>
                  <a:gd name="T31" fmla="*/ 19468 h 20000"/>
                  <a:gd name="T32" fmla="*/ 7652 w 20000"/>
                  <a:gd name="T33" fmla="*/ 19468 h 20000"/>
                  <a:gd name="T34" fmla="*/ 5265 w 20000"/>
                  <a:gd name="T35" fmla="*/ 19246 h 20000"/>
                  <a:gd name="T36" fmla="*/ 3712 w 20000"/>
                  <a:gd name="T37" fmla="*/ 18315 h 20000"/>
                  <a:gd name="T38" fmla="*/ 2159 w 20000"/>
                  <a:gd name="T39" fmla="*/ 18758 h 20000"/>
                  <a:gd name="T40" fmla="*/ 0 w 20000"/>
                  <a:gd name="T41" fmla="*/ 15787 h 20000"/>
                  <a:gd name="T42" fmla="*/ 3485 w 20000"/>
                  <a:gd name="T43" fmla="*/ 9623 h 20000"/>
                  <a:gd name="T44" fmla="*/ 3485 w 20000"/>
                  <a:gd name="T45" fmla="*/ 8692 h 20000"/>
                  <a:gd name="T46" fmla="*/ 3485 w 20000"/>
                  <a:gd name="T47" fmla="*/ 5055 h 20000"/>
                  <a:gd name="T48" fmla="*/ 4470 w 20000"/>
                  <a:gd name="T49" fmla="*/ 6608 h 20000"/>
                  <a:gd name="T50" fmla="*/ 6061 w 20000"/>
                  <a:gd name="T51" fmla="*/ 6608 h 20000"/>
                  <a:gd name="T52" fmla="*/ 7803 w 20000"/>
                  <a:gd name="T53" fmla="*/ 7317 h 20000"/>
                  <a:gd name="T54" fmla="*/ 8598 w 20000"/>
                  <a:gd name="T55" fmla="*/ 6608 h 20000"/>
                  <a:gd name="T56" fmla="*/ 9773 w 20000"/>
                  <a:gd name="T57" fmla="*/ 7982 h 20000"/>
                  <a:gd name="T58" fmla="*/ 11742 w 20000"/>
                  <a:gd name="T59" fmla="*/ 9623 h 20000"/>
                  <a:gd name="T60" fmla="*/ 12917 w 20000"/>
                  <a:gd name="T61" fmla="*/ 9845 h 20000"/>
                  <a:gd name="T62" fmla="*/ 13295 w 20000"/>
                  <a:gd name="T63" fmla="*/ 7982 h 20000"/>
                  <a:gd name="T64" fmla="*/ 12727 w 20000"/>
                  <a:gd name="T65" fmla="*/ 8514 h 20000"/>
                  <a:gd name="T66" fmla="*/ 11136 w 20000"/>
                  <a:gd name="T67" fmla="*/ 7317 h 20000"/>
                  <a:gd name="T68" fmla="*/ 11136 w 20000"/>
                  <a:gd name="T69" fmla="*/ 5942 h 20000"/>
                  <a:gd name="T70" fmla="*/ 11364 w 20000"/>
                  <a:gd name="T71" fmla="*/ 4346 h 20000"/>
                  <a:gd name="T72" fmla="*/ 11136 w 20000"/>
                  <a:gd name="T73" fmla="*/ 2528 h 20000"/>
                  <a:gd name="T74" fmla="*/ 11932 w 20000"/>
                  <a:gd name="T75" fmla="*/ 710 h 20000"/>
                  <a:gd name="T76" fmla="*/ 15265 w 20000"/>
                  <a:gd name="T7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15265" y="0"/>
                    </a:moveTo>
                    <a:lnTo>
                      <a:pt x="15871" y="1153"/>
                    </a:lnTo>
                    <a:lnTo>
                      <a:pt x="16439" y="1153"/>
                    </a:lnTo>
                    <a:lnTo>
                      <a:pt x="16818" y="1375"/>
                    </a:lnTo>
                    <a:lnTo>
                      <a:pt x="17424" y="1818"/>
                    </a:lnTo>
                    <a:lnTo>
                      <a:pt x="18030" y="1818"/>
                    </a:lnTo>
                    <a:lnTo>
                      <a:pt x="18409" y="2084"/>
                    </a:lnTo>
                    <a:lnTo>
                      <a:pt x="18598" y="2084"/>
                    </a:lnTo>
                    <a:lnTo>
                      <a:pt x="18977" y="2971"/>
                    </a:lnTo>
                    <a:lnTo>
                      <a:pt x="19583" y="3636"/>
                    </a:lnTo>
                    <a:lnTo>
                      <a:pt x="19962" y="4346"/>
                    </a:lnTo>
                    <a:lnTo>
                      <a:pt x="19962" y="4789"/>
                    </a:lnTo>
                    <a:lnTo>
                      <a:pt x="19394" y="5055"/>
                    </a:lnTo>
                    <a:lnTo>
                      <a:pt x="19394" y="5942"/>
                    </a:lnTo>
                    <a:lnTo>
                      <a:pt x="19394" y="7317"/>
                    </a:lnTo>
                    <a:lnTo>
                      <a:pt x="18977" y="7805"/>
                    </a:lnTo>
                    <a:lnTo>
                      <a:pt x="19583" y="8514"/>
                    </a:lnTo>
                    <a:lnTo>
                      <a:pt x="19394" y="8692"/>
                    </a:lnTo>
                    <a:lnTo>
                      <a:pt x="18598" y="8692"/>
                    </a:lnTo>
                    <a:lnTo>
                      <a:pt x="18598" y="9845"/>
                    </a:lnTo>
                    <a:lnTo>
                      <a:pt x="18409" y="10776"/>
                    </a:lnTo>
                    <a:lnTo>
                      <a:pt x="18598" y="11663"/>
                    </a:lnTo>
                    <a:lnTo>
                      <a:pt x="13485" y="13525"/>
                    </a:lnTo>
                    <a:lnTo>
                      <a:pt x="13864" y="14412"/>
                    </a:lnTo>
                    <a:lnTo>
                      <a:pt x="13864" y="15122"/>
                    </a:lnTo>
                    <a:lnTo>
                      <a:pt x="13485" y="15122"/>
                    </a:lnTo>
                    <a:lnTo>
                      <a:pt x="12727" y="15122"/>
                    </a:lnTo>
                    <a:lnTo>
                      <a:pt x="11364" y="15565"/>
                    </a:lnTo>
                    <a:lnTo>
                      <a:pt x="11364" y="16497"/>
                    </a:lnTo>
                    <a:lnTo>
                      <a:pt x="10379" y="16940"/>
                    </a:lnTo>
                    <a:lnTo>
                      <a:pt x="9394" y="17650"/>
                    </a:lnTo>
                    <a:lnTo>
                      <a:pt x="8598" y="19468"/>
                    </a:lnTo>
                    <a:lnTo>
                      <a:pt x="7803" y="19956"/>
                    </a:lnTo>
                    <a:lnTo>
                      <a:pt x="7652" y="19468"/>
                    </a:lnTo>
                    <a:lnTo>
                      <a:pt x="6061" y="19468"/>
                    </a:lnTo>
                    <a:lnTo>
                      <a:pt x="5265" y="19246"/>
                    </a:lnTo>
                    <a:lnTo>
                      <a:pt x="4697" y="18758"/>
                    </a:lnTo>
                    <a:lnTo>
                      <a:pt x="3712" y="18315"/>
                    </a:lnTo>
                    <a:lnTo>
                      <a:pt x="3485" y="18315"/>
                    </a:lnTo>
                    <a:lnTo>
                      <a:pt x="2159" y="18758"/>
                    </a:lnTo>
                    <a:lnTo>
                      <a:pt x="1553" y="17428"/>
                    </a:lnTo>
                    <a:lnTo>
                      <a:pt x="0" y="15787"/>
                    </a:lnTo>
                    <a:lnTo>
                      <a:pt x="379" y="9623"/>
                    </a:lnTo>
                    <a:lnTo>
                      <a:pt x="3485" y="9623"/>
                    </a:lnTo>
                    <a:lnTo>
                      <a:pt x="3485" y="9135"/>
                    </a:lnTo>
                    <a:lnTo>
                      <a:pt x="3485" y="8692"/>
                    </a:lnTo>
                    <a:lnTo>
                      <a:pt x="3485" y="7317"/>
                    </a:lnTo>
                    <a:lnTo>
                      <a:pt x="3485" y="5055"/>
                    </a:lnTo>
                    <a:lnTo>
                      <a:pt x="4091" y="5499"/>
                    </a:lnTo>
                    <a:lnTo>
                      <a:pt x="4470" y="6608"/>
                    </a:lnTo>
                    <a:lnTo>
                      <a:pt x="5644" y="5499"/>
                    </a:lnTo>
                    <a:lnTo>
                      <a:pt x="6061" y="6608"/>
                    </a:lnTo>
                    <a:lnTo>
                      <a:pt x="7197" y="7317"/>
                    </a:lnTo>
                    <a:lnTo>
                      <a:pt x="7803" y="7317"/>
                    </a:lnTo>
                    <a:lnTo>
                      <a:pt x="8598" y="7317"/>
                    </a:lnTo>
                    <a:lnTo>
                      <a:pt x="8598" y="6608"/>
                    </a:lnTo>
                    <a:lnTo>
                      <a:pt x="8826" y="6608"/>
                    </a:lnTo>
                    <a:lnTo>
                      <a:pt x="9773" y="7982"/>
                    </a:lnTo>
                    <a:lnTo>
                      <a:pt x="10758" y="7982"/>
                    </a:lnTo>
                    <a:lnTo>
                      <a:pt x="11742" y="9623"/>
                    </a:lnTo>
                    <a:lnTo>
                      <a:pt x="11932" y="10333"/>
                    </a:lnTo>
                    <a:lnTo>
                      <a:pt x="12917" y="9845"/>
                    </a:lnTo>
                    <a:lnTo>
                      <a:pt x="12917" y="10333"/>
                    </a:lnTo>
                    <a:lnTo>
                      <a:pt x="13295" y="7982"/>
                    </a:lnTo>
                    <a:lnTo>
                      <a:pt x="12727" y="7982"/>
                    </a:lnTo>
                    <a:lnTo>
                      <a:pt x="12727" y="8514"/>
                    </a:lnTo>
                    <a:lnTo>
                      <a:pt x="11932" y="7982"/>
                    </a:lnTo>
                    <a:lnTo>
                      <a:pt x="11136" y="7317"/>
                    </a:lnTo>
                    <a:lnTo>
                      <a:pt x="10758" y="6874"/>
                    </a:lnTo>
                    <a:lnTo>
                      <a:pt x="11136" y="5942"/>
                    </a:lnTo>
                    <a:lnTo>
                      <a:pt x="11136" y="5055"/>
                    </a:lnTo>
                    <a:lnTo>
                      <a:pt x="11364" y="4346"/>
                    </a:lnTo>
                    <a:lnTo>
                      <a:pt x="11364" y="2971"/>
                    </a:lnTo>
                    <a:lnTo>
                      <a:pt x="11136" y="2528"/>
                    </a:lnTo>
                    <a:lnTo>
                      <a:pt x="11742" y="1818"/>
                    </a:lnTo>
                    <a:lnTo>
                      <a:pt x="11932" y="710"/>
                    </a:lnTo>
                    <a:lnTo>
                      <a:pt x="11932" y="177"/>
                    </a:lnTo>
                    <a:lnTo>
                      <a:pt x="1526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1" name="Freeform 108"/>
              <p:cNvSpPr>
                <a:spLocks/>
              </p:cNvSpPr>
              <p:nvPr/>
            </p:nvSpPr>
            <p:spPr bwMode="auto">
              <a:xfrm>
                <a:off x="4498975" y="3971925"/>
                <a:ext cx="171450" cy="125413"/>
              </a:xfrm>
              <a:custGeom>
                <a:avLst/>
                <a:gdLst>
                  <a:gd name="T0" fmla="*/ 2222 w 20000"/>
                  <a:gd name="T1" fmla="*/ 2030 h 20000"/>
                  <a:gd name="T2" fmla="*/ 3778 w 20000"/>
                  <a:gd name="T3" fmla="*/ 406 h 20000"/>
                  <a:gd name="T4" fmla="*/ 6148 w 20000"/>
                  <a:gd name="T5" fmla="*/ 406 h 20000"/>
                  <a:gd name="T6" fmla="*/ 9185 w 20000"/>
                  <a:gd name="T7" fmla="*/ 0 h 20000"/>
                  <a:gd name="T8" fmla="*/ 10296 w 20000"/>
                  <a:gd name="T9" fmla="*/ 406 h 20000"/>
                  <a:gd name="T10" fmla="*/ 11926 w 20000"/>
                  <a:gd name="T11" fmla="*/ 3147 h 20000"/>
                  <a:gd name="T12" fmla="*/ 13037 w 20000"/>
                  <a:gd name="T13" fmla="*/ 3147 h 20000"/>
                  <a:gd name="T14" fmla="*/ 13407 w 20000"/>
                  <a:gd name="T15" fmla="*/ 5787 h 20000"/>
                  <a:gd name="T16" fmla="*/ 14148 w 20000"/>
                  <a:gd name="T17" fmla="*/ 5787 h 20000"/>
                  <a:gd name="T18" fmla="*/ 14963 w 20000"/>
                  <a:gd name="T19" fmla="*/ 7310 h 20000"/>
                  <a:gd name="T20" fmla="*/ 15259 w 20000"/>
                  <a:gd name="T21" fmla="*/ 8325 h 20000"/>
                  <a:gd name="T22" fmla="*/ 17259 w 20000"/>
                  <a:gd name="T23" fmla="*/ 8934 h 20000"/>
                  <a:gd name="T24" fmla="*/ 17259 w 20000"/>
                  <a:gd name="T25" fmla="*/ 10964 h 20000"/>
                  <a:gd name="T26" fmla="*/ 18000 w 20000"/>
                  <a:gd name="T27" fmla="*/ 11574 h 20000"/>
                  <a:gd name="T28" fmla="*/ 17259 w 20000"/>
                  <a:gd name="T29" fmla="*/ 14112 h 20000"/>
                  <a:gd name="T30" fmla="*/ 18000 w 20000"/>
                  <a:gd name="T31" fmla="*/ 15736 h 20000"/>
                  <a:gd name="T32" fmla="*/ 18444 w 20000"/>
                  <a:gd name="T33" fmla="*/ 15736 h 20000"/>
                  <a:gd name="T34" fmla="*/ 19926 w 20000"/>
                  <a:gd name="T35" fmla="*/ 17259 h 20000"/>
                  <a:gd name="T36" fmla="*/ 19926 w 20000"/>
                  <a:gd name="T37" fmla="*/ 19391 h 20000"/>
                  <a:gd name="T38" fmla="*/ 18000 w 20000"/>
                  <a:gd name="T39" fmla="*/ 19391 h 20000"/>
                  <a:gd name="T40" fmla="*/ 17259 w 20000"/>
                  <a:gd name="T41" fmla="*/ 19391 h 20000"/>
                  <a:gd name="T42" fmla="*/ 16148 w 20000"/>
                  <a:gd name="T43" fmla="*/ 19898 h 20000"/>
                  <a:gd name="T44" fmla="*/ 14148 w 20000"/>
                  <a:gd name="T45" fmla="*/ 19391 h 20000"/>
                  <a:gd name="T46" fmla="*/ 14148 w 20000"/>
                  <a:gd name="T47" fmla="*/ 18274 h 20000"/>
                  <a:gd name="T48" fmla="*/ 11926 w 20000"/>
                  <a:gd name="T49" fmla="*/ 18274 h 20000"/>
                  <a:gd name="T50" fmla="*/ 6889 w 20000"/>
                  <a:gd name="T51" fmla="*/ 18274 h 20000"/>
                  <a:gd name="T52" fmla="*/ 5407 w 20000"/>
                  <a:gd name="T53" fmla="*/ 19391 h 20000"/>
                  <a:gd name="T54" fmla="*/ 4222 w 20000"/>
                  <a:gd name="T55" fmla="*/ 19391 h 20000"/>
                  <a:gd name="T56" fmla="*/ 1926 w 20000"/>
                  <a:gd name="T57" fmla="*/ 19898 h 20000"/>
                  <a:gd name="T58" fmla="*/ 4222 w 20000"/>
                  <a:gd name="T59" fmla="*/ 18274 h 20000"/>
                  <a:gd name="T60" fmla="*/ 1926 w 20000"/>
                  <a:gd name="T61" fmla="*/ 18274 h 20000"/>
                  <a:gd name="T62" fmla="*/ 1185 w 20000"/>
                  <a:gd name="T63" fmla="*/ 16751 h 20000"/>
                  <a:gd name="T64" fmla="*/ 4963 w 20000"/>
                  <a:gd name="T65" fmla="*/ 15736 h 20000"/>
                  <a:gd name="T66" fmla="*/ 4963 w 20000"/>
                  <a:gd name="T67" fmla="*/ 15127 h 20000"/>
                  <a:gd name="T68" fmla="*/ 6148 w 20000"/>
                  <a:gd name="T69" fmla="*/ 15127 h 20000"/>
                  <a:gd name="T70" fmla="*/ 7259 w 20000"/>
                  <a:gd name="T71" fmla="*/ 14112 h 20000"/>
                  <a:gd name="T72" fmla="*/ 10296 w 20000"/>
                  <a:gd name="T73" fmla="*/ 15736 h 20000"/>
                  <a:gd name="T74" fmla="*/ 11926 w 20000"/>
                  <a:gd name="T75" fmla="*/ 14112 h 20000"/>
                  <a:gd name="T76" fmla="*/ 9926 w 20000"/>
                  <a:gd name="T77" fmla="*/ 14112 h 20000"/>
                  <a:gd name="T78" fmla="*/ 8000 w 20000"/>
                  <a:gd name="T79" fmla="*/ 13096 h 20000"/>
                  <a:gd name="T80" fmla="*/ 5407 w 20000"/>
                  <a:gd name="T81" fmla="*/ 13096 h 20000"/>
                  <a:gd name="T82" fmla="*/ 1926 w 20000"/>
                  <a:gd name="T83" fmla="*/ 14112 h 20000"/>
                  <a:gd name="T84" fmla="*/ 1926 w 20000"/>
                  <a:gd name="T85" fmla="*/ 13096 h 20000"/>
                  <a:gd name="T86" fmla="*/ 2222 w 20000"/>
                  <a:gd name="T87" fmla="*/ 12589 h 20000"/>
                  <a:gd name="T88" fmla="*/ 1185 w 20000"/>
                  <a:gd name="T89" fmla="*/ 12589 h 20000"/>
                  <a:gd name="T90" fmla="*/ 296 w 20000"/>
                  <a:gd name="T91" fmla="*/ 11574 h 20000"/>
                  <a:gd name="T92" fmla="*/ 0 w 20000"/>
                  <a:gd name="T93" fmla="*/ 8934 h 20000"/>
                  <a:gd name="T94" fmla="*/ 296 w 20000"/>
                  <a:gd name="T95" fmla="*/ 7310 h 20000"/>
                  <a:gd name="T96" fmla="*/ 1926 w 20000"/>
                  <a:gd name="T97" fmla="*/ 4772 h 20000"/>
                  <a:gd name="T98" fmla="*/ 2222 w 20000"/>
                  <a:gd name="T99" fmla="*/ 20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2222" y="2030"/>
                    </a:moveTo>
                    <a:lnTo>
                      <a:pt x="3778" y="406"/>
                    </a:lnTo>
                    <a:lnTo>
                      <a:pt x="6148" y="406"/>
                    </a:lnTo>
                    <a:lnTo>
                      <a:pt x="9185" y="0"/>
                    </a:lnTo>
                    <a:lnTo>
                      <a:pt x="10296" y="406"/>
                    </a:lnTo>
                    <a:lnTo>
                      <a:pt x="11926" y="3147"/>
                    </a:lnTo>
                    <a:lnTo>
                      <a:pt x="13037" y="3147"/>
                    </a:lnTo>
                    <a:lnTo>
                      <a:pt x="13407" y="5787"/>
                    </a:lnTo>
                    <a:lnTo>
                      <a:pt x="14148" y="5787"/>
                    </a:lnTo>
                    <a:lnTo>
                      <a:pt x="14963" y="7310"/>
                    </a:lnTo>
                    <a:lnTo>
                      <a:pt x="15259" y="8325"/>
                    </a:lnTo>
                    <a:lnTo>
                      <a:pt x="17259" y="8934"/>
                    </a:lnTo>
                    <a:lnTo>
                      <a:pt x="17259" y="10964"/>
                    </a:lnTo>
                    <a:lnTo>
                      <a:pt x="18000" y="11574"/>
                    </a:lnTo>
                    <a:lnTo>
                      <a:pt x="17259" y="14112"/>
                    </a:lnTo>
                    <a:lnTo>
                      <a:pt x="18000" y="15736"/>
                    </a:lnTo>
                    <a:lnTo>
                      <a:pt x="18444" y="15736"/>
                    </a:lnTo>
                    <a:lnTo>
                      <a:pt x="19926" y="17259"/>
                    </a:lnTo>
                    <a:lnTo>
                      <a:pt x="19926" y="19391"/>
                    </a:lnTo>
                    <a:lnTo>
                      <a:pt x="18000" y="19391"/>
                    </a:lnTo>
                    <a:lnTo>
                      <a:pt x="17259" y="19391"/>
                    </a:lnTo>
                    <a:lnTo>
                      <a:pt x="16148" y="19898"/>
                    </a:lnTo>
                    <a:lnTo>
                      <a:pt x="14148" y="19391"/>
                    </a:lnTo>
                    <a:lnTo>
                      <a:pt x="14148" y="18274"/>
                    </a:lnTo>
                    <a:lnTo>
                      <a:pt x="11926" y="18274"/>
                    </a:lnTo>
                    <a:lnTo>
                      <a:pt x="6889" y="18274"/>
                    </a:lnTo>
                    <a:lnTo>
                      <a:pt x="5407" y="19391"/>
                    </a:lnTo>
                    <a:lnTo>
                      <a:pt x="4222" y="19391"/>
                    </a:lnTo>
                    <a:lnTo>
                      <a:pt x="1926" y="19898"/>
                    </a:lnTo>
                    <a:lnTo>
                      <a:pt x="4222" y="18274"/>
                    </a:lnTo>
                    <a:lnTo>
                      <a:pt x="1926" y="18274"/>
                    </a:lnTo>
                    <a:lnTo>
                      <a:pt x="1185" y="16751"/>
                    </a:lnTo>
                    <a:lnTo>
                      <a:pt x="4963" y="15736"/>
                    </a:lnTo>
                    <a:lnTo>
                      <a:pt x="4963" y="15127"/>
                    </a:lnTo>
                    <a:lnTo>
                      <a:pt x="6148" y="15127"/>
                    </a:lnTo>
                    <a:lnTo>
                      <a:pt x="7259" y="14112"/>
                    </a:lnTo>
                    <a:lnTo>
                      <a:pt x="10296" y="15736"/>
                    </a:lnTo>
                    <a:lnTo>
                      <a:pt x="11926" y="14112"/>
                    </a:lnTo>
                    <a:lnTo>
                      <a:pt x="9926" y="14112"/>
                    </a:lnTo>
                    <a:lnTo>
                      <a:pt x="8000" y="13096"/>
                    </a:lnTo>
                    <a:lnTo>
                      <a:pt x="5407" y="13096"/>
                    </a:lnTo>
                    <a:lnTo>
                      <a:pt x="1926" y="14112"/>
                    </a:lnTo>
                    <a:lnTo>
                      <a:pt x="1926" y="13096"/>
                    </a:lnTo>
                    <a:lnTo>
                      <a:pt x="2222" y="12589"/>
                    </a:lnTo>
                    <a:lnTo>
                      <a:pt x="1185" y="12589"/>
                    </a:lnTo>
                    <a:lnTo>
                      <a:pt x="296" y="11574"/>
                    </a:lnTo>
                    <a:lnTo>
                      <a:pt x="0" y="8934"/>
                    </a:lnTo>
                    <a:lnTo>
                      <a:pt x="296" y="7310"/>
                    </a:lnTo>
                    <a:lnTo>
                      <a:pt x="1926" y="4772"/>
                    </a:lnTo>
                    <a:lnTo>
                      <a:pt x="2222" y="20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2" name="Freeform 107"/>
              <p:cNvSpPr>
                <a:spLocks/>
              </p:cNvSpPr>
              <p:nvPr/>
            </p:nvSpPr>
            <p:spPr bwMode="auto">
              <a:xfrm>
                <a:off x="4611688" y="4162425"/>
                <a:ext cx="85725" cy="96838"/>
              </a:xfrm>
              <a:custGeom>
                <a:avLst/>
                <a:gdLst>
                  <a:gd name="T0" fmla="*/ 0 w 20000"/>
                  <a:gd name="T1" fmla="*/ 6184 h 20000"/>
                  <a:gd name="T2" fmla="*/ 2222 w 20000"/>
                  <a:gd name="T3" fmla="*/ 4079 h 20000"/>
                  <a:gd name="T4" fmla="*/ 3852 w 20000"/>
                  <a:gd name="T5" fmla="*/ 4079 h 20000"/>
                  <a:gd name="T6" fmla="*/ 6074 w 20000"/>
                  <a:gd name="T7" fmla="*/ 789 h 20000"/>
                  <a:gd name="T8" fmla="*/ 6815 w 20000"/>
                  <a:gd name="T9" fmla="*/ 789 h 20000"/>
                  <a:gd name="T10" fmla="*/ 13778 w 20000"/>
                  <a:gd name="T11" fmla="*/ 0 h 20000"/>
                  <a:gd name="T12" fmla="*/ 16000 w 20000"/>
                  <a:gd name="T13" fmla="*/ 3421 h 20000"/>
                  <a:gd name="T14" fmla="*/ 16000 w 20000"/>
                  <a:gd name="T15" fmla="*/ 5395 h 20000"/>
                  <a:gd name="T16" fmla="*/ 16889 w 20000"/>
                  <a:gd name="T17" fmla="*/ 6184 h 20000"/>
                  <a:gd name="T18" fmla="*/ 16889 w 20000"/>
                  <a:gd name="T19" fmla="*/ 9605 h 20000"/>
                  <a:gd name="T20" fmla="*/ 19852 w 20000"/>
                  <a:gd name="T21" fmla="*/ 9605 h 20000"/>
                  <a:gd name="T22" fmla="*/ 19852 w 20000"/>
                  <a:gd name="T23" fmla="*/ 11579 h 20000"/>
                  <a:gd name="T24" fmla="*/ 18370 w 20000"/>
                  <a:gd name="T25" fmla="*/ 11579 h 20000"/>
                  <a:gd name="T26" fmla="*/ 18370 w 20000"/>
                  <a:gd name="T27" fmla="*/ 14211 h 20000"/>
                  <a:gd name="T28" fmla="*/ 16000 w 20000"/>
                  <a:gd name="T29" fmla="*/ 16316 h 20000"/>
                  <a:gd name="T30" fmla="*/ 13778 w 20000"/>
                  <a:gd name="T31" fmla="*/ 19868 h 20000"/>
                  <a:gd name="T32" fmla="*/ 8444 w 20000"/>
                  <a:gd name="T33" fmla="*/ 17763 h 20000"/>
                  <a:gd name="T34" fmla="*/ 2222 w 20000"/>
                  <a:gd name="T35" fmla="*/ 15000 h 20000"/>
                  <a:gd name="T36" fmla="*/ 2222 w 20000"/>
                  <a:gd name="T37" fmla="*/ 12895 h 20000"/>
                  <a:gd name="T38" fmla="*/ 0 w 20000"/>
                  <a:gd name="T39" fmla="*/ 9605 h 20000"/>
                  <a:gd name="T40" fmla="*/ 0 w 20000"/>
                  <a:gd name="T41" fmla="*/ 7500 h 20000"/>
                  <a:gd name="T42" fmla="*/ 0 w 20000"/>
                  <a:gd name="T43" fmla="*/ 61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0" y="6184"/>
                    </a:moveTo>
                    <a:lnTo>
                      <a:pt x="2222" y="4079"/>
                    </a:lnTo>
                    <a:lnTo>
                      <a:pt x="3852" y="4079"/>
                    </a:lnTo>
                    <a:lnTo>
                      <a:pt x="6074" y="789"/>
                    </a:lnTo>
                    <a:lnTo>
                      <a:pt x="6815" y="789"/>
                    </a:lnTo>
                    <a:lnTo>
                      <a:pt x="13778" y="0"/>
                    </a:lnTo>
                    <a:lnTo>
                      <a:pt x="16000" y="3421"/>
                    </a:lnTo>
                    <a:lnTo>
                      <a:pt x="16000" y="5395"/>
                    </a:lnTo>
                    <a:lnTo>
                      <a:pt x="16889" y="6184"/>
                    </a:lnTo>
                    <a:lnTo>
                      <a:pt x="16889" y="9605"/>
                    </a:lnTo>
                    <a:lnTo>
                      <a:pt x="19852" y="9605"/>
                    </a:lnTo>
                    <a:lnTo>
                      <a:pt x="19852" y="11579"/>
                    </a:lnTo>
                    <a:lnTo>
                      <a:pt x="18370" y="11579"/>
                    </a:lnTo>
                    <a:lnTo>
                      <a:pt x="18370" y="14211"/>
                    </a:lnTo>
                    <a:lnTo>
                      <a:pt x="16000" y="16316"/>
                    </a:lnTo>
                    <a:lnTo>
                      <a:pt x="13778" y="19868"/>
                    </a:lnTo>
                    <a:lnTo>
                      <a:pt x="8444" y="17763"/>
                    </a:lnTo>
                    <a:lnTo>
                      <a:pt x="2222" y="15000"/>
                    </a:lnTo>
                    <a:lnTo>
                      <a:pt x="2222" y="12895"/>
                    </a:lnTo>
                    <a:lnTo>
                      <a:pt x="0" y="9605"/>
                    </a:lnTo>
                    <a:lnTo>
                      <a:pt x="0" y="7500"/>
                    </a:lnTo>
                    <a:lnTo>
                      <a:pt x="0" y="61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3" name="Freeform 106"/>
              <p:cNvSpPr>
                <a:spLocks/>
              </p:cNvSpPr>
              <p:nvPr/>
            </p:nvSpPr>
            <p:spPr bwMode="auto">
              <a:xfrm>
                <a:off x="5692775" y="4903788"/>
                <a:ext cx="220663" cy="198437"/>
              </a:xfrm>
              <a:custGeom>
                <a:avLst/>
                <a:gdLst>
                  <a:gd name="T0" fmla="*/ 0 w 20000"/>
                  <a:gd name="T1" fmla="*/ 6026 h 20000"/>
                  <a:gd name="T2" fmla="*/ 1207 w 20000"/>
                  <a:gd name="T3" fmla="*/ 6282 h 20000"/>
                  <a:gd name="T4" fmla="*/ 3563 w 20000"/>
                  <a:gd name="T5" fmla="*/ 6282 h 20000"/>
                  <a:gd name="T6" fmla="*/ 3851 w 20000"/>
                  <a:gd name="T7" fmla="*/ 6987 h 20000"/>
                  <a:gd name="T8" fmla="*/ 5057 w 20000"/>
                  <a:gd name="T9" fmla="*/ 6282 h 20000"/>
                  <a:gd name="T10" fmla="*/ 6264 w 20000"/>
                  <a:gd name="T11" fmla="*/ 3654 h 20000"/>
                  <a:gd name="T12" fmla="*/ 7759 w 20000"/>
                  <a:gd name="T13" fmla="*/ 2628 h 20000"/>
                  <a:gd name="T14" fmla="*/ 9253 w 20000"/>
                  <a:gd name="T15" fmla="*/ 1987 h 20000"/>
                  <a:gd name="T16" fmla="*/ 9253 w 20000"/>
                  <a:gd name="T17" fmla="*/ 641 h 20000"/>
                  <a:gd name="T18" fmla="*/ 11322 w 20000"/>
                  <a:gd name="T19" fmla="*/ 0 h 20000"/>
                  <a:gd name="T20" fmla="*/ 12529 w 20000"/>
                  <a:gd name="T21" fmla="*/ 0 h 20000"/>
                  <a:gd name="T22" fmla="*/ 13103 w 20000"/>
                  <a:gd name="T23" fmla="*/ 0 h 20000"/>
                  <a:gd name="T24" fmla="*/ 13736 w 20000"/>
                  <a:gd name="T25" fmla="*/ 1026 h 20000"/>
                  <a:gd name="T26" fmla="*/ 15517 w 20000"/>
                  <a:gd name="T27" fmla="*/ 641 h 20000"/>
                  <a:gd name="T28" fmla="*/ 16092 w 20000"/>
                  <a:gd name="T29" fmla="*/ 1026 h 20000"/>
                  <a:gd name="T30" fmla="*/ 17011 w 20000"/>
                  <a:gd name="T31" fmla="*/ 1667 h 20000"/>
                  <a:gd name="T32" fmla="*/ 17586 w 20000"/>
                  <a:gd name="T33" fmla="*/ 1987 h 20000"/>
                  <a:gd name="T34" fmla="*/ 19368 w 20000"/>
                  <a:gd name="T35" fmla="*/ 1987 h 20000"/>
                  <a:gd name="T36" fmla="*/ 19368 w 20000"/>
                  <a:gd name="T37" fmla="*/ 2628 h 20000"/>
                  <a:gd name="T38" fmla="*/ 19943 w 20000"/>
                  <a:gd name="T39" fmla="*/ 4295 h 20000"/>
                  <a:gd name="T40" fmla="*/ 19943 w 20000"/>
                  <a:gd name="T41" fmla="*/ 6026 h 20000"/>
                  <a:gd name="T42" fmla="*/ 19943 w 20000"/>
                  <a:gd name="T43" fmla="*/ 7628 h 20000"/>
                  <a:gd name="T44" fmla="*/ 19943 w 20000"/>
                  <a:gd name="T45" fmla="*/ 8013 h 20000"/>
                  <a:gd name="T46" fmla="*/ 19368 w 20000"/>
                  <a:gd name="T47" fmla="*/ 8654 h 20000"/>
                  <a:gd name="T48" fmla="*/ 19943 w 20000"/>
                  <a:gd name="T49" fmla="*/ 8910 h 20000"/>
                  <a:gd name="T50" fmla="*/ 19368 w 20000"/>
                  <a:gd name="T51" fmla="*/ 8910 h 20000"/>
                  <a:gd name="T52" fmla="*/ 19368 w 20000"/>
                  <a:gd name="T53" fmla="*/ 10256 h 20000"/>
                  <a:gd name="T54" fmla="*/ 19368 w 20000"/>
                  <a:gd name="T55" fmla="*/ 11282 h 20000"/>
                  <a:gd name="T56" fmla="*/ 19943 w 20000"/>
                  <a:gd name="T57" fmla="*/ 12308 h 20000"/>
                  <a:gd name="T58" fmla="*/ 18793 w 20000"/>
                  <a:gd name="T59" fmla="*/ 13910 h 20000"/>
                  <a:gd name="T60" fmla="*/ 18448 w 20000"/>
                  <a:gd name="T61" fmla="*/ 14936 h 20000"/>
                  <a:gd name="T62" fmla="*/ 18448 w 20000"/>
                  <a:gd name="T63" fmla="*/ 15897 h 20000"/>
                  <a:gd name="T64" fmla="*/ 17874 w 20000"/>
                  <a:gd name="T65" fmla="*/ 17308 h 20000"/>
                  <a:gd name="T66" fmla="*/ 15172 w 20000"/>
                  <a:gd name="T67" fmla="*/ 19936 h 20000"/>
                  <a:gd name="T68" fmla="*/ 14598 w 20000"/>
                  <a:gd name="T69" fmla="*/ 19231 h 20000"/>
                  <a:gd name="T70" fmla="*/ 13103 w 20000"/>
                  <a:gd name="T71" fmla="*/ 19936 h 20000"/>
                  <a:gd name="T72" fmla="*/ 11609 w 20000"/>
                  <a:gd name="T73" fmla="*/ 19231 h 20000"/>
                  <a:gd name="T74" fmla="*/ 10115 w 20000"/>
                  <a:gd name="T75" fmla="*/ 19231 h 20000"/>
                  <a:gd name="T76" fmla="*/ 9253 w 20000"/>
                  <a:gd name="T77" fmla="*/ 19231 h 20000"/>
                  <a:gd name="T78" fmla="*/ 9253 w 20000"/>
                  <a:gd name="T79" fmla="*/ 17564 h 20000"/>
                  <a:gd name="T80" fmla="*/ 7759 w 20000"/>
                  <a:gd name="T81" fmla="*/ 17308 h 20000"/>
                  <a:gd name="T82" fmla="*/ 6839 w 20000"/>
                  <a:gd name="T83" fmla="*/ 17308 h 20000"/>
                  <a:gd name="T84" fmla="*/ 6264 w 20000"/>
                  <a:gd name="T85" fmla="*/ 15897 h 20000"/>
                  <a:gd name="T86" fmla="*/ 5977 w 20000"/>
                  <a:gd name="T87" fmla="*/ 13910 h 20000"/>
                  <a:gd name="T88" fmla="*/ 5402 w 20000"/>
                  <a:gd name="T89" fmla="*/ 13910 h 20000"/>
                  <a:gd name="T90" fmla="*/ 5057 w 20000"/>
                  <a:gd name="T91" fmla="*/ 12308 h 20000"/>
                  <a:gd name="T92" fmla="*/ 3563 w 20000"/>
                  <a:gd name="T93" fmla="*/ 11667 h 20000"/>
                  <a:gd name="T94" fmla="*/ 2126 w 20000"/>
                  <a:gd name="T95" fmla="*/ 10641 h 20000"/>
                  <a:gd name="T96" fmla="*/ 2126 w 20000"/>
                  <a:gd name="T97" fmla="*/ 9615 h 20000"/>
                  <a:gd name="T98" fmla="*/ 575 w 20000"/>
                  <a:gd name="T99" fmla="*/ 7628 h 20000"/>
                  <a:gd name="T100" fmla="*/ 0 w 20000"/>
                  <a:gd name="T101" fmla="*/ 602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0" y="6026"/>
                    </a:moveTo>
                    <a:lnTo>
                      <a:pt x="1207" y="6282"/>
                    </a:lnTo>
                    <a:lnTo>
                      <a:pt x="3563" y="6282"/>
                    </a:lnTo>
                    <a:lnTo>
                      <a:pt x="3851" y="6987"/>
                    </a:lnTo>
                    <a:lnTo>
                      <a:pt x="5057" y="6282"/>
                    </a:lnTo>
                    <a:lnTo>
                      <a:pt x="6264" y="3654"/>
                    </a:lnTo>
                    <a:lnTo>
                      <a:pt x="7759" y="2628"/>
                    </a:lnTo>
                    <a:lnTo>
                      <a:pt x="9253" y="1987"/>
                    </a:lnTo>
                    <a:lnTo>
                      <a:pt x="9253" y="641"/>
                    </a:lnTo>
                    <a:lnTo>
                      <a:pt x="11322" y="0"/>
                    </a:lnTo>
                    <a:lnTo>
                      <a:pt x="12529" y="0"/>
                    </a:lnTo>
                    <a:lnTo>
                      <a:pt x="13103" y="0"/>
                    </a:lnTo>
                    <a:lnTo>
                      <a:pt x="13736" y="1026"/>
                    </a:lnTo>
                    <a:lnTo>
                      <a:pt x="15517" y="641"/>
                    </a:lnTo>
                    <a:lnTo>
                      <a:pt x="16092" y="1026"/>
                    </a:lnTo>
                    <a:lnTo>
                      <a:pt x="17011" y="1667"/>
                    </a:lnTo>
                    <a:lnTo>
                      <a:pt x="17586" y="1987"/>
                    </a:lnTo>
                    <a:lnTo>
                      <a:pt x="19368" y="1987"/>
                    </a:lnTo>
                    <a:lnTo>
                      <a:pt x="19368" y="2628"/>
                    </a:lnTo>
                    <a:lnTo>
                      <a:pt x="19943" y="4295"/>
                    </a:lnTo>
                    <a:lnTo>
                      <a:pt x="19943" y="6026"/>
                    </a:lnTo>
                    <a:lnTo>
                      <a:pt x="19943" y="7628"/>
                    </a:lnTo>
                    <a:lnTo>
                      <a:pt x="19943" y="8013"/>
                    </a:lnTo>
                    <a:lnTo>
                      <a:pt x="19368" y="8654"/>
                    </a:lnTo>
                    <a:lnTo>
                      <a:pt x="19943" y="8910"/>
                    </a:lnTo>
                    <a:lnTo>
                      <a:pt x="19368" y="8910"/>
                    </a:lnTo>
                    <a:lnTo>
                      <a:pt x="19368" y="10256"/>
                    </a:lnTo>
                    <a:lnTo>
                      <a:pt x="19368" y="11282"/>
                    </a:lnTo>
                    <a:lnTo>
                      <a:pt x="19943" y="12308"/>
                    </a:lnTo>
                    <a:lnTo>
                      <a:pt x="18793" y="13910"/>
                    </a:lnTo>
                    <a:lnTo>
                      <a:pt x="18448" y="14936"/>
                    </a:lnTo>
                    <a:lnTo>
                      <a:pt x="18448" y="15897"/>
                    </a:lnTo>
                    <a:lnTo>
                      <a:pt x="17874" y="17308"/>
                    </a:lnTo>
                    <a:lnTo>
                      <a:pt x="15172" y="19936"/>
                    </a:lnTo>
                    <a:lnTo>
                      <a:pt x="14598" y="19231"/>
                    </a:lnTo>
                    <a:lnTo>
                      <a:pt x="13103" y="19936"/>
                    </a:lnTo>
                    <a:lnTo>
                      <a:pt x="11609" y="19231"/>
                    </a:lnTo>
                    <a:lnTo>
                      <a:pt x="10115" y="19231"/>
                    </a:lnTo>
                    <a:lnTo>
                      <a:pt x="9253" y="19231"/>
                    </a:lnTo>
                    <a:lnTo>
                      <a:pt x="9253" y="17564"/>
                    </a:lnTo>
                    <a:lnTo>
                      <a:pt x="7759" y="17308"/>
                    </a:lnTo>
                    <a:lnTo>
                      <a:pt x="6839" y="17308"/>
                    </a:lnTo>
                    <a:lnTo>
                      <a:pt x="6264" y="15897"/>
                    </a:lnTo>
                    <a:lnTo>
                      <a:pt x="5977" y="13910"/>
                    </a:lnTo>
                    <a:lnTo>
                      <a:pt x="5402" y="13910"/>
                    </a:lnTo>
                    <a:lnTo>
                      <a:pt x="5057" y="12308"/>
                    </a:lnTo>
                    <a:lnTo>
                      <a:pt x="3563" y="11667"/>
                    </a:lnTo>
                    <a:lnTo>
                      <a:pt x="2126" y="10641"/>
                    </a:lnTo>
                    <a:lnTo>
                      <a:pt x="2126" y="9615"/>
                    </a:lnTo>
                    <a:lnTo>
                      <a:pt x="575" y="7628"/>
                    </a:lnTo>
                    <a:lnTo>
                      <a:pt x="0" y="602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4" name="Freeform 105"/>
              <p:cNvSpPr>
                <a:spLocks/>
              </p:cNvSpPr>
              <p:nvPr/>
            </p:nvSpPr>
            <p:spPr bwMode="auto">
              <a:xfrm>
                <a:off x="6149975" y="4111625"/>
                <a:ext cx="282575" cy="382588"/>
              </a:xfrm>
              <a:custGeom>
                <a:avLst/>
                <a:gdLst>
                  <a:gd name="T0" fmla="*/ 3453 w 20000"/>
                  <a:gd name="T1" fmla="*/ 1728 h 20000"/>
                  <a:gd name="T2" fmla="*/ 3946 w 20000"/>
                  <a:gd name="T3" fmla="*/ 1229 h 20000"/>
                  <a:gd name="T4" fmla="*/ 4170 w 20000"/>
                  <a:gd name="T5" fmla="*/ 897 h 20000"/>
                  <a:gd name="T6" fmla="*/ 5785 w 20000"/>
                  <a:gd name="T7" fmla="*/ 2259 h 20000"/>
                  <a:gd name="T8" fmla="*/ 6951 w 20000"/>
                  <a:gd name="T9" fmla="*/ 2591 h 20000"/>
                  <a:gd name="T10" fmla="*/ 9058 w 20000"/>
                  <a:gd name="T11" fmla="*/ 1728 h 20000"/>
                  <a:gd name="T12" fmla="*/ 10628 w 20000"/>
                  <a:gd name="T13" fmla="*/ 1894 h 20000"/>
                  <a:gd name="T14" fmla="*/ 12556 w 20000"/>
                  <a:gd name="T15" fmla="*/ 1395 h 20000"/>
                  <a:gd name="T16" fmla="*/ 13229 w 20000"/>
                  <a:gd name="T17" fmla="*/ 1395 h 20000"/>
                  <a:gd name="T18" fmla="*/ 15112 w 20000"/>
                  <a:gd name="T19" fmla="*/ 1229 h 20000"/>
                  <a:gd name="T20" fmla="*/ 16233 w 20000"/>
                  <a:gd name="T21" fmla="*/ 1229 h 20000"/>
                  <a:gd name="T22" fmla="*/ 17668 w 20000"/>
                  <a:gd name="T23" fmla="*/ 897 h 20000"/>
                  <a:gd name="T24" fmla="*/ 18565 w 20000"/>
                  <a:gd name="T25" fmla="*/ 532 h 20000"/>
                  <a:gd name="T26" fmla="*/ 18789 w 20000"/>
                  <a:gd name="T27" fmla="*/ 0 h 20000"/>
                  <a:gd name="T28" fmla="*/ 19955 w 20000"/>
                  <a:gd name="T29" fmla="*/ 365 h 20000"/>
                  <a:gd name="T30" fmla="*/ 19507 w 20000"/>
                  <a:gd name="T31" fmla="*/ 1229 h 20000"/>
                  <a:gd name="T32" fmla="*/ 19507 w 20000"/>
                  <a:gd name="T33" fmla="*/ 1395 h 20000"/>
                  <a:gd name="T34" fmla="*/ 19507 w 20000"/>
                  <a:gd name="T35" fmla="*/ 2591 h 20000"/>
                  <a:gd name="T36" fmla="*/ 19238 w 20000"/>
                  <a:gd name="T37" fmla="*/ 3953 h 20000"/>
                  <a:gd name="T38" fmla="*/ 17668 w 20000"/>
                  <a:gd name="T39" fmla="*/ 5515 h 20000"/>
                  <a:gd name="T40" fmla="*/ 17399 w 20000"/>
                  <a:gd name="T41" fmla="*/ 6179 h 20000"/>
                  <a:gd name="T42" fmla="*/ 17399 w 20000"/>
                  <a:gd name="T43" fmla="*/ 6711 h 20000"/>
                  <a:gd name="T44" fmla="*/ 15785 w 20000"/>
                  <a:gd name="T45" fmla="*/ 8439 h 20000"/>
                  <a:gd name="T46" fmla="*/ 15785 w 20000"/>
                  <a:gd name="T47" fmla="*/ 8970 h 20000"/>
                  <a:gd name="T48" fmla="*/ 13722 w 20000"/>
                  <a:gd name="T49" fmla="*/ 11362 h 20000"/>
                  <a:gd name="T50" fmla="*/ 10179 w 20000"/>
                  <a:gd name="T51" fmla="*/ 13920 h 20000"/>
                  <a:gd name="T52" fmla="*/ 7892 w 20000"/>
                  <a:gd name="T53" fmla="*/ 15349 h 20000"/>
                  <a:gd name="T54" fmla="*/ 4170 w 20000"/>
                  <a:gd name="T55" fmla="*/ 17542 h 20000"/>
                  <a:gd name="T56" fmla="*/ 1166 w 20000"/>
                  <a:gd name="T57" fmla="*/ 19967 h 20000"/>
                  <a:gd name="T58" fmla="*/ 0 w 20000"/>
                  <a:gd name="T59" fmla="*/ 18937 h 20000"/>
                  <a:gd name="T60" fmla="*/ 0 w 20000"/>
                  <a:gd name="T61" fmla="*/ 13588 h 20000"/>
                  <a:gd name="T62" fmla="*/ 1839 w 20000"/>
                  <a:gd name="T63" fmla="*/ 12027 h 20000"/>
                  <a:gd name="T64" fmla="*/ 2780 w 20000"/>
                  <a:gd name="T65" fmla="*/ 11694 h 20000"/>
                  <a:gd name="T66" fmla="*/ 3946 w 20000"/>
                  <a:gd name="T67" fmla="*/ 11694 h 20000"/>
                  <a:gd name="T68" fmla="*/ 4664 w 20000"/>
                  <a:gd name="T69" fmla="*/ 10864 h 20000"/>
                  <a:gd name="T70" fmla="*/ 7220 w 20000"/>
                  <a:gd name="T71" fmla="*/ 10332 h 20000"/>
                  <a:gd name="T72" fmla="*/ 7892 w 20000"/>
                  <a:gd name="T73" fmla="*/ 10332 h 20000"/>
                  <a:gd name="T74" fmla="*/ 13722 w 20000"/>
                  <a:gd name="T75" fmla="*/ 5847 h 20000"/>
                  <a:gd name="T76" fmla="*/ 11839 w 20000"/>
                  <a:gd name="T77" fmla="*/ 5847 h 20000"/>
                  <a:gd name="T78" fmla="*/ 5785 w 20000"/>
                  <a:gd name="T79" fmla="*/ 4153 h 20000"/>
                  <a:gd name="T80" fmla="*/ 4664 w 20000"/>
                  <a:gd name="T81" fmla="*/ 3621 h 20000"/>
                  <a:gd name="T82" fmla="*/ 3004 w 20000"/>
                  <a:gd name="T83" fmla="*/ 2259 h 20000"/>
                  <a:gd name="T84" fmla="*/ 3453 w 20000"/>
                  <a:gd name="T85" fmla="*/ 172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3453" y="1728"/>
                    </a:moveTo>
                    <a:lnTo>
                      <a:pt x="3946" y="1229"/>
                    </a:lnTo>
                    <a:lnTo>
                      <a:pt x="4170" y="897"/>
                    </a:lnTo>
                    <a:lnTo>
                      <a:pt x="5785" y="2259"/>
                    </a:lnTo>
                    <a:lnTo>
                      <a:pt x="6951" y="2591"/>
                    </a:lnTo>
                    <a:lnTo>
                      <a:pt x="9058" y="1728"/>
                    </a:lnTo>
                    <a:lnTo>
                      <a:pt x="10628" y="1894"/>
                    </a:lnTo>
                    <a:lnTo>
                      <a:pt x="12556" y="1395"/>
                    </a:lnTo>
                    <a:lnTo>
                      <a:pt x="13229" y="1395"/>
                    </a:lnTo>
                    <a:lnTo>
                      <a:pt x="15112" y="1229"/>
                    </a:lnTo>
                    <a:lnTo>
                      <a:pt x="16233" y="1229"/>
                    </a:lnTo>
                    <a:lnTo>
                      <a:pt x="17668" y="897"/>
                    </a:lnTo>
                    <a:lnTo>
                      <a:pt x="18565" y="532"/>
                    </a:lnTo>
                    <a:lnTo>
                      <a:pt x="18789" y="0"/>
                    </a:lnTo>
                    <a:lnTo>
                      <a:pt x="19955" y="365"/>
                    </a:lnTo>
                    <a:lnTo>
                      <a:pt x="19507" y="1229"/>
                    </a:lnTo>
                    <a:lnTo>
                      <a:pt x="19507" y="1395"/>
                    </a:lnTo>
                    <a:lnTo>
                      <a:pt x="19507" y="2591"/>
                    </a:lnTo>
                    <a:lnTo>
                      <a:pt x="19238" y="3953"/>
                    </a:lnTo>
                    <a:lnTo>
                      <a:pt x="17668" y="5515"/>
                    </a:lnTo>
                    <a:lnTo>
                      <a:pt x="17399" y="6179"/>
                    </a:lnTo>
                    <a:lnTo>
                      <a:pt x="17399" y="6711"/>
                    </a:lnTo>
                    <a:lnTo>
                      <a:pt x="15785" y="8439"/>
                    </a:lnTo>
                    <a:lnTo>
                      <a:pt x="15785" y="8970"/>
                    </a:lnTo>
                    <a:lnTo>
                      <a:pt x="13722" y="11362"/>
                    </a:lnTo>
                    <a:lnTo>
                      <a:pt x="10179" y="13920"/>
                    </a:lnTo>
                    <a:lnTo>
                      <a:pt x="7892" y="15349"/>
                    </a:lnTo>
                    <a:lnTo>
                      <a:pt x="4170" y="17542"/>
                    </a:lnTo>
                    <a:lnTo>
                      <a:pt x="1166" y="19967"/>
                    </a:lnTo>
                    <a:lnTo>
                      <a:pt x="0" y="18937"/>
                    </a:lnTo>
                    <a:lnTo>
                      <a:pt x="0" y="13588"/>
                    </a:lnTo>
                    <a:lnTo>
                      <a:pt x="1839" y="12027"/>
                    </a:lnTo>
                    <a:lnTo>
                      <a:pt x="2780" y="11694"/>
                    </a:lnTo>
                    <a:lnTo>
                      <a:pt x="3946" y="11694"/>
                    </a:lnTo>
                    <a:lnTo>
                      <a:pt x="4664" y="10864"/>
                    </a:lnTo>
                    <a:lnTo>
                      <a:pt x="7220" y="10332"/>
                    </a:lnTo>
                    <a:lnTo>
                      <a:pt x="7892" y="10332"/>
                    </a:lnTo>
                    <a:lnTo>
                      <a:pt x="13722" y="5847"/>
                    </a:lnTo>
                    <a:lnTo>
                      <a:pt x="11839" y="5847"/>
                    </a:lnTo>
                    <a:lnTo>
                      <a:pt x="5785" y="4153"/>
                    </a:lnTo>
                    <a:lnTo>
                      <a:pt x="4664" y="3621"/>
                    </a:lnTo>
                    <a:lnTo>
                      <a:pt x="3004" y="2259"/>
                    </a:lnTo>
                    <a:lnTo>
                      <a:pt x="3453" y="172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5" name="Freeform 104"/>
              <p:cNvSpPr>
                <a:spLocks/>
              </p:cNvSpPr>
              <p:nvPr/>
            </p:nvSpPr>
            <p:spPr bwMode="auto">
              <a:xfrm>
                <a:off x="5440363" y="5094288"/>
                <a:ext cx="457200" cy="388937"/>
              </a:xfrm>
              <a:custGeom>
                <a:avLst/>
                <a:gdLst>
                  <a:gd name="T0" fmla="*/ 15090 w 20000"/>
                  <a:gd name="T1" fmla="*/ 523 h 20000"/>
                  <a:gd name="T2" fmla="*/ 13953 w 20000"/>
                  <a:gd name="T3" fmla="*/ 1373 h 20000"/>
                  <a:gd name="T4" fmla="*/ 13509 w 20000"/>
                  <a:gd name="T5" fmla="*/ 1699 h 20000"/>
                  <a:gd name="T6" fmla="*/ 12788 w 20000"/>
                  <a:gd name="T7" fmla="*/ 2549 h 20000"/>
                  <a:gd name="T8" fmla="*/ 12372 w 20000"/>
                  <a:gd name="T9" fmla="*/ 3562 h 20000"/>
                  <a:gd name="T10" fmla="*/ 11068 w 20000"/>
                  <a:gd name="T11" fmla="*/ 5261 h 20000"/>
                  <a:gd name="T12" fmla="*/ 9764 w 20000"/>
                  <a:gd name="T13" fmla="*/ 5261 h 20000"/>
                  <a:gd name="T14" fmla="*/ 8350 w 20000"/>
                  <a:gd name="T15" fmla="*/ 4739 h 20000"/>
                  <a:gd name="T16" fmla="*/ 7628 w 20000"/>
                  <a:gd name="T17" fmla="*/ 5752 h 20000"/>
                  <a:gd name="T18" fmla="*/ 6463 w 20000"/>
                  <a:gd name="T19" fmla="*/ 6601 h 20000"/>
                  <a:gd name="T20" fmla="*/ 5742 w 20000"/>
                  <a:gd name="T21" fmla="*/ 6765 h 20000"/>
                  <a:gd name="T22" fmla="*/ 5049 w 20000"/>
                  <a:gd name="T23" fmla="*/ 6275 h 20000"/>
                  <a:gd name="T24" fmla="*/ 5049 w 20000"/>
                  <a:gd name="T25" fmla="*/ 5261 h 20000"/>
                  <a:gd name="T26" fmla="*/ 4438 w 20000"/>
                  <a:gd name="T27" fmla="*/ 3889 h 20000"/>
                  <a:gd name="T28" fmla="*/ 3745 w 20000"/>
                  <a:gd name="T29" fmla="*/ 9641 h 20000"/>
                  <a:gd name="T30" fmla="*/ 3024 w 20000"/>
                  <a:gd name="T31" fmla="*/ 10359 h 20000"/>
                  <a:gd name="T32" fmla="*/ 1997 w 20000"/>
                  <a:gd name="T33" fmla="*/ 10163 h 20000"/>
                  <a:gd name="T34" fmla="*/ 860 w 20000"/>
                  <a:gd name="T35" fmla="*/ 9837 h 20000"/>
                  <a:gd name="T36" fmla="*/ 749 w 20000"/>
                  <a:gd name="T37" fmla="*/ 8954 h 20000"/>
                  <a:gd name="T38" fmla="*/ 166 w 20000"/>
                  <a:gd name="T39" fmla="*/ 9641 h 20000"/>
                  <a:gd name="T40" fmla="*/ 166 w 20000"/>
                  <a:gd name="T41" fmla="*/ 10686 h 20000"/>
                  <a:gd name="T42" fmla="*/ 1886 w 20000"/>
                  <a:gd name="T43" fmla="*/ 14706 h 20000"/>
                  <a:gd name="T44" fmla="*/ 1886 w 20000"/>
                  <a:gd name="T45" fmla="*/ 16438 h 20000"/>
                  <a:gd name="T46" fmla="*/ 1442 w 20000"/>
                  <a:gd name="T47" fmla="*/ 16765 h 20000"/>
                  <a:gd name="T48" fmla="*/ 1886 w 20000"/>
                  <a:gd name="T49" fmla="*/ 18954 h 20000"/>
                  <a:gd name="T50" fmla="*/ 1997 w 20000"/>
                  <a:gd name="T51" fmla="*/ 18627 h 20000"/>
                  <a:gd name="T52" fmla="*/ 2607 w 20000"/>
                  <a:gd name="T53" fmla="*/ 19118 h 20000"/>
                  <a:gd name="T54" fmla="*/ 3162 w 20000"/>
                  <a:gd name="T55" fmla="*/ 19641 h 20000"/>
                  <a:gd name="T56" fmla="*/ 4161 w 20000"/>
                  <a:gd name="T57" fmla="*/ 19444 h 20000"/>
                  <a:gd name="T58" fmla="*/ 5603 w 20000"/>
                  <a:gd name="T59" fmla="*/ 19118 h 20000"/>
                  <a:gd name="T60" fmla="*/ 6463 w 20000"/>
                  <a:gd name="T61" fmla="*/ 18627 h 20000"/>
                  <a:gd name="T62" fmla="*/ 8350 w 20000"/>
                  <a:gd name="T63" fmla="*/ 18627 h 20000"/>
                  <a:gd name="T64" fmla="*/ 9931 w 20000"/>
                  <a:gd name="T65" fmla="*/ 18627 h 20000"/>
                  <a:gd name="T66" fmla="*/ 10902 w 20000"/>
                  <a:gd name="T67" fmla="*/ 18301 h 20000"/>
                  <a:gd name="T68" fmla="*/ 14092 w 20000"/>
                  <a:gd name="T69" fmla="*/ 16438 h 20000"/>
                  <a:gd name="T70" fmla="*/ 16533 w 20000"/>
                  <a:gd name="T71" fmla="*/ 13889 h 20000"/>
                  <a:gd name="T72" fmla="*/ 17365 w 20000"/>
                  <a:gd name="T73" fmla="*/ 12353 h 20000"/>
                  <a:gd name="T74" fmla="*/ 18974 w 20000"/>
                  <a:gd name="T75" fmla="*/ 10163 h 20000"/>
                  <a:gd name="T76" fmla="*/ 19972 w 20000"/>
                  <a:gd name="T77" fmla="*/ 7484 h 20000"/>
                  <a:gd name="T78" fmla="*/ 18974 w 20000"/>
                  <a:gd name="T79" fmla="*/ 7092 h 20000"/>
                  <a:gd name="T80" fmla="*/ 18114 w 20000"/>
                  <a:gd name="T81" fmla="*/ 7614 h 20000"/>
                  <a:gd name="T82" fmla="*/ 18114 w 20000"/>
                  <a:gd name="T83" fmla="*/ 5752 h 20000"/>
                  <a:gd name="T84" fmla="*/ 18974 w 20000"/>
                  <a:gd name="T85" fmla="*/ 5425 h 20000"/>
                  <a:gd name="T86" fmla="*/ 18974 w 20000"/>
                  <a:gd name="T87" fmla="*/ 3235 h 20000"/>
                  <a:gd name="T88" fmla="*/ 18835 w 20000"/>
                  <a:gd name="T89" fmla="*/ 1373 h 20000"/>
                  <a:gd name="T90" fmla="*/ 18391 w 20000"/>
                  <a:gd name="T91" fmla="*/ 359 h 20000"/>
                  <a:gd name="T92" fmla="*/ 17365 w 20000"/>
                  <a:gd name="T93" fmla="*/ 359 h 20000"/>
                  <a:gd name="T94" fmla="*/ 15950 w 20000"/>
                  <a:gd name="T9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5506" y="0"/>
                    </a:moveTo>
                    <a:lnTo>
                      <a:pt x="15090" y="523"/>
                    </a:lnTo>
                    <a:lnTo>
                      <a:pt x="14646" y="523"/>
                    </a:lnTo>
                    <a:lnTo>
                      <a:pt x="13953" y="1373"/>
                    </a:lnTo>
                    <a:lnTo>
                      <a:pt x="13675" y="1373"/>
                    </a:lnTo>
                    <a:lnTo>
                      <a:pt x="13509" y="1699"/>
                    </a:lnTo>
                    <a:lnTo>
                      <a:pt x="13232" y="1863"/>
                    </a:lnTo>
                    <a:lnTo>
                      <a:pt x="12788" y="2549"/>
                    </a:lnTo>
                    <a:lnTo>
                      <a:pt x="12788" y="3235"/>
                    </a:lnTo>
                    <a:lnTo>
                      <a:pt x="12372" y="3562"/>
                    </a:lnTo>
                    <a:lnTo>
                      <a:pt x="11650" y="3889"/>
                    </a:lnTo>
                    <a:lnTo>
                      <a:pt x="11068" y="5261"/>
                    </a:lnTo>
                    <a:lnTo>
                      <a:pt x="10485" y="5261"/>
                    </a:lnTo>
                    <a:lnTo>
                      <a:pt x="9764" y="5261"/>
                    </a:lnTo>
                    <a:lnTo>
                      <a:pt x="9071" y="5261"/>
                    </a:lnTo>
                    <a:lnTo>
                      <a:pt x="8350" y="4739"/>
                    </a:lnTo>
                    <a:lnTo>
                      <a:pt x="7628" y="4739"/>
                    </a:lnTo>
                    <a:lnTo>
                      <a:pt x="7628" y="5752"/>
                    </a:lnTo>
                    <a:lnTo>
                      <a:pt x="6907" y="6601"/>
                    </a:lnTo>
                    <a:lnTo>
                      <a:pt x="6463" y="6601"/>
                    </a:lnTo>
                    <a:lnTo>
                      <a:pt x="6463" y="6765"/>
                    </a:lnTo>
                    <a:lnTo>
                      <a:pt x="5742" y="6765"/>
                    </a:lnTo>
                    <a:lnTo>
                      <a:pt x="5049" y="7092"/>
                    </a:lnTo>
                    <a:lnTo>
                      <a:pt x="5049" y="6275"/>
                    </a:lnTo>
                    <a:lnTo>
                      <a:pt x="5326" y="5752"/>
                    </a:lnTo>
                    <a:lnTo>
                      <a:pt x="5049" y="5261"/>
                    </a:lnTo>
                    <a:lnTo>
                      <a:pt x="4882" y="4412"/>
                    </a:lnTo>
                    <a:lnTo>
                      <a:pt x="4438" y="3889"/>
                    </a:lnTo>
                    <a:lnTo>
                      <a:pt x="4161" y="9641"/>
                    </a:lnTo>
                    <a:lnTo>
                      <a:pt x="3745" y="9641"/>
                    </a:lnTo>
                    <a:lnTo>
                      <a:pt x="3162" y="10163"/>
                    </a:lnTo>
                    <a:lnTo>
                      <a:pt x="3024" y="10359"/>
                    </a:lnTo>
                    <a:lnTo>
                      <a:pt x="2607" y="10163"/>
                    </a:lnTo>
                    <a:lnTo>
                      <a:pt x="1997" y="10163"/>
                    </a:lnTo>
                    <a:lnTo>
                      <a:pt x="1581" y="10163"/>
                    </a:lnTo>
                    <a:lnTo>
                      <a:pt x="860" y="9837"/>
                    </a:lnTo>
                    <a:lnTo>
                      <a:pt x="860" y="8954"/>
                    </a:lnTo>
                    <a:lnTo>
                      <a:pt x="749" y="8954"/>
                    </a:lnTo>
                    <a:lnTo>
                      <a:pt x="444" y="8954"/>
                    </a:lnTo>
                    <a:lnTo>
                      <a:pt x="166" y="9641"/>
                    </a:lnTo>
                    <a:lnTo>
                      <a:pt x="0" y="9837"/>
                    </a:lnTo>
                    <a:lnTo>
                      <a:pt x="166" y="10686"/>
                    </a:lnTo>
                    <a:lnTo>
                      <a:pt x="860" y="12516"/>
                    </a:lnTo>
                    <a:lnTo>
                      <a:pt x="1886" y="14706"/>
                    </a:lnTo>
                    <a:lnTo>
                      <a:pt x="1997" y="15556"/>
                    </a:lnTo>
                    <a:lnTo>
                      <a:pt x="1886" y="16438"/>
                    </a:lnTo>
                    <a:lnTo>
                      <a:pt x="1442" y="16438"/>
                    </a:lnTo>
                    <a:lnTo>
                      <a:pt x="1442" y="16765"/>
                    </a:lnTo>
                    <a:lnTo>
                      <a:pt x="1997" y="18105"/>
                    </a:lnTo>
                    <a:lnTo>
                      <a:pt x="1886" y="18954"/>
                    </a:lnTo>
                    <a:lnTo>
                      <a:pt x="1997" y="18954"/>
                    </a:lnTo>
                    <a:lnTo>
                      <a:pt x="1997" y="18627"/>
                    </a:lnTo>
                    <a:lnTo>
                      <a:pt x="2607" y="18627"/>
                    </a:lnTo>
                    <a:lnTo>
                      <a:pt x="2607" y="19118"/>
                    </a:lnTo>
                    <a:lnTo>
                      <a:pt x="2746" y="19118"/>
                    </a:lnTo>
                    <a:lnTo>
                      <a:pt x="3162" y="19641"/>
                    </a:lnTo>
                    <a:lnTo>
                      <a:pt x="3883" y="19967"/>
                    </a:lnTo>
                    <a:lnTo>
                      <a:pt x="4161" y="19444"/>
                    </a:lnTo>
                    <a:lnTo>
                      <a:pt x="4438" y="19118"/>
                    </a:lnTo>
                    <a:lnTo>
                      <a:pt x="5603" y="19118"/>
                    </a:lnTo>
                    <a:lnTo>
                      <a:pt x="6463" y="18954"/>
                    </a:lnTo>
                    <a:lnTo>
                      <a:pt x="6463" y="18627"/>
                    </a:lnTo>
                    <a:lnTo>
                      <a:pt x="7628" y="18627"/>
                    </a:lnTo>
                    <a:lnTo>
                      <a:pt x="8350" y="18627"/>
                    </a:lnTo>
                    <a:lnTo>
                      <a:pt x="9764" y="18954"/>
                    </a:lnTo>
                    <a:lnTo>
                      <a:pt x="9931" y="18627"/>
                    </a:lnTo>
                    <a:lnTo>
                      <a:pt x="10624" y="18627"/>
                    </a:lnTo>
                    <a:lnTo>
                      <a:pt x="10902" y="18301"/>
                    </a:lnTo>
                    <a:lnTo>
                      <a:pt x="11789" y="18301"/>
                    </a:lnTo>
                    <a:lnTo>
                      <a:pt x="14092" y="16438"/>
                    </a:lnTo>
                    <a:lnTo>
                      <a:pt x="15368" y="15098"/>
                    </a:lnTo>
                    <a:lnTo>
                      <a:pt x="16533" y="13889"/>
                    </a:lnTo>
                    <a:lnTo>
                      <a:pt x="16533" y="13366"/>
                    </a:lnTo>
                    <a:lnTo>
                      <a:pt x="17365" y="12353"/>
                    </a:lnTo>
                    <a:lnTo>
                      <a:pt x="17365" y="11830"/>
                    </a:lnTo>
                    <a:lnTo>
                      <a:pt x="18974" y="10163"/>
                    </a:lnTo>
                    <a:lnTo>
                      <a:pt x="19528" y="8824"/>
                    </a:lnTo>
                    <a:lnTo>
                      <a:pt x="19972" y="7484"/>
                    </a:lnTo>
                    <a:lnTo>
                      <a:pt x="19528" y="7484"/>
                    </a:lnTo>
                    <a:lnTo>
                      <a:pt x="18974" y="7092"/>
                    </a:lnTo>
                    <a:lnTo>
                      <a:pt x="18974" y="7614"/>
                    </a:lnTo>
                    <a:lnTo>
                      <a:pt x="18114" y="7614"/>
                    </a:lnTo>
                    <a:lnTo>
                      <a:pt x="17365" y="6601"/>
                    </a:lnTo>
                    <a:lnTo>
                      <a:pt x="18114" y="5752"/>
                    </a:lnTo>
                    <a:lnTo>
                      <a:pt x="18974" y="5752"/>
                    </a:lnTo>
                    <a:lnTo>
                      <a:pt x="18974" y="5425"/>
                    </a:lnTo>
                    <a:lnTo>
                      <a:pt x="18974" y="4412"/>
                    </a:lnTo>
                    <a:lnTo>
                      <a:pt x="18974" y="3235"/>
                    </a:lnTo>
                    <a:lnTo>
                      <a:pt x="18558" y="1863"/>
                    </a:lnTo>
                    <a:lnTo>
                      <a:pt x="18835" y="1373"/>
                    </a:lnTo>
                    <a:lnTo>
                      <a:pt x="18558" y="1209"/>
                    </a:lnTo>
                    <a:lnTo>
                      <a:pt x="18391" y="359"/>
                    </a:lnTo>
                    <a:lnTo>
                      <a:pt x="18114" y="0"/>
                    </a:lnTo>
                    <a:lnTo>
                      <a:pt x="17365" y="359"/>
                    </a:lnTo>
                    <a:lnTo>
                      <a:pt x="16671" y="0"/>
                    </a:lnTo>
                    <a:lnTo>
                      <a:pt x="15950" y="0"/>
                    </a:lnTo>
                    <a:lnTo>
                      <a:pt x="1550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6" name="Freeform 103"/>
              <p:cNvSpPr>
                <a:spLocks/>
              </p:cNvSpPr>
              <p:nvPr/>
            </p:nvSpPr>
            <p:spPr bwMode="auto">
              <a:xfrm>
                <a:off x="5732463" y="5286375"/>
                <a:ext cx="63500" cy="66675"/>
              </a:xfrm>
              <a:custGeom>
                <a:avLst/>
                <a:gdLst>
                  <a:gd name="T0" fmla="*/ 18586 w 20000"/>
                  <a:gd name="T1" fmla="*/ 12885 h 20000"/>
                  <a:gd name="T2" fmla="*/ 9495 w 20000"/>
                  <a:gd name="T3" fmla="*/ 14808 h 20000"/>
                  <a:gd name="T4" fmla="*/ 8283 w 20000"/>
                  <a:gd name="T5" fmla="*/ 19808 h 20000"/>
                  <a:gd name="T6" fmla="*/ 3232 w 20000"/>
                  <a:gd name="T7" fmla="*/ 17885 h 20000"/>
                  <a:gd name="T8" fmla="*/ 808 w 20000"/>
                  <a:gd name="T9" fmla="*/ 11923 h 20000"/>
                  <a:gd name="T10" fmla="*/ 0 w 20000"/>
                  <a:gd name="T11" fmla="*/ 9808 h 20000"/>
                  <a:gd name="T12" fmla="*/ 808 w 20000"/>
                  <a:gd name="T13" fmla="*/ 7885 h 20000"/>
                  <a:gd name="T14" fmla="*/ 5253 w 20000"/>
                  <a:gd name="T15" fmla="*/ 3077 h 20000"/>
                  <a:gd name="T16" fmla="*/ 13535 w 20000"/>
                  <a:gd name="T17" fmla="*/ 0 h 20000"/>
                  <a:gd name="T18" fmla="*/ 16566 w 20000"/>
                  <a:gd name="T19" fmla="*/ 1923 h 20000"/>
                  <a:gd name="T20" fmla="*/ 19798 w 20000"/>
                  <a:gd name="T21" fmla="*/ 6923 h 20000"/>
                  <a:gd name="T22" fmla="*/ 18586 w 20000"/>
                  <a:gd name="T23" fmla="*/ 9808 h 20000"/>
                  <a:gd name="T24" fmla="*/ 18586 w 20000"/>
                  <a:gd name="T25" fmla="*/ 1288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8586" y="12885"/>
                    </a:moveTo>
                    <a:lnTo>
                      <a:pt x="9495" y="14808"/>
                    </a:lnTo>
                    <a:lnTo>
                      <a:pt x="8283" y="19808"/>
                    </a:lnTo>
                    <a:lnTo>
                      <a:pt x="3232" y="17885"/>
                    </a:lnTo>
                    <a:lnTo>
                      <a:pt x="808" y="11923"/>
                    </a:lnTo>
                    <a:lnTo>
                      <a:pt x="0" y="9808"/>
                    </a:lnTo>
                    <a:lnTo>
                      <a:pt x="808" y="7885"/>
                    </a:lnTo>
                    <a:lnTo>
                      <a:pt x="5253" y="3077"/>
                    </a:lnTo>
                    <a:lnTo>
                      <a:pt x="13535" y="0"/>
                    </a:lnTo>
                    <a:lnTo>
                      <a:pt x="16566" y="1923"/>
                    </a:lnTo>
                    <a:lnTo>
                      <a:pt x="19798" y="6923"/>
                    </a:lnTo>
                    <a:lnTo>
                      <a:pt x="18586" y="9808"/>
                    </a:lnTo>
                    <a:lnTo>
                      <a:pt x="18586" y="1288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7" name="Freeform 102"/>
              <p:cNvSpPr>
                <a:spLocks/>
              </p:cNvSpPr>
              <p:nvPr/>
            </p:nvSpPr>
            <p:spPr bwMode="auto">
              <a:xfrm>
                <a:off x="5611813" y="3816350"/>
                <a:ext cx="460375" cy="536575"/>
              </a:xfrm>
              <a:custGeom>
                <a:avLst/>
                <a:gdLst>
                  <a:gd name="T0" fmla="*/ 17410 w 20000"/>
                  <a:gd name="T1" fmla="*/ 95 h 20000"/>
                  <a:gd name="T2" fmla="*/ 18127 w 20000"/>
                  <a:gd name="T3" fmla="*/ 1090 h 20000"/>
                  <a:gd name="T4" fmla="*/ 18567 w 20000"/>
                  <a:gd name="T5" fmla="*/ 3531 h 20000"/>
                  <a:gd name="T6" fmla="*/ 19835 w 20000"/>
                  <a:gd name="T7" fmla="*/ 4289 h 20000"/>
                  <a:gd name="T8" fmla="*/ 19835 w 20000"/>
                  <a:gd name="T9" fmla="*/ 5142 h 20000"/>
                  <a:gd name="T10" fmla="*/ 18843 w 20000"/>
                  <a:gd name="T11" fmla="*/ 5261 h 20000"/>
                  <a:gd name="T12" fmla="*/ 18402 w 20000"/>
                  <a:gd name="T13" fmla="*/ 5498 h 20000"/>
                  <a:gd name="T14" fmla="*/ 18127 w 20000"/>
                  <a:gd name="T15" fmla="*/ 6730 h 20000"/>
                  <a:gd name="T16" fmla="*/ 17410 w 20000"/>
                  <a:gd name="T17" fmla="*/ 9431 h 20000"/>
                  <a:gd name="T18" fmla="*/ 16832 w 20000"/>
                  <a:gd name="T19" fmla="*/ 10308 h 20000"/>
                  <a:gd name="T20" fmla="*/ 16116 w 20000"/>
                  <a:gd name="T21" fmla="*/ 12014 h 20000"/>
                  <a:gd name="T22" fmla="*/ 15427 w 20000"/>
                  <a:gd name="T23" fmla="*/ 12251 h 20000"/>
                  <a:gd name="T24" fmla="*/ 15124 w 20000"/>
                  <a:gd name="T25" fmla="*/ 13009 h 20000"/>
                  <a:gd name="T26" fmla="*/ 14986 w 20000"/>
                  <a:gd name="T27" fmla="*/ 14573 h 20000"/>
                  <a:gd name="T28" fmla="*/ 13554 w 20000"/>
                  <a:gd name="T29" fmla="*/ 14810 h 20000"/>
                  <a:gd name="T30" fmla="*/ 14408 w 20000"/>
                  <a:gd name="T31" fmla="*/ 15806 h 20000"/>
                  <a:gd name="T32" fmla="*/ 16116 w 20000"/>
                  <a:gd name="T33" fmla="*/ 17038 h 20000"/>
                  <a:gd name="T34" fmla="*/ 16556 w 20000"/>
                  <a:gd name="T35" fmla="*/ 18009 h 20000"/>
                  <a:gd name="T36" fmla="*/ 16997 w 20000"/>
                  <a:gd name="T37" fmla="*/ 18768 h 20000"/>
                  <a:gd name="T38" fmla="*/ 16556 w 20000"/>
                  <a:gd name="T39" fmla="*/ 18389 h 20000"/>
                  <a:gd name="T40" fmla="*/ 15124 w 20000"/>
                  <a:gd name="T41" fmla="*/ 19005 h 20000"/>
                  <a:gd name="T42" fmla="*/ 14242 w 20000"/>
                  <a:gd name="T43" fmla="*/ 19739 h 20000"/>
                  <a:gd name="T44" fmla="*/ 12562 w 20000"/>
                  <a:gd name="T45" fmla="*/ 19739 h 20000"/>
                  <a:gd name="T46" fmla="*/ 11983 w 20000"/>
                  <a:gd name="T47" fmla="*/ 19739 h 20000"/>
                  <a:gd name="T48" fmla="*/ 10854 w 20000"/>
                  <a:gd name="T49" fmla="*/ 19739 h 20000"/>
                  <a:gd name="T50" fmla="*/ 9394 w 20000"/>
                  <a:gd name="T51" fmla="*/ 18768 h 20000"/>
                  <a:gd name="T52" fmla="*/ 9118 w 20000"/>
                  <a:gd name="T53" fmla="*/ 19005 h 20000"/>
                  <a:gd name="T54" fmla="*/ 8430 w 20000"/>
                  <a:gd name="T55" fmla="*/ 18768 h 20000"/>
                  <a:gd name="T56" fmla="*/ 7989 w 20000"/>
                  <a:gd name="T57" fmla="*/ 19123 h 20000"/>
                  <a:gd name="T58" fmla="*/ 7135 w 20000"/>
                  <a:gd name="T59" fmla="*/ 18768 h 20000"/>
                  <a:gd name="T60" fmla="*/ 6584 w 20000"/>
                  <a:gd name="T61" fmla="*/ 18152 h 20000"/>
                  <a:gd name="T62" fmla="*/ 5702 w 20000"/>
                  <a:gd name="T63" fmla="*/ 17156 h 20000"/>
                  <a:gd name="T64" fmla="*/ 5289 w 20000"/>
                  <a:gd name="T65" fmla="*/ 16422 h 20000"/>
                  <a:gd name="T66" fmla="*/ 4848 w 20000"/>
                  <a:gd name="T67" fmla="*/ 16066 h 20000"/>
                  <a:gd name="T68" fmla="*/ 3829 w 20000"/>
                  <a:gd name="T69" fmla="*/ 15190 h 20000"/>
                  <a:gd name="T70" fmla="*/ 2700 w 20000"/>
                  <a:gd name="T71" fmla="*/ 14810 h 20000"/>
                  <a:gd name="T72" fmla="*/ 1983 w 20000"/>
                  <a:gd name="T73" fmla="*/ 14455 h 20000"/>
                  <a:gd name="T74" fmla="*/ 1846 w 20000"/>
                  <a:gd name="T75" fmla="*/ 13981 h 20000"/>
                  <a:gd name="T76" fmla="*/ 1983 w 20000"/>
                  <a:gd name="T77" fmla="*/ 13602 h 20000"/>
                  <a:gd name="T78" fmla="*/ 1129 w 20000"/>
                  <a:gd name="T79" fmla="*/ 12251 h 20000"/>
                  <a:gd name="T80" fmla="*/ 1129 w 20000"/>
                  <a:gd name="T81" fmla="*/ 11659 h 20000"/>
                  <a:gd name="T82" fmla="*/ 551 w 20000"/>
                  <a:gd name="T83" fmla="*/ 10900 h 20000"/>
                  <a:gd name="T84" fmla="*/ 441 w 20000"/>
                  <a:gd name="T85" fmla="*/ 10308 h 20000"/>
                  <a:gd name="T86" fmla="*/ 0 w 20000"/>
                  <a:gd name="T87" fmla="*/ 10308 h 20000"/>
                  <a:gd name="T88" fmla="*/ 441 w 20000"/>
                  <a:gd name="T89" fmla="*/ 9431 h 20000"/>
                  <a:gd name="T90" fmla="*/ 551 w 20000"/>
                  <a:gd name="T91" fmla="*/ 8460 h 20000"/>
                  <a:gd name="T92" fmla="*/ 551 w 20000"/>
                  <a:gd name="T93" fmla="*/ 7844 h 20000"/>
                  <a:gd name="T94" fmla="*/ 854 w 20000"/>
                  <a:gd name="T95" fmla="*/ 7109 h 20000"/>
                  <a:gd name="T96" fmla="*/ 2287 w 20000"/>
                  <a:gd name="T97" fmla="*/ 6730 h 20000"/>
                  <a:gd name="T98" fmla="*/ 2287 w 20000"/>
                  <a:gd name="T99" fmla="*/ 2322 h 20000"/>
                  <a:gd name="T100" fmla="*/ 3416 w 20000"/>
                  <a:gd name="T10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3416" y="0"/>
                    </a:moveTo>
                    <a:lnTo>
                      <a:pt x="17410" y="95"/>
                    </a:lnTo>
                    <a:lnTo>
                      <a:pt x="17686" y="711"/>
                    </a:lnTo>
                    <a:lnTo>
                      <a:pt x="18127" y="1090"/>
                    </a:lnTo>
                    <a:lnTo>
                      <a:pt x="17961" y="1090"/>
                    </a:lnTo>
                    <a:lnTo>
                      <a:pt x="18567" y="3531"/>
                    </a:lnTo>
                    <a:lnTo>
                      <a:pt x="19118" y="3910"/>
                    </a:lnTo>
                    <a:lnTo>
                      <a:pt x="19835" y="4289"/>
                    </a:lnTo>
                    <a:lnTo>
                      <a:pt x="19972" y="4526"/>
                    </a:lnTo>
                    <a:lnTo>
                      <a:pt x="19835" y="5142"/>
                    </a:lnTo>
                    <a:lnTo>
                      <a:pt x="19256" y="4882"/>
                    </a:lnTo>
                    <a:lnTo>
                      <a:pt x="18843" y="5261"/>
                    </a:lnTo>
                    <a:lnTo>
                      <a:pt x="18843" y="5498"/>
                    </a:lnTo>
                    <a:lnTo>
                      <a:pt x="18402" y="5498"/>
                    </a:lnTo>
                    <a:lnTo>
                      <a:pt x="18127" y="6137"/>
                    </a:lnTo>
                    <a:lnTo>
                      <a:pt x="18127" y="6730"/>
                    </a:lnTo>
                    <a:lnTo>
                      <a:pt x="17686" y="8081"/>
                    </a:lnTo>
                    <a:lnTo>
                      <a:pt x="17410" y="9431"/>
                    </a:lnTo>
                    <a:lnTo>
                      <a:pt x="17273" y="10047"/>
                    </a:lnTo>
                    <a:lnTo>
                      <a:pt x="16832" y="10308"/>
                    </a:lnTo>
                    <a:lnTo>
                      <a:pt x="16253" y="11019"/>
                    </a:lnTo>
                    <a:lnTo>
                      <a:pt x="16116" y="12014"/>
                    </a:lnTo>
                    <a:lnTo>
                      <a:pt x="15840" y="12251"/>
                    </a:lnTo>
                    <a:lnTo>
                      <a:pt x="15427" y="12251"/>
                    </a:lnTo>
                    <a:lnTo>
                      <a:pt x="15124" y="12630"/>
                    </a:lnTo>
                    <a:lnTo>
                      <a:pt x="15124" y="13009"/>
                    </a:lnTo>
                    <a:lnTo>
                      <a:pt x="14986" y="13483"/>
                    </a:lnTo>
                    <a:lnTo>
                      <a:pt x="14986" y="14573"/>
                    </a:lnTo>
                    <a:lnTo>
                      <a:pt x="14408" y="14810"/>
                    </a:lnTo>
                    <a:lnTo>
                      <a:pt x="13554" y="14810"/>
                    </a:lnTo>
                    <a:lnTo>
                      <a:pt x="13554" y="15427"/>
                    </a:lnTo>
                    <a:lnTo>
                      <a:pt x="14408" y="15806"/>
                    </a:lnTo>
                    <a:lnTo>
                      <a:pt x="15124" y="16422"/>
                    </a:lnTo>
                    <a:lnTo>
                      <a:pt x="16116" y="17038"/>
                    </a:lnTo>
                    <a:lnTo>
                      <a:pt x="16253" y="17512"/>
                    </a:lnTo>
                    <a:lnTo>
                      <a:pt x="16556" y="18009"/>
                    </a:lnTo>
                    <a:lnTo>
                      <a:pt x="16997" y="18009"/>
                    </a:lnTo>
                    <a:lnTo>
                      <a:pt x="16997" y="18768"/>
                    </a:lnTo>
                    <a:lnTo>
                      <a:pt x="16832" y="18768"/>
                    </a:lnTo>
                    <a:lnTo>
                      <a:pt x="16556" y="18389"/>
                    </a:lnTo>
                    <a:lnTo>
                      <a:pt x="15840" y="18768"/>
                    </a:lnTo>
                    <a:lnTo>
                      <a:pt x="15124" y="19005"/>
                    </a:lnTo>
                    <a:lnTo>
                      <a:pt x="14986" y="19360"/>
                    </a:lnTo>
                    <a:lnTo>
                      <a:pt x="14242" y="19739"/>
                    </a:lnTo>
                    <a:lnTo>
                      <a:pt x="13278" y="19739"/>
                    </a:lnTo>
                    <a:lnTo>
                      <a:pt x="12562" y="19739"/>
                    </a:lnTo>
                    <a:lnTo>
                      <a:pt x="12424" y="19976"/>
                    </a:lnTo>
                    <a:lnTo>
                      <a:pt x="11983" y="19739"/>
                    </a:lnTo>
                    <a:lnTo>
                      <a:pt x="10992" y="19597"/>
                    </a:lnTo>
                    <a:lnTo>
                      <a:pt x="10854" y="19739"/>
                    </a:lnTo>
                    <a:lnTo>
                      <a:pt x="9835" y="19123"/>
                    </a:lnTo>
                    <a:lnTo>
                      <a:pt x="9394" y="18768"/>
                    </a:lnTo>
                    <a:lnTo>
                      <a:pt x="9118" y="18768"/>
                    </a:lnTo>
                    <a:lnTo>
                      <a:pt x="9118" y="19005"/>
                    </a:lnTo>
                    <a:lnTo>
                      <a:pt x="8430" y="19005"/>
                    </a:lnTo>
                    <a:lnTo>
                      <a:pt x="8430" y="18768"/>
                    </a:lnTo>
                    <a:lnTo>
                      <a:pt x="8264" y="19005"/>
                    </a:lnTo>
                    <a:lnTo>
                      <a:pt x="7989" y="19123"/>
                    </a:lnTo>
                    <a:lnTo>
                      <a:pt x="7548" y="19005"/>
                    </a:lnTo>
                    <a:lnTo>
                      <a:pt x="7135" y="18768"/>
                    </a:lnTo>
                    <a:lnTo>
                      <a:pt x="7135" y="18389"/>
                    </a:lnTo>
                    <a:lnTo>
                      <a:pt x="6584" y="18152"/>
                    </a:lnTo>
                    <a:lnTo>
                      <a:pt x="6419" y="17512"/>
                    </a:lnTo>
                    <a:lnTo>
                      <a:pt x="5702" y="17156"/>
                    </a:lnTo>
                    <a:lnTo>
                      <a:pt x="5399" y="16540"/>
                    </a:lnTo>
                    <a:lnTo>
                      <a:pt x="5289" y="16422"/>
                    </a:lnTo>
                    <a:lnTo>
                      <a:pt x="4986" y="16422"/>
                    </a:lnTo>
                    <a:lnTo>
                      <a:pt x="4848" y="16066"/>
                    </a:lnTo>
                    <a:lnTo>
                      <a:pt x="4160" y="16066"/>
                    </a:lnTo>
                    <a:lnTo>
                      <a:pt x="3829" y="15190"/>
                    </a:lnTo>
                    <a:lnTo>
                      <a:pt x="3416" y="14810"/>
                    </a:lnTo>
                    <a:lnTo>
                      <a:pt x="2700" y="14810"/>
                    </a:lnTo>
                    <a:lnTo>
                      <a:pt x="2700" y="14455"/>
                    </a:lnTo>
                    <a:lnTo>
                      <a:pt x="1983" y="14455"/>
                    </a:lnTo>
                    <a:lnTo>
                      <a:pt x="1846" y="14218"/>
                    </a:lnTo>
                    <a:lnTo>
                      <a:pt x="1846" y="13981"/>
                    </a:lnTo>
                    <a:lnTo>
                      <a:pt x="1570" y="13839"/>
                    </a:lnTo>
                    <a:lnTo>
                      <a:pt x="1983" y="13602"/>
                    </a:lnTo>
                    <a:lnTo>
                      <a:pt x="1846" y="13009"/>
                    </a:lnTo>
                    <a:lnTo>
                      <a:pt x="1129" y="12251"/>
                    </a:lnTo>
                    <a:lnTo>
                      <a:pt x="854" y="12014"/>
                    </a:lnTo>
                    <a:lnTo>
                      <a:pt x="1129" y="11659"/>
                    </a:lnTo>
                    <a:lnTo>
                      <a:pt x="551" y="11398"/>
                    </a:lnTo>
                    <a:lnTo>
                      <a:pt x="551" y="10900"/>
                    </a:lnTo>
                    <a:lnTo>
                      <a:pt x="441" y="10403"/>
                    </a:lnTo>
                    <a:lnTo>
                      <a:pt x="441" y="10308"/>
                    </a:lnTo>
                    <a:lnTo>
                      <a:pt x="165" y="10047"/>
                    </a:lnTo>
                    <a:lnTo>
                      <a:pt x="0" y="10308"/>
                    </a:lnTo>
                    <a:lnTo>
                      <a:pt x="0" y="9810"/>
                    </a:lnTo>
                    <a:lnTo>
                      <a:pt x="441" y="9431"/>
                    </a:lnTo>
                    <a:lnTo>
                      <a:pt x="165" y="8815"/>
                    </a:lnTo>
                    <a:lnTo>
                      <a:pt x="551" y="8460"/>
                    </a:lnTo>
                    <a:lnTo>
                      <a:pt x="441" y="8081"/>
                    </a:lnTo>
                    <a:lnTo>
                      <a:pt x="551" y="7844"/>
                    </a:lnTo>
                    <a:lnTo>
                      <a:pt x="1129" y="7204"/>
                    </a:lnTo>
                    <a:lnTo>
                      <a:pt x="854" y="7109"/>
                    </a:lnTo>
                    <a:lnTo>
                      <a:pt x="1295" y="6872"/>
                    </a:lnTo>
                    <a:lnTo>
                      <a:pt x="2287" y="6730"/>
                    </a:lnTo>
                    <a:lnTo>
                      <a:pt x="2287" y="2701"/>
                    </a:lnTo>
                    <a:lnTo>
                      <a:pt x="2287" y="2322"/>
                    </a:lnTo>
                    <a:lnTo>
                      <a:pt x="3416" y="2322"/>
                    </a:lnTo>
                    <a:lnTo>
                      <a:pt x="341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8" name="Freeform 101"/>
              <p:cNvSpPr>
                <a:spLocks/>
              </p:cNvSpPr>
              <p:nvPr/>
            </p:nvSpPr>
            <p:spPr bwMode="auto">
              <a:xfrm>
                <a:off x="5837238" y="5207000"/>
                <a:ext cx="44450" cy="36513"/>
              </a:xfrm>
              <a:custGeom>
                <a:avLst/>
                <a:gdLst>
                  <a:gd name="T0" fmla="*/ 16812 w 20000"/>
                  <a:gd name="T1" fmla="*/ 0 h 20000"/>
                  <a:gd name="T2" fmla="*/ 19710 w 20000"/>
                  <a:gd name="T3" fmla="*/ 5517 h 20000"/>
                  <a:gd name="T4" fmla="*/ 16812 w 20000"/>
                  <a:gd name="T5" fmla="*/ 14138 h 20000"/>
                  <a:gd name="T6" fmla="*/ 16812 w 20000"/>
                  <a:gd name="T7" fmla="*/ 19655 h 20000"/>
                  <a:gd name="T8" fmla="*/ 7826 w 20000"/>
                  <a:gd name="T9" fmla="*/ 19655 h 20000"/>
                  <a:gd name="T10" fmla="*/ 0 w 20000"/>
                  <a:gd name="T11" fmla="*/ 8966 h 20000"/>
                  <a:gd name="T12" fmla="*/ 7826 w 20000"/>
                  <a:gd name="T13" fmla="*/ 0 h 20000"/>
                  <a:gd name="T14" fmla="*/ 16812 w 20000"/>
                  <a:gd name="T15" fmla="*/ 0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6812" y="0"/>
                    </a:moveTo>
                    <a:lnTo>
                      <a:pt x="19710" y="5517"/>
                    </a:lnTo>
                    <a:lnTo>
                      <a:pt x="16812" y="14138"/>
                    </a:lnTo>
                    <a:lnTo>
                      <a:pt x="16812" y="19655"/>
                    </a:lnTo>
                    <a:lnTo>
                      <a:pt x="7826" y="19655"/>
                    </a:lnTo>
                    <a:lnTo>
                      <a:pt x="0" y="8966"/>
                    </a:lnTo>
                    <a:lnTo>
                      <a:pt x="7826" y="0"/>
                    </a:lnTo>
                    <a:lnTo>
                      <a:pt x="1681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39" name="Freeform 100"/>
              <p:cNvSpPr>
                <a:spLocks/>
              </p:cNvSpPr>
              <p:nvPr/>
            </p:nvSpPr>
            <p:spPr bwMode="auto">
              <a:xfrm>
                <a:off x="5821363" y="4479925"/>
                <a:ext cx="303212" cy="306388"/>
              </a:xfrm>
              <a:custGeom>
                <a:avLst/>
                <a:gdLst>
                  <a:gd name="T0" fmla="*/ 2845 w 20000"/>
                  <a:gd name="T1" fmla="*/ 0 h 20000"/>
                  <a:gd name="T2" fmla="*/ 8452 w 20000"/>
                  <a:gd name="T3" fmla="*/ 0 h 20000"/>
                  <a:gd name="T4" fmla="*/ 15816 w 20000"/>
                  <a:gd name="T5" fmla="*/ 4058 h 20000"/>
                  <a:gd name="T6" fmla="*/ 18201 w 20000"/>
                  <a:gd name="T7" fmla="*/ 7288 h 20000"/>
                  <a:gd name="T8" fmla="*/ 17573 w 20000"/>
                  <a:gd name="T9" fmla="*/ 9896 h 20000"/>
                  <a:gd name="T10" fmla="*/ 18201 w 20000"/>
                  <a:gd name="T11" fmla="*/ 10932 h 20000"/>
                  <a:gd name="T12" fmla="*/ 18661 w 20000"/>
                  <a:gd name="T13" fmla="*/ 11843 h 20000"/>
                  <a:gd name="T14" fmla="*/ 18661 w 20000"/>
                  <a:gd name="T15" fmla="*/ 13085 h 20000"/>
                  <a:gd name="T16" fmla="*/ 18661 w 20000"/>
                  <a:gd name="T17" fmla="*/ 15487 h 20000"/>
                  <a:gd name="T18" fmla="*/ 19707 w 20000"/>
                  <a:gd name="T19" fmla="*/ 17184 h 20000"/>
                  <a:gd name="T20" fmla="*/ 19958 w 20000"/>
                  <a:gd name="T21" fmla="*/ 18012 h 20000"/>
                  <a:gd name="T22" fmla="*/ 17992 w 20000"/>
                  <a:gd name="T23" fmla="*/ 19089 h 20000"/>
                  <a:gd name="T24" fmla="*/ 16444 w 20000"/>
                  <a:gd name="T25" fmla="*/ 19710 h 20000"/>
                  <a:gd name="T26" fmla="*/ 15816 w 20000"/>
                  <a:gd name="T27" fmla="*/ 19296 h 20000"/>
                  <a:gd name="T28" fmla="*/ 14728 w 20000"/>
                  <a:gd name="T29" fmla="*/ 19959 h 20000"/>
                  <a:gd name="T30" fmla="*/ 13431 w 20000"/>
                  <a:gd name="T31" fmla="*/ 19959 h 20000"/>
                  <a:gd name="T32" fmla="*/ 11925 w 20000"/>
                  <a:gd name="T33" fmla="*/ 19710 h 20000"/>
                  <a:gd name="T34" fmla="*/ 10795 w 20000"/>
                  <a:gd name="T35" fmla="*/ 19710 h 20000"/>
                  <a:gd name="T36" fmla="*/ 9079 w 20000"/>
                  <a:gd name="T37" fmla="*/ 19710 h 20000"/>
                  <a:gd name="T38" fmla="*/ 8033 w 20000"/>
                  <a:gd name="T39" fmla="*/ 16315 h 20000"/>
                  <a:gd name="T40" fmla="*/ 6276 w 20000"/>
                  <a:gd name="T41" fmla="*/ 15487 h 20000"/>
                  <a:gd name="T42" fmla="*/ 5649 w 20000"/>
                  <a:gd name="T43" fmla="*/ 15238 h 20000"/>
                  <a:gd name="T44" fmla="*/ 4351 w 20000"/>
                  <a:gd name="T45" fmla="*/ 14824 h 20000"/>
                  <a:gd name="T46" fmla="*/ 3264 w 20000"/>
                  <a:gd name="T47" fmla="*/ 14576 h 20000"/>
                  <a:gd name="T48" fmla="*/ 1715 w 20000"/>
                  <a:gd name="T49" fmla="*/ 11843 h 20000"/>
                  <a:gd name="T50" fmla="*/ 0 w 20000"/>
                  <a:gd name="T51" fmla="*/ 9648 h 20000"/>
                  <a:gd name="T52" fmla="*/ 0 w 20000"/>
                  <a:gd name="T53" fmla="*/ 7288 h 20000"/>
                  <a:gd name="T54" fmla="*/ 1088 w 20000"/>
                  <a:gd name="T55" fmla="*/ 6253 h 20000"/>
                  <a:gd name="T56" fmla="*/ 2845 w 20000"/>
                  <a:gd name="T57" fmla="*/ 4513 h 20000"/>
                  <a:gd name="T58" fmla="*/ 2176 w 20000"/>
                  <a:gd name="T59" fmla="*/ 3478 h 20000"/>
                  <a:gd name="T60" fmla="*/ 2594 w 20000"/>
                  <a:gd name="T61" fmla="*/ 2816 h 20000"/>
                  <a:gd name="T62" fmla="*/ 2594 w 20000"/>
                  <a:gd name="T63" fmla="*/ 12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2176" y="248"/>
                    </a:moveTo>
                    <a:lnTo>
                      <a:pt x="2845" y="0"/>
                    </a:lnTo>
                    <a:lnTo>
                      <a:pt x="5649" y="0"/>
                    </a:lnTo>
                    <a:lnTo>
                      <a:pt x="8452" y="0"/>
                    </a:lnTo>
                    <a:lnTo>
                      <a:pt x="9079" y="0"/>
                    </a:lnTo>
                    <a:lnTo>
                      <a:pt x="15816" y="4058"/>
                    </a:lnTo>
                    <a:lnTo>
                      <a:pt x="15816" y="5176"/>
                    </a:lnTo>
                    <a:lnTo>
                      <a:pt x="18201" y="7288"/>
                    </a:lnTo>
                    <a:lnTo>
                      <a:pt x="17573" y="8571"/>
                    </a:lnTo>
                    <a:lnTo>
                      <a:pt x="17573" y="9896"/>
                    </a:lnTo>
                    <a:lnTo>
                      <a:pt x="17992" y="10725"/>
                    </a:lnTo>
                    <a:lnTo>
                      <a:pt x="18201" y="10932"/>
                    </a:lnTo>
                    <a:lnTo>
                      <a:pt x="18661" y="11346"/>
                    </a:lnTo>
                    <a:lnTo>
                      <a:pt x="18661" y="11843"/>
                    </a:lnTo>
                    <a:lnTo>
                      <a:pt x="18201" y="12008"/>
                    </a:lnTo>
                    <a:lnTo>
                      <a:pt x="18661" y="13085"/>
                    </a:lnTo>
                    <a:lnTo>
                      <a:pt x="18201" y="14161"/>
                    </a:lnTo>
                    <a:lnTo>
                      <a:pt x="18661" y="15487"/>
                    </a:lnTo>
                    <a:lnTo>
                      <a:pt x="18828" y="16936"/>
                    </a:lnTo>
                    <a:lnTo>
                      <a:pt x="19707" y="17184"/>
                    </a:lnTo>
                    <a:lnTo>
                      <a:pt x="19958" y="17598"/>
                    </a:lnTo>
                    <a:lnTo>
                      <a:pt x="19958" y="18012"/>
                    </a:lnTo>
                    <a:lnTo>
                      <a:pt x="19289" y="18675"/>
                    </a:lnTo>
                    <a:lnTo>
                      <a:pt x="17992" y="19089"/>
                    </a:lnTo>
                    <a:lnTo>
                      <a:pt x="17113" y="19296"/>
                    </a:lnTo>
                    <a:lnTo>
                      <a:pt x="16444" y="19710"/>
                    </a:lnTo>
                    <a:lnTo>
                      <a:pt x="16444" y="19296"/>
                    </a:lnTo>
                    <a:lnTo>
                      <a:pt x="15816" y="19296"/>
                    </a:lnTo>
                    <a:lnTo>
                      <a:pt x="15397" y="19710"/>
                    </a:lnTo>
                    <a:lnTo>
                      <a:pt x="14728" y="19959"/>
                    </a:lnTo>
                    <a:lnTo>
                      <a:pt x="13640" y="19959"/>
                    </a:lnTo>
                    <a:lnTo>
                      <a:pt x="13431" y="19959"/>
                    </a:lnTo>
                    <a:lnTo>
                      <a:pt x="12594" y="19959"/>
                    </a:lnTo>
                    <a:lnTo>
                      <a:pt x="11925" y="19710"/>
                    </a:lnTo>
                    <a:lnTo>
                      <a:pt x="11297" y="19959"/>
                    </a:lnTo>
                    <a:lnTo>
                      <a:pt x="10795" y="19710"/>
                    </a:lnTo>
                    <a:lnTo>
                      <a:pt x="9540" y="19959"/>
                    </a:lnTo>
                    <a:lnTo>
                      <a:pt x="9079" y="19710"/>
                    </a:lnTo>
                    <a:lnTo>
                      <a:pt x="9079" y="18675"/>
                    </a:lnTo>
                    <a:lnTo>
                      <a:pt x="8033" y="16315"/>
                    </a:lnTo>
                    <a:lnTo>
                      <a:pt x="7364" y="15901"/>
                    </a:lnTo>
                    <a:lnTo>
                      <a:pt x="6276" y="15487"/>
                    </a:lnTo>
                    <a:lnTo>
                      <a:pt x="6067" y="15487"/>
                    </a:lnTo>
                    <a:lnTo>
                      <a:pt x="5649" y="15238"/>
                    </a:lnTo>
                    <a:lnTo>
                      <a:pt x="4979" y="15238"/>
                    </a:lnTo>
                    <a:lnTo>
                      <a:pt x="4351" y="14824"/>
                    </a:lnTo>
                    <a:lnTo>
                      <a:pt x="3933" y="14576"/>
                    </a:lnTo>
                    <a:lnTo>
                      <a:pt x="3264" y="14576"/>
                    </a:lnTo>
                    <a:lnTo>
                      <a:pt x="2594" y="13540"/>
                    </a:lnTo>
                    <a:lnTo>
                      <a:pt x="1715" y="11843"/>
                    </a:lnTo>
                    <a:lnTo>
                      <a:pt x="669" y="10725"/>
                    </a:lnTo>
                    <a:lnTo>
                      <a:pt x="0" y="9648"/>
                    </a:lnTo>
                    <a:lnTo>
                      <a:pt x="0" y="8157"/>
                    </a:lnTo>
                    <a:lnTo>
                      <a:pt x="0" y="7288"/>
                    </a:lnTo>
                    <a:lnTo>
                      <a:pt x="0" y="6460"/>
                    </a:lnTo>
                    <a:lnTo>
                      <a:pt x="1088" y="6253"/>
                    </a:lnTo>
                    <a:lnTo>
                      <a:pt x="2176" y="5176"/>
                    </a:lnTo>
                    <a:lnTo>
                      <a:pt x="2845" y="4513"/>
                    </a:lnTo>
                    <a:lnTo>
                      <a:pt x="2845" y="3644"/>
                    </a:lnTo>
                    <a:lnTo>
                      <a:pt x="2176" y="3478"/>
                    </a:lnTo>
                    <a:lnTo>
                      <a:pt x="2176" y="3023"/>
                    </a:lnTo>
                    <a:lnTo>
                      <a:pt x="2594" y="2816"/>
                    </a:lnTo>
                    <a:lnTo>
                      <a:pt x="2594" y="2360"/>
                    </a:lnTo>
                    <a:lnTo>
                      <a:pt x="2594" y="1284"/>
                    </a:lnTo>
                    <a:lnTo>
                      <a:pt x="2176" y="2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0" name="Freeform 99"/>
              <p:cNvSpPr>
                <a:spLocks/>
              </p:cNvSpPr>
              <p:nvPr/>
            </p:nvSpPr>
            <p:spPr bwMode="auto">
              <a:xfrm>
                <a:off x="4986338" y="4138613"/>
                <a:ext cx="50800" cy="138112"/>
              </a:xfrm>
              <a:custGeom>
                <a:avLst/>
                <a:gdLst>
                  <a:gd name="T0" fmla="*/ 2532 w 20000"/>
                  <a:gd name="T1" fmla="*/ 0 h 20000"/>
                  <a:gd name="T2" fmla="*/ 5316 w 20000"/>
                  <a:gd name="T3" fmla="*/ 0 h 20000"/>
                  <a:gd name="T4" fmla="*/ 9367 w 20000"/>
                  <a:gd name="T5" fmla="*/ 0 h 20000"/>
                  <a:gd name="T6" fmla="*/ 11899 w 20000"/>
                  <a:gd name="T7" fmla="*/ 2396 h 20000"/>
                  <a:gd name="T8" fmla="*/ 15696 w 20000"/>
                  <a:gd name="T9" fmla="*/ 3779 h 20000"/>
                  <a:gd name="T10" fmla="*/ 17215 w 20000"/>
                  <a:gd name="T11" fmla="*/ 5622 h 20000"/>
                  <a:gd name="T12" fmla="*/ 19747 w 20000"/>
                  <a:gd name="T13" fmla="*/ 7097 h 20000"/>
                  <a:gd name="T14" fmla="*/ 19747 w 20000"/>
                  <a:gd name="T15" fmla="*/ 17143 h 20000"/>
                  <a:gd name="T16" fmla="*/ 19747 w 20000"/>
                  <a:gd name="T17" fmla="*/ 17512 h 20000"/>
                  <a:gd name="T18" fmla="*/ 19747 w 20000"/>
                  <a:gd name="T19" fmla="*/ 19447 h 20000"/>
                  <a:gd name="T20" fmla="*/ 17215 w 20000"/>
                  <a:gd name="T21" fmla="*/ 19447 h 20000"/>
                  <a:gd name="T22" fmla="*/ 13165 w 20000"/>
                  <a:gd name="T23" fmla="*/ 19908 h 20000"/>
                  <a:gd name="T24" fmla="*/ 9367 w 20000"/>
                  <a:gd name="T25" fmla="*/ 18525 h 20000"/>
                  <a:gd name="T26" fmla="*/ 6582 w 20000"/>
                  <a:gd name="T27" fmla="*/ 15668 h 20000"/>
                  <a:gd name="T28" fmla="*/ 6582 w 20000"/>
                  <a:gd name="T29" fmla="*/ 13272 h 20000"/>
                  <a:gd name="T30" fmla="*/ 6582 w 20000"/>
                  <a:gd name="T31" fmla="*/ 11429 h 20000"/>
                  <a:gd name="T32" fmla="*/ 9367 w 20000"/>
                  <a:gd name="T33" fmla="*/ 9954 h 20000"/>
                  <a:gd name="T34" fmla="*/ 6582 w 20000"/>
                  <a:gd name="T35" fmla="*/ 8479 h 20000"/>
                  <a:gd name="T36" fmla="*/ 6582 w 20000"/>
                  <a:gd name="T37" fmla="*/ 7558 h 20000"/>
                  <a:gd name="T38" fmla="*/ 6582 w 20000"/>
                  <a:gd name="T39" fmla="*/ 6175 h 20000"/>
                  <a:gd name="T40" fmla="*/ 2532 w 20000"/>
                  <a:gd name="T41" fmla="*/ 5622 h 20000"/>
                  <a:gd name="T42" fmla="*/ 5316 w 20000"/>
                  <a:gd name="T43" fmla="*/ 3779 h 20000"/>
                  <a:gd name="T44" fmla="*/ 5316 w 20000"/>
                  <a:gd name="T45" fmla="*/ 2396 h 20000"/>
                  <a:gd name="T46" fmla="*/ 0 w 20000"/>
                  <a:gd name="T47" fmla="*/ 922 h 20000"/>
                  <a:gd name="T48" fmla="*/ 2532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2532" y="0"/>
                    </a:moveTo>
                    <a:lnTo>
                      <a:pt x="5316" y="0"/>
                    </a:lnTo>
                    <a:lnTo>
                      <a:pt x="9367" y="0"/>
                    </a:lnTo>
                    <a:lnTo>
                      <a:pt x="11899" y="2396"/>
                    </a:lnTo>
                    <a:lnTo>
                      <a:pt x="15696" y="3779"/>
                    </a:lnTo>
                    <a:lnTo>
                      <a:pt x="17215" y="5622"/>
                    </a:lnTo>
                    <a:lnTo>
                      <a:pt x="19747" y="7097"/>
                    </a:lnTo>
                    <a:lnTo>
                      <a:pt x="19747" y="17143"/>
                    </a:lnTo>
                    <a:lnTo>
                      <a:pt x="19747" y="17512"/>
                    </a:lnTo>
                    <a:lnTo>
                      <a:pt x="19747" y="19447"/>
                    </a:lnTo>
                    <a:lnTo>
                      <a:pt x="17215" y="19447"/>
                    </a:lnTo>
                    <a:lnTo>
                      <a:pt x="13165" y="19908"/>
                    </a:lnTo>
                    <a:lnTo>
                      <a:pt x="9367" y="18525"/>
                    </a:lnTo>
                    <a:lnTo>
                      <a:pt x="6582" y="15668"/>
                    </a:lnTo>
                    <a:lnTo>
                      <a:pt x="6582" y="13272"/>
                    </a:lnTo>
                    <a:lnTo>
                      <a:pt x="6582" y="11429"/>
                    </a:lnTo>
                    <a:lnTo>
                      <a:pt x="9367" y="9954"/>
                    </a:lnTo>
                    <a:lnTo>
                      <a:pt x="6582" y="8479"/>
                    </a:lnTo>
                    <a:lnTo>
                      <a:pt x="6582" y="7558"/>
                    </a:lnTo>
                    <a:lnTo>
                      <a:pt x="6582" y="6175"/>
                    </a:lnTo>
                    <a:lnTo>
                      <a:pt x="2532" y="5622"/>
                    </a:lnTo>
                    <a:lnTo>
                      <a:pt x="5316" y="3779"/>
                    </a:lnTo>
                    <a:lnTo>
                      <a:pt x="5316" y="2396"/>
                    </a:lnTo>
                    <a:lnTo>
                      <a:pt x="0" y="922"/>
                    </a:lnTo>
                    <a:lnTo>
                      <a:pt x="253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1" name="Freeform 98"/>
              <p:cNvSpPr>
                <a:spLocks/>
              </p:cNvSpPr>
              <p:nvPr/>
            </p:nvSpPr>
            <p:spPr bwMode="auto">
              <a:xfrm>
                <a:off x="5372100" y="3778250"/>
                <a:ext cx="292100" cy="463550"/>
              </a:xfrm>
              <a:custGeom>
                <a:avLst/>
                <a:gdLst>
                  <a:gd name="T0" fmla="*/ 4685 w 20000"/>
                  <a:gd name="T1" fmla="*/ 0 h 20000"/>
                  <a:gd name="T2" fmla="*/ 19957 w 20000"/>
                  <a:gd name="T3" fmla="*/ 9507 h 20000"/>
                  <a:gd name="T4" fmla="*/ 17744 w 20000"/>
                  <a:gd name="T5" fmla="*/ 9918 h 20000"/>
                  <a:gd name="T6" fmla="*/ 17267 w 20000"/>
                  <a:gd name="T7" fmla="*/ 10767 h 20000"/>
                  <a:gd name="T8" fmla="*/ 17267 w 20000"/>
                  <a:gd name="T9" fmla="*/ 11479 h 20000"/>
                  <a:gd name="T10" fmla="*/ 17050 w 20000"/>
                  <a:gd name="T11" fmla="*/ 12603 h 20000"/>
                  <a:gd name="T12" fmla="*/ 16356 w 20000"/>
                  <a:gd name="T13" fmla="*/ 13616 h 20000"/>
                  <a:gd name="T14" fmla="*/ 17050 w 20000"/>
                  <a:gd name="T15" fmla="*/ 13616 h 20000"/>
                  <a:gd name="T16" fmla="*/ 17267 w 20000"/>
                  <a:gd name="T17" fmla="*/ 14329 h 20000"/>
                  <a:gd name="T18" fmla="*/ 18178 w 20000"/>
                  <a:gd name="T19" fmla="*/ 15178 h 20000"/>
                  <a:gd name="T20" fmla="*/ 17050 w 20000"/>
                  <a:gd name="T21" fmla="*/ 15616 h 20000"/>
                  <a:gd name="T22" fmla="*/ 15445 w 20000"/>
                  <a:gd name="T23" fmla="*/ 16575 h 20000"/>
                  <a:gd name="T24" fmla="*/ 14100 w 20000"/>
                  <a:gd name="T25" fmla="*/ 17288 h 20000"/>
                  <a:gd name="T26" fmla="*/ 13015 w 20000"/>
                  <a:gd name="T27" fmla="*/ 17699 h 20000"/>
                  <a:gd name="T28" fmla="*/ 10542 w 20000"/>
                  <a:gd name="T29" fmla="*/ 18137 h 20000"/>
                  <a:gd name="T30" fmla="*/ 10542 w 20000"/>
                  <a:gd name="T31" fmla="*/ 18849 h 20000"/>
                  <a:gd name="T32" fmla="*/ 8980 w 20000"/>
                  <a:gd name="T33" fmla="*/ 18986 h 20000"/>
                  <a:gd name="T34" fmla="*/ 7809 w 20000"/>
                  <a:gd name="T35" fmla="*/ 18986 h 20000"/>
                  <a:gd name="T36" fmla="*/ 6030 w 20000"/>
                  <a:gd name="T37" fmla="*/ 19534 h 20000"/>
                  <a:gd name="T38" fmla="*/ 4685 w 20000"/>
                  <a:gd name="T39" fmla="*/ 19699 h 20000"/>
                  <a:gd name="T40" fmla="*/ 3991 w 20000"/>
                  <a:gd name="T41" fmla="*/ 19534 h 20000"/>
                  <a:gd name="T42" fmla="*/ 3124 w 20000"/>
                  <a:gd name="T43" fmla="*/ 18411 h 20000"/>
                  <a:gd name="T44" fmla="*/ 1128 w 20000"/>
                  <a:gd name="T45" fmla="*/ 17288 h 20000"/>
                  <a:gd name="T46" fmla="*/ 2213 w 20000"/>
                  <a:gd name="T47" fmla="*/ 16740 h 20000"/>
                  <a:gd name="T48" fmla="*/ 3124 w 20000"/>
                  <a:gd name="T49" fmla="*/ 16301 h 20000"/>
                  <a:gd name="T50" fmla="*/ 2907 w 20000"/>
                  <a:gd name="T51" fmla="*/ 14877 h 20000"/>
                  <a:gd name="T52" fmla="*/ 2473 w 20000"/>
                  <a:gd name="T53" fmla="*/ 13616 h 20000"/>
                  <a:gd name="T54" fmla="*/ 1779 w 20000"/>
                  <a:gd name="T55" fmla="*/ 12877 h 20000"/>
                  <a:gd name="T56" fmla="*/ 694 w 20000"/>
                  <a:gd name="T57" fmla="*/ 12603 h 20000"/>
                  <a:gd name="T58" fmla="*/ 0 w 20000"/>
                  <a:gd name="T59" fmla="*/ 11315 h 20000"/>
                  <a:gd name="T60" fmla="*/ 694 w 20000"/>
                  <a:gd name="T61" fmla="*/ 10356 h 20000"/>
                  <a:gd name="T62" fmla="*/ 3991 w 20000"/>
                  <a:gd name="T63" fmla="*/ 4082 h 20000"/>
                  <a:gd name="T64" fmla="*/ 3557 w 20000"/>
                  <a:gd name="T65" fmla="*/ 3260 h 20000"/>
                  <a:gd name="T66" fmla="*/ 2907 w 20000"/>
                  <a:gd name="T67" fmla="*/ 2411 h 20000"/>
                  <a:gd name="T68" fmla="*/ 2473 w 20000"/>
                  <a:gd name="T69" fmla="*/ 54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2473" y="548"/>
                    </a:moveTo>
                    <a:lnTo>
                      <a:pt x="4685" y="0"/>
                    </a:lnTo>
                    <a:lnTo>
                      <a:pt x="19957" y="4822"/>
                    </a:lnTo>
                    <a:lnTo>
                      <a:pt x="19957" y="9507"/>
                    </a:lnTo>
                    <a:lnTo>
                      <a:pt x="18395" y="9644"/>
                    </a:lnTo>
                    <a:lnTo>
                      <a:pt x="17744" y="9918"/>
                    </a:lnTo>
                    <a:lnTo>
                      <a:pt x="18178" y="10055"/>
                    </a:lnTo>
                    <a:lnTo>
                      <a:pt x="17267" y="10767"/>
                    </a:lnTo>
                    <a:lnTo>
                      <a:pt x="17050" y="11041"/>
                    </a:lnTo>
                    <a:lnTo>
                      <a:pt x="17267" y="11479"/>
                    </a:lnTo>
                    <a:lnTo>
                      <a:pt x="16616" y="11918"/>
                    </a:lnTo>
                    <a:lnTo>
                      <a:pt x="17050" y="12603"/>
                    </a:lnTo>
                    <a:lnTo>
                      <a:pt x="16356" y="13041"/>
                    </a:lnTo>
                    <a:lnTo>
                      <a:pt x="16356" y="13616"/>
                    </a:lnTo>
                    <a:lnTo>
                      <a:pt x="16616" y="13315"/>
                    </a:lnTo>
                    <a:lnTo>
                      <a:pt x="17050" y="13616"/>
                    </a:lnTo>
                    <a:lnTo>
                      <a:pt x="17050" y="13753"/>
                    </a:lnTo>
                    <a:lnTo>
                      <a:pt x="17267" y="14329"/>
                    </a:lnTo>
                    <a:lnTo>
                      <a:pt x="17267" y="14877"/>
                    </a:lnTo>
                    <a:lnTo>
                      <a:pt x="18178" y="15178"/>
                    </a:lnTo>
                    <a:lnTo>
                      <a:pt x="17744" y="15616"/>
                    </a:lnTo>
                    <a:lnTo>
                      <a:pt x="17050" y="15616"/>
                    </a:lnTo>
                    <a:lnTo>
                      <a:pt x="15922" y="15890"/>
                    </a:lnTo>
                    <a:lnTo>
                      <a:pt x="15445" y="16575"/>
                    </a:lnTo>
                    <a:lnTo>
                      <a:pt x="14794" y="16740"/>
                    </a:lnTo>
                    <a:lnTo>
                      <a:pt x="14100" y="17288"/>
                    </a:lnTo>
                    <a:lnTo>
                      <a:pt x="13666" y="17425"/>
                    </a:lnTo>
                    <a:lnTo>
                      <a:pt x="13015" y="17699"/>
                    </a:lnTo>
                    <a:lnTo>
                      <a:pt x="11193" y="17863"/>
                    </a:lnTo>
                    <a:lnTo>
                      <a:pt x="10542" y="18137"/>
                    </a:lnTo>
                    <a:lnTo>
                      <a:pt x="10759" y="18411"/>
                    </a:lnTo>
                    <a:lnTo>
                      <a:pt x="10542" y="18849"/>
                    </a:lnTo>
                    <a:lnTo>
                      <a:pt x="9414" y="18986"/>
                    </a:lnTo>
                    <a:lnTo>
                      <a:pt x="8980" y="18986"/>
                    </a:lnTo>
                    <a:lnTo>
                      <a:pt x="8330" y="19260"/>
                    </a:lnTo>
                    <a:lnTo>
                      <a:pt x="7809" y="18986"/>
                    </a:lnTo>
                    <a:lnTo>
                      <a:pt x="6941" y="19260"/>
                    </a:lnTo>
                    <a:lnTo>
                      <a:pt x="6030" y="19534"/>
                    </a:lnTo>
                    <a:lnTo>
                      <a:pt x="5857" y="19260"/>
                    </a:lnTo>
                    <a:lnTo>
                      <a:pt x="4685" y="19699"/>
                    </a:lnTo>
                    <a:lnTo>
                      <a:pt x="3991" y="19973"/>
                    </a:lnTo>
                    <a:lnTo>
                      <a:pt x="3991" y="19534"/>
                    </a:lnTo>
                    <a:lnTo>
                      <a:pt x="3557" y="19260"/>
                    </a:lnTo>
                    <a:lnTo>
                      <a:pt x="3124" y="18411"/>
                    </a:lnTo>
                    <a:lnTo>
                      <a:pt x="2473" y="18137"/>
                    </a:lnTo>
                    <a:lnTo>
                      <a:pt x="1128" y="17288"/>
                    </a:lnTo>
                    <a:lnTo>
                      <a:pt x="1345" y="16740"/>
                    </a:lnTo>
                    <a:lnTo>
                      <a:pt x="2213" y="16740"/>
                    </a:lnTo>
                    <a:lnTo>
                      <a:pt x="3991" y="16740"/>
                    </a:lnTo>
                    <a:lnTo>
                      <a:pt x="3124" y="16301"/>
                    </a:lnTo>
                    <a:lnTo>
                      <a:pt x="2907" y="15616"/>
                    </a:lnTo>
                    <a:lnTo>
                      <a:pt x="2907" y="14877"/>
                    </a:lnTo>
                    <a:lnTo>
                      <a:pt x="2907" y="14329"/>
                    </a:lnTo>
                    <a:lnTo>
                      <a:pt x="2473" y="13616"/>
                    </a:lnTo>
                    <a:lnTo>
                      <a:pt x="1779" y="13315"/>
                    </a:lnTo>
                    <a:lnTo>
                      <a:pt x="1779" y="12877"/>
                    </a:lnTo>
                    <a:lnTo>
                      <a:pt x="1128" y="12877"/>
                    </a:lnTo>
                    <a:lnTo>
                      <a:pt x="694" y="12603"/>
                    </a:lnTo>
                    <a:lnTo>
                      <a:pt x="0" y="11918"/>
                    </a:lnTo>
                    <a:lnTo>
                      <a:pt x="0" y="11315"/>
                    </a:lnTo>
                    <a:lnTo>
                      <a:pt x="174" y="10767"/>
                    </a:lnTo>
                    <a:lnTo>
                      <a:pt x="694" y="10356"/>
                    </a:lnTo>
                    <a:lnTo>
                      <a:pt x="3557" y="8055"/>
                    </a:lnTo>
                    <a:lnTo>
                      <a:pt x="3991" y="4082"/>
                    </a:lnTo>
                    <a:lnTo>
                      <a:pt x="4252" y="3973"/>
                    </a:lnTo>
                    <a:lnTo>
                      <a:pt x="3557" y="3260"/>
                    </a:lnTo>
                    <a:lnTo>
                      <a:pt x="3557" y="2849"/>
                    </a:lnTo>
                    <a:lnTo>
                      <a:pt x="2907" y="2411"/>
                    </a:lnTo>
                    <a:lnTo>
                      <a:pt x="2907" y="1397"/>
                    </a:lnTo>
                    <a:lnTo>
                      <a:pt x="2473" y="5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2" name="Freeform 97"/>
              <p:cNvSpPr>
                <a:spLocks/>
              </p:cNvSpPr>
              <p:nvPr/>
            </p:nvSpPr>
            <p:spPr bwMode="auto">
              <a:xfrm>
                <a:off x="5197475" y="3343275"/>
                <a:ext cx="115888" cy="223838"/>
              </a:xfrm>
              <a:custGeom>
                <a:avLst/>
                <a:gdLst>
                  <a:gd name="T0" fmla="*/ 5055 w 20000"/>
                  <a:gd name="T1" fmla="*/ 1473 h 20000"/>
                  <a:gd name="T2" fmla="*/ 6703 w 20000"/>
                  <a:gd name="T3" fmla="*/ 340 h 20000"/>
                  <a:gd name="T4" fmla="*/ 9560 w 20000"/>
                  <a:gd name="T5" fmla="*/ 0 h 20000"/>
                  <a:gd name="T6" fmla="*/ 11868 w 20000"/>
                  <a:gd name="T7" fmla="*/ 340 h 20000"/>
                  <a:gd name="T8" fmla="*/ 12527 w 20000"/>
                  <a:gd name="T9" fmla="*/ 1756 h 20000"/>
                  <a:gd name="T10" fmla="*/ 15385 w 20000"/>
                  <a:gd name="T11" fmla="*/ 907 h 20000"/>
                  <a:gd name="T12" fmla="*/ 16484 w 20000"/>
                  <a:gd name="T13" fmla="*/ 1473 h 20000"/>
                  <a:gd name="T14" fmla="*/ 14286 w 20000"/>
                  <a:gd name="T15" fmla="*/ 2323 h 20000"/>
                  <a:gd name="T16" fmla="*/ 13626 w 20000"/>
                  <a:gd name="T17" fmla="*/ 3796 h 20000"/>
                  <a:gd name="T18" fmla="*/ 15385 w 20000"/>
                  <a:gd name="T19" fmla="*/ 4646 h 20000"/>
                  <a:gd name="T20" fmla="*/ 16484 w 20000"/>
                  <a:gd name="T21" fmla="*/ 6176 h 20000"/>
                  <a:gd name="T22" fmla="*/ 14286 w 20000"/>
                  <a:gd name="T23" fmla="*/ 7649 h 20000"/>
                  <a:gd name="T24" fmla="*/ 11868 w 20000"/>
                  <a:gd name="T25" fmla="*/ 9065 h 20000"/>
                  <a:gd name="T26" fmla="*/ 12527 w 20000"/>
                  <a:gd name="T27" fmla="*/ 10312 h 20000"/>
                  <a:gd name="T28" fmla="*/ 14286 w 20000"/>
                  <a:gd name="T29" fmla="*/ 10312 h 20000"/>
                  <a:gd name="T30" fmla="*/ 14286 w 20000"/>
                  <a:gd name="T31" fmla="*/ 10878 h 20000"/>
                  <a:gd name="T32" fmla="*/ 16484 w 20000"/>
                  <a:gd name="T33" fmla="*/ 10878 h 20000"/>
                  <a:gd name="T34" fmla="*/ 17033 w 20000"/>
                  <a:gd name="T35" fmla="*/ 11445 h 20000"/>
                  <a:gd name="T36" fmla="*/ 18791 w 20000"/>
                  <a:gd name="T37" fmla="*/ 12295 h 20000"/>
                  <a:gd name="T38" fmla="*/ 18791 w 20000"/>
                  <a:gd name="T39" fmla="*/ 13201 h 20000"/>
                  <a:gd name="T40" fmla="*/ 19890 w 20000"/>
                  <a:gd name="T41" fmla="*/ 14051 h 20000"/>
                  <a:gd name="T42" fmla="*/ 16484 w 20000"/>
                  <a:gd name="T43" fmla="*/ 14618 h 20000"/>
                  <a:gd name="T44" fmla="*/ 12527 w 20000"/>
                  <a:gd name="T45" fmla="*/ 16431 h 20000"/>
                  <a:gd name="T46" fmla="*/ 13626 w 20000"/>
                  <a:gd name="T47" fmla="*/ 18470 h 20000"/>
                  <a:gd name="T48" fmla="*/ 10769 w 20000"/>
                  <a:gd name="T49" fmla="*/ 19943 h 20000"/>
                  <a:gd name="T50" fmla="*/ 9560 w 20000"/>
                  <a:gd name="T51" fmla="*/ 19943 h 20000"/>
                  <a:gd name="T52" fmla="*/ 8022 w 20000"/>
                  <a:gd name="T53" fmla="*/ 14618 h 20000"/>
                  <a:gd name="T54" fmla="*/ 4505 w 20000"/>
                  <a:gd name="T55" fmla="*/ 13768 h 20000"/>
                  <a:gd name="T56" fmla="*/ 3297 w 20000"/>
                  <a:gd name="T57" fmla="*/ 11728 h 20000"/>
                  <a:gd name="T58" fmla="*/ 1648 w 20000"/>
                  <a:gd name="T59" fmla="*/ 11445 h 20000"/>
                  <a:gd name="T60" fmla="*/ 0 w 20000"/>
                  <a:gd name="T61" fmla="*/ 9405 h 20000"/>
                  <a:gd name="T62" fmla="*/ 3297 w 20000"/>
                  <a:gd name="T63" fmla="*/ 7082 h 20000"/>
                  <a:gd name="T64" fmla="*/ 3297 w 20000"/>
                  <a:gd name="T65" fmla="*/ 4646 h 20000"/>
                  <a:gd name="T66" fmla="*/ 3297 w 20000"/>
                  <a:gd name="T67" fmla="*/ 2946 h 20000"/>
                  <a:gd name="T68" fmla="*/ 3297 w 20000"/>
                  <a:gd name="T69" fmla="*/ 2323 h 20000"/>
                  <a:gd name="T70" fmla="*/ 5055 w 20000"/>
                  <a:gd name="T71" fmla="*/ 1756 h 20000"/>
                  <a:gd name="T72" fmla="*/ 5055 w 20000"/>
                  <a:gd name="T73" fmla="*/ 147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5055" y="1473"/>
                    </a:moveTo>
                    <a:lnTo>
                      <a:pt x="6703" y="340"/>
                    </a:lnTo>
                    <a:lnTo>
                      <a:pt x="9560" y="0"/>
                    </a:lnTo>
                    <a:lnTo>
                      <a:pt x="11868" y="340"/>
                    </a:lnTo>
                    <a:lnTo>
                      <a:pt x="12527" y="1756"/>
                    </a:lnTo>
                    <a:lnTo>
                      <a:pt x="15385" y="907"/>
                    </a:lnTo>
                    <a:lnTo>
                      <a:pt x="16484" y="1473"/>
                    </a:lnTo>
                    <a:lnTo>
                      <a:pt x="14286" y="2323"/>
                    </a:lnTo>
                    <a:lnTo>
                      <a:pt x="13626" y="3796"/>
                    </a:lnTo>
                    <a:lnTo>
                      <a:pt x="15385" y="4646"/>
                    </a:lnTo>
                    <a:lnTo>
                      <a:pt x="16484" y="6176"/>
                    </a:lnTo>
                    <a:lnTo>
                      <a:pt x="14286" y="7649"/>
                    </a:lnTo>
                    <a:lnTo>
                      <a:pt x="11868" y="9065"/>
                    </a:lnTo>
                    <a:lnTo>
                      <a:pt x="12527" y="10312"/>
                    </a:lnTo>
                    <a:lnTo>
                      <a:pt x="14286" y="10312"/>
                    </a:lnTo>
                    <a:lnTo>
                      <a:pt x="14286" y="10878"/>
                    </a:lnTo>
                    <a:lnTo>
                      <a:pt x="16484" y="10878"/>
                    </a:lnTo>
                    <a:lnTo>
                      <a:pt x="17033" y="11445"/>
                    </a:lnTo>
                    <a:lnTo>
                      <a:pt x="18791" y="12295"/>
                    </a:lnTo>
                    <a:lnTo>
                      <a:pt x="18791" y="13201"/>
                    </a:lnTo>
                    <a:lnTo>
                      <a:pt x="19890" y="14051"/>
                    </a:lnTo>
                    <a:lnTo>
                      <a:pt x="16484" y="14618"/>
                    </a:lnTo>
                    <a:lnTo>
                      <a:pt x="12527" y="16431"/>
                    </a:lnTo>
                    <a:lnTo>
                      <a:pt x="13626" y="18470"/>
                    </a:lnTo>
                    <a:lnTo>
                      <a:pt x="10769" y="19943"/>
                    </a:lnTo>
                    <a:lnTo>
                      <a:pt x="9560" y="19943"/>
                    </a:lnTo>
                    <a:lnTo>
                      <a:pt x="8022" y="14618"/>
                    </a:lnTo>
                    <a:lnTo>
                      <a:pt x="4505" y="13768"/>
                    </a:lnTo>
                    <a:lnTo>
                      <a:pt x="3297" y="11728"/>
                    </a:lnTo>
                    <a:lnTo>
                      <a:pt x="1648" y="11445"/>
                    </a:lnTo>
                    <a:lnTo>
                      <a:pt x="0" y="9405"/>
                    </a:lnTo>
                    <a:lnTo>
                      <a:pt x="3297" y="7082"/>
                    </a:lnTo>
                    <a:lnTo>
                      <a:pt x="3297" y="4646"/>
                    </a:lnTo>
                    <a:lnTo>
                      <a:pt x="3297" y="2946"/>
                    </a:lnTo>
                    <a:lnTo>
                      <a:pt x="3297" y="2323"/>
                    </a:lnTo>
                    <a:lnTo>
                      <a:pt x="5055" y="1756"/>
                    </a:lnTo>
                    <a:lnTo>
                      <a:pt x="5055" y="147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3" name="Freeform 96"/>
              <p:cNvSpPr>
                <a:spLocks/>
              </p:cNvSpPr>
              <p:nvPr/>
            </p:nvSpPr>
            <p:spPr bwMode="auto">
              <a:xfrm>
                <a:off x="5827713" y="4335463"/>
                <a:ext cx="155575" cy="158750"/>
              </a:xfrm>
              <a:custGeom>
                <a:avLst/>
                <a:gdLst>
                  <a:gd name="T0" fmla="*/ 4245 w 20000"/>
                  <a:gd name="T1" fmla="*/ 1280 h 20000"/>
                  <a:gd name="T2" fmla="*/ 4735 w 20000"/>
                  <a:gd name="T3" fmla="*/ 800 h 20000"/>
                  <a:gd name="T4" fmla="*/ 7673 w 20000"/>
                  <a:gd name="T5" fmla="*/ 1280 h 20000"/>
                  <a:gd name="T6" fmla="*/ 8898 w 20000"/>
                  <a:gd name="T7" fmla="*/ 2080 h 20000"/>
                  <a:gd name="T8" fmla="*/ 9388 w 20000"/>
                  <a:gd name="T9" fmla="*/ 1280 h 20000"/>
                  <a:gd name="T10" fmla="*/ 11429 w 20000"/>
                  <a:gd name="T11" fmla="*/ 1280 h 20000"/>
                  <a:gd name="T12" fmla="*/ 14367 w 20000"/>
                  <a:gd name="T13" fmla="*/ 1280 h 20000"/>
                  <a:gd name="T14" fmla="*/ 16571 w 20000"/>
                  <a:gd name="T15" fmla="*/ 0 h 20000"/>
                  <a:gd name="T16" fmla="*/ 16571 w 20000"/>
                  <a:gd name="T17" fmla="*/ 800 h 20000"/>
                  <a:gd name="T18" fmla="*/ 17796 w 20000"/>
                  <a:gd name="T19" fmla="*/ 1280 h 20000"/>
                  <a:gd name="T20" fmla="*/ 17796 w 20000"/>
                  <a:gd name="T21" fmla="*/ 2480 h 20000"/>
                  <a:gd name="T22" fmla="*/ 18204 w 20000"/>
                  <a:gd name="T23" fmla="*/ 4560 h 20000"/>
                  <a:gd name="T24" fmla="*/ 19918 w 20000"/>
                  <a:gd name="T25" fmla="*/ 7840 h 20000"/>
                  <a:gd name="T26" fmla="*/ 18204 w 20000"/>
                  <a:gd name="T27" fmla="*/ 9920 h 20000"/>
                  <a:gd name="T28" fmla="*/ 15673 w 20000"/>
                  <a:gd name="T29" fmla="*/ 14080 h 20000"/>
                  <a:gd name="T30" fmla="*/ 15673 w 20000"/>
                  <a:gd name="T31" fmla="*/ 18240 h 20000"/>
                  <a:gd name="T32" fmla="*/ 10204 w 20000"/>
                  <a:gd name="T33" fmla="*/ 18240 h 20000"/>
                  <a:gd name="T34" fmla="*/ 4735 w 20000"/>
                  <a:gd name="T35" fmla="*/ 18240 h 20000"/>
                  <a:gd name="T36" fmla="*/ 3429 w 20000"/>
                  <a:gd name="T37" fmla="*/ 18640 h 20000"/>
                  <a:gd name="T38" fmla="*/ 1306 w 20000"/>
                  <a:gd name="T39" fmla="*/ 19920 h 20000"/>
                  <a:gd name="T40" fmla="*/ 1306 w 20000"/>
                  <a:gd name="T41" fmla="*/ 19440 h 20000"/>
                  <a:gd name="T42" fmla="*/ 0 w 20000"/>
                  <a:gd name="T43" fmla="*/ 19440 h 20000"/>
                  <a:gd name="T44" fmla="*/ 490 w 20000"/>
                  <a:gd name="T45" fmla="*/ 14880 h 20000"/>
                  <a:gd name="T46" fmla="*/ 1306 w 20000"/>
                  <a:gd name="T47" fmla="*/ 12880 h 20000"/>
                  <a:gd name="T48" fmla="*/ 2531 w 20000"/>
                  <a:gd name="T49" fmla="*/ 10800 h 20000"/>
                  <a:gd name="T50" fmla="*/ 4735 w 20000"/>
                  <a:gd name="T51" fmla="*/ 8720 h 20000"/>
                  <a:gd name="T52" fmla="*/ 6041 w 20000"/>
                  <a:gd name="T53" fmla="*/ 7520 h 20000"/>
                  <a:gd name="T54" fmla="*/ 4735 w 20000"/>
                  <a:gd name="T55" fmla="*/ 5360 h 20000"/>
                  <a:gd name="T56" fmla="*/ 4735 w 20000"/>
                  <a:gd name="T57" fmla="*/ 4080 h 20000"/>
                  <a:gd name="T58" fmla="*/ 4735 w 20000"/>
                  <a:gd name="T59" fmla="*/ 2480 h 20000"/>
                  <a:gd name="T60" fmla="*/ 4245 w 20000"/>
                  <a:gd name="T61" fmla="*/ 128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000" h="20000">
                    <a:moveTo>
                      <a:pt x="4245" y="1280"/>
                    </a:moveTo>
                    <a:lnTo>
                      <a:pt x="4735" y="800"/>
                    </a:lnTo>
                    <a:lnTo>
                      <a:pt x="7673" y="1280"/>
                    </a:lnTo>
                    <a:lnTo>
                      <a:pt x="8898" y="2080"/>
                    </a:lnTo>
                    <a:lnTo>
                      <a:pt x="9388" y="1280"/>
                    </a:lnTo>
                    <a:lnTo>
                      <a:pt x="11429" y="1280"/>
                    </a:lnTo>
                    <a:lnTo>
                      <a:pt x="14367" y="1280"/>
                    </a:lnTo>
                    <a:lnTo>
                      <a:pt x="16571" y="0"/>
                    </a:lnTo>
                    <a:lnTo>
                      <a:pt x="16571" y="800"/>
                    </a:lnTo>
                    <a:lnTo>
                      <a:pt x="17796" y="1280"/>
                    </a:lnTo>
                    <a:lnTo>
                      <a:pt x="17796" y="2480"/>
                    </a:lnTo>
                    <a:lnTo>
                      <a:pt x="18204" y="4560"/>
                    </a:lnTo>
                    <a:lnTo>
                      <a:pt x="19918" y="7840"/>
                    </a:lnTo>
                    <a:lnTo>
                      <a:pt x="18204" y="9920"/>
                    </a:lnTo>
                    <a:lnTo>
                      <a:pt x="15673" y="14080"/>
                    </a:lnTo>
                    <a:lnTo>
                      <a:pt x="15673" y="18240"/>
                    </a:lnTo>
                    <a:lnTo>
                      <a:pt x="10204" y="18240"/>
                    </a:lnTo>
                    <a:lnTo>
                      <a:pt x="4735" y="18240"/>
                    </a:lnTo>
                    <a:lnTo>
                      <a:pt x="3429" y="18640"/>
                    </a:lnTo>
                    <a:lnTo>
                      <a:pt x="1306" y="19920"/>
                    </a:lnTo>
                    <a:lnTo>
                      <a:pt x="1306" y="19440"/>
                    </a:lnTo>
                    <a:lnTo>
                      <a:pt x="0" y="19440"/>
                    </a:lnTo>
                    <a:lnTo>
                      <a:pt x="490" y="14880"/>
                    </a:lnTo>
                    <a:lnTo>
                      <a:pt x="1306" y="12880"/>
                    </a:lnTo>
                    <a:lnTo>
                      <a:pt x="2531" y="10800"/>
                    </a:lnTo>
                    <a:lnTo>
                      <a:pt x="4735" y="8720"/>
                    </a:lnTo>
                    <a:lnTo>
                      <a:pt x="6041" y="7520"/>
                    </a:lnTo>
                    <a:lnTo>
                      <a:pt x="4735" y="5360"/>
                    </a:lnTo>
                    <a:lnTo>
                      <a:pt x="4735" y="4080"/>
                    </a:lnTo>
                    <a:lnTo>
                      <a:pt x="4735" y="2480"/>
                    </a:lnTo>
                    <a:lnTo>
                      <a:pt x="4245" y="128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4" name="Freeform 95"/>
              <p:cNvSpPr>
                <a:spLocks/>
              </p:cNvSpPr>
              <p:nvPr/>
            </p:nvSpPr>
            <p:spPr bwMode="auto">
              <a:xfrm>
                <a:off x="5335588" y="4298950"/>
                <a:ext cx="539750" cy="536575"/>
              </a:xfrm>
              <a:custGeom>
                <a:avLst/>
                <a:gdLst>
                  <a:gd name="T0" fmla="*/ 6565 w 20000"/>
                  <a:gd name="T1" fmla="*/ 970 h 20000"/>
                  <a:gd name="T2" fmla="*/ 8376 w 20000"/>
                  <a:gd name="T3" fmla="*/ 734 h 20000"/>
                  <a:gd name="T4" fmla="*/ 10212 w 20000"/>
                  <a:gd name="T5" fmla="*/ 1112 h 20000"/>
                  <a:gd name="T6" fmla="*/ 11200 w 20000"/>
                  <a:gd name="T7" fmla="*/ 734 h 20000"/>
                  <a:gd name="T8" fmla="*/ 12776 w 20000"/>
                  <a:gd name="T9" fmla="*/ 379 h 20000"/>
                  <a:gd name="T10" fmla="*/ 13765 w 20000"/>
                  <a:gd name="T11" fmla="*/ 142 h 20000"/>
                  <a:gd name="T12" fmla="*/ 14729 w 20000"/>
                  <a:gd name="T13" fmla="*/ 142 h 20000"/>
                  <a:gd name="T14" fmla="*/ 15459 w 20000"/>
                  <a:gd name="T15" fmla="*/ 142 h 20000"/>
                  <a:gd name="T16" fmla="*/ 16306 w 20000"/>
                  <a:gd name="T17" fmla="*/ 734 h 20000"/>
                  <a:gd name="T18" fmla="*/ 17271 w 20000"/>
                  <a:gd name="T19" fmla="*/ 970 h 20000"/>
                  <a:gd name="T20" fmla="*/ 18000 w 20000"/>
                  <a:gd name="T21" fmla="*/ 970 h 20000"/>
                  <a:gd name="T22" fmla="*/ 18612 w 20000"/>
                  <a:gd name="T23" fmla="*/ 1112 h 20000"/>
                  <a:gd name="T24" fmla="*/ 19600 w 20000"/>
                  <a:gd name="T25" fmla="*/ 2556 h 20000"/>
                  <a:gd name="T26" fmla="*/ 19600 w 20000"/>
                  <a:gd name="T27" fmla="*/ 3929 h 20000"/>
                  <a:gd name="T28" fmla="*/ 18376 w 20000"/>
                  <a:gd name="T29" fmla="*/ 5751 h 20000"/>
                  <a:gd name="T30" fmla="*/ 17906 w 20000"/>
                  <a:gd name="T31" fmla="*/ 7456 h 20000"/>
                  <a:gd name="T32" fmla="*/ 17412 w 20000"/>
                  <a:gd name="T33" fmla="*/ 8450 h 20000"/>
                  <a:gd name="T34" fmla="*/ 17906 w 20000"/>
                  <a:gd name="T35" fmla="*/ 9325 h 20000"/>
                  <a:gd name="T36" fmla="*/ 18000 w 20000"/>
                  <a:gd name="T37" fmla="*/ 10414 h 20000"/>
                  <a:gd name="T38" fmla="*/ 18000 w 20000"/>
                  <a:gd name="T39" fmla="*/ 12237 h 20000"/>
                  <a:gd name="T40" fmla="*/ 19482 w 20000"/>
                  <a:gd name="T41" fmla="*/ 14462 h 20000"/>
                  <a:gd name="T42" fmla="*/ 17271 w 20000"/>
                  <a:gd name="T43" fmla="*/ 15432 h 20000"/>
                  <a:gd name="T44" fmla="*/ 17035 w 20000"/>
                  <a:gd name="T45" fmla="*/ 16781 h 20000"/>
                  <a:gd name="T46" fmla="*/ 16682 w 20000"/>
                  <a:gd name="T47" fmla="*/ 18130 h 20000"/>
                  <a:gd name="T48" fmla="*/ 17906 w 20000"/>
                  <a:gd name="T49" fmla="*/ 19006 h 20000"/>
                  <a:gd name="T50" fmla="*/ 18000 w 20000"/>
                  <a:gd name="T51" fmla="*/ 19976 h 20000"/>
                  <a:gd name="T52" fmla="*/ 17271 w 20000"/>
                  <a:gd name="T53" fmla="*/ 19598 h 20000"/>
                  <a:gd name="T54" fmla="*/ 15459 w 20000"/>
                  <a:gd name="T55" fmla="*/ 17988 h 20000"/>
                  <a:gd name="T56" fmla="*/ 14847 w 20000"/>
                  <a:gd name="T57" fmla="*/ 18367 h 20000"/>
                  <a:gd name="T58" fmla="*/ 13506 w 20000"/>
                  <a:gd name="T59" fmla="*/ 17396 h 20000"/>
                  <a:gd name="T60" fmla="*/ 12165 w 20000"/>
                  <a:gd name="T61" fmla="*/ 17160 h 20000"/>
                  <a:gd name="T62" fmla="*/ 11200 w 20000"/>
                  <a:gd name="T63" fmla="*/ 17396 h 20000"/>
                  <a:gd name="T64" fmla="*/ 10353 w 20000"/>
                  <a:gd name="T65" fmla="*/ 17396 h 20000"/>
                  <a:gd name="T66" fmla="*/ 10212 w 20000"/>
                  <a:gd name="T67" fmla="*/ 16047 h 20000"/>
                  <a:gd name="T68" fmla="*/ 9976 w 20000"/>
                  <a:gd name="T69" fmla="*/ 14201 h 20000"/>
                  <a:gd name="T70" fmla="*/ 8753 w 20000"/>
                  <a:gd name="T71" fmla="*/ 12852 h 20000"/>
                  <a:gd name="T72" fmla="*/ 7647 w 20000"/>
                  <a:gd name="T73" fmla="*/ 13586 h 20000"/>
                  <a:gd name="T74" fmla="*/ 6565 w 20000"/>
                  <a:gd name="T75" fmla="*/ 13964 h 20000"/>
                  <a:gd name="T76" fmla="*/ 4847 w 20000"/>
                  <a:gd name="T77" fmla="*/ 13231 h 20000"/>
                  <a:gd name="T78" fmla="*/ 4612 w 20000"/>
                  <a:gd name="T79" fmla="*/ 12379 h 20000"/>
                  <a:gd name="T80" fmla="*/ 1929 w 20000"/>
                  <a:gd name="T81" fmla="*/ 11882 h 20000"/>
                  <a:gd name="T82" fmla="*/ 729 w 20000"/>
                  <a:gd name="T83" fmla="*/ 11882 h 20000"/>
                  <a:gd name="T84" fmla="*/ 376 w 20000"/>
                  <a:gd name="T85" fmla="*/ 11645 h 20000"/>
                  <a:gd name="T86" fmla="*/ 729 w 20000"/>
                  <a:gd name="T87" fmla="*/ 10414 h 20000"/>
                  <a:gd name="T88" fmla="*/ 1435 w 20000"/>
                  <a:gd name="T89" fmla="*/ 10651 h 20000"/>
                  <a:gd name="T90" fmla="*/ 2306 w 20000"/>
                  <a:gd name="T91" fmla="*/ 10414 h 20000"/>
                  <a:gd name="T92" fmla="*/ 3035 w 20000"/>
                  <a:gd name="T93" fmla="*/ 10296 h 20000"/>
                  <a:gd name="T94" fmla="*/ 4000 w 20000"/>
                  <a:gd name="T95" fmla="*/ 9041 h 20000"/>
                  <a:gd name="T96" fmla="*/ 4518 w 20000"/>
                  <a:gd name="T97" fmla="*/ 7456 h 20000"/>
                  <a:gd name="T98" fmla="*/ 5224 w 20000"/>
                  <a:gd name="T99" fmla="*/ 6722 h 20000"/>
                  <a:gd name="T100" fmla="*/ 5835 w 20000"/>
                  <a:gd name="T101" fmla="*/ 5278 h 20000"/>
                  <a:gd name="T102" fmla="*/ 6071 w 20000"/>
                  <a:gd name="T103" fmla="*/ 3550 h 20000"/>
                  <a:gd name="T104" fmla="*/ 6565 w 20000"/>
                  <a:gd name="T105" fmla="*/ 17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6565" y="1704"/>
                    </a:moveTo>
                    <a:lnTo>
                      <a:pt x="6565" y="1112"/>
                    </a:lnTo>
                    <a:lnTo>
                      <a:pt x="6565" y="970"/>
                    </a:lnTo>
                    <a:lnTo>
                      <a:pt x="7059" y="615"/>
                    </a:lnTo>
                    <a:lnTo>
                      <a:pt x="7647" y="142"/>
                    </a:lnTo>
                    <a:lnTo>
                      <a:pt x="8376" y="734"/>
                    </a:lnTo>
                    <a:lnTo>
                      <a:pt x="8988" y="970"/>
                    </a:lnTo>
                    <a:lnTo>
                      <a:pt x="9624" y="1112"/>
                    </a:lnTo>
                    <a:lnTo>
                      <a:pt x="10212" y="1112"/>
                    </a:lnTo>
                    <a:lnTo>
                      <a:pt x="10588" y="1349"/>
                    </a:lnTo>
                    <a:lnTo>
                      <a:pt x="10965" y="734"/>
                    </a:lnTo>
                    <a:lnTo>
                      <a:pt x="11200" y="734"/>
                    </a:lnTo>
                    <a:lnTo>
                      <a:pt x="11788" y="734"/>
                    </a:lnTo>
                    <a:lnTo>
                      <a:pt x="12165" y="615"/>
                    </a:lnTo>
                    <a:lnTo>
                      <a:pt x="12776" y="379"/>
                    </a:lnTo>
                    <a:lnTo>
                      <a:pt x="13129" y="379"/>
                    </a:lnTo>
                    <a:lnTo>
                      <a:pt x="13506" y="379"/>
                    </a:lnTo>
                    <a:lnTo>
                      <a:pt x="13765" y="142"/>
                    </a:lnTo>
                    <a:lnTo>
                      <a:pt x="13859" y="0"/>
                    </a:lnTo>
                    <a:lnTo>
                      <a:pt x="14353" y="142"/>
                    </a:lnTo>
                    <a:lnTo>
                      <a:pt x="14729" y="142"/>
                    </a:lnTo>
                    <a:lnTo>
                      <a:pt x="14847" y="379"/>
                    </a:lnTo>
                    <a:lnTo>
                      <a:pt x="15341" y="379"/>
                    </a:lnTo>
                    <a:lnTo>
                      <a:pt x="15459" y="142"/>
                    </a:lnTo>
                    <a:lnTo>
                      <a:pt x="15835" y="142"/>
                    </a:lnTo>
                    <a:lnTo>
                      <a:pt x="16306" y="379"/>
                    </a:lnTo>
                    <a:lnTo>
                      <a:pt x="16306" y="734"/>
                    </a:lnTo>
                    <a:lnTo>
                      <a:pt x="16682" y="970"/>
                    </a:lnTo>
                    <a:lnTo>
                      <a:pt x="17035" y="1112"/>
                    </a:lnTo>
                    <a:lnTo>
                      <a:pt x="17271" y="970"/>
                    </a:lnTo>
                    <a:lnTo>
                      <a:pt x="17412" y="734"/>
                    </a:lnTo>
                    <a:lnTo>
                      <a:pt x="17412" y="970"/>
                    </a:lnTo>
                    <a:lnTo>
                      <a:pt x="18000" y="970"/>
                    </a:lnTo>
                    <a:lnTo>
                      <a:pt x="18000" y="734"/>
                    </a:lnTo>
                    <a:lnTo>
                      <a:pt x="18235" y="734"/>
                    </a:lnTo>
                    <a:lnTo>
                      <a:pt x="18612" y="1112"/>
                    </a:lnTo>
                    <a:lnTo>
                      <a:pt x="19482" y="1704"/>
                    </a:lnTo>
                    <a:lnTo>
                      <a:pt x="19600" y="2083"/>
                    </a:lnTo>
                    <a:lnTo>
                      <a:pt x="19600" y="2556"/>
                    </a:lnTo>
                    <a:lnTo>
                      <a:pt x="19600" y="2935"/>
                    </a:lnTo>
                    <a:lnTo>
                      <a:pt x="19976" y="3550"/>
                    </a:lnTo>
                    <a:lnTo>
                      <a:pt x="19600" y="3929"/>
                    </a:lnTo>
                    <a:lnTo>
                      <a:pt x="18988" y="4544"/>
                    </a:lnTo>
                    <a:lnTo>
                      <a:pt x="18612" y="5136"/>
                    </a:lnTo>
                    <a:lnTo>
                      <a:pt x="18376" y="5751"/>
                    </a:lnTo>
                    <a:lnTo>
                      <a:pt x="18235" y="7101"/>
                    </a:lnTo>
                    <a:lnTo>
                      <a:pt x="18235" y="7219"/>
                    </a:lnTo>
                    <a:lnTo>
                      <a:pt x="17906" y="7456"/>
                    </a:lnTo>
                    <a:lnTo>
                      <a:pt x="17647" y="8071"/>
                    </a:lnTo>
                    <a:lnTo>
                      <a:pt x="17412" y="8331"/>
                    </a:lnTo>
                    <a:lnTo>
                      <a:pt x="17412" y="8450"/>
                    </a:lnTo>
                    <a:lnTo>
                      <a:pt x="17647" y="8805"/>
                    </a:lnTo>
                    <a:lnTo>
                      <a:pt x="17906" y="9041"/>
                    </a:lnTo>
                    <a:lnTo>
                      <a:pt x="17906" y="9325"/>
                    </a:lnTo>
                    <a:lnTo>
                      <a:pt x="17906" y="9680"/>
                    </a:lnTo>
                    <a:lnTo>
                      <a:pt x="18000" y="10296"/>
                    </a:lnTo>
                    <a:lnTo>
                      <a:pt x="18000" y="10414"/>
                    </a:lnTo>
                    <a:lnTo>
                      <a:pt x="18000" y="10888"/>
                    </a:lnTo>
                    <a:lnTo>
                      <a:pt x="18000" y="11408"/>
                    </a:lnTo>
                    <a:lnTo>
                      <a:pt x="18000" y="12237"/>
                    </a:lnTo>
                    <a:lnTo>
                      <a:pt x="18376" y="12852"/>
                    </a:lnTo>
                    <a:lnTo>
                      <a:pt x="18988" y="13491"/>
                    </a:lnTo>
                    <a:lnTo>
                      <a:pt x="19482" y="14462"/>
                    </a:lnTo>
                    <a:lnTo>
                      <a:pt x="17412" y="14556"/>
                    </a:lnTo>
                    <a:lnTo>
                      <a:pt x="17412" y="14840"/>
                    </a:lnTo>
                    <a:lnTo>
                      <a:pt x="17271" y="15432"/>
                    </a:lnTo>
                    <a:lnTo>
                      <a:pt x="16918" y="15811"/>
                    </a:lnTo>
                    <a:lnTo>
                      <a:pt x="17035" y="16047"/>
                    </a:lnTo>
                    <a:lnTo>
                      <a:pt x="17035" y="16781"/>
                    </a:lnTo>
                    <a:lnTo>
                      <a:pt x="16918" y="17160"/>
                    </a:lnTo>
                    <a:lnTo>
                      <a:pt x="16918" y="17633"/>
                    </a:lnTo>
                    <a:lnTo>
                      <a:pt x="16682" y="18130"/>
                    </a:lnTo>
                    <a:lnTo>
                      <a:pt x="16918" y="18367"/>
                    </a:lnTo>
                    <a:lnTo>
                      <a:pt x="17412" y="18722"/>
                    </a:lnTo>
                    <a:lnTo>
                      <a:pt x="17906" y="19006"/>
                    </a:lnTo>
                    <a:lnTo>
                      <a:pt x="17906" y="18722"/>
                    </a:lnTo>
                    <a:lnTo>
                      <a:pt x="18235" y="18722"/>
                    </a:lnTo>
                    <a:lnTo>
                      <a:pt x="18000" y="19976"/>
                    </a:lnTo>
                    <a:lnTo>
                      <a:pt x="18000" y="19716"/>
                    </a:lnTo>
                    <a:lnTo>
                      <a:pt x="17412" y="19976"/>
                    </a:lnTo>
                    <a:lnTo>
                      <a:pt x="17271" y="19598"/>
                    </a:lnTo>
                    <a:lnTo>
                      <a:pt x="16682" y="18722"/>
                    </a:lnTo>
                    <a:lnTo>
                      <a:pt x="16071" y="18722"/>
                    </a:lnTo>
                    <a:lnTo>
                      <a:pt x="15459" y="17988"/>
                    </a:lnTo>
                    <a:lnTo>
                      <a:pt x="15341" y="17988"/>
                    </a:lnTo>
                    <a:lnTo>
                      <a:pt x="15341" y="18367"/>
                    </a:lnTo>
                    <a:lnTo>
                      <a:pt x="14847" y="18367"/>
                    </a:lnTo>
                    <a:lnTo>
                      <a:pt x="14471" y="18367"/>
                    </a:lnTo>
                    <a:lnTo>
                      <a:pt x="13765" y="17988"/>
                    </a:lnTo>
                    <a:lnTo>
                      <a:pt x="13506" y="17396"/>
                    </a:lnTo>
                    <a:lnTo>
                      <a:pt x="12776" y="17988"/>
                    </a:lnTo>
                    <a:lnTo>
                      <a:pt x="12541" y="17396"/>
                    </a:lnTo>
                    <a:lnTo>
                      <a:pt x="12165" y="17160"/>
                    </a:lnTo>
                    <a:lnTo>
                      <a:pt x="12165" y="17396"/>
                    </a:lnTo>
                    <a:lnTo>
                      <a:pt x="11788" y="17160"/>
                    </a:lnTo>
                    <a:lnTo>
                      <a:pt x="11200" y="17396"/>
                    </a:lnTo>
                    <a:lnTo>
                      <a:pt x="10706" y="17396"/>
                    </a:lnTo>
                    <a:lnTo>
                      <a:pt x="10588" y="17633"/>
                    </a:lnTo>
                    <a:lnTo>
                      <a:pt x="10353" y="17396"/>
                    </a:lnTo>
                    <a:lnTo>
                      <a:pt x="10353" y="17018"/>
                    </a:lnTo>
                    <a:lnTo>
                      <a:pt x="10353" y="16166"/>
                    </a:lnTo>
                    <a:lnTo>
                      <a:pt x="10212" y="16047"/>
                    </a:lnTo>
                    <a:lnTo>
                      <a:pt x="9718" y="15574"/>
                    </a:lnTo>
                    <a:lnTo>
                      <a:pt x="10212" y="14840"/>
                    </a:lnTo>
                    <a:lnTo>
                      <a:pt x="9976" y="14201"/>
                    </a:lnTo>
                    <a:lnTo>
                      <a:pt x="9718" y="13491"/>
                    </a:lnTo>
                    <a:lnTo>
                      <a:pt x="8753" y="13491"/>
                    </a:lnTo>
                    <a:lnTo>
                      <a:pt x="8753" y="12852"/>
                    </a:lnTo>
                    <a:lnTo>
                      <a:pt x="8141" y="12970"/>
                    </a:lnTo>
                    <a:lnTo>
                      <a:pt x="7647" y="13231"/>
                    </a:lnTo>
                    <a:lnTo>
                      <a:pt x="7647" y="13586"/>
                    </a:lnTo>
                    <a:lnTo>
                      <a:pt x="7412" y="13586"/>
                    </a:lnTo>
                    <a:lnTo>
                      <a:pt x="7412" y="13964"/>
                    </a:lnTo>
                    <a:lnTo>
                      <a:pt x="6565" y="13964"/>
                    </a:lnTo>
                    <a:lnTo>
                      <a:pt x="6447" y="14201"/>
                    </a:lnTo>
                    <a:lnTo>
                      <a:pt x="5482" y="14201"/>
                    </a:lnTo>
                    <a:lnTo>
                      <a:pt x="4847" y="13231"/>
                    </a:lnTo>
                    <a:lnTo>
                      <a:pt x="4847" y="12970"/>
                    </a:lnTo>
                    <a:lnTo>
                      <a:pt x="4612" y="12615"/>
                    </a:lnTo>
                    <a:lnTo>
                      <a:pt x="4612" y="12379"/>
                    </a:lnTo>
                    <a:lnTo>
                      <a:pt x="4518" y="11882"/>
                    </a:lnTo>
                    <a:lnTo>
                      <a:pt x="3882" y="11882"/>
                    </a:lnTo>
                    <a:lnTo>
                      <a:pt x="1929" y="11882"/>
                    </a:lnTo>
                    <a:lnTo>
                      <a:pt x="1435" y="12000"/>
                    </a:lnTo>
                    <a:lnTo>
                      <a:pt x="1082" y="11882"/>
                    </a:lnTo>
                    <a:lnTo>
                      <a:pt x="729" y="11882"/>
                    </a:lnTo>
                    <a:lnTo>
                      <a:pt x="94" y="11882"/>
                    </a:lnTo>
                    <a:lnTo>
                      <a:pt x="0" y="11645"/>
                    </a:lnTo>
                    <a:lnTo>
                      <a:pt x="376" y="11645"/>
                    </a:lnTo>
                    <a:lnTo>
                      <a:pt x="376" y="11030"/>
                    </a:lnTo>
                    <a:lnTo>
                      <a:pt x="729" y="10651"/>
                    </a:lnTo>
                    <a:lnTo>
                      <a:pt x="729" y="10414"/>
                    </a:lnTo>
                    <a:lnTo>
                      <a:pt x="965" y="10414"/>
                    </a:lnTo>
                    <a:lnTo>
                      <a:pt x="1082" y="10651"/>
                    </a:lnTo>
                    <a:lnTo>
                      <a:pt x="1435" y="10651"/>
                    </a:lnTo>
                    <a:lnTo>
                      <a:pt x="1694" y="10296"/>
                    </a:lnTo>
                    <a:lnTo>
                      <a:pt x="2071" y="10296"/>
                    </a:lnTo>
                    <a:lnTo>
                      <a:pt x="2306" y="10414"/>
                    </a:lnTo>
                    <a:lnTo>
                      <a:pt x="2541" y="10888"/>
                    </a:lnTo>
                    <a:lnTo>
                      <a:pt x="2918" y="10414"/>
                    </a:lnTo>
                    <a:lnTo>
                      <a:pt x="3035" y="10296"/>
                    </a:lnTo>
                    <a:lnTo>
                      <a:pt x="3506" y="10059"/>
                    </a:lnTo>
                    <a:lnTo>
                      <a:pt x="3882" y="9680"/>
                    </a:lnTo>
                    <a:lnTo>
                      <a:pt x="4000" y="9041"/>
                    </a:lnTo>
                    <a:lnTo>
                      <a:pt x="4000" y="8450"/>
                    </a:lnTo>
                    <a:lnTo>
                      <a:pt x="4000" y="7834"/>
                    </a:lnTo>
                    <a:lnTo>
                      <a:pt x="4518" y="7456"/>
                    </a:lnTo>
                    <a:lnTo>
                      <a:pt x="4612" y="7219"/>
                    </a:lnTo>
                    <a:lnTo>
                      <a:pt x="4847" y="6722"/>
                    </a:lnTo>
                    <a:lnTo>
                      <a:pt x="5224" y="6722"/>
                    </a:lnTo>
                    <a:lnTo>
                      <a:pt x="5835" y="6130"/>
                    </a:lnTo>
                    <a:lnTo>
                      <a:pt x="5835" y="5751"/>
                    </a:lnTo>
                    <a:lnTo>
                      <a:pt x="5835" y="5278"/>
                    </a:lnTo>
                    <a:lnTo>
                      <a:pt x="5835" y="4639"/>
                    </a:lnTo>
                    <a:lnTo>
                      <a:pt x="6071" y="4166"/>
                    </a:lnTo>
                    <a:lnTo>
                      <a:pt x="6071" y="3550"/>
                    </a:lnTo>
                    <a:lnTo>
                      <a:pt x="6447" y="2698"/>
                    </a:lnTo>
                    <a:lnTo>
                      <a:pt x="6565" y="2320"/>
                    </a:lnTo>
                    <a:lnTo>
                      <a:pt x="6565" y="170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5" name="Freeform 94"/>
              <p:cNvSpPr>
                <a:spLocks/>
              </p:cNvSpPr>
              <p:nvPr/>
            </p:nvSpPr>
            <p:spPr bwMode="auto">
              <a:xfrm>
                <a:off x="5403850" y="4138613"/>
                <a:ext cx="358775" cy="247650"/>
              </a:xfrm>
              <a:custGeom>
                <a:avLst/>
                <a:gdLst>
                  <a:gd name="T0" fmla="*/ 2014 w 20000"/>
                  <a:gd name="T1" fmla="*/ 7661 h 20000"/>
                  <a:gd name="T2" fmla="*/ 3110 w 20000"/>
                  <a:gd name="T3" fmla="*/ 7404 h 20000"/>
                  <a:gd name="T4" fmla="*/ 4558 w 20000"/>
                  <a:gd name="T5" fmla="*/ 6375 h 20000"/>
                  <a:gd name="T6" fmla="*/ 5512 w 20000"/>
                  <a:gd name="T7" fmla="*/ 6375 h 20000"/>
                  <a:gd name="T8" fmla="*/ 6784 w 20000"/>
                  <a:gd name="T9" fmla="*/ 6067 h 20000"/>
                  <a:gd name="T10" fmla="*/ 6784 w 20000"/>
                  <a:gd name="T11" fmla="*/ 4781 h 20000"/>
                  <a:gd name="T12" fmla="*/ 8763 w 20000"/>
                  <a:gd name="T13" fmla="*/ 3959 h 20000"/>
                  <a:gd name="T14" fmla="*/ 9682 w 20000"/>
                  <a:gd name="T15" fmla="*/ 3136 h 20000"/>
                  <a:gd name="T16" fmla="*/ 10777 w 20000"/>
                  <a:gd name="T17" fmla="*/ 1851 h 20000"/>
                  <a:gd name="T18" fmla="*/ 12085 w 20000"/>
                  <a:gd name="T19" fmla="*/ 0 h 20000"/>
                  <a:gd name="T20" fmla="*/ 13004 w 20000"/>
                  <a:gd name="T21" fmla="*/ 514 h 20000"/>
                  <a:gd name="T22" fmla="*/ 14099 w 20000"/>
                  <a:gd name="T23" fmla="*/ 3445 h 20000"/>
                  <a:gd name="T24" fmla="*/ 13887 w 20000"/>
                  <a:gd name="T25" fmla="*/ 4216 h 20000"/>
                  <a:gd name="T26" fmla="*/ 14099 w 20000"/>
                  <a:gd name="T27" fmla="*/ 5296 h 20000"/>
                  <a:gd name="T28" fmla="*/ 15018 w 20000"/>
                  <a:gd name="T29" fmla="*/ 6067 h 20000"/>
                  <a:gd name="T30" fmla="*/ 16466 w 20000"/>
                  <a:gd name="T31" fmla="*/ 6889 h 20000"/>
                  <a:gd name="T32" fmla="*/ 17739 w 20000"/>
                  <a:gd name="T33" fmla="*/ 8792 h 20000"/>
                  <a:gd name="T34" fmla="*/ 18304 w 20000"/>
                  <a:gd name="T35" fmla="*/ 9563 h 20000"/>
                  <a:gd name="T36" fmla="*/ 18869 w 20000"/>
                  <a:gd name="T37" fmla="*/ 11105 h 20000"/>
                  <a:gd name="T38" fmla="*/ 19965 w 20000"/>
                  <a:gd name="T39" fmla="*/ 13316 h 20000"/>
                  <a:gd name="T40" fmla="*/ 19223 w 20000"/>
                  <a:gd name="T41" fmla="*/ 13830 h 20000"/>
                  <a:gd name="T42" fmla="*/ 18304 w 20000"/>
                  <a:gd name="T43" fmla="*/ 13316 h 20000"/>
                  <a:gd name="T44" fmla="*/ 16996 w 20000"/>
                  <a:gd name="T45" fmla="*/ 13008 h 20000"/>
                  <a:gd name="T46" fmla="*/ 16466 w 20000"/>
                  <a:gd name="T47" fmla="*/ 13830 h 20000"/>
                  <a:gd name="T48" fmla="*/ 15371 w 20000"/>
                  <a:gd name="T49" fmla="*/ 13830 h 20000"/>
                  <a:gd name="T50" fmla="*/ 13887 w 20000"/>
                  <a:gd name="T51" fmla="*/ 14602 h 20000"/>
                  <a:gd name="T52" fmla="*/ 12650 w 20000"/>
                  <a:gd name="T53" fmla="*/ 14602 h 20000"/>
                  <a:gd name="T54" fmla="*/ 11519 w 20000"/>
                  <a:gd name="T55" fmla="*/ 15424 h 20000"/>
                  <a:gd name="T56" fmla="*/ 9682 w 20000"/>
                  <a:gd name="T57" fmla="*/ 15116 h 20000"/>
                  <a:gd name="T58" fmla="*/ 7668 w 20000"/>
                  <a:gd name="T59" fmla="*/ 13316 h 20000"/>
                  <a:gd name="T60" fmla="*/ 6007 w 20000"/>
                  <a:gd name="T61" fmla="*/ 15116 h 20000"/>
                  <a:gd name="T62" fmla="*/ 6007 w 20000"/>
                  <a:gd name="T63" fmla="*/ 16710 h 20000"/>
                  <a:gd name="T64" fmla="*/ 4417 w 20000"/>
                  <a:gd name="T65" fmla="*/ 16710 h 20000"/>
                  <a:gd name="T66" fmla="*/ 2968 w 20000"/>
                  <a:gd name="T67" fmla="*/ 18560 h 20000"/>
                  <a:gd name="T68" fmla="*/ 2014 w 20000"/>
                  <a:gd name="T69" fmla="*/ 19383 h 20000"/>
                  <a:gd name="T70" fmla="*/ 2014 w 20000"/>
                  <a:gd name="T71" fmla="*/ 18046 h 20000"/>
                  <a:gd name="T72" fmla="*/ 742 w 20000"/>
                  <a:gd name="T73" fmla="*/ 15116 h 20000"/>
                  <a:gd name="T74" fmla="*/ 212 w 20000"/>
                  <a:gd name="T75" fmla="*/ 13316 h 20000"/>
                  <a:gd name="T76" fmla="*/ 0 w 20000"/>
                  <a:gd name="T77" fmla="*/ 11105 h 20000"/>
                  <a:gd name="T78" fmla="*/ 742 w 20000"/>
                  <a:gd name="T79" fmla="*/ 87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1449" y="8175"/>
                    </a:moveTo>
                    <a:lnTo>
                      <a:pt x="2014" y="7661"/>
                    </a:lnTo>
                    <a:lnTo>
                      <a:pt x="2968" y="6889"/>
                    </a:lnTo>
                    <a:lnTo>
                      <a:pt x="3110" y="7404"/>
                    </a:lnTo>
                    <a:lnTo>
                      <a:pt x="3852" y="6889"/>
                    </a:lnTo>
                    <a:lnTo>
                      <a:pt x="4558" y="6375"/>
                    </a:lnTo>
                    <a:lnTo>
                      <a:pt x="4947" y="6889"/>
                    </a:lnTo>
                    <a:lnTo>
                      <a:pt x="5512" y="6375"/>
                    </a:lnTo>
                    <a:lnTo>
                      <a:pt x="5866" y="6375"/>
                    </a:lnTo>
                    <a:lnTo>
                      <a:pt x="6784" y="6067"/>
                    </a:lnTo>
                    <a:lnTo>
                      <a:pt x="6961" y="5296"/>
                    </a:lnTo>
                    <a:lnTo>
                      <a:pt x="6784" y="4781"/>
                    </a:lnTo>
                    <a:lnTo>
                      <a:pt x="7314" y="4216"/>
                    </a:lnTo>
                    <a:lnTo>
                      <a:pt x="8763" y="3959"/>
                    </a:lnTo>
                    <a:lnTo>
                      <a:pt x="9329" y="3445"/>
                    </a:lnTo>
                    <a:lnTo>
                      <a:pt x="9682" y="3136"/>
                    </a:lnTo>
                    <a:lnTo>
                      <a:pt x="10247" y="2108"/>
                    </a:lnTo>
                    <a:lnTo>
                      <a:pt x="10777" y="1851"/>
                    </a:lnTo>
                    <a:lnTo>
                      <a:pt x="11166" y="514"/>
                    </a:lnTo>
                    <a:lnTo>
                      <a:pt x="12085" y="0"/>
                    </a:lnTo>
                    <a:lnTo>
                      <a:pt x="12650" y="0"/>
                    </a:lnTo>
                    <a:lnTo>
                      <a:pt x="13004" y="514"/>
                    </a:lnTo>
                    <a:lnTo>
                      <a:pt x="13887" y="2108"/>
                    </a:lnTo>
                    <a:lnTo>
                      <a:pt x="14099" y="3445"/>
                    </a:lnTo>
                    <a:lnTo>
                      <a:pt x="13534" y="3959"/>
                    </a:lnTo>
                    <a:lnTo>
                      <a:pt x="13887" y="4216"/>
                    </a:lnTo>
                    <a:lnTo>
                      <a:pt x="13887" y="4781"/>
                    </a:lnTo>
                    <a:lnTo>
                      <a:pt x="14099" y="5296"/>
                    </a:lnTo>
                    <a:lnTo>
                      <a:pt x="15018" y="5296"/>
                    </a:lnTo>
                    <a:lnTo>
                      <a:pt x="15018" y="6067"/>
                    </a:lnTo>
                    <a:lnTo>
                      <a:pt x="15901" y="6067"/>
                    </a:lnTo>
                    <a:lnTo>
                      <a:pt x="16466" y="6889"/>
                    </a:lnTo>
                    <a:lnTo>
                      <a:pt x="16855" y="8792"/>
                    </a:lnTo>
                    <a:lnTo>
                      <a:pt x="17739" y="8792"/>
                    </a:lnTo>
                    <a:lnTo>
                      <a:pt x="17915" y="9563"/>
                    </a:lnTo>
                    <a:lnTo>
                      <a:pt x="18304" y="9563"/>
                    </a:lnTo>
                    <a:lnTo>
                      <a:pt x="18481" y="9820"/>
                    </a:lnTo>
                    <a:lnTo>
                      <a:pt x="18869" y="11105"/>
                    </a:lnTo>
                    <a:lnTo>
                      <a:pt x="19753" y="11928"/>
                    </a:lnTo>
                    <a:lnTo>
                      <a:pt x="19965" y="13316"/>
                    </a:lnTo>
                    <a:lnTo>
                      <a:pt x="19399" y="13316"/>
                    </a:lnTo>
                    <a:lnTo>
                      <a:pt x="19223" y="13830"/>
                    </a:lnTo>
                    <a:lnTo>
                      <a:pt x="18481" y="13830"/>
                    </a:lnTo>
                    <a:lnTo>
                      <a:pt x="18304" y="13316"/>
                    </a:lnTo>
                    <a:lnTo>
                      <a:pt x="17739" y="13316"/>
                    </a:lnTo>
                    <a:lnTo>
                      <a:pt x="16996" y="13008"/>
                    </a:lnTo>
                    <a:lnTo>
                      <a:pt x="16855" y="13316"/>
                    </a:lnTo>
                    <a:lnTo>
                      <a:pt x="16466" y="13830"/>
                    </a:lnTo>
                    <a:lnTo>
                      <a:pt x="15901" y="13830"/>
                    </a:lnTo>
                    <a:lnTo>
                      <a:pt x="15371" y="13830"/>
                    </a:lnTo>
                    <a:lnTo>
                      <a:pt x="14452" y="14344"/>
                    </a:lnTo>
                    <a:lnTo>
                      <a:pt x="13887" y="14602"/>
                    </a:lnTo>
                    <a:lnTo>
                      <a:pt x="13004" y="14602"/>
                    </a:lnTo>
                    <a:lnTo>
                      <a:pt x="12650" y="14602"/>
                    </a:lnTo>
                    <a:lnTo>
                      <a:pt x="12085" y="15938"/>
                    </a:lnTo>
                    <a:lnTo>
                      <a:pt x="11519" y="15424"/>
                    </a:lnTo>
                    <a:lnTo>
                      <a:pt x="10636" y="15424"/>
                    </a:lnTo>
                    <a:lnTo>
                      <a:pt x="9682" y="15116"/>
                    </a:lnTo>
                    <a:lnTo>
                      <a:pt x="8763" y="14602"/>
                    </a:lnTo>
                    <a:lnTo>
                      <a:pt x="7668" y="13316"/>
                    </a:lnTo>
                    <a:lnTo>
                      <a:pt x="6784" y="14344"/>
                    </a:lnTo>
                    <a:lnTo>
                      <a:pt x="6007" y="15116"/>
                    </a:lnTo>
                    <a:lnTo>
                      <a:pt x="6007" y="15424"/>
                    </a:lnTo>
                    <a:lnTo>
                      <a:pt x="6007" y="16710"/>
                    </a:lnTo>
                    <a:lnTo>
                      <a:pt x="5300" y="16710"/>
                    </a:lnTo>
                    <a:lnTo>
                      <a:pt x="4417" y="16710"/>
                    </a:lnTo>
                    <a:lnTo>
                      <a:pt x="3110" y="16710"/>
                    </a:lnTo>
                    <a:lnTo>
                      <a:pt x="2968" y="18560"/>
                    </a:lnTo>
                    <a:lnTo>
                      <a:pt x="2191" y="19949"/>
                    </a:lnTo>
                    <a:lnTo>
                      <a:pt x="2014" y="19383"/>
                    </a:lnTo>
                    <a:lnTo>
                      <a:pt x="2191" y="18046"/>
                    </a:lnTo>
                    <a:lnTo>
                      <a:pt x="2014" y="18046"/>
                    </a:lnTo>
                    <a:lnTo>
                      <a:pt x="742" y="16452"/>
                    </a:lnTo>
                    <a:lnTo>
                      <a:pt x="742" y="15116"/>
                    </a:lnTo>
                    <a:lnTo>
                      <a:pt x="212" y="14602"/>
                    </a:lnTo>
                    <a:lnTo>
                      <a:pt x="212" y="13316"/>
                    </a:lnTo>
                    <a:lnTo>
                      <a:pt x="0" y="13008"/>
                    </a:lnTo>
                    <a:lnTo>
                      <a:pt x="0" y="11105"/>
                    </a:lnTo>
                    <a:lnTo>
                      <a:pt x="212" y="10900"/>
                    </a:lnTo>
                    <a:lnTo>
                      <a:pt x="742" y="8792"/>
                    </a:lnTo>
                    <a:lnTo>
                      <a:pt x="1449" y="81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6" name="Freeform 93"/>
              <p:cNvSpPr>
                <a:spLocks/>
              </p:cNvSpPr>
              <p:nvPr/>
            </p:nvSpPr>
            <p:spPr bwMode="auto">
              <a:xfrm>
                <a:off x="5732463" y="5286375"/>
                <a:ext cx="63500" cy="66675"/>
              </a:xfrm>
              <a:custGeom>
                <a:avLst/>
                <a:gdLst>
                  <a:gd name="T0" fmla="*/ 5253 w 20000"/>
                  <a:gd name="T1" fmla="*/ 3077 h 20000"/>
                  <a:gd name="T2" fmla="*/ 13535 w 20000"/>
                  <a:gd name="T3" fmla="*/ 0 h 20000"/>
                  <a:gd name="T4" fmla="*/ 16566 w 20000"/>
                  <a:gd name="T5" fmla="*/ 1923 h 20000"/>
                  <a:gd name="T6" fmla="*/ 19798 w 20000"/>
                  <a:gd name="T7" fmla="*/ 6923 h 20000"/>
                  <a:gd name="T8" fmla="*/ 18586 w 20000"/>
                  <a:gd name="T9" fmla="*/ 9808 h 20000"/>
                  <a:gd name="T10" fmla="*/ 18586 w 20000"/>
                  <a:gd name="T11" fmla="*/ 12885 h 20000"/>
                  <a:gd name="T12" fmla="*/ 9495 w 20000"/>
                  <a:gd name="T13" fmla="*/ 14808 h 20000"/>
                  <a:gd name="T14" fmla="*/ 8283 w 20000"/>
                  <a:gd name="T15" fmla="*/ 19808 h 20000"/>
                  <a:gd name="T16" fmla="*/ 3232 w 20000"/>
                  <a:gd name="T17" fmla="*/ 17885 h 20000"/>
                  <a:gd name="T18" fmla="*/ 808 w 20000"/>
                  <a:gd name="T19" fmla="*/ 11923 h 20000"/>
                  <a:gd name="T20" fmla="*/ 0 w 20000"/>
                  <a:gd name="T21" fmla="*/ 9808 h 20000"/>
                  <a:gd name="T22" fmla="*/ 808 w 20000"/>
                  <a:gd name="T23" fmla="*/ 7885 h 20000"/>
                  <a:gd name="T24" fmla="*/ 5253 w 20000"/>
                  <a:gd name="T25" fmla="*/ 307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5253" y="3077"/>
                    </a:moveTo>
                    <a:lnTo>
                      <a:pt x="13535" y="0"/>
                    </a:lnTo>
                    <a:lnTo>
                      <a:pt x="16566" y="1923"/>
                    </a:lnTo>
                    <a:lnTo>
                      <a:pt x="19798" y="6923"/>
                    </a:lnTo>
                    <a:lnTo>
                      <a:pt x="18586" y="9808"/>
                    </a:lnTo>
                    <a:lnTo>
                      <a:pt x="18586" y="12885"/>
                    </a:lnTo>
                    <a:lnTo>
                      <a:pt x="9495" y="14808"/>
                    </a:lnTo>
                    <a:lnTo>
                      <a:pt x="8283" y="19808"/>
                    </a:lnTo>
                    <a:lnTo>
                      <a:pt x="3232" y="17885"/>
                    </a:lnTo>
                    <a:lnTo>
                      <a:pt x="808" y="11923"/>
                    </a:lnTo>
                    <a:lnTo>
                      <a:pt x="0" y="9808"/>
                    </a:lnTo>
                    <a:lnTo>
                      <a:pt x="808" y="7885"/>
                    </a:lnTo>
                    <a:lnTo>
                      <a:pt x="5253" y="307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7" name="Freeform 92"/>
              <p:cNvSpPr>
                <a:spLocks/>
              </p:cNvSpPr>
              <p:nvPr/>
            </p:nvSpPr>
            <p:spPr bwMode="auto">
              <a:xfrm>
                <a:off x="3052763" y="5075238"/>
                <a:ext cx="447675" cy="1062037"/>
              </a:xfrm>
              <a:custGeom>
                <a:avLst/>
                <a:gdLst>
                  <a:gd name="T0" fmla="*/ 3824 w 20000"/>
                  <a:gd name="T1" fmla="*/ 48 h 20000"/>
                  <a:gd name="T2" fmla="*/ 5751 w 20000"/>
                  <a:gd name="T3" fmla="*/ 167 h 20000"/>
                  <a:gd name="T4" fmla="*/ 8102 w 20000"/>
                  <a:gd name="T5" fmla="*/ 48 h 20000"/>
                  <a:gd name="T6" fmla="*/ 12210 w 20000"/>
                  <a:gd name="T7" fmla="*/ 1292 h 20000"/>
                  <a:gd name="T8" fmla="*/ 15297 w 20000"/>
                  <a:gd name="T9" fmla="*/ 1854 h 20000"/>
                  <a:gd name="T10" fmla="*/ 14079 w 20000"/>
                  <a:gd name="T11" fmla="*/ 3098 h 20000"/>
                  <a:gd name="T12" fmla="*/ 17790 w 20000"/>
                  <a:gd name="T13" fmla="*/ 3146 h 20000"/>
                  <a:gd name="T14" fmla="*/ 18810 w 20000"/>
                  <a:gd name="T15" fmla="*/ 1782 h 20000"/>
                  <a:gd name="T16" fmla="*/ 19972 w 20000"/>
                  <a:gd name="T17" fmla="*/ 2584 h 20000"/>
                  <a:gd name="T18" fmla="*/ 17790 w 20000"/>
                  <a:gd name="T19" fmla="*/ 3768 h 20000"/>
                  <a:gd name="T20" fmla="*/ 16006 w 20000"/>
                  <a:gd name="T21" fmla="*/ 4880 h 20000"/>
                  <a:gd name="T22" fmla="*/ 15297 w 20000"/>
                  <a:gd name="T23" fmla="*/ 5885 h 20000"/>
                  <a:gd name="T24" fmla="*/ 15297 w 20000"/>
                  <a:gd name="T25" fmla="*/ 6746 h 20000"/>
                  <a:gd name="T26" fmla="*/ 15411 w 20000"/>
                  <a:gd name="T27" fmla="*/ 7787 h 20000"/>
                  <a:gd name="T28" fmla="*/ 16912 w 20000"/>
                  <a:gd name="T29" fmla="*/ 8289 h 20000"/>
                  <a:gd name="T30" fmla="*/ 17790 w 20000"/>
                  <a:gd name="T31" fmla="*/ 8971 h 20000"/>
                  <a:gd name="T32" fmla="*/ 14986 w 20000"/>
                  <a:gd name="T33" fmla="*/ 10263 h 20000"/>
                  <a:gd name="T34" fmla="*/ 11898 w 20000"/>
                  <a:gd name="T35" fmla="*/ 10646 h 20000"/>
                  <a:gd name="T36" fmla="*/ 11898 w 20000"/>
                  <a:gd name="T37" fmla="*/ 11579 h 20000"/>
                  <a:gd name="T38" fmla="*/ 8527 w 20000"/>
                  <a:gd name="T39" fmla="*/ 11699 h 20000"/>
                  <a:gd name="T40" fmla="*/ 9263 w 20000"/>
                  <a:gd name="T41" fmla="*/ 12560 h 20000"/>
                  <a:gd name="T42" fmla="*/ 10737 w 20000"/>
                  <a:gd name="T43" fmla="*/ 12990 h 20000"/>
                  <a:gd name="T44" fmla="*/ 9263 w 20000"/>
                  <a:gd name="T45" fmla="*/ 12871 h 20000"/>
                  <a:gd name="T46" fmla="*/ 9122 w 20000"/>
                  <a:gd name="T47" fmla="*/ 13493 h 20000"/>
                  <a:gd name="T48" fmla="*/ 8385 w 20000"/>
                  <a:gd name="T49" fmla="*/ 14605 h 20000"/>
                  <a:gd name="T50" fmla="*/ 8527 w 20000"/>
                  <a:gd name="T51" fmla="*/ 16077 h 20000"/>
                  <a:gd name="T52" fmla="*/ 8102 w 20000"/>
                  <a:gd name="T53" fmla="*/ 17392 h 20000"/>
                  <a:gd name="T54" fmla="*/ 6912 w 20000"/>
                  <a:gd name="T55" fmla="*/ 18864 h 20000"/>
                  <a:gd name="T56" fmla="*/ 6912 w 20000"/>
                  <a:gd name="T57" fmla="*/ 19797 h 20000"/>
                  <a:gd name="T58" fmla="*/ 3088 w 20000"/>
                  <a:gd name="T59" fmla="*/ 19378 h 20000"/>
                  <a:gd name="T60" fmla="*/ 1473 w 20000"/>
                  <a:gd name="T61" fmla="*/ 18373 h 20000"/>
                  <a:gd name="T62" fmla="*/ 2210 w 20000"/>
                  <a:gd name="T63" fmla="*/ 16950 h 20000"/>
                  <a:gd name="T64" fmla="*/ 2210 w 20000"/>
                  <a:gd name="T65" fmla="*/ 15778 h 20000"/>
                  <a:gd name="T66" fmla="*/ 1926 w 20000"/>
                  <a:gd name="T67" fmla="*/ 14605 h 20000"/>
                  <a:gd name="T68" fmla="*/ 2210 w 20000"/>
                  <a:gd name="T69" fmla="*/ 14175 h 20000"/>
                  <a:gd name="T70" fmla="*/ 1190 w 20000"/>
                  <a:gd name="T71" fmla="*/ 13493 h 20000"/>
                  <a:gd name="T72" fmla="*/ 1048 w 20000"/>
                  <a:gd name="T73" fmla="*/ 12679 h 20000"/>
                  <a:gd name="T74" fmla="*/ 453 w 20000"/>
                  <a:gd name="T75" fmla="*/ 10455 h 20000"/>
                  <a:gd name="T76" fmla="*/ 312 w 20000"/>
                  <a:gd name="T77" fmla="*/ 8840 h 20000"/>
                  <a:gd name="T78" fmla="*/ 1190 w 20000"/>
                  <a:gd name="T79" fmla="*/ 7356 h 20000"/>
                  <a:gd name="T80" fmla="*/ 0 w 20000"/>
                  <a:gd name="T81" fmla="*/ 5562 h 20000"/>
                  <a:gd name="T82" fmla="*/ 1048 w 20000"/>
                  <a:gd name="T83" fmla="*/ 3589 h 20000"/>
                  <a:gd name="T84" fmla="*/ 1473 w 20000"/>
                  <a:gd name="T85" fmla="*/ 2656 h 20000"/>
                  <a:gd name="T86" fmla="*/ 1473 w 20000"/>
                  <a:gd name="T87" fmla="*/ 1663 h 20000"/>
                  <a:gd name="T88" fmla="*/ 3088 w 20000"/>
                  <a:gd name="T89" fmla="*/ 55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3088" y="550"/>
                    </a:moveTo>
                    <a:lnTo>
                      <a:pt x="3371" y="167"/>
                    </a:lnTo>
                    <a:lnTo>
                      <a:pt x="3824" y="48"/>
                    </a:lnTo>
                    <a:lnTo>
                      <a:pt x="3824" y="0"/>
                    </a:lnTo>
                    <a:lnTo>
                      <a:pt x="4561" y="167"/>
                    </a:lnTo>
                    <a:lnTo>
                      <a:pt x="5751" y="167"/>
                    </a:lnTo>
                    <a:lnTo>
                      <a:pt x="6487" y="490"/>
                    </a:lnTo>
                    <a:lnTo>
                      <a:pt x="6912" y="48"/>
                    </a:lnTo>
                    <a:lnTo>
                      <a:pt x="8102" y="48"/>
                    </a:lnTo>
                    <a:lnTo>
                      <a:pt x="9547" y="682"/>
                    </a:lnTo>
                    <a:lnTo>
                      <a:pt x="10737" y="1172"/>
                    </a:lnTo>
                    <a:lnTo>
                      <a:pt x="12210" y="1292"/>
                    </a:lnTo>
                    <a:lnTo>
                      <a:pt x="13371" y="1543"/>
                    </a:lnTo>
                    <a:lnTo>
                      <a:pt x="14703" y="1663"/>
                    </a:lnTo>
                    <a:lnTo>
                      <a:pt x="15297" y="1854"/>
                    </a:lnTo>
                    <a:lnTo>
                      <a:pt x="14986" y="2285"/>
                    </a:lnTo>
                    <a:lnTo>
                      <a:pt x="14533" y="2584"/>
                    </a:lnTo>
                    <a:lnTo>
                      <a:pt x="14079" y="3098"/>
                    </a:lnTo>
                    <a:lnTo>
                      <a:pt x="15411" y="3146"/>
                    </a:lnTo>
                    <a:lnTo>
                      <a:pt x="16601" y="3397"/>
                    </a:lnTo>
                    <a:lnTo>
                      <a:pt x="17790" y="3146"/>
                    </a:lnTo>
                    <a:lnTo>
                      <a:pt x="18810" y="2775"/>
                    </a:lnTo>
                    <a:lnTo>
                      <a:pt x="19093" y="2285"/>
                    </a:lnTo>
                    <a:lnTo>
                      <a:pt x="18810" y="1782"/>
                    </a:lnTo>
                    <a:lnTo>
                      <a:pt x="19093" y="1292"/>
                    </a:lnTo>
                    <a:lnTo>
                      <a:pt x="19235" y="2093"/>
                    </a:lnTo>
                    <a:lnTo>
                      <a:pt x="19972" y="2584"/>
                    </a:lnTo>
                    <a:lnTo>
                      <a:pt x="19688" y="3098"/>
                    </a:lnTo>
                    <a:lnTo>
                      <a:pt x="18810" y="3397"/>
                    </a:lnTo>
                    <a:lnTo>
                      <a:pt x="17790" y="3768"/>
                    </a:lnTo>
                    <a:lnTo>
                      <a:pt x="17195" y="4151"/>
                    </a:lnTo>
                    <a:lnTo>
                      <a:pt x="16459" y="4569"/>
                    </a:lnTo>
                    <a:lnTo>
                      <a:pt x="16006" y="4880"/>
                    </a:lnTo>
                    <a:lnTo>
                      <a:pt x="15411" y="4952"/>
                    </a:lnTo>
                    <a:lnTo>
                      <a:pt x="15411" y="5371"/>
                    </a:lnTo>
                    <a:lnTo>
                      <a:pt x="15297" y="5885"/>
                    </a:lnTo>
                    <a:lnTo>
                      <a:pt x="15297" y="6376"/>
                    </a:lnTo>
                    <a:lnTo>
                      <a:pt x="15297" y="6675"/>
                    </a:lnTo>
                    <a:lnTo>
                      <a:pt x="15297" y="6746"/>
                    </a:lnTo>
                    <a:lnTo>
                      <a:pt x="15297" y="7297"/>
                    </a:lnTo>
                    <a:lnTo>
                      <a:pt x="15297" y="7476"/>
                    </a:lnTo>
                    <a:lnTo>
                      <a:pt x="15411" y="7787"/>
                    </a:lnTo>
                    <a:lnTo>
                      <a:pt x="16176" y="7859"/>
                    </a:lnTo>
                    <a:lnTo>
                      <a:pt x="16912" y="8158"/>
                    </a:lnTo>
                    <a:lnTo>
                      <a:pt x="16912" y="8289"/>
                    </a:lnTo>
                    <a:lnTo>
                      <a:pt x="16912" y="8600"/>
                    </a:lnTo>
                    <a:lnTo>
                      <a:pt x="17790" y="8792"/>
                    </a:lnTo>
                    <a:lnTo>
                      <a:pt x="17790" y="8971"/>
                    </a:lnTo>
                    <a:lnTo>
                      <a:pt x="17337" y="9462"/>
                    </a:lnTo>
                    <a:lnTo>
                      <a:pt x="16912" y="9964"/>
                    </a:lnTo>
                    <a:lnTo>
                      <a:pt x="14986" y="10263"/>
                    </a:lnTo>
                    <a:lnTo>
                      <a:pt x="13088" y="10383"/>
                    </a:lnTo>
                    <a:lnTo>
                      <a:pt x="11190" y="10383"/>
                    </a:lnTo>
                    <a:lnTo>
                      <a:pt x="11898" y="10646"/>
                    </a:lnTo>
                    <a:lnTo>
                      <a:pt x="11898" y="10945"/>
                    </a:lnTo>
                    <a:lnTo>
                      <a:pt x="11586" y="11388"/>
                    </a:lnTo>
                    <a:lnTo>
                      <a:pt x="11898" y="11579"/>
                    </a:lnTo>
                    <a:lnTo>
                      <a:pt x="11473" y="11878"/>
                    </a:lnTo>
                    <a:lnTo>
                      <a:pt x="9858" y="11878"/>
                    </a:lnTo>
                    <a:lnTo>
                      <a:pt x="8527" y="11699"/>
                    </a:lnTo>
                    <a:lnTo>
                      <a:pt x="8527" y="11998"/>
                    </a:lnTo>
                    <a:lnTo>
                      <a:pt x="8810" y="12249"/>
                    </a:lnTo>
                    <a:lnTo>
                      <a:pt x="9263" y="12560"/>
                    </a:lnTo>
                    <a:lnTo>
                      <a:pt x="10425" y="12560"/>
                    </a:lnTo>
                    <a:lnTo>
                      <a:pt x="10737" y="12679"/>
                    </a:lnTo>
                    <a:lnTo>
                      <a:pt x="10737" y="12990"/>
                    </a:lnTo>
                    <a:lnTo>
                      <a:pt x="10312" y="13050"/>
                    </a:lnTo>
                    <a:lnTo>
                      <a:pt x="9972" y="12871"/>
                    </a:lnTo>
                    <a:lnTo>
                      <a:pt x="9263" y="12871"/>
                    </a:lnTo>
                    <a:lnTo>
                      <a:pt x="9263" y="13050"/>
                    </a:lnTo>
                    <a:lnTo>
                      <a:pt x="9858" y="13301"/>
                    </a:lnTo>
                    <a:lnTo>
                      <a:pt x="9122" y="13493"/>
                    </a:lnTo>
                    <a:lnTo>
                      <a:pt x="9263" y="13983"/>
                    </a:lnTo>
                    <a:lnTo>
                      <a:pt x="9263" y="14605"/>
                    </a:lnTo>
                    <a:lnTo>
                      <a:pt x="8385" y="14605"/>
                    </a:lnTo>
                    <a:lnTo>
                      <a:pt x="7365" y="15096"/>
                    </a:lnTo>
                    <a:lnTo>
                      <a:pt x="7195" y="15586"/>
                    </a:lnTo>
                    <a:lnTo>
                      <a:pt x="8527" y="16077"/>
                    </a:lnTo>
                    <a:lnTo>
                      <a:pt x="9858" y="16148"/>
                    </a:lnTo>
                    <a:lnTo>
                      <a:pt x="9263" y="16890"/>
                    </a:lnTo>
                    <a:lnTo>
                      <a:pt x="8102" y="17392"/>
                    </a:lnTo>
                    <a:lnTo>
                      <a:pt x="8102" y="17883"/>
                    </a:lnTo>
                    <a:lnTo>
                      <a:pt x="7195" y="18373"/>
                    </a:lnTo>
                    <a:lnTo>
                      <a:pt x="6912" y="18864"/>
                    </a:lnTo>
                    <a:lnTo>
                      <a:pt x="7365" y="19378"/>
                    </a:lnTo>
                    <a:lnTo>
                      <a:pt x="8102" y="19988"/>
                    </a:lnTo>
                    <a:lnTo>
                      <a:pt x="6912" y="19797"/>
                    </a:lnTo>
                    <a:lnTo>
                      <a:pt x="5439" y="19797"/>
                    </a:lnTo>
                    <a:lnTo>
                      <a:pt x="4278" y="19797"/>
                    </a:lnTo>
                    <a:lnTo>
                      <a:pt x="3088" y="19378"/>
                    </a:lnTo>
                    <a:lnTo>
                      <a:pt x="3088" y="18744"/>
                    </a:lnTo>
                    <a:lnTo>
                      <a:pt x="2210" y="18744"/>
                    </a:lnTo>
                    <a:lnTo>
                      <a:pt x="1473" y="18373"/>
                    </a:lnTo>
                    <a:lnTo>
                      <a:pt x="1190" y="17763"/>
                    </a:lnTo>
                    <a:lnTo>
                      <a:pt x="1926" y="17452"/>
                    </a:lnTo>
                    <a:lnTo>
                      <a:pt x="2210" y="16950"/>
                    </a:lnTo>
                    <a:lnTo>
                      <a:pt x="1926" y="16639"/>
                    </a:lnTo>
                    <a:lnTo>
                      <a:pt x="2210" y="16268"/>
                    </a:lnTo>
                    <a:lnTo>
                      <a:pt x="2210" y="15778"/>
                    </a:lnTo>
                    <a:lnTo>
                      <a:pt x="2210" y="15347"/>
                    </a:lnTo>
                    <a:lnTo>
                      <a:pt x="2210" y="14976"/>
                    </a:lnTo>
                    <a:lnTo>
                      <a:pt x="1926" y="14605"/>
                    </a:lnTo>
                    <a:lnTo>
                      <a:pt x="1473" y="14486"/>
                    </a:lnTo>
                    <a:lnTo>
                      <a:pt x="2210" y="14486"/>
                    </a:lnTo>
                    <a:lnTo>
                      <a:pt x="2210" y="14175"/>
                    </a:lnTo>
                    <a:lnTo>
                      <a:pt x="1473" y="14175"/>
                    </a:lnTo>
                    <a:lnTo>
                      <a:pt x="1473" y="13672"/>
                    </a:lnTo>
                    <a:lnTo>
                      <a:pt x="1190" y="13493"/>
                    </a:lnTo>
                    <a:lnTo>
                      <a:pt x="453" y="13301"/>
                    </a:lnTo>
                    <a:lnTo>
                      <a:pt x="453" y="12560"/>
                    </a:lnTo>
                    <a:lnTo>
                      <a:pt x="1048" y="12679"/>
                    </a:lnTo>
                    <a:lnTo>
                      <a:pt x="312" y="11998"/>
                    </a:lnTo>
                    <a:lnTo>
                      <a:pt x="312" y="11256"/>
                    </a:lnTo>
                    <a:lnTo>
                      <a:pt x="453" y="10455"/>
                    </a:lnTo>
                    <a:lnTo>
                      <a:pt x="1048" y="10383"/>
                    </a:lnTo>
                    <a:lnTo>
                      <a:pt x="312" y="9653"/>
                    </a:lnTo>
                    <a:lnTo>
                      <a:pt x="312" y="8840"/>
                    </a:lnTo>
                    <a:lnTo>
                      <a:pt x="1048" y="8648"/>
                    </a:lnTo>
                    <a:lnTo>
                      <a:pt x="765" y="8038"/>
                    </a:lnTo>
                    <a:lnTo>
                      <a:pt x="1190" y="7356"/>
                    </a:lnTo>
                    <a:lnTo>
                      <a:pt x="765" y="6675"/>
                    </a:lnTo>
                    <a:lnTo>
                      <a:pt x="453" y="6053"/>
                    </a:lnTo>
                    <a:lnTo>
                      <a:pt x="0" y="5562"/>
                    </a:lnTo>
                    <a:lnTo>
                      <a:pt x="312" y="4952"/>
                    </a:lnTo>
                    <a:lnTo>
                      <a:pt x="312" y="4079"/>
                    </a:lnTo>
                    <a:lnTo>
                      <a:pt x="1048" y="3589"/>
                    </a:lnTo>
                    <a:lnTo>
                      <a:pt x="1473" y="3146"/>
                    </a:lnTo>
                    <a:lnTo>
                      <a:pt x="1926" y="2955"/>
                    </a:lnTo>
                    <a:lnTo>
                      <a:pt x="1473" y="2656"/>
                    </a:lnTo>
                    <a:lnTo>
                      <a:pt x="1756" y="2464"/>
                    </a:lnTo>
                    <a:lnTo>
                      <a:pt x="1473" y="1974"/>
                    </a:lnTo>
                    <a:lnTo>
                      <a:pt x="1473" y="1663"/>
                    </a:lnTo>
                    <a:lnTo>
                      <a:pt x="1756" y="1483"/>
                    </a:lnTo>
                    <a:lnTo>
                      <a:pt x="2946" y="1292"/>
                    </a:lnTo>
                    <a:lnTo>
                      <a:pt x="3088" y="55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8" name="Freeform 91"/>
              <p:cNvSpPr>
                <a:spLocks/>
              </p:cNvSpPr>
              <p:nvPr/>
            </p:nvSpPr>
            <p:spPr bwMode="auto">
              <a:xfrm>
                <a:off x="3233738" y="6153150"/>
                <a:ext cx="112712" cy="96838"/>
              </a:xfrm>
              <a:custGeom>
                <a:avLst/>
                <a:gdLst>
                  <a:gd name="T0" fmla="*/ 4181 w 20000"/>
                  <a:gd name="T1" fmla="*/ 18421 h 20000"/>
                  <a:gd name="T2" fmla="*/ 1808 w 20000"/>
                  <a:gd name="T3" fmla="*/ 9605 h 20000"/>
                  <a:gd name="T4" fmla="*/ 0 w 20000"/>
                  <a:gd name="T5" fmla="*/ 0 h 20000"/>
                  <a:gd name="T6" fmla="*/ 2938 w 20000"/>
                  <a:gd name="T7" fmla="*/ 2763 h 20000"/>
                  <a:gd name="T8" fmla="*/ 4181 w 20000"/>
                  <a:gd name="T9" fmla="*/ 6184 h 20000"/>
                  <a:gd name="T10" fmla="*/ 10621 w 20000"/>
                  <a:gd name="T11" fmla="*/ 10921 h 20000"/>
                  <a:gd name="T12" fmla="*/ 15254 w 20000"/>
                  <a:gd name="T13" fmla="*/ 15000 h 20000"/>
                  <a:gd name="T14" fmla="*/ 19887 w 20000"/>
                  <a:gd name="T15" fmla="*/ 16447 h 20000"/>
                  <a:gd name="T16" fmla="*/ 14011 w 20000"/>
                  <a:gd name="T17" fmla="*/ 19868 h 20000"/>
                  <a:gd name="T18" fmla="*/ 8814 w 20000"/>
                  <a:gd name="T19" fmla="*/ 18421 h 20000"/>
                  <a:gd name="T20" fmla="*/ 4181 w 20000"/>
                  <a:gd name="T21" fmla="*/ 1842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4181" y="18421"/>
                    </a:moveTo>
                    <a:lnTo>
                      <a:pt x="1808" y="9605"/>
                    </a:lnTo>
                    <a:lnTo>
                      <a:pt x="0" y="0"/>
                    </a:lnTo>
                    <a:lnTo>
                      <a:pt x="2938" y="2763"/>
                    </a:lnTo>
                    <a:lnTo>
                      <a:pt x="4181" y="6184"/>
                    </a:lnTo>
                    <a:lnTo>
                      <a:pt x="10621" y="10921"/>
                    </a:lnTo>
                    <a:lnTo>
                      <a:pt x="15254" y="15000"/>
                    </a:lnTo>
                    <a:lnTo>
                      <a:pt x="19887" y="16447"/>
                    </a:lnTo>
                    <a:lnTo>
                      <a:pt x="14011" y="19868"/>
                    </a:lnTo>
                    <a:lnTo>
                      <a:pt x="8814" y="18421"/>
                    </a:lnTo>
                    <a:lnTo>
                      <a:pt x="4181" y="1842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49" name="Freeform 90"/>
              <p:cNvSpPr>
                <a:spLocks/>
              </p:cNvSpPr>
              <p:nvPr/>
            </p:nvSpPr>
            <p:spPr bwMode="auto">
              <a:xfrm>
                <a:off x="2835275" y="3629025"/>
                <a:ext cx="20638" cy="42863"/>
              </a:xfrm>
              <a:custGeom>
                <a:avLst/>
                <a:gdLst>
                  <a:gd name="T0" fmla="*/ 15625 w 20000"/>
                  <a:gd name="T1" fmla="*/ 19706 h 20000"/>
                  <a:gd name="T2" fmla="*/ 9375 w 20000"/>
                  <a:gd name="T3" fmla="*/ 15000 h 20000"/>
                  <a:gd name="T4" fmla="*/ 9375 w 20000"/>
                  <a:gd name="T5" fmla="*/ 12059 h 20000"/>
                  <a:gd name="T6" fmla="*/ 9375 w 20000"/>
                  <a:gd name="T7" fmla="*/ 4706 h 20000"/>
                  <a:gd name="T8" fmla="*/ 0 w 20000"/>
                  <a:gd name="T9" fmla="*/ 2941 h 20000"/>
                  <a:gd name="T10" fmla="*/ 0 w 20000"/>
                  <a:gd name="T11" fmla="*/ 0 h 20000"/>
                  <a:gd name="T12" fmla="*/ 9375 w 20000"/>
                  <a:gd name="T13" fmla="*/ 2941 h 20000"/>
                  <a:gd name="T14" fmla="*/ 19375 w 20000"/>
                  <a:gd name="T15" fmla="*/ 12059 h 20000"/>
                  <a:gd name="T16" fmla="*/ 15625 w 20000"/>
                  <a:gd name="T17"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5625" y="19706"/>
                    </a:moveTo>
                    <a:lnTo>
                      <a:pt x="9375" y="15000"/>
                    </a:lnTo>
                    <a:lnTo>
                      <a:pt x="9375" y="12059"/>
                    </a:lnTo>
                    <a:lnTo>
                      <a:pt x="9375" y="4706"/>
                    </a:lnTo>
                    <a:lnTo>
                      <a:pt x="0" y="2941"/>
                    </a:lnTo>
                    <a:lnTo>
                      <a:pt x="0" y="0"/>
                    </a:lnTo>
                    <a:lnTo>
                      <a:pt x="9375" y="2941"/>
                    </a:lnTo>
                    <a:lnTo>
                      <a:pt x="19375" y="12059"/>
                    </a:lnTo>
                    <a:lnTo>
                      <a:pt x="15625"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0" name="Freeform 89"/>
              <p:cNvSpPr>
                <a:spLocks/>
              </p:cNvSpPr>
              <p:nvPr/>
            </p:nvSpPr>
            <p:spPr bwMode="auto">
              <a:xfrm>
                <a:off x="2816225" y="3695700"/>
                <a:ext cx="14288" cy="20638"/>
              </a:xfrm>
              <a:custGeom>
                <a:avLst/>
                <a:gdLst>
                  <a:gd name="T0" fmla="*/ 5455 w 20000"/>
                  <a:gd name="T1" fmla="*/ 19375 h 20000"/>
                  <a:gd name="T2" fmla="*/ 0 w 20000"/>
                  <a:gd name="T3" fmla="*/ 12500 h 20000"/>
                  <a:gd name="T4" fmla="*/ 5455 w 20000"/>
                  <a:gd name="T5" fmla="*/ 9375 h 20000"/>
                  <a:gd name="T6" fmla="*/ 5455 w 20000"/>
                  <a:gd name="T7" fmla="*/ 0 h 20000"/>
                  <a:gd name="T8" fmla="*/ 19091 w 20000"/>
                  <a:gd name="T9" fmla="*/ 0 h 20000"/>
                  <a:gd name="T10" fmla="*/ 19091 w 20000"/>
                  <a:gd name="T11" fmla="*/ 12500 h 20000"/>
                  <a:gd name="T12" fmla="*/ 5455 w 20000"/>
                  <a:gd name="T13" fmla="*/ 1937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455" y="19375"/>
                    </a:moveTo>
                    <a:lnTo>
                      <a:pt x="0" y="12500"/>
                    </a:lnTo>
                    <a:lnTo>
                      <a:pt x="5455" y="9375"/>
                    </a:lnTo>
                    <a:lnTo>
                      <a:pt x="5455" y="0"/>
                    </a:lnTo>
                    <a:lnTo>
                      <a:pt x="19091" y="0"/>
                    </a:lnTo>
                    <a:lnTo>
                      <a:pt x="19091" y="12500"/>
                    </a:lnTo>
                    <a:lnTo>
                      <a:pt x="5455"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1" name="Freeform 88"/>
              <p:cNvSpPr>
                <a:spLocks/>
              </p:cNvSpPr>
              <p:nvPr/>
            </p:nvSpPr>
            <p:spPr bwMode="auto">
              <a:xfrm>
                <a:off x="2855913" y="3679825"/>
                <a:ext cx="23812" cy="30163"/>
              </a:xfrm>
              <a:custGeom>
                <a:avLst/>
                <a:gdLst>
                  <a:gd name="T0" fmla="*/ 19459 w 20000"/>
                  <a:gd name="T1" fmla="*/ 19574 h 20000"/>
                  <a:gd name="T2" fmla="*/ 10811 w 20000"/>
                  <a:gd name="T3" fmla="*/ 17447 h 20000"/>
                  <a:gd name="T4" fmla="*/ 14054 w 20000"/>
                  <a:gd name="T5" fmla="*/ 11064 h 20000"/>
                  <a:gd name="T6" fmla="*/ 0 w 20000"/>
                  <a:gd name="T7" fmla="*/ 1702 h 20000"/>
                  <a:gd name="T8" fmla="*/ 5405 w 20000"/>
                  <a:gd name="T9" fmla="*/ 0 h 20000"/>
                  <a:gd name="T10" fmla="*/ 19459 w 20000"/>
                  <a:gd name="T11" fmla="*/ 11064 h 20000"/>
                  <a:gd name="T12" fmla="*/ 19459 w 20000"/>
                  <a:gd name="T13" fmla="*/ 1957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9459" y="19574"/>
                    </a:moveTo>
                    <a:lnTo>
                      <a:pt x="10811" y="17447"/>
                    </a:lnTo>
                    <a:lnTo>
                      <a:pt x="14054" y="11064"/>
                    </a:lnTo>
                    <a:lnTo>
                      <a:pt x="0" y="1702"/>
                    </a:lnTo>
                    <a:lnTo>
                      <a:pt x="5405" y="0"/>
                    </a:lnTo>
                    <a:lnTo>
                      <a:pt x="19459" y="11064"/>
                    </a:lnTo>
                    <a:lnTo>
                      <a:pt x="19459" y="1957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2" name="Freeform 87"/>
              <p:cNvSpPr>
                <a:spLocks/>
              </p:cNvSpPr>
              <p:nvPr/>
            </p:nvSpPr>
            <p:spPr bwMode="auto">
              <a:xfrm>
                <a:off x="2801938" y="3638550"/>
                <a:ext cx="34925" cy="12700"/>
              </a:xfrm>
              <a:custGeom>
                <a:avLst/>
                <a:gdLst>
                  <a:gd name="T0" fmla="*/ 4074 w 20000"/>
                  <a:gd name="T1" fmla="*/ 19048 h 20000"/>
                  <a:gd name="T2" fmla="*/ 0 w 20000"/>
                  <a:gd name="T3" fmla="*/ 0 h 20000"/>
                  <a:gd name="T4" fmla="*/ 7778 w 20000"/>
                  <a:gd name="T5" fmla="*/ 0 h 20000"/>
                  <a:gd name="T6" fmla="*/ 15926 w 20000"/>
                  <a:gd name="T7" fmla="*/ 0 h 20000"/>
                  <a:gd name="T8" fmla="*/ 19630 w 20000"/>
                  <a:gd name="T9" fmla="*/ 0 h 20000"/>
                  <a:gd name="T10" fmla="*/ 4074 w 20000"/>
                  <a:gd name="T11" fmla="*/ 19048 h 20000"/>
                </a:gdLst>
                <a:ahLst/>
                <a:cxnLst>
                  <a:cxn ang="0">
                    <a:pos x="T0" y="T1"/>
                  </a:cxn>
                  <a:cxn ang="0">
                    <a:pos x="T2" y="T3"/>
                  </a:cxn>
                  <a:cxn ang="0">
                    <a:pos x="T4" y="T5"/>
                  </a:cxn>
                  <a:cxn ang="0">
                    <a:pos x="T6" y="T7"/>
                  </a:cxn>
                  <a:cxn ang="0">
                    <a:pos x="T8" y="T9"/>
                  </a:cxn>
                  <a:cxn ang="0">
                    <a:pos x="T10" y="T11"/>
                  </a:cxn>
                </a:cxnLst>
                <a:rect l="0" t="0" r="r" b="b"/>
                <a:pathLst>
                  <a:path w="20000" h="20000">
                    <a:moveTo>
                      <a:pt x="4074" y="19048"/>
                    </a:moveTo>
                    <a:lnTo>
                      <a:pt x="0" y="0"/>
                    </a:lnTo>
                    <a:lnTo>
                      <a:pt x="7778" y="0"/>
                    </a:lnTo>
                    <a:lnTo>
                      <a:pt x="15926" y="0"/>
                    </a:lnTo>
                    <a:lnTo>
                      <a:pt x="19630" y="0"/>
                    </a:lnTo>
                    <a:lnTo>
                      <a:pt x="4074" y="190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3" name="Freeform 86"/>
              <p:cNvSpPr>
                <a:spLocks/>
              </p:cNvSpPr>
              <p:nvPr/>
            </p:nvSpPr>
            <p:spPr bwMode="auto">
              <a:xfrm>
                <a:off x="2930525" y="3816350"/>
                <a:ext cx="23813" cy="11113"/>
              </a:xfrm>
              <a:custGeom>
                <a:avLst/>
                <a:gdLst>
                  <a:gd name="T0" fmla="*/ 5405 w 20000"/>
                  <a:gd name="T1" fmla="*/ 18824 h 20000"/>
                  <a:gd name="T2" fmla="*/ 0 w 20000"/>
                  <a:gd name="T3" fmla="*/ 5882 h 20000"/>
                  <a:gd name="T4" fmla="*/ 8649 w 20000"/>
                  <a:gd name="T5" fmla="*/ 0 h 20000"/>
                  <a:gd name="T6" fmla="*/ 19459 w 20000"/>
                  <a:gd name="T7" fmla="*/ 0 h 20000"/>
                  <a:gd name="T8" fmla="*/ 14054 w 20000"/>
                  <a:gd name="T9" fmla="*/ 18824 h 20000"/>
                  <a:gd name="T10" fmla="*/ 5405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5405" y="18824"/>
                    </a:moveTo>
                    <a:lnTo>
                      <a:pt x="0" y="5882"/>
                    </a:lnTo>
                    <a:lnTo>
                      <a:pt x="8649" y="0"/>
                    </a:lnTo>
                    <a:lnTo>
                      <a:pt x="19459" y="0"/>
                    </a:lnTo>
                    <a:lnTo>
                      <a:pt x="14054" y="18824"/>
                    </a:lnTo>
                    <a:lnTo>
                      <a:pt x="5405"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4" name="Freeform 85"/>
              <p:cNvSpPr>
                <a:spLocks/>
              </p:cNvSpPr>
              <p:nvPr/>
            </p:nvSpPr>
            <p:spPr bwMode="auto">
              <a:xfrm>
                <a:off x="2886075" y="3705225"/>
                <a:ext cx="12700" cy="20638"/>
              </a:xfrm>
              <a:custGeom>
                <a:avLst/>
                <a:gdLst>
                  <a:gd name="T0" fmla="*/ 3810 w 20000"/>
                  <a:gd name="T1" fmla="*/ 19375 h 20000"/>
                  <a:gd name="T2" fmla="*/ 3810 w 20000"/>
                  <a:gd name="T3" fmla="*/ 15625 h 20000"/>
                  <a:gd name="T4" fmla="*/ 0 w 20000"/>
                  <a:gd name="T5" fmla="*/ 2500 h 20000"/>
                  <a:gd name="T6" fmla="*/ 3810 w 20000"/>
                  <a:gd name="T7" fmla="*/ 0 h 20000"/>
                  <a:gd name="T8" fmla="*/ 19048 w 20000"/>
                  <a:gd name="T9" fmla="*/ 19375 h 20000"/>
                  <a:gd name="T10" fmla="*/ 3810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3810" y="19375"/>
                    </a:moveTo>
                    <a:lnTo>
                      <a:pt x="3810" y="15625"/>
                    </a:lnTo>
                    <a:lnTo>
                      <a:pt x="0" y="2500"/>
                    </a:lnTo>
                    <a:lnTo>
                      <a:pt x="3810" y="0"/>
                    </a:lnTo>
                    <a:lnTo>
                      <a:pt x="19048" y="19375"/>
                    </a:lnTo>
                    <a:lnTo>
                      <a:pt x="3810"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5" name="Freeform 84"/>
              <p:cNvSpPr>
                <a:spLocks/>
              </p:cNvSpPr>
              <p:nvPr/>
            </p:nvSpPr>
            <p:spPr bwMode="auto">
              <a:xfrm>
                <a:off x="2894013" y="3741738"/>
                <a:ext cx="11112" cy="26987"/>
              </a:xfrm>
              <a:custGeom>
                <a:avLst/>
                <a:gdLst>
                  <a:gd name="T0" fmla="*/ 18824 w 20000"/>
                  <a:gd name="T1" fmla="*/ 19524 h 20000"/>
                  <a:gd name="T2" fmla="*/ 0 w 20000"/>
                  <a:gd name="T3" fmla="*/ 0 h 20000"/>
                  <a:gd name="T4" fmla="*/ 18824 w 20000"/>
                  <a:gd name="T5" fmla="*/ 16667 h 20000"/>
                  <a:gd name="T6" fmla="*/ 18824 w 20000"/>
                  <a:gd name="T7" fmla="*/ 19524 h 20000"/>
                </a:gdLst>
                <a:ahLst/>
                <a:cxnLst>
                  <a:cxn ang="0">
                    <a:pos x="T0" y="T1"/>
                  </a:cxn>
                  <a:cxn ang="0">
                    <a:pos x="T2" y="T3"/>
                  </a:cxn>
                  <a:cxn ang="0">
                    <a:pos x="T4" y="T5"/>
                  </a:cxn>
                  <a:cxn ang="0">
                    <a:pos x="T6" y="T7"/>
                  </a:cxn>
                </a:cxnLst>
                <a:rect l="0" t="0" r="r" b="b"/>
                <a:pathLst>
                  <a:path w="20000" h="20000">
                    <a:moveTo>
                      <a:pt x="18824" y="19524"/>
                    </a:moveTo>
                    <a:lnTo>
                      <a:pt x="0" y="0"/>
                    </a:lnTo>
                    <a:lnTo>
                      <a:pt x="18824" y="16667"/>
                    </a:lnTo>
                    <a:lnTo>
                      <a:pt x="18824"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6" name="Freeform 83"/>
              <p:cNvSpPr>
                <a:spLocks/>
              </p:cNvSpPr>
              <p:nvPr/>
            </p:nvSpPr>
            <p:spPr bwMode="auto">
              <a:xfrm>
                <a:off x="2828925" y="3724275"/>
                <a:ext cx="6350" cy="11113"/>
              </a:xfrm>
              <a:custGeom>
                <a:avLst/>
                <a:gdLst>
                  <a:gd name="T0" fmla="*/ 0 w 20000"/>
                  <a:gd name="T1" fmla="*/ 18824 h 20000"/>
                  <a:gd name="T2" fmla="*/ 0 w 20000"/>
                  <a:gd name="T3" fmla="*/ 11765 h 20000"/>
                  <a:gd name="T4" fmla="*/ 18182 w 20000"/>
                  <a:gd name="T5" fmla="*/ 0 h 20000"/>
                  <a:gd name="T6" fmla="*/ 18182 w 20000"/>
                  <a:gd name="T7" fmla="*/ 18824 h 20000"/>
                  <a:gd name="T8" fmla="*/ 0 w 20000"/>
                  <a:gd name="T9" fmla="*/ 18824 h 20000"/>
                </a:gdLst>
                <a:ahLst/>
                <a:cxnLst>
                  <a:cxn ang="0">
                    <a:pos x="T0" y="T1"/>
                  </a:cxn>
                  <a:cxn ang="0">
                    <a:pos x="T2" y="T3"/>
                  </a:cxn>
                  <a:cxn ang="0">
                    <a:pos x="T4" y="T5"/>
                  </a:cxn>
                  <a:cxn ang="0">
                    <a:pos x="T6" y="T7"/>
                  </a:cxn>
                  <a:cxn ang="0">
                    <a:pos x="T8" y="T9"/>
                  </a:cxn>
                </a:cxnLst>
                <a:rect l="0" t="0" r="r" b="b"/>
                <a:pathLst>
                  <a:path w="20000" h="20000">
                    <a:moveTo>
                      <a:pt x="0" y="18824"/>
                    </a:moveTo>
                    <a:lnTo>
                      <a:pt x="0" y="11765"/>
                    </a:lnTo>
                    <a:lnTo>
                      <a:pt x="18182" y="0"/>
                    </a:lnTo>
                    <a:lnTo>
                      <a:pt x="18182" y="18824"/>
                    </a:lnTo>
                    <a:lnTo>
                      <a:pt x="0"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7" name="Freeform 82"/>
              <p:cNvSpPr>
                <a:spLocks/>
              </p:cNvSpPr>
              <p:nvPr/>
            </p:nvSpPr>
            <p:spPr bwMode="auto">
              <a:xfrm>
                <a:off x="2954338" y="3778250"/>
                <a:ext cx="11112" cy="6350"/>
              </a:xfrm>
              <a:custGeom>
                <a:avLst/>
                <a:gdLst>
                  <a:gd name="T0" fmla="*/ 18824 w 20000"/>
                  <a:gd name="T1" fmla="*/ 18182 h 20000"/>
                  <a:gd name="T2" fmla="*/ 0 w 20000"/>
                  <a:gd name="T3" fmla="*/ 18182 h 20000"/>
                  <a:gd name="T4" fmla="*/ 0 w 20000"/>
                  <a:gd name="T5" fmla="*/ 0 h 20000"/>
                  <a:gd name="T6" fmla="*/ 18824 w 20000"/>
                  <a:gd name="T7" fmla="*/ 18182 h 20000"/>
                </a:gdLst>
                <a:ahLst/>
                <a:cxnLst>
                  <a:cxn ang="0">
                    <a:pos x="T0" y="T1"/>
                  </a:cxn>
                  <a:cxn ang="0">
                    <a:pos x="T2" y="T3"/>
                  </a:cxn>
                  <a:cxn ang="0">
                    <a:pos x="T4" y="T5"/>
                  </a:cxn>
                  <a:cxn ang="0">
                    <a:pos x="T6" y="T7"/>
                  </a:cxn>
                </a:cxnLst>
                <a:rect l="0" t="0" r="r" b="b"/>
                <a:pathLst>
                  <a:path w="20000" h="20000">
                    <a:moveTo>
                      <a:pt x="18824" y="18182"/>
                    </a:moveTo>
                    <a:lnTo>
                      <a:pt x="0" y="18182"/>
                    </a:lnTo>
                    <a:lnTo>
                      <a:pt x="0" y="0"/>
                    </a:lnTo>
                    <a:lnTo>
                      <a:pt x="18824" y="181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8" name="Freeform 81"/>
              <p:cNvSpPr>
                <a:spLocks/>
              </p:cNvSpPr>
              <p:nvPr/>
            </p:nvSpPr>
            <p:spPr bwMode="auto">
              <a:xfrm>
                <a:off x="3309938" y="4059238"/>
                <a:ext cx="11112" cy="17462"/>
              </a:xfrm>
              <a:custGeom>
                <a:avLst/>
                <a:gdLst>
                  <a:gd name="T0" fmla="*/ 5882 w 20000"/>
                  <a:gd name="T1" fmla="*/ 19259 h 20000"/>
                  <a:gd name="T2" fmla="*/ 0 w 20000"/>
                  <a:gd name="T3" fmla="*/ 0 h 20000"/>
                  <a:gd name="T4" fmla="*/ 5882 w 20000"/>
                  <a:gd name="T5" fmla="*/ 0 h 20000"/>
                  <a:gd name="T6" fmla="*/ 18824 w 20000"/>
                  <a:gd name="T7" fmla="*/ 11852 h 20000"/>
                  <a:gd name="T8" fmla="*/ 5882 w 20000"/>
                  <a:gd name="T9" fmla="*/ 19259 h 20000"/>
                </a:gdLst>
                <a:ahLst/>
                <a:cxnLst>
                  <a:cxn ang="0">
                    <a:pos x="T0" y="T1"/>
                  </a:cxn>
                  <a:cxn ang="0">
                    <a:pos x="T2" y="T3"/>
                  </a:cxn>
                  <a:cxn ang="0">
                    <a:pos x="T4" y="T5"/>
                  </a:cxn>
                  <a:cxn ang="0">
                    <a:pos x="T6" y="T7"/>
                  </a:cxn>
                  <a:cxn ang="0">
                    <a:pos x="T8" y="T9"/>
                  </a:cxn>
                </a:cxnLst>
                <a:rect l="0" t="0" r="r" b="b"/>
                <a:pathLst>
                  <a:path w="20000" h="20000">
                    <a:moveTo>
                      <a:pt x="5882" y="19259"/>
                    </a:moveTo>
                    <a:lnTo>
                      <a:pt x="0" y="0"/>
                    </a:lnTo>
                    <a:lnTo>
                      <a:pt x="5882" y="0"/>
                    </a:lnTo>
                    <a:lnTo>
                      <a:pt x="18824" y="11852"/>
                    </a:lnTo>
                    <a:lnTo>
                      <a:pt x="5882"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59" name="Freeform 80"/>
              <p:cNvSpPr>
                <a:spLocks/>
              </p:cNvSpPr>
              <p:nvPr/>
            </p:nvSpPr>
            <p:spPr bwMode="auto">
              <a:xfrm>
                <a:off x="2484438" y="3895725"/>
                <a:ext cx="41275" cy="76200"/>
              </a:xfrm>
              <a:custGeom>
                <a:avLst/>
                <a:gdLst>
                  <a:gd name="T0" fmla="*/ 3125 w 20000"/>
                  <a:gd name="T1" fmla="*/ 4333 h 20000"/>
                  <a:gd name="T2" fmla="*/ 11250 w 20000"/>
                  <a:gd name="T3" fmla="*/ 0 h 20000"/>
                  <a:gd name="T4" fmla="*/ 16250 w 20000"/>
                  <a:gd name="T5" fmla="*/ 0 h 20000"/>
                  <a:gd name="T6" fmla="*/ 19688 w 20000"/>
                  <a:gd name="T7" fmla="*/ 1667 h 20000"/>
                  <a:gd name="T8" fmla="*/ 16250 w 20000"/>
                  <a:gd name="T9" fmla="*/ 8500 h 20000"/>
                  <a:gd name="T10" fmla="*/ 13125 w 20000"/>
                  <a:gd name="T11" fmla="*/ 13667 h 20000"/>
                  <a:gd name="T12" fmla="*/ 8125 w 20000"/>
                  <a:gd name="T13" fmla="*/ 16333 h 20000"/>
                  <a:gd name="T14" fmla="*/ 3125 w 20000"/>
                  <a:gd name="T15" fmla="*/ 19833 h 20000"/>
                  <a:gd name="T16" fmla="*/ 0 w 20000"/>
                  <a:gd name="T17" fmla="*/ 18000 h 20000"/>
                  <a:gd name="T18" fmla="*/ 3125 w 20000"/>
                  <a:gd name="T19" fmla="*/ 43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3125" y="4333"/>
                    </a:moveTo>
                    <a:lnTo>
                      <a:pt x="11250" y="0"/>
                    </a:lnTo>
                    <a:lnTo>
                      <a:pt x="16250" y="0"/>
                    </a:lnTo>
                    <a:lnTo>
                      <a:pt x="19688" y="1667"/>
                    </a:lnTo>
                    <a:lnTo>
                      <a:pt x="16250" y="8500"/>
                    </a:lnTo>
                    <a:lnTo>
                      <a:pt x="13125" y="13667"/>
                    </a:lnTo>
                    <a:lnTo>
                      <a:pt x="8125" y="16333"/>
                    </a:lnTo>
                    <a:lnTo>
                      <a:pt x="3125" y="19833"/>
                    </a:lnTo>
                    <a:lnTo>
                      <a:pt x="0" y="18000"/>
                    </a:lnTo>
                    <a:lnTo>
                      <a:pt x="3125" y="433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0" name="Freeform 79"/>
              <p:cNvSpPr>
                <a:spLocks/>
              </p:cNvSpPr>
              <p:nvPr/>
            </p:nvSpPr>
            <p:spPr bwMode="auto">
              <a:xfrm>
                <a:off x="3025775" y="4718050"/>
                <a:ext cx="346075" cy="387350"/>
              </a:xfrm>
              <a:custGeom>
                <a:avLst/>
                <a:gdLst>
                  <a:gd name="T0" fmla="*/ 587 w 20000"/>
                  <a:gd name="T1" fmla="*/ 8478 h 20000"/>
                  <a:gd name="T2" fmla="*/ 991 w 20000"/>
                  <a:gd name="T3" fmla="*/ 6939 h 20000"/>
                  <a:gd name="T4" fmla="*/ 991 w 20000"/>
                  <a:gd name="T5" fmla="*/ 5728 h 20000"/>
                  <a:gd name="T6" fmla="*/ 1505 w 20000"/>
                  <a:gd name="T7" fmla="*/ 3863 h 20000"/>
                  <a:gd name="T8" fmla="*/ 0 w 20000"/>
                  <a:gd name="T9" fmla="*/ 1669 h 20000"/>
                  <a:gd name="T10" fmla="*/ 1908 w 20000"/>
                  <a:gd name="T11" fmla="*/ 1997 h 20000"/>
                  <a:gd name="T12" fmla="*/ 2862 w 20000"/>
                  <a:gd name="T13" fmla="*/ 1342 h 20000"/>
                  <a:gd name="T14" fmla="*/ 4954 w 20000"/>
                  <a:gd name="T15" fmla="*/ 0 h 20000"/>
                  <a:gd name="T16" fmla="*/ 6862 w 20000"/>
                  <a:gd name="T17" fmla="*/ 0 h 20000"/>
                  <a:gd name="T18" fmla="*/ 7046 w 20000"/>
                  <a:gd name="T19" fmla="*/ 1997 h 20000"/>
                  <a:gd name="T20" fmla="*/ 7817 w 20000"/>
                  <a:gd name="T21" fmla="*/ 3372 h 20000"/>
                  <a:gd name="T22" fmla="*/ 9321 w 20000"/>
                  <a:gd name="T23" fmla="*/ 4223 h 20000"/>
                  <a:gd name="T24" fmla="*/ 12000 w 20000"/>
                  <a:gd name="T25" fmla="*/ 4877 h 20000"/>
                  <a:gd name="T26" fmla="*/ 15009 w 20000"/>
                  <a:gd name="T27" fmla="*/ 6088 h 20000"/>
                  <a:gd name="T28" fmla="*/ 15413 w 20000"/>
                  <a:gd name="T29" fmla="*/ 7954 h 20000"/>
                  <a:gd name="T30" fmla="*/ 15413 w 20000"/>
                  <a:gd name="T31" fmla="*/ 9624 h 20000"/>
                  <a:gd name="T32" fmla="*/ 18826 w 20000"/>
                  <a:gd name="T33" fmla="*/ 9951 h 20000"/>
                  <a:gd name="T34" fmla="*/ 19963 w 20000"/>
                  <a:gd name="T35" fmla="*/ 12013 h 20000"/>
                  <a:gd name="T36" fmla="*/ 19963 w 20000"/>
                  <a:gd name="T37" fmla="*/ 14043 h 20000"/>
                  <a:gd name="T38" fmla="*/ 19376 w 20000"/>
                  <a:gd name="T39" fmla="*/ 15908 h 20000"/>
                  <a:gd name="T40" fmla="*/ 18239 w 20000"/>
                  <a:gd name="T41" fmla="*/ 14894 h 20000"/>
                  <a:gd name="T42" fmla="*/ 13505 w 20000"/>
                  <a:gd name="T43" fmla="*/ 14894 h 20000"/>
                  <a:gd name="T44" fmla="*/ 13505 w 20000"/>
                  <a:gd name="T45" fmla="*/ 15417 h 20000"/>
                  <a:gd name="T46" fmla="*/ 12550 w 20000"/>
                  <a:gd name="T47" fmla="*/ 16236 h 20000"/>
                  <a:gd name="T48" fmla="*/ 12917 w 20000"/>
                  <a:gd name="T49" fmla="*/ 17250 h 20000"/>
                  <a:gd name="T50" fmla="*/ 12000 w 20000"/>
                  <a:gd name="T51" fmla="*/ 18625 h 20000"/>
                  <a:gd name="T52" fmla="*/ 10459 w 20000"/>
                  <a:gd name="T53" fmla="*/ 18625 h 20000"/>
                  <a:gd name="T54" fmla="*/ 9908 w 20000"/>
                  <a:gd name="T55" fmla="*/ 19804 h 20000"/>
                  <a:gd name="T56" fmla="*/ 8954 w 20000"/>
                  <a:gd name="T57" fmla="*/ 18953 h 20000"/>
                  <a:gd name="T58" fmla="*/ 7413 w 20000"/>
                  <a:gd name="T59" fmla="*/ 18953 h 20000"/>
                  <a:gd name="T60" fmla="*/ 6459 w 20000"/>
                  <a:gd name="T61" fmla="*/ 18462 h 20000"/>
                  <a:gd name="T62" fmla="*/ 6459 w 20000"/>
                  <a:gd name="T63" fmla="*/ 18625 h 20000"/>
                  <a:gd name="T64" fmla="*/ 5872 w 20000"/>
                  <a:gd name="T65" fmla="*/ 18953 h 20000"/>
                  <a:gd name="T66" fmla="*/ 5505 w 20000"/>
                  <a:gd name="T67" fmla="*/ 19967 h 20000"/>
                  <a:gd name="T68" fmla="*/ 4367 w 20000"/>
                  <a:gd name="T69" fmla="*/ 19967 h 20000"/>
                  <a:gd name="T70" fmla="*/ 3817 w 20000"/>
                  <a:gd name="T71" fmla="*/ 18462 h 20000"/>
                  <a:gd name="T72" fmla="*/ 3083 w 20000"/>
                  <a:gd name="T73" fmla="*/ 16759 h 20000"/>
                  <a:gd name="T74" fmla="*/ 2495 w 20000"/>
                  <a:gd name="T75" fmla="*/ 14566 h 20000"/>
                  <a:gd name="T76" fmla="*/ 1505 w 20000"/>
                  <a:gd name="T77" fmla="*/ 12831 h 20000"/>
                  <a:gd name="T78" fmla="*/ 587 w 20000"/>
                  <a:gd name="T79" fmla="*/ 11817 h 20000"/>
                  <a:gd name="T80" fmla="*/ 991 w 20000"/>
                  <a:gd name="T81" fmla="*/ 10671 h 20000"/>
                  <a:gd name="T82" fmla="*/ 1358 w 20000"/>
                  <a:gd name="T83" fmla="*/ 9951 h 20000"/>
                  <a:gd name="T84" fmla="*/ 1505 w 20000"/>
                  <a:gd name="T85" fmla="*/ 10147 h 20000"/>
                  <a:gd name="T86" fmla="*/ 2092 w 20000"/>
                  <a:gd name="T87" fmla="*/ 9624 h 20000"/>
                  <a:gd name="T88" fmla="*/ 587 w 20000"/>
                  <a:gd name="T89" fmla="*/ 84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587" y="8478"/>
                    </a:moveTo>
                    <a:lnTo>
                      <a:pt x="991" y="6939"/>
                    </a:lnTo>
                    <a:lnTo>
                      <a:pt x="991" y="5728"/>
                    </a:lnTo>
                    <a:lnTo>
                      <a:pt x="1505" y="3863"/>
                    </a:lnTo>
                    <a:lnTo>
                      <a:pt x="0" y="1669"/>
                    </a:lnTo>
                    <a:lnTo>
                      <a:pt x="1908" y="1997"/>
                    </a:lnTo>
                    <a:lnTo>
                      <a:pt x="2862" y="1342"/>
                    </a:lnTo>
                    <a:lnTo>
                      <a:pt x="4954" y="0"/>
                    </a:lnTo>
                    <a:lnTo>
                      <a:pt x="6862" y="0"/>
                    </a:lnTo>
                    <a:lnTo>
                      <a:pt x="7046" y="1997"/>
                    </a:lnTo>
                    <a:lnTo>
                      <a:pt x="7817" y="3372"/>
                    </a:lnTo>
                    <a:lnTo>
                      <a:pt x="9321" y="4223"/>
                    </a:lnTo>
                    <a:lnTo>
                      <a:pt x="12000" y="4877"/>
                    </a:lnTo>
                    <a:lnTo>
                      <a:pt x="15009" y="6088"/>
                    </a:lnTo>
                    <a:lnTo>
                      <a:pt x="15413" y="7954"/>
                    </a:lnTo>
                    <a:lnTo>
                      <a:pt x="15413" y="9624"/>
                    </a:lnTo>
                    <a:lnTo>
                      <a:pt x="18826" y="9951"/>
                    </a:lnTo>
                    <a:lnTo>
                      <a:pt x="19963" y="12013"/>
                    </a:lnTo>
                    <a:lnTo>
                      <a:pt x="19963" y="14043"/>
                    </a:lnTo>
                    <a:lnTo>
                      <a:pt x="19376" y="15908"/>
                    </a:lnTo>
                    <a:lnTo>
                      <a:pt x="18239" y="14894"/>
                    </a:lnTo>
                    <a:lnTo>
                      <a:pt x="13505" y="14894"/>
                    </a:lnTo>
                    <a:lnTo>
                      <a:pt x="13505" y="15417"/>
                    </a:lnTo>
                    <a:lnTo>
                      <a:pt x="12550" y="16236"/>
                    </a:lnTo>
                    <a:lnTo>
                      <a:pt x="12917" y="17250"/>
                    </a:lnTo>
                    <a:lnTo>
                      <a:pt x="12000" y="18625"/>
                    </a:lnTo>
                    <a:lnTo>
                      <a:pt x="10459" y="18625"/>
                    </a:lnTo>
                    <a:lnTo>
                      <a:pt x="9908" y="19804"/>
                    </a:lnTo>
                    <a:lnTo>
                      <a:pt x="8954" y="18953"/>
                    </a:lnTo>
                    <a:lnTo>
                      <a:pt x="7413" y="18953"/>
                    </a:lnTo>
                    <a:lnTo>
                      <a:pt x="6459" y="18462"/>
                    </a:lnTo>
                    <a:lnTo>
                      <a:pt x="6459" y="18625"/>
                    </a:lnTo>
                    <a:lnTo>
                      <a:pt x="5872" y="18953"/>
                    </a:lnTo>
                    <a:lnTo>
                      <a:pt x="5505" y="19967"/>
                    </a:lnTo>
                    <a:lnTo>
                      <a:pt x="4367" y="19967"/>
                    </a:lnTo>
                    <a:lnTo>
                      <a:pt x="3817" y="18462"/>
                    </a:lnTo>
                    <a:lnTo>
                      <a:pt x="3083" y="16759"/>
                    </a:lnTo>
                    <a:lnTo>
                      <a:pt x="2495" y="14566"/>
                    </a:lnTo>
                    <a:lnTo>
                      <a:pt x="1505" y="12831"/>
                    </a:lnTo>
                    <a:lnTo>
                      <a:pt x="587" y="11817"/>
                    </a:lnTo>
                    <a:lnTo>
                      <a:pt x="991" y="10671"/>
                    </a:lnTo>
                    <a:lnTo>
                      <a:pt x="1358" y="9951"/>
                    </a:lnTo>
                    <a:lnTo>
                      <a:pt x="1505" y="10147"/>
                    </a:lnTo>
                    <a:lnTo>
                      <a:pt x="2092" y="9624"/>
                    </a:lnTo>
                    <a:lnTo>
                      <a:pt x="587" y="847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1" name="Freeform 78"/>
              <p:cNvSpPr>
                <a:spLocks/>
              </p:cNvSpPr>
              <p:nvPr/>
            </p:nvSpPr>
            <p:spPr bwMode="auto">
              <a:xfrm>
                <a:off x="2905125" y="4286250"/>
                <a:ext cx="1103313" cy="1160463"/>
              </a:xfrm>
              <a:custGeom>
                <a:avLst/>
                <a:gdLst>
                  <a:gd name="T0" fmla="*/ 10800 w 20000"/>
                  <a:gd name="T1" fmla="*/ 1586 h 20000"/>
                  <a:gd name="T2" fmla="*/ 11399 w 20000"/>
                  <a:gd name="T3" fmla="*/ 569 h 20000"/>
                  <a:gd name="T4" fmla="*/ 12228 w 20000"/>
                  <a:gd name="T5" fmla="*/ 1761 h 20000"/>
                  <a:gd name="T6" fmla="*/ 11272 w 20000"/>
                  <a:gd name="T7" fmla="*/ 2954 h 20000"/>
                  <a:gd name="T8" fmla="*/ 11940 w 20000"/>
                  <a:gd name="T9" fmla="*/ 2779 h 20000"/>
                  <a:gd name="T10" fmla="*/ 11871 w 20000"/>
                  <a:gd name="T11" fmla="*/ 3578 h 20000"/>
                  <a:gd name="T12" fmla="*/ 13898 w 20000"/>
                  <a:gd name="T13" fmla="*/ 3118 h 20000"/>
                  <a:gd name="T14" fmla="*/ 14922 w 20000"/>
                  <a:gd name="T15" fmla="*/ 4081 h 20000"/>
                  <a:gd name="T16" fmla="*/ 17179 w 20000"/>
                  <a:gd name="T17" fmla="*/ 4081 h 20000"/>
                  <a:gd name="T18" fmla="*/ 19447 w 20000"/>
                  <a:gd name="T19" fmla="*/ 5153 h 20000"/>
                  <a:gd name="T20" fmla="*/ 19747 w 20000"/>
                  <a:gd name="T21" fmla="*/ 7090 h 20000"/>
                  <a:gd name="T22" fmla="*/ 18618 w 20000"/>
                  <a:gd name="T23" fmla="*/ 8720 h 20000"/>
                  <a:gd name="T24" fmla="*/ 17962 w 20000"/>
                  <a:gd name="T25" fmla="*/ 9912 h 20000"/>
                  <a:gd name="T26" fmla="*/ 17720 w 20000"/>
                  <a:gd name="T27" fmla="*/ 11718 h 20000"/>
                  <a:gd name="T28" fmla="*/ 17064 w 20000"/>
                  <a:gd name="T29" fmla="*/ 13643 h 20000"/>
                  <a:gd name="T30" fmla="*/ 15452 w 20000"/>
                  <a:gd name="T31" fmla="*/ 14333 h 20000"/>
                  <a:gd name="T32" fmla="*/ 13483 w 20000"/>
                  <a:gd name="T33" fmla="*/ 15514 h 20000"/>
                  <a:gd name="T34" fmla="*/ 13184 w 20000"/>
                  <a:gd name="T35" fmla="*/ 17221 h 20000"/>
                  <a:gd name="T36" fmla="*/ 12355 w 20000"/>
                  <a:gd name="T37" fmla="*/ 18687 h 20000"/>
                  <a:gd name="T38" fmla="*/ 11399 w 20000"/>
                  <a:gd name="T39" fmla="*/ 19989 h 20000"/>
                  <a:gd name="T40" fmla="*/ 10800 w 20000"/>
                  <a:gd name="T41" fmla="*/ 18851 h 20000"/>
                  <a:gd name="T42" fmla="*/ 9372 w 20000"/>
                  <a:gd name="T43" fmla="*/ 18063 h 20000"/>
                  <a:gd name="T44" fmla="*/ 9672 w 20000"/>
                  <a:gd name="T45" fmla="*/ 17385 h 20000"/>
                  <a:gd name="T46" fmla="*/ 10685 w 20000"/>
                  <a:gd name="T47" fmla="*/ 16422 h 20000"/>
                  <a:gd name="T48" fmla="*/ 10432 w 20000"/>
                  <a:gd name="T49" fmla="*/ 14781 h 20000"/>
                  <a:gd name="T50" fmla="*/ 9672 w 20000"/>
                  <a:gd name="T51" fmla="*/ 13818 h 20000"/>
                  <a:gd name="T52" fmla="*/ 8474 w 20000"/>
                  <a:gd name="T53" fmla="*/ 12123 h 20000"/>
                  <a:gd name="T54" fmla="*/ 7047 w 20000"/>
                  <a:gd name="T55" fmla="*/ 10646 h 20000"/>
                  <a:gd name="T56" fmla="*/ 5964 w 20000"/>
                  <a:gd name="T57" fmla="*/ 9059 h 20000"/>
                  <a:gd name="T58" fmla="*/ 4421 w 20000"/>
                  <a:gd name="T59" fmla="*/ 8096 h 20000"/>
                  <a:gd name="T60" fmla="*/ 3109 w 20000"/>
                  <a:gd name="T61" fmla="*/ 7877 h 20000"/>
                  <a:gd name="T62" fmla="*/ 1911 w 20000"/>
                  <a:gd name="T63" fmla="*/ 7987 h 20000"/>
                  <a:gd name="T64" fmla="*/ 1439 w 20000"/>
                  <a:gd name="T65" fmla="*/ 7429 h 20000"/>
                  <a:gd name="T66" fmla="*/ 311 w 20000"/>
                  <a:gd name="T67" fmla="*/ 6958 h 20000"/>
                  <a:gd name="T68" fmla="*/ 311 w 20000"/>
                  <a:gd name="T69" fmla="*/ 5777 h 20000"/>
                  <a:gd name="T70" fmla="*/ 1439 w 20000"/>
                  <a:gd name="T71" fmla="*/ 4584 h 20000"/>
                  <a:gd name="T72" fmla="*/ 2211 w 20000"/>
                  <a:gd name="T73" fmla="*/ 3118 h 20000"/>
                  <a:gd name="T74" fmla="*/ 1911 w 20000"/>
                  <a:gd name="T75" fmla="*/ 2330 h 20000"/>
                  <a:gd name="T76" fmla="*/ 1911 w 20000"/>
                  <a:gd name="T77" fmla="*/ 2046 h 20000"/>
                  <a:gd name="T78" fmla="*/ 2809 w 20000"/>
                  <a:gd name="T79" fmla="*/ 1761 h 20000"/>
                  <a:gd name="T80" fmla="*/ 3397 w 20000"/>
                  <a:gd name="T81" fmla="*/ 1926 h 20000"/>
                  <a:gd name="T82" fmla="*/ 4122 w 20000"/>
                  <a:gd name="T83" fmla="*/ 2155 h 20000"/>
                  <a:gd name="T84" fmla="*/ 5320 w 20000"/>
                  <a:gd name="T85" fmla="*/ 1411 h 20000"/>
                  <a:gd name="T86" fmla="*/ 4537 w 20000"/>
                  <a:gd name="T87" fmla="*/ 569 h 20000"/>
                  <a:gd name="T88" fmla="*/ 5792 w 20000"/>
                  <a:gd name="T89" fmla="*/ 569 h 20000"/>
                  <a:gd name="T90" fmla="*/ 6920 w 20000"/>
                  <a:gd name="T91" fmla="*/ 0 h 20000"/>
                  <a:gd name="T92" fmla="*/ 7047 w 20000"/>
                  <a:gd name="T93" fmla="*/ 1302 h 20000"/>
                  <a:gd name="T94" fmla="*/ 8405 w 20000"/>
                  <a:gd name="T95" fmla="*/ 1761 h 20000"/>
                  <a:gd name="T96" fmla="*/ 9188 w 20000"/>
                  <a:gd name="T97" fmla="*/ 141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9845" y="1477"/>
                    </a:moveTo>
                    <a:lnTo>
                      <a:pt x="10201" y="1707"/>
                    </a:lnTo>
                    <a:lnTo>
                      <a:pt x="10800" y="1586"/>
                    </a:lnTo>
                    <a:lnTo>
                      <a:pt x="11100" y="1138"/>
                    </a:lnTo>
                    <a:lnTo>
                      <a:pt x="11272" y="678"/>
                    </a:lnTo>
                    <a:lnTo>
                      <a:pt x="11399" y="569"/>
                    </a:lnTo>
                    <a:lnTo>
                      <a:pt x="11583" y="744"/>
                    </a:lnTo>
                    <a:lnTo>
                      <a:pt x="11871" y="1707"/>
                    </a:lnTo>
                    <a:lnTo>
                      <a:pt x="12228" y="1761"/>
                    </a:lnTo>
                    <a:lnTo>
                      <a:pt x="12170" y="2155"/>
                    </a:lnTo>
                    <a:lnTo>
                      <a:pt x="11583" y="2615"/>
                    </a:lnTo>
                    <a:lnTo>
                      <a:pt x="11272" y="2954"/>
                    </a:lnTo>
                    <a:lnTo>
                      <a:pt x="10927" y="3403"/>
                    </a:lnTo>
                    <a:lnTo>
                      <a:pt x="11583" y="3228"/>
                    </a:lnTo>
                    <a:lnTo>
                      <a:pt x="11940" y="2779"/>
                    </a:lnTo>
                    <a:lnTo>
                      <a:pt x="12999" y="2888"/>
                    </a:lnTo>
                    <a:lnTo>
                      <a:pt x="12712" y="3403"/>
                    </a:lnTo>
                    <a:lnTo>
                      <a:pt x="11871" y="3578"/>
                    </a:lnTo>
                    <a:lnTo>
                      <a:pt x="12527" y="3687"/>
                    </a:lnTo>
                    <a:lnTo>
                      <a:pt x="13299" y="2954"/>
                    </a:lnTo>
                    <a:lnTo>
                      <a:pt x="13898" y="3118"/>
                    </a:lnTo>
                    <a:lnTo>
                      <a:pt x="14554" y="3337"/>
                    </a:lnTo>
                    <a:lnTo>
                      <a:pt x="15037" y="3687"/>
                    </a:lnTo>
                    <a:lnTo>
                      <a:pt x="14922" y="4081"/>
                    </a:lnTo>
                    <a:lnTo>
                      <a:pt x="15636" y="3851"/>
                    </a:lnTo>
                    <a:lnTo>
                      <a:pt x="16408" y="4081"/>
                    </a:lnTo>
                    <a:lnTo>
                      <a:pt x="17179" y="4081"/>
                    </a:lnTo>
                    <a:lnTo>
                      <a:pt x="18008" y="4540"/>
                    </a:lnTo>
                    <a:lnTo>
                      <a:pt x="18733" y="5044"/>
                    </a:lnTo>
                    <a:lnTo>
                      <a:pt x="19447" y="5153"/>
                    </a:lnTo>
                    <a:lnTo>
                      <a:pt x="19747" y="5613"/>
                    </a:lnTo>
                    <a:lnTo>
                      <a:pt x="19988" y="6171"/>
                    </a:lnTo>
                    <a:lnTo>
                      <a:pt x="19747" y="7090"/>
                    </a:lnTo>
                    <a:lnTo>
                      <a:pt x="19378" y="7538"/>
                    </a:lnTo>
                    <a:lnTo>
                      <a:pt x="18975" y="8096"/>
                    </a:lnTo>
                    <a:lnTo>
                      <a:pt x="18618" y="8720"/>
                    </a:lnTo>
                    <a:lnTo>
                      <a:pt x="18192" y="8895"/>
                    </a:lnTo>
                    <a:lnTo>
                      <a:pt x="17962" y="9289"/>
                    </a:lnTo>
                    <a:lnTo>
                      <a:pt x="17962" y="9912"/>
                    </a:lnTo>
                    <a:lnTo>
                      <a:pt x="18008" y="10470"/>
                    </a:lnTo>
                    <a:lnTo>
                      <a:pt x="17962" y="11379"/>
                    </a:lnTo>
                    <a:lnTo>
                      <a:pt x="17720" y="11718"/>
                    </a:lnTo>
                    <a:lnTo>
                      <a:pt x="17663" y="12298"/>
                    </a:lnTo>
                    <a:lnTo>
                      <a:pt x="17179" y="13195"/>
                    </a:lnTo>
                    <a:lnTo>
                      <a:pt x="17064" y="13643"/>
                    </a:lnTo>
                    <a:lnTo>
                      <a:pt x="16695" y="14103"/>
                    </a:lnTo>
                    <a:lnTo>
                      <a:pt x="16166" y="14103"/>
                    </a:lnTo>
                    <a:lnTo>
                      <a:pt x="15452" y="14333"/>
                    </a:lnTo>
                    <a:lnTo>
                      <a:pt x="14669" y="14672"/>
                    </a:lnTo>
                    <a:lnTo>
                      <a:pt x="13967" y="15011"/>
                    </a:lnTo>
                    <a:lnTo>
                      <a:pt x="13483" y="15514"/>
                    </a:lnTo>
                    <a:lnTo>
                      <a:pt x="13425" y="16193"/>
                    </a:lnTo>
                    <a:lnTo>
                      <a:pt x="13425" y="16882"/>
                    </a:lnTo>
                    <a:lnTo>
                      <a:pt x="13184" y="17221"/>
                    </a:lnTo>
                    <a:lnTo>
                      <a:pt x="12827" y="17779"/>
                    </a:lnTo>
                    <a:lnTo>
                      <a:pt x="12642" y="18228"/>
                    </a:lnTo>
                    <a:lnTo>
                      <a:pt x="12355" y="18687"/>
                    </a:lnTo>
                    <a:lnTo>
                      <a:pt x="11940" y="19081"/>
                    </a:lnTo>
                    <a:lnTo>
                      <a:pt x="11756" y="19540"/>
                    </a:lnTo>
                    <a:lnTo>
                      <a:pt x="11399" y="19989"/>
                    </a:lnTo>
                    <a:lnTo>
                      <a:pt x="11272" y="19595"/>
                    </a:lnTo>
                    <a:lnTo>
                      <a:pt x="11399" y="19300"/>
                    </a:lnTo>
                    <a:lnTo>
                      <a:pt x="10800" y="18851"/>
                    </a:lnTo>
                    <a:lnTo>
                      <a:pt x="10317" y="18512"/>
                    </a:lnTo>
                    <a:lnTo>
                      <a:pt x="10029" y="18512"/>
                    </a:lnTo>
                    <a:lnTo>
                      <a:pt x="9372" y="18063"/>
                    </a:lnTo>
                    <a:lnTo>
                      <a:pt x="9188" y="18063"/>
                    </a:lnTo>
                    <a:lnTo>
                      <a:pt x="9372" y="17779"/>
                    </a:lnTo>
                    <a:lnTo>
                      <a:pt x="9672" y="17385"/>
                    </a:lnTo>
                    <a:lnTo>
                      <a:pt x="9914" y="17046"/>
                    </a:lnTo>
                    <a:lnTo>
                      <a:pt x="10317" y="16707"/>
                    </a:lnTo>
                    <a:lnTo>
                      <a:pt x="10685" y="16422"/>
                    </a:lnTo>
                    <a:lnTo>
                      <a:pt x="10800" y="15963"/>
                    </a:lnTo>
                    <a:lnTo>
                      <a:pt x="10501" y="15514"/>
                    </a:lnTo>
                    <a:lnTo>
                      <a:pt x="10432" y="14781"/>
                    </a:lnTo>
                    <a:lnTo>
                      <a:pt x="10201" y="14551"/>
                    </a:lnTo>
                    <a:lnTo>
                      <a:pt x="10029" y="14672"/>
                    </a:lnTo>
                    <a:lnTo>
                      <a:pt x="9672" y="13818"/>
                    </a:lnTo>
                    <a:lnTo>
                      <a:pt x="8590" y="13753"/>
                    </a:lnTo>
                    <a:lnTo>
                      <a:pt x="8290" y="12746"/>
                    </a:lnTo>
                    <a:lnTo>
                      <a:pt x="8474" y="12123"/>
                    </a:lnTo>
                    <a:lnTo>
                      <a:pt x="8474" y="11444"/>
                    </a:lnTo>
                    <a:lnTo>
                      <a:pt x="8117" y="10755"/>
                    </a:lnTo>
                    <a:lnTo>
                      <a:pt x="7047" y="10646"/>
                    </a:lnTo>
                    <a:lnTo>
                      <a:pt x="7047" y="10088"/>
                    </a:lnTo>
                    <a:lnTo>
                      <a:pt x="6920" y="9464"/>
                    </a:lnTo>
                    <a:lnTo>
                      <a:pt x="5964" y="9059"/>
                    </a:lnTo>
                    <a:lnTo>
                      <a:pt x="5135" y="8840"/>
                    </a:lnTo>
                    <a:lnTo>
                      <a:pt x="4663" y="8545"/>
                    </a:lnTo>
                    <a:lnTo>
                      <a:pt x="4421" y="8096"/>
                    </a:lnTo>
                    <a:lnTo>
                      <a:pt x="4364" y="7429"/>
                    </a:lnTo>
                    <a:lnTo>
                      <a:pt x="3765" y="7429"/>
                    </a:lnTo>
                    <a:lnTo>
                      <a:pt x="3109" y="7877"/>
                    </a:lnTo>
                    <a:lnTo>
                      <a:pt x="2809" y="8096"/>
                    </a:lnTo>
                    <a:lnTo>
                      <a:pt x="2211" y="7987"/>
                    </a:lnTo>
                    <a:lnTo>
                      <a:pt x="1911" y="7987"/>
                    </a:lnTo>
                    <a:lnTo>
                      <a:pt x="1739" y="7987"/>
                    </a:lnTo>
                    <a:lnTo>
                      <a:pt x="1739" y="7254"/>
                    </a:lnTo>
                    <a:lnTo>
                      <a:pt x="1439" y="7429"/>
                    </a:lnTo>
                    <a:lnTo>
                      <a:pt x="967" y="7429"/>
                    </a:lnTo>
                    <a:lnTo>
                      <a:pt x="599" y="7254"/>
                    </a:lnTo>
                    <a:lnTo>
                      <a:pt x="311" y="6958"/>
                    </a:lnTo>
                    <a:lnTo>
                      <a:pt x="0" y="6510"/>
                    </a:lnTo>
                    <a:lnTo>
                      <a:pt x="0" y="5952"/>
                    </a:lnTo>
                    <a:lnTo>
                      <a:pt x="311" y="5777"/>
                    </a:lnTo>
                    <a:lnTo>
                      <a:pt x="357" y="5328"/>
                    </a:lnTo>
                    <a:lnTo>
                      <a:pt x="599" y="4989"/>
                    </a:lnTo>
                    <a:lnTo>
                      <a:pt x="1439" y="4584"/>
                    </a:lnTo>
                    <a:lnTo>
                      <a:pt x="1854" y="4584"/>
                    </a:lnTo>
                    <a:lnTo>
                      <a:pt x="1911" y="4584"/>
                    </a:lnTo>
                    <a:lnTo>
                      <a:pt x="2211" y="3118"/>
                    </a:lnTo>
                    <a:lnTo>
                      <a:pt x="2153" y="2779"/>
                    </a:lnTo>
                    <a:lnTo>
                      <a:pt x="1854" y="2615"/>
                    </a:lnTo>
                    <a:lnTo>
                      <a:pt x="1911" y="2330"/>
                    </a:lnTo>
                    <a:lnTo>
                      <a:pt x="2211" y="2330"/>
                    </a:lnTo>
                    <a:lnTo>
                      <a:pt x="2211" y="2155"/>
                    </a:lnTo>
                    <a:lnTo>
                      <a:pt x="1911" y="2046"/>
                    </a:lnTo>
                    <a:lnTo>
                      <a:pt x="1911" y="1761"/>
                    </a:lnTo>
                    <a:lnTo>
                      <a:pt x="2153" y="1707"/>
                    </a:lnTo>
                    <a:lnTo>
                      <a:pt x="2809" y="1761"/>
                    </a:lnTo>
                    <a:lnTo>
                      <a:pt x="2809" y="1586"/>
                    </a:lnTo>
                    <a:lnTo>
                      <a:pt x="3166" y="1586"/>
                    </a:lnTo>
                    <a:lnTo>
                      <a:pt x="3397" y="1926"/>
                    </a:lnTo>
                    <a:lnTo>
                      <a:pt x="3466" y="2046"/>
                    </a:lnTo>
                    <a:lnTo>
                      <a:pt x="3765" y="2210"/>
                    </a:lnTo>
                    <a:lnTo>
                      <a:pt x="4122" y="2155"/>
                    </a:lnTo>
                    <a:lnTo>
                      <a:pt x="4893" y="1882"/>
                    </a:lnTo>
                    <a:lnTo>
                      <a:pt x="5377" y="1586"/>
                    </a:lnTo>
                    <a:lnTo>
                      <a:pt x="5320" y="1411"/>
                    </a:lnTo>
                    <a:lnTo>
                      <a:pt x="4836" y="1302"/>
                    </a:lnTo>
                    <a:lnTo>
                      <a:pt x="4893" y="853"/>
                    </a:lnTo>
                    <a:lnTo>
                      <a:pt x="4537" y="569"/>
                    </a:lnTo>
                    <a:lnTo>
                      <a:pt x="5020" y="569"/>
                    </a:lnTo>
                    <a:lnTo>
                      <a:pt x="5607" y="744"/>
                    </a:lnTo>
                    <a:lnTo>
                      <a:pt x="5792" y="569"/>
                    </a:lnTo>
                    <a:lnTo>
                      <a:pt x="6390" y="405"/>
                    </a:lnTo>
                    <a:lnTo>
                      <a:pt x="6736" y="120"/>
                    </a:lnTo>
                    <a:lnTo>
                      <a:pt x="6920" y="0"/>
                    </a:lnTo>
                    <a:lnTo>
                      <a:pt x="7047" y="405"/>
                    </a:lnTo>
                    <a:lnTo>
                      <a:pt x="7231" y="678"/>
                    </a:lnTo>
                    <a:lnTo>
                      <a:pt x="7047" y="1302"/>
                    </a:lnTo>
                    <a:lnTo>
                      <a:pt x="7231" y="1761"/>
                    </a:lnTo>
                    <a:lnTo>
                      <a:pt x="7818" y="1926"/>
                    </a:lnTo>
                    <a:lnTo>
                      <a:pt x="8405" y="1761"/>
                    </a:lnTo>
                    <a:lnTo>
                      <a:pt x="8762" y="1707"/>
                    </a:lnTo>
                    <a:lnTo>
                      <a:pt x="9073" y="1761"/>
                    </a:lnTo>
                    <a:lnTo>
                      <a:pt x="9188" y="1411"/>
                    </a:lnTo>
                    <a:lnTo>
                      <a:pt x="9672" y="1302"/>
                    </a:lnTo>
                    <a:lnTo>
                      <a:pt x="9845" y="147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2" name="Freeform 77"/>
              <p:cNvSpPr>
                <a:spLocks/>
              </p:cNvSpPr>
              <p:nvPr/>
            </p:nvSpPr>
            <p:spPr bwMode="auto">
              <a:xfrm>
                <a:off x="2994025" y="4946650"/>
                <a:ext cx="241300" cy="1263650"/>
              </a:xfrm>
              <a:custGeom>
                <a:avLst/>
                <a:gdLst>
                  <a:gd name="T0" fmla="*/ 3536 w 20000"/>
                  <a:gd name="T1" fmla="*/ 0 h 20000"/>
                  <a:gd name="T2" fmla="*/ 7124 w 20000"/>
                  <a:gd name="T3" fmla="*/ 1518 h 20000"/>
                  <a:gd name="T4" fmla="*/ 10660 w 20000"/>
                  <a:gd name="T5" fmla="*/ 2504 h 20000"/>
                  <a:gd name="T6" fmla="*/ 7652 w 20000"/>
                  <a:gd name="T7" fmla="*/ 3439 h 20000"/>
                  <a:gd name="T8" fmla="*/ 7652 w 20000"/>
                  <a:gd name="T9" fmla="*/ 4274 h 20000"/>
                  <a:gd name="T10" fmla="*/ 6807 w 20000"/>
                  <a:gd name="T11" fmla="*/ 5058 h 20000"/>
                  <a:gd name="T12" fmla="*/ 4908 w 20000"/>
                  <a:gd name="T13" fmla="*/ 6717 h 20000"/>
                  <a:gd name="T14" fmla="*/ 7124 w 20000"/>
                  <a:gd name="T15" fmla="*/ 8225 h 20000"/>
                  <a:gd name="T16" fmla="*/ 5488 w 20000"/>
                  <a:gd name="T17" fmla="*/ 9472 h 20000"/>
                  <a:gd name="T18" fmla="*/ 5699 w 20000"/>
                  <a:gd name="T19" fmla="*/ 10830 h 20000"/>
                  <a:gd name="T20" fmla="*/ 6807 w 20000"/>
                  <a:gd name="T21" fmla="*/ 12700 h 20000"/>
                  <a:gd name="T22" fmla="*/ 7124 w 20000"/>
                  <a:gd name="T23" fmla="*/ 13384 h 20000"/>
                  <a:gd name="T24" fmla="*/ 9024 w 20000"/>
                  <a:gd name="T25" fmla="*/ 13957 h 20000"/>
                  <a:gd name="T26" fmla="*/ 8496 w 20000"/>
                  <a:gd name="T27" fmla="*/ 14319 h 20000"/>
                  <a:gd name="T28" fmla="*/ 9024 w 20000"/>
                  <a:gd name="T29" fmla="*/ 15304 h 20000"/>
                  <a:gd name="T30" fmla="*/ 9024 w 20000"/>
                  <a:gd name="T31" fmla="*/ 16290 h 20000"/>
                  <a:gd name="T32" fmla="*/ 7652 w 20000"/>
                  <a:gd name="T33" fmla="*/ 17486 h 20000"/>
                  <a:gd name="T34" fmla="*/ 10660 w 20000"/>
                  <a:gd name="T35" fmla="*/ 18331 h 20000"/>
                  <a:gd name="T36" fmla="*/ 17784 w 20000"/>
                  <a:gd name="T37" fmla="*/ 18693 h 20000"/>
                  <a:gd name="T38" fmla="*/ 16412 w 20000"/>
                  <a:gd name="T39" fmla="*/ 19155 h 20000"/>
                  <a:gd name="T40" fmla="*/ 14987 w 20000"/>
                  <a:gd name="T41" fmla="*/ 19990 h 20000"/>
                  <a:gd name="T42" fmla="*/ 13931 w 20000"/>
                  <a:gd name="T43" fmla="*/ 19517 h 20000"/>
                  <a:gd name="T44" fmla="*/ 11451 w 20000"/>
                  <a:gd name="T45" fmla="*/ 19155 h 20000"/>
                  <a:gd name="T46" fmla="*/ 12612 w 20000"/>
                  <a:gd name="T47" fmla="*/ 19678 h 20000"/>
                  <a:gd name="T48" fmla="*/ 9815 w 20000"/>
                  <a:gd name="T49" fmla="*/ 19316 h 20000"/>
                  <a:gd name="T50" fmla="*/ 9288 w 20000"/>
                  <a:gd name="T51" fmla="*/ 18904 h 20000"/>
                  <a:gd name="T52" fmla="*/ 9815 w 20000"/>
                  <a:gd name="T53" fmla="*/ 18592 h 20000"/>
                  <a:gd name="T54" fmla="*/ 7124 w 20000"/>
                  <a:gd name="T55" fmla="*/ 18059 h 20000"/>
                  <a:gd name="T56" fmla="*/ 6280 w 20000"/>
                  <a:gd name="T57" fmla="*/ 17597 h 20000"/>
                  <a:gd name="T58" fmla="*/ 5488 w 20000"/>
                  <a:gd name="T59" fmla="*/ 17134 h 20000"/>
                  <a:gd name="T60" fmla="*/ 6807 w 20000"/>
                  <a:gd name="T61" fmla="*/ 16400 h 20000"/>
                  <a:gd name="T62" fmla="*/ 4644 w 20000"/>
                  <a:gd name="T63" fmla="*/ 15716 h 20000"/>
                  <a:gd name="T64" fmla="*/ 1372 w 20000"/>
                  <a:gd name="T65" fmla="*/ 15043 h 20000"/>
                  <a:gd name="T66" fmla="*/ 5488 w 20000"/>
                  <a:gd name="T67" fmla="*/ 15043 h 20000"/>
                  <a:gd name="T68" fmla="*/ 5699 w 20000"/>
                  <a:gd name="T69" fmla="*/ 14057 h 20000"/>
                  <a:gd name="T70" fmla="*/ 4644 w 20000"/>
                  <a:gd name="T71" fmla="*/ 13012 h 20000"/>
                  <a:gd name="T72" fmla="*/ 1900 w 20000"/>
                  <a:gd name="T73" fmla="*/ 12348 h 20000"/>
                  <a:gd name="T74" fmla="*/ 1055 w 20000"/>
                  <a:gd name="T75" fmla="*/ 10830 h 20000"/>
                  <a:gd name="T76" fmla="*/ 1900 w 20000"/>
                  <a:gd name="T77" fmla="*/ 9060 h 20000"/>
                  <a:gd name="T78" fmla="*/ 2691 w 20000"/>
                  <a:gd name="T79" fmla="*/ 7501 h 20000"/>
                  <a:gd name="T80" fmla="*/ 1900 w 20000"/>
                  <a:gd name="T81" fmla="*/ 5631 h 20000"/>
                  <a:gd name="T82" fmla="*/ 2691 w 20000"/>
                  <a:gd name="T83" fmla="*/ 3539 h 20000"/>
                  <a:gd name="T84" fmla="*/ 2691 w 20000"/>
                  <a:gd name="T85" fmla="*/ 208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00" y="422"/>
                    </a:moveTo>
                    <a:lnTo>
                      <a:pt x="2691" y="271"/>
                    </a:lnTo>
                    <a:lnTo>
                      <a:pt x="3536" y="0"/>
                    </a:lnTo>
                    <a:lnTo>
                      <a:pt x="4908" y="312"/>
                    </a:lnTo>
                    <a:lnTo>
                      <a:pt x="6280" y="845"/>
                    </a:lnTo>
                    <a:lnTo>
                      <a:pt x="7124" y="1518"/>
                    </a:lnTo>
                    <a:lnTo>
                      <a:pt x="8179" y="2041"/>
                    </a:lnTo>
                    <a:lnTo>
                      <a:pt x="9024" y="2504"/>
                    </a:lnTo>
                    <a:lnTo>
                      <a:pt x="10660" y="2504"/>
                    </a:lnTo>
                    <a:lnTo>
                      <a:pt x="10343" y="3127"/>
                    </a:lnTo>
                    <a:lnTo>
                      <a:pt x="8179" y="3288"/>
                    </a:lnTo>
                    <a:lnTo>
                      <a:pt x="7652" y="3439"/>
                    </a:lnTo>
                    <a:lnTo>
                      <a:pt x="7652" y="3700"/>
                    </a:lnTo>
                    <a:lnTo>
                      <a:pt x="8179" y="4113"/>
                    </a:lnTo>
                    <a:lnTo>
                      <a:pt x="7652" y="4274"/>
                    </a:lnTo>
                    <a:lnTo>
                      <a:pt x="8496" y="4525"/>
                    </a:lnTo>
                    <a:lnTo>
                      <a:pt x="7652" y="4686"/>
                    </a:lnTo>
                    <a:lnTo>
                      <a:pt x="6807" y="5058"/>
                    </a:lnTo>
                    <a:lnTo>
                      <a:pt x="5488" y="5470"/>
                    </a:lnTo>
                    <a:lnTo>
                      <a:pt x="5488" y="6204"/>
                    </a:lnTo>
                    <a:lnTo>
                      <a:pt x="4908" y="6717"/>
                    </a:lnTo>
                    <a:lnTo>
                      <a:pt x="5699" y="7129"/>
                    </a:lnTo>
                    <a:lnTo>
                      <a:pt x="6280" y="7652"/>
                    </a:lnTo>
                    <a:lnTo>
                      <a:pt x="7124" y="8225"/>
                    </a:lnTo>
                    <a:lnTo>
                      <a:pt x="6280" y="8798"/>
                    </a:lnTo>
                    <a:lnTo>
                      <a:pt x="6807" y="9311"/>
                    </a:lnTo>
                    <a:lnTo>
                      <a:pt x="5488" y="9472"/>
                    </a:lnTo>
                    <a:lnTo>
                      <a:pt x="5488" y="10156"/>
                    </a:lnTo>
                    <a:lnTo>
                      <a:pt x="6807" y="10769"/>
                    </a:lnTo>
                    <a:lnTo>
                      <a:pt x="5699" y="10830"/>
                    </a:lnTo>
                    <a:lnTo>
                      <a:pt x="5488" y="11503"/>
                    </a:lnTo>
                    <a:lnTo>
                      <a:pt x="5488" y="12127"/>
                    </a:lnTo>
                    <a:lnTo>
                      <a:pt x="6807" y="12700"/>
                    </a:lnTo>
                    <a:lnTo>
                      <a:pt x="5699" y="12599"/>
                    </a:lnTo>
                    <a:lnTo>
                      <a:pt x="5699" y="13233"/>
                    </a:lnTo>
                    <a:lnTo>
                      <a:pt x="7124" y="13384"/>
                    </a:lnTo>
                    <a:lnTo>
                      <a:pt x="7652" y="13534"/>
                    </a:lnTo>
                    <a:lnTo>
                      <a:pt x="7652" y="13957"/>
                    </a:lnTo>
                    <a:lnTo>
                      <a:pt x="9024" y="13957"/>
                    </a:lnTo>
                    <a:lnTo>
                      <a:pt x="9024" y="14218"/>
                    </a:lnTo>
                    <a:lnTo>
                      <a:pt x="7652" y="14218"/>
                    </a:lnTo>
                    <a:lnTo>
                      <a:pt x="8496" y="14319"/>
                    </a:lnTo>
                    <a:lnTo>
                      <a:pt x="9024" y="14630"/>
                    </a:lnTo>
                    <a:lnTo>
                      <a:pt x="9024" y="14942"/>
                    </a:lnTo>
                    <a:lnTo>
                      <a:pt x="9024" y="15304"/>
                    </a:lnTo>
                    <a:lnTo>
                      <a:pt x="9024" y="15716"/>
                    </a:lnTo>
                    <a:lnTo>
                      <a:pt x="8496" y="16028"/>
                    </a:lnTo>
                    <a:lnTo>
                      <a:pt x="9024" y="16290"/>
                    </a:lnTo>
                    <a:lnTo>
                      <a:pt x="8496" y="16712"/>
                    </a:lnTo>
                    <a:lnTo>
                      <a:pt x="7124" y="16973"/>
                    </a:lnTo>
                    <a:lnTo>
                      <a:pt x="7652" y="17486"/>
                    </a:lnTo>
                    <a:lnTo>
                      <a:pt x="9024" y="17798"/>
                    </a:lnTo>
                    <a:lnTo>
                      <a:pt x="10660" y="17798"/>
                    </a:lnTo>
                    <a:lnTo>
                      <a:pt x="10660" y="18331"/>
                    </a:lnTo>
                    <a:lnTo>
                      <a:pt x="12823" y="18693"/>
                    </a:lnTo>
                    <a:lnTo>
                      <a:pt x="14987" y="18693"/>
                    </a:lnTo>
                    <a:lnTo>
                      <a:pt x="17784" y="18693"/>
                    </a:lnTo>
                    <a:lnTo>
                      <a:pt x="19947" y="18844"/>
                    </a:lnTo>
                    <a:lnTo>
                      <a:pt x="18311" y="18904"/>
                    </a:lnTo>
                    <a:lnTo>
                      <a:pt x="16412" y="19155"/>
                    </a:lnTo>
                    <a:lnTo>
                      <a:pt x="16095" y="19417"/>
                    </a:lnTo>
                    <a:lnTo>
                      <a:pt x="16095" y="19829"/>
                    </a:lnTo>
                    <a:lnTo>
                      <a:pt x="14987" y="19990"/>
                    </a:lnTo>
                    <a:lnTo>
                      <a:pt x="13931" y="19930"/>
                    </a:lnTo>
                    <a:lnTo>
                      <a:pt x="12823" y="19678"/>
                    </a:lnTo>
                    <a:lnTo>
                      <a:pt x="13931" y="19517"/>
                    </a:lnTo>
                    <a:lnTo>
                      <a:pt x="14987" y="19417"/>
                    </a:lnTo>
                    <a:lnTo>
                      <a:pt x="13931" y="19105"/>
                    </a:lnTo>
                    <a:lnTo>
                      <a:pt x="11451" y="19155"/>
                    </a:lnTo>
                    <a:lnTo>
                      <a:pt x="13351" y="19417"/>
                    </a:lnTo>
                    <a:lnTo>
                      <a:pt x="12612" y="19578"/>
                    </a:lnTo>
                    <a:lnTo>
                      <a:pt x="12612" y="19678"/>
                    </a:lnTo>
                    <a:lnTo>
                      <a:pt x="11187" y="19578"/>
                    </a:lnTo>
                    <a:lnTo>
                      <a:pt x="11451" y="19417"/>
                    </a:lnTo>
                    <a:lnTo>
                      <a:pt x="9815" y="19316"/>
                    </a:lnTo>
                    <a:lnTo>
                      <a:pt x="10343" y="19105"/>
                    </a:lnTo>
                    <a:lnTo>
                      <a:pt x="9288" y="19256"/>
                    </a:lnTo>
                    <a:lnTo>
                      <a:pt x="9288" y="18904"/>
                    </a:lnTo>
                    <a:lnTo>
                      <a:pt x="11187" y="18904"/>
                    </a:lnTo>
                    <a:lnTo>
                      <a:pt x="11187" y="18693"/>
                    </a:lnTo>
                    <a:lnTo>
                      <a:pt x="9815" y="18592"/>
                    </a:lnTo>
                    <a:lnTo>
                      <a:pt x="9288" y="18743"/>
                    </a:lnTo>
                    <a:lnTo>
                      <a:pt x="8179" y="18472"/>
                    </a:lnTo>
                    <a:lnTo>
                      <a:pt x="7124" y="18059"/>
                    </a:lnTo>
                    <a:lnTo>
                      <a:pt x="7124" y="18019"/>
                    </a:lnTo>
                    <a:lnTo>
                      <a:pt x="5488" y="17647"/>
                    </a:lnTo>
                    <a:lnTo>
                      <a:pt x="6280" y="17597"/>
                    </a:lnTo>
                    <a:lnTo>
                      <a:pt x="5699" y="17335"/>
                    </a:lnTo>
                    <a:lnTo>
                      <a:pt x="6807" y="17335"/>
                    </a:lnTo>
                    <a:lnTo>
                      <a:pt x="5488" y="17134"/>
                    </a:lnTo>
                    <a:lnTo>
                      <a:pt x="4908" y="16662"/>
                    </a:lnTo>
                    <a:lnTo>
                      <a:pt x="4908" y="16400"/>
                    </a:lnTo>
                    <a:lnTo>
                      <a:pt x="6807" y="16400"/>
                    </a:lnTo>
                    <a:lnTo>
                      <a:pt x="5488" y="16028"/>
                    </a:lnTo>
                    <a:lnTo>
                      <a:pt x="3536" y="16028"/>
                    </a:lnTo>
                    <a:lnTo>
                      <a:pt x="4644" y="15716"/>
                    </a:lnTo>
                    <a:lnTo>
                      <a:pt x="1900" y="15455"/>
                    </a:lnTo>
                    <a:lnTo>
                      <a:pt x="1055" y="15556"/>
                    </a:lnTo>
                    <a:lnTo>
                      <a:pt x="1372" y="15043"/>
                    </a:lnTo>
                    <a:lnTo>
                      <a:pt x="3536" y="15043"/>
                    </a:lnTo>
                    <a:lnTo>
                      <a:pt x="4644" y="15455"/>
                    </a:lnTo>
                    <a:lnTo>
                      <a:pt x="5488" y="15043"/>
                    </a:lnTo>
                    <a:lnTo>
                      <a:pt x="4644" y="14470"/>
                    </a:lnTo>
                    <a:lnTo>
                      <a:pt x="4908" y="14369"/>
                    </a:lnTo>
                    <a:lnTo>
                      <a:pt x="5699" y="14057"/>
                    </a:lnTo>
                    <a:lnTo>
                      <a:pt x="4644" y="13957"/>
                    </a:lnTo>
                    <a:lnTo>
                      <a:pt x="4644" y="13645"/>
                    </a:lnTo>
                    <a:lnTo>
                      <a:pt x="4644" y="13012"/>
                    </a:lnTo>
                    <a:lnTo>
                      <a:pt x="4644" y="12448"/>
                    </a:lnTo>
                    <a:lnTo>
                      <a:pt x="2691" y="12448"/>
                    </a:lnTo>
                    <a:lnTo>
                      <a:pt x="1900" y="12348"/>
                    </a:lnTo>
                    <a:lnTo>
                      <a:pt x="1372" y="11926"/>
                    </a:lnTo>
                    <a:lnTo>
                      <a:pt x="1900" y="11453"/>
                    </a:lnTo>
                    <a:lnTo>
                      <a:pt x="1055" y="10830"/>
                    </a:lnTo>
                    <a:lnTo>
                      <a:pt x="0" y="10106"/>
                    </a:lnTo>
                    <a:lnTo>
                      <a:pt x="1055" y="9744"/>
                    </a:lnTo>
                    <a:lnTo>
                      <a:pt x="1900" y="9060"/>
                    </a:lnTo>
                    <a:lnTo>
                      <a:pt x="2691" y="8326"/>
                    </a:lnTo>
                    <a:lnTo>
                      <a:pt x="2691" y="7712"/>
                    </a:lnTo>
                    <a:lnTo>
                      <a:pt x="2691" y="7501"/>
                    </a:lnTo>
                    <a:lnTo>
                      <a:pt x="1900" y="6828"/>
                    </a:lnTo>
                    <a:lnTo>
                      <a:pt x="1900" y="6305"/>
                    </a:lnTo>
                    <a:lnTo>
                      <a:pt x="1900" y="5631"/>
                    </a:lnTo>
                    <a:lnTo>
                      <a:pt x="2480" y="4897"/>
                    </a:lnTo>
                    <a:lnTo>
                      <a:pt x="2691" y="4213"/>
                    </a:lnTo>
                    <a:lnTo>
                      <a:pt x="2691" y="3539"/>
                    </a:lnTo>
                    <a:lnTo>
                      <a:pt x="2480" y="2866"/>
                    </a:lnTo>
                    <a:lnTo>
                      <a:pt x="2691" y="2614"/>
                    </a:lnTo>
                    <a:lnTo>
                      <a:pt x="2691" y="2081"/>
                    </a:lnTo>
                    <a:lnTo>
                      <a:pt x="2691" y="1156"/>
                    </a:lnTo>
                    <a:lnTo>
                      <a:pt x="1900" y="42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3" name="Freeform 76"/>
              <p:cNvSpPr>
                <a:spLocks/>
              </p:cNvSpPr>
              <p:nvPr/>
            </p:nvSpPr>
            <p:spPr bwMode="auto">
              <a:xfrm>
                <a:off x="3175000" y="6153150"/>
                <a:ext cx="84138" cy="96838"/>
              </a:xfrm>
              <a:custGeom>
                <a:avLst/>
                <a:gdLst>
                  <a:gd name="T0" fmla="*/ 14242 w 20000"/>
                  <a:gd name="T1" fmla="*/ 0 h 20000"/>
                  <a:gd name="T2" fmla="*/ 16667 w 20000"/>
                  <a:gd name="T3" fmla="*/ 9605 h 20000"/>
                  <a:gd name="T4" fmla="*/ 19848 w 20000"/>
                  <a:gd name="T5" fmla="*/ 18421 h 20000"/>
                  <a:gd name="T6" fmla="*/ 11818 w 20000"/>
                  <a:gd name="T7" fmla="*/ 19868 h 20000"/>
                  <a:gd name="T8" fmla="*/ 0 w 20000"/>
                  <a:gd name="T9" fmla="*/ 16447 h 20000"/>
                  <a:gd name="T10" fmla="*/ 15758 w 20000"/>
                  <a:gd name="T11" fmla="*/ 15000 h 20000"/>
                  <a:gd name="T12" fmla="*/ 9545 w 20000"/>
                  <a:gd name="T13" fmla="*/ 9605 h 20000"/>
                  <a:gd name="T14" fmla="*/ 11818 w 20000"/>
                  <a:gd name="T15" fmla="*/ 6184 h 20000"/>
                  <a:gd name="T16" fmla="*/ 6515 w 20000"/>
                  <a:gd name="T17" fmla="*/ 7500 h 20000"/>
                  <a:gd name="T18" fmla="*/ 6515 w 20000"/>
                  <a:gd name="T19" fmla="*/ 2105 h 20000"/>
                  <a:gd name="T20" fmla="*/ 9545 w 20000"/>
                  <a:gd name="T21" fmla="*/ 0 h 20000"/>
                  <a:gd name="T22" fmla="*/ 14242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4242" y="0"/>
                    </a:moveTo>
                    <a:lnTo>
                      <a:pt x="16667" y="9605"/>
                    </a:lnTo>
                    <a:lnTo>
                      <a:pt x="19848" y="18421"/>
                    </a:lnTo>
                    <a:lnTo>
                      <a:pt x="11818" y="19868"/>
                    </a:lnTo>
                    <a:lnTo>
                      <a:pt x="0" y="16447"/>
                    </a:lnTo>
                    <a:lnTo>
                      <a:pt x="15758" y="15000"/>
                    </a:lnTo>
                    <a:lnTo>
                      <a:pt x="9545" y="9605"/>
                    </a:lnTo>
                    <a:lnTo>
                      <a:pt x="11818" y="6184"/>
                    </a:lnTo>
                    <a:lnTo>
                      <a:pt x="6515" y="7500"/>
                    </a:lnTo>
                    <a:lnTo>
                      <a:pt x="6515" y="2105"/>
                    </a:lnTo>
                    <a:lnTo>
                      <a:pt x="9545" y="0"/>
                    </a:lnTo>
                    <a:lnTo>
                      <a:pt x="1424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4" name="Freeform 75"/>
              <p:cNvSpPr>
                <a:spLocks/>
              </p:cNvSpPr>
              <p:nvPr/>
            </p:nvSpPr>
            <p:spPr bwMode="auto">
              <a:xfrm>
                <a:off x="2565400" y="4111625"/>
                <a:ext cx="98425" cy="96838"/>
              </a:xfrm>
              <a:custGeom>
                <a:avLst/>
                <a:gdLst>
                  <a:gd name="T0" fmla="*/ 769 w 20000"/>
                  <a:gd name="T1" fmla="*/ 0 h 20000"/>
                  <a:gd name="T2" fmla="*/ 2564 w 20000"/>
                  <a:gd name="T3" fmla="*/ 0 h 20000"/>
                  <a:gd name="T4" fmla="*/ 5256 w 20000"/>
                  <a:gd name="T5" fmla="*/ 0 h 20000"/>
                  <a:gd name="T6" fmla="*/ 7308 w 20000"/>
                  <a:gd name="T7" fmla="*/ 0 h 20000"/>
                  <a:gd name="T8" fmla="*/ 10513 w 20000"/>
                  <a:gd name="T9" fmla="*/ 2105 h 20000"/>
                  <a:gd name="T10" fmla="*/ 13846 w 20000"/>
                  <a:gd name="T11" fmla="*/ 2105 h 20000"/>
                  <a:gd name="T12" fmla="*/ 15897 w 20000"/>
                  <a:gd name="T13" fmla="*/ 5526 h 20000"/>
                  <a:gd name="T14" fmla="*/ 16538 w 20000"/>
                  <a:gd name="T15" fmla="*/ 7500 h 20000"/>
                  <a:gd name="T16" fmla="*/ 19231 w 20000"/>
                  <a:gd name="T17" fmla="*/ 8947 h 20000"/>
                  <a:gd name="T18" fmla="*/ 19872 w 20000"/>
                  <a:gd name="T19" fmla="*/ 10263 h 20000"/>
                  <a:gd name="T20" fmla="*/ 17821 w 20000"/>
                  <a:gd name="T21" fmla="*/ 10263 h 20000"/>
                  <a:gd name="T22" fmla="*/ 16538 w 20000"/>
                  <a:gd name="T23" fmla="*/ 14474 h 20000"/>
                  <a:gd name="T24" fmla="*/ 16538 w 20000"/>
                  <a:gd name="T25" fmla="*/ 15789 h 20000"/>
                  <a:gd name="T26" fmla="*/ 17821 w 20000"/>
                  <a:gd name="T27" fmla="*/ 17763 h 20000"/>
                  <a:gd name="T28" fmla="*/ 16538 w 20000"/>
                  <a:gd name="T29" fmla="*/ 19868 h 20000"/>
                  <a:gd name="T30" fmla="*/ 15897 w 20000"/>
                  <a:gd name="T31" fmla="*/ 19079 h 20000"/>
                  <a:gd name="T32" fmla="*/ 14615 w 20000"/>
                  <a:gd name="T33" fmla="*/ 15789 h 20000"/>
                  <a:gd name="T34" fmla="*/ 13846 w 20000"/>
                  <a:gd name="T35" fmla="*/ 16447 h 20000"/>
                  <a:gd name="T36" fmla="*/ 12564 w 20000"/>
                  <a:gd name="T37" fmla="*/ 15789 h 20000"/>
                  <a:gd name="T38" fmla="*/ 12564 w 20000"/>
                  <a:gd name="T39" fmla="*/ 12368 h 20000"/>
                  <a:gd name="T40" fmla="*/ 7949 w 20000"/>
                  <a:gd name="T41" fmla="*/ 10263 h 20000"/>
                  <a:gd name="T42" fmla="*/ 3974 w 20000"/>
                  <a:gd name="T43" fmla="*/ 5526 h 20000"/>
                  <a:gd name="T44" fmla="*/ 5256 w 20000"/>
                  <a:gd name="T45" fmla="*/ 8947 h 20000"/>
                  <a:gd name="T46" fmla="*/ 0 w 20000"/>
                  <a:gd name="T47" fmla="*/ 5526 h 20000"/>
                  <a:gd name="T48" fmla="*/ 769 w 20000"/>
                  <a:gd name="T49" fmla="*/ 3553 h 20000"/>
                  <a:gd name="T50" fmla="*/ 769 w 20000"/>
                  <a:gd name="T5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769" y="0"/>
                    </a:moveTo>
                    <a:lnTo>
                      <a:pt x="2564" y="0"/>
                    </a:lnTo>
                    <a:lnTo>
                      <a:pt x="5256" y="0"/>
                    </a:lnTo>
                    <a:lnTo>
                      <a:pt x="7308" y="0"/>
                    </a:lnTo>
                    <a:lnTo>
                      <a:pt x="10513" y="2105"/>
                    </a:lnTo>
                    <a:lnTo>
                      <a:pt x="13846" y="2105"/>
                    </a:lnTo>
                    <a:lnTo>
                      <a:pt x="15897" y="5526"/>
                    </a:lnTo>
                    <a:lnTo>
                      <a:pt x="16538" y="7500"/>
                    </a:lnTo>
                    <a:lnTo>
                      <a:pt x="19231" y="8947"/>
                    </a:lnTo>
                    <a:lnTo>
                      <a:pt x="19872" y="10263"/>
                    </a:lnTo>
                    <a:lnTo>
                      <a:pt x="17821" y="10263"/>
                    </a:lnTo>
                    <a:lnTo>
                      <a:pt x="16538" y="14474"/>
                    </a:lnTo>
                    <a:lnTo>
                      <a:pt x="16538" y="15789"/>
                    </a:lnTo>
                    <a:lnTo>
                      <a:pt x="17821" y="17763"/>
                    </a:lnTo>
                    <a:lnTo>
                      <a:pt x="16538" y="19868"/>
                    </a:lnTo>
                    <a:lnTo>
                      <a:pt x="15897" y="19079"/>
                    </a:lnTo>
                    <a:lnTo>
                      <a:pt x="14615" y="15789"/>
                    </a:lnTo>
                    <a:lnTo>
                      <a:pt x="13846" y="16447"/>
                    </a:lnTo>
                    <a:lnTo>
                      <a:pt x="12564" y="15789"/>
                    </a:lnTo>
                    <a:lnTo>
                      <a:pt x="12564" y="12368"/>
                    </a:lnTo>
                    <a:lnTo>
                      <a:pt x="7949" y="10263"/>
                    </a:lnTo>
                    <a:lnTo>
                      <a:pt x="3974" y="5526"/>
                    </a:lnTo>
                    <a:lnTo>
                      <a:pt x="5256" y="8947"/>
                    </a:lnTo>
                    <a:lnTo>
                      <a:pt x="0" y="5526"/>
                    </a:lnTo>
                    <a:lnTo>
                      <a:pt x="769" y="3553"/>
                    </a:lnTo>
                    <a:lnTo>
                      <a:pt x="76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5" name="Freeform 74"/>
              <p:cNvSpPr>
                <a:spLocks/>
              </p:cNvSpPr>
              <p:nvPr/>
            </p:nvSpPr>
            <p:spPr bwMode="auto">
              <a:xfrm>
                <a:off x="2979738" y="3863975"/>
                <a:ext cx="100012" cy="66675"/>
              </a:xfrm>
              <a:custGeom>
                <a:avLst/>
                <a:gdLst>
                  <a:gd name="T0" fmla="*/ 0 w 20000"/>
                  <a:gd name="T1" fmla="*/ 14808 h 20000"/>
                  <a:gd name="T2" fmla="*/ 0 w 20000"/>
                  <a:gd name="T3" fmla="*/ 7885 h 20000"/>
                  <a:gd name="T4" fmla="*/ 0 w 20000"/>
                  <a:gd name="T5" fmla="*/ 0 h 20000"/>
                  <a:gd name="T6" fmla="*/ 764 w 20000"/>
                  <a:gd name="T7" fmla="*/ 0 h 20000"/>
                  <a:gd name="T8" fmla="*/ 5223 w 20000"/>
                  <a:gd name="T9" fmla="*/ 0 h 20000"/>
                  <a:gd name="T10" fmla="*/ 10701 w 20000"/>
                  <a:gd name="T11" fmla="*/ 1923 h 20000"/>
                  <a:gd name="T12" fmla="*/ 12611 w 20000"/>
                  <a:gd name="T13" fmla="*/ 5000 h 20000"/>
                  <a:gd name="T14" fmla="*/ 19873 w 20000"/>
                  <a:gd name="T15" fmla="*/ 7885 h 20000"/>
                  <a:gd name="T16" fmla="*/ 17834 w 20000"/>
                  <a:gd name="T17" fmla="*/ 12885 h 20000"/>
                  <a:gd name="T18" fmla="*/ 9172 w 20000"/>
                  <a:gd name="T19" fmla="*/ 12885 h 20000"/>
                  <a:gd name="T20" fmla="*/ 5987 w 20000"/>
                  <a:gd name="T21" fmla="*/ 12885 h 20000"/>
                  <a:gd name="T22" fmla="*/ 2038 w 20000"/>
                  <a:gd name="T23" fmla="*/ 19808 h 20000"/>
                  <a:gd name="T24" fmla="*/ 0 w 20000"/>
                  <a:gd name="T25" fmla="*/ 148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0" y="14808"/>
                    </a:moveTo>
                    <a:lnTo>
                      <a:pt x="0" y="7885"/>
                    </a:lnTo>
                    <a:lnTo>
                      <a:pt x="0" y="0"/>
                    </a:lnTo>
                    <a:lnTo>
                      <a:pt x="764" y="0"/>
                    </a:lnTo>
                    <a:lnTo>
                      <a:pt x="5223" y="0"/>
                    </a:lnTo>
                    <a:lnTo>
                      <a:pt x="10701" y="1923"/>
                    </a:lnTo>
                    <a:lnTo>
                      <a:pt x="12611" y="5000"/>
                    </a:lnTo>
                    <a:lnTo>
                      <a:pt x="19873" y="7885"/>
                    </a:lnTo>
                    <a:lnTo>
                      <a:pt x="17834" y="12885"/>
                    </a:lnTo>
                    <a:lnTo>
                      <a:pt x="9172" y="12885"/>
                    </a:lnTo>
                    <a:lnTo>
                      <a:pt x="5987" y="12885"/>
                    </a:lnTo>
                    <a:lnTo>
                      <a:pt x="2038" y="19808"/>
                    </a:lnTo>
                    <a:lnTo>
                      <a:pt x="0" y="148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6" name="Freeform 73"/>
              <p:cNvSpPr>
                <a:spLocks/>
              </p:cNvSpPr>
              <p:nvPr/>
            </p:nvSpPr>
            <p:spPr bwMode="auto">
              <a:xfrm>
                <a:off x="2698750" y="4395788"/>
                <a:ext cx="165100" cy="180975"/>
              </a:xfrm>
              <a:custGeom>
                <a:avLst/>
                <a:gdLst>
                  <a:gd name="T0" fmla="*/ 7538 w 20000"/>
                  <a:gd name="T1" fmla="*/ 0 h 20000"/>
                  <a:gd name="T2" fmla="*/ 11538 w 20000"/>
                  <a:gd name="T3" fmla="*/ 1825 h 20000"/>
                  <a:gd name="T4" fmla="*/ 13538 w 20000"/>
                  <a:gd name="T5" fmla="*/ 3228 h 20000"/>
                  <a:gd name="T6" fmla="*/ 16000 w 20000"/>
                  <a:gd name="T7" fmla="*/ 3228 h 20000"/>
                  <a:gd name="T8" fmla="*/ 17923 w 20000"/>
                  <a:gd name="T9" fmla="*/ 4000 h 20000"/>
                  <a:gd name="T10" fmla="*/ 19923 w 20000"/>
                  <a:gd name="T11" fmla="*/ 6877 h 20000"/>
                  <a:gd name="T12" fmla="*/ 17923 w 20000"/>
                  <a:gd name="T13" fmla="*/ 9404 h 20000"/>
                  <a:gd name="T14" fmla="*/ 14769 w 20000"/>
                  <a:gd name="T15" fmla="*/ 12632 h 20000"/>
                  <a:gd name="T16" fmla="*/ 10692 w 20000"/>
                  <a:gd name="T17" fmla="*/ 14175 h 20000"/>
                  <a:gd name="T18" fmla="*/ 8308 w 20000"/>
                  <a:gd name="T19" fmla="*/ 17053 h 20000"/>
                  <a:gd name="T20" fmla="*/ 7154 w 20000"/>
                  <a:gd name="T21" fmla="*/ 19930 h 20000"/>
                  <a:gd name="T22" fmla="*/ 4385 w 20000"/>
                  <a:gd name="T23" fmla="*/ 18456 h 20000"/>
                  <a:gd name="T24" fmla="*/ 2385 w 20000"/>
                  <a:gd name="T25" fmla="*/ 18105 h 20000"/>
                  <a:gd name="T26" fmla="*/ 3154 w 20000"/>
                  <a:gd name="T27" fmla="*/ 15228 h 20000"/>
                  <a:gd name="T28" fmla="*/ 3923 w 20000"/>
                  <a:gd name="T29" fmla="*/ 15228 h 20000"/>
                  <a:gd name="T30" fmla="*/ 4385 w 20000"/>
                  <a:gd name="T31" fmla="*/ 12632 h 20000"/>
                  <a:gd name="T32" fmla="*/ 3923 w 20000"/>
                  <a:gd name="T33" fmla="*/ 11579 h 20000"/>
                  <a:gd name="T34" fmla="*/ 2385 w 20000"/>
                  <a:gd name="T35" fmla="*/ 12632 h 20000"/>
                  <a:gd name="T36" fmla="*/ 0 w 20000"/>
                  <a:gd name="T37" fmla="*/ 11579 h 20000"/>
                  <a:gd name="T38" fmla="*/ 1231 w 20000"/>
                  <a:gd name="T39" fmla="*/ 10456 h 20000"/>
                  <a:gd name="T40" fmla="*/ 769 w 20000"/>
                  <a:gd name="T41" fmla="*/ 7579 h 20000"/>
                  <a:gd name="T42" fmla="*/ 2000 w 20000"/>
                  <a:gd name="T43" fmla="*/ 6877 h 20000"/>
                  <a:gd name="T44" fmla="*/ 2000 w 20000"/>
                  <a:gd name="T45" fmla="*/ 5754 h 20000"/>
                  <a:gd name="T46" fmla="*/ 3154 w 20000"/>
                  <a:gd name="T47" fmla="*/ 4000 h 20000"/>
                  <a:gd name="T48" fmla="*/ 3154 w 20000"/>
                  <a:gd name="T49" fmla="*/ 2105 h 20000"/>
                  <a:gd name="T50" fmla="*/ 4385 w 20000"/>
                  <a:gd name="T51" fmla="*/ 1825 h 20000"/>
                  <a:gd name="T52" fmla="*/ 7538 w 20000"/>
                  <a:gd name="T5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7538" y="0"/>
                    </a:moveTo>
                    <a:lnTo>
                      <a:pt x="11538" y="1825"/>
                    </a:lnTo>
                    <a:lnTo>
                      <a:pt x="13538" y="3228"/>
                    </a:lnTo>
                    <a:lnTo>
                      <a:pt x="16000" y="3228"/>
                    </a:lnTo>
                    <a:lnTo>
                      <a:pt x="17923" y="4000"/>
                    </a:lnTo>
                    <a:lnTo>
                      <a:pt x="19923" y="6877"/>
                    </a:lnTo>
                    <a:lnTo>
                      <a:pt x="17923" y="9404"/>
                    </a:lnTo>
                    <a:lnTo>
                      <a:pt x="14769" y="12632"/>
                    </a:lnTo>
                    <a:lnTo>
                      <a:pt x="10692" y="14175"/>
                    </a:lnTo>
                    <a:lnTo>
                      <a:pt x="8308" y="17053"/>
                    </a:lnTo>
                    <a:lnTo>
                      <a:pt x="7154" y="19930"/>
                    </a:lnTo>
                    <a:lnTo>
                      <a:pt x="4385" y="18456"/>
                    </a:lnTo>
                    <a:lnTo>
                      <a:pt x="2385" y="18105"/>
                    </a:lnTo>
                    <a:lnTo>
                      <a:pt x="3154" y="15228"/>
                    </a:lnTo>
                    <a:lnTo>
                      <a:pt x="3923" y="15228"/>
                    </a:lnTo>
                    <a:lnTo>
                      <a:pt x="4385" y="12632"/>
                    </a:lnTo>
                    <a:lnTo>
                      <a:pt x="3923" y="11579"/>
                    </a:lnTo>
                    <a:lnTo>
                      <a:pt x="2385" y="12632"/>
                    </a:lnTo>
                    <a:lnTo>
                      <a:pt x="0" y="11579"/>
                    </a:lnTo>
                    <a:lnTo>
                      <a:pt x="1231" y="10456"/>
                    </a:lnTo>
                    <a:lnTo>
                      <a:pt x="769" y="7579"/>
                    </a:lnTo>
                    <a:lnTo>
                      <a:pt x="2000" y="6877"/>
                    </a:lnTo>
                    <a:lnTo>
                      <a:pt x="2000" y="5754"/>
                    </a:lnTo>
                    <a:lnTo>
                      <a:pt x="3154" y="4000"/>
                    </a:lnTo>
                    <a:lnTo>
                      <a:pt x="3154" y="2105"/>
                    </a:lnTo>
                    <a:lnTo>
                      <a:pt x="4385" y="1825"/>
                    </a:lnTo>
                    <a:lnTo>
                      <a:pt x="753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7" name="Freeform 72"/>
              <p:cNvSpPr>
                <a:spLocks/>
              </p:cNvSpPr>
              <p:nvPr/>
            </p:nvSpPr>
            <p:spPr bwMode="auto">
              <a:xfrm>
                <a:off x="2393950" y="3911600"/>
                <a:ext cx="106363" cy="122238"/>
              </a:xfrm>
              <a:custGeom>
                <a:avLst/>
                <a:gdLst>
                  <a:gd name="T0" fmla="*/ 17964 w 20000"/>
                  <a:gd name="T1" fmla="*/ 0 h 20000"/>
                  <a:gd name="T2" fmla="*/ 16766 w 20000"/>
                  <a:gd name="T3" fmla="*/ 8601 h 20000"/>
                  <a:gd name="T4" fmla="*/ 17964 w 20000"/>
                  <a:gd name="T5" fmla="*/ 9741 h 20000"/>
                  <a:gd name="T6" fmla="*/ 19162 w 20000"/>
                  <a:gd name="T7" fmla="*/ 10155 h 20000"/>
                  <a:gd name="T8" fmla="*/ 19880 w 20000"/>
                  <a:gd name="T9" fmla="*/ 10155 h 20000"/>
                  <a:gd name="T10" fmla="*/ 19880 w 20000"/>
                  <a:gd name="T11" fmla="*/ 11813 h 20000"/>
                  <a:gd name="T12" fmla="*/ 16766 w 20000"/>
                  <a:gd name="T13" fmla="*/ 12953 h 20000"/>
                  <a:gd name="T14" fmla="*/ 16766 w 20000"/>
                  <a:gd name="T15" fmla="*/ 14611 h 20000"/>
                  <a:gd name="T16" fmla="*/ 16168 w 20000"/>
                  <a:gd name="T17" fmla="*/ 16062 h 20000"/>
                  <a:gd name="T18" fmla="*/ 14970 w 20000"/>
                  <a:gd name="T19" fmla="*/ 16062 h 20000"/>
                  <a:gd name="T20" fmla="*/ 13772 w 20000"/>
                  <a:gd name="T21" fmla="*/ 18238 h 20000"/>
                  <a:gd name="T22" fmla="*/ 11856 w 20000"/>
                  <a:gd name="T23" fmla="*/ 19896 h 20000"/>
                  <a:gd name="T24" fmla="*/ 4910 w 20000"/>
                  <a:gd name="T25" fmla="*/ 18860 h 20000"/>
                  <a:gd name="T26" fmla="*/ 0 w 20000"/>
                  <a:gd name="T27" fmla="*/ 15648 h 20000"/>
                  <a:gd name="T28" fmla="*/ 1916 w 20000"/>
                  <a:gd name="T29" fmla="*/ 13990 h 20000"/>
                  <a:gd name="T30" fmla="*/ 719 w 20000"/>
                  <a:gd name="T31" fmla="*/ 11813 h 20000"/>
                  <a:gd name="T32" fmla="*/ 3713 w 20000"/>
                  <a:gd name="T33" fmla="*/ 8601 h 20000"/>
                  <a:gd name="T34" fmla="*/ 10060 w 20000"/>
                  <a:gd name="T35" fmla="*/ 8601 h 20000"/>
                  <a:gd name="T36" fmla="*/ 11257 w 20000"/>
                  <a:gd name="T37" fmla="*/ 7047 h 20000"/>
                  <a:gd name="T38" fmla="*/ 6826 w 20000"/>
                  <a:gd name="T39" fmla="*/ 3212 h 20000"/>
                  <a:gd name="T40" fmla="*/ 8623 w 20000"/>
                  <a:gd name="T41" fmla="*/ 0 h 20000"/>
                  <a:gd name="T42" fmla="*/ 17964 w 20000"/>
                  <a:gd name="T4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17964" y="0"/>
                    </a:moveTo>
                    <a:lnTo>
                      <a:pt x="16766" y="8601"/>
                    </a:lnTo>
                    <a:lnTo>
                      <a:pt x="17964" y="9741"/>
                    </a:lnTo>
                    <a:lnTo>
                      <a:pt x="19162" y="10155"/>
                    </a:lnTo>
                    <a:lnTo>
                      <a:pt x="19880" y="10155"/>
                    </a:lnTo>
                    <a:lnTo>
                      <a:pt x="19880" y="11813"/>
                    </a:lnTo>
                    <a:lnTo>
                      <a:pt x="16766" y="12953"/>
                    </a:lnTo>
                    <a:lnTo>
                      <a:pt x="16766" y="14611"/>
                    </a:lnTo>
                    <a:lnTo>
                      <a:pt x="16168" y="16062"/>
                    </a:lnTo>
                    <a:lnTo>
                      <a:pt x="14970" y="16062"/>
                    </a:lnTo>
                    <a:lnTo>
                      <a:pt x="13772" y="18238"/>
                    </a:lnTo>
                    <a:lnTo>
                      <a:pt x="11856" y="19896"/>
                    </a:lnTo>
                    <a:lnTo>
                      <a:pt x="4910" y="18860"/>
                    </a:lnTo>
                    <a:lnTo>
                      <a:pt x="0" y="15648"/>
                    </a:lnTo>
                    <a:lnTo>
                      <a:pt x="1916" y="13990"/>
                    </a:lnTo>
                    <a:lnTo>
                      <a:pt x="719" y="11813"/>
                    </a:lnTo>
                    <a:lnTo>
                      <a:pt x="3713" y="8601"/>
                    </a:lnTo>
                    <a:lnTo>
                      <a:pt x="10060" y="8601"/>
                    </a:lnTo>
                    <a:lnTo>
                      <a:pt x="11257" y="7047"/>
                    </a:lnTo>
                    <a:lnTo>
                      <a:pt x="6826" y="3212"/>
                    </a:lnTo>
                    <a:lnTo>
                      <a:pt x="8623" y="0"/>
                    </a:lnTo>
                    <a:lnTo>
                      <a:pt x="17964"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8" name="Freeform 71"/>
              <p:cNvSpPr>
                <a:spLocks/>
              </p:cNvSpPr>
              <p:nvPr/>
            </p:nvSpPr>
            <p:spPr bwMode="auto">
              <a:xfrm>
                <a:off x="3257550" y="4203700"/>
                <a:ext cx="131763" cy="195263"/>
              </a:xfrm>
              <a:custGeom>
                <a:avLst/>
                <a:gdLst>
                  <a:gd name="T0" fmla="*/ 6957 w 20000"/>
                  <a:gd name="T1" fmla="*/ 0 h 20000"/>
                  <a:gd name="T2" fmla="*/ 12947 w 20000"/>
                  <a:gd name="T3" fmla="*/ 2671 h 20000"/>
                  <a:gd name="T4" fmla="*/ 11014 w 20000"/>
                  <a:gd name="T5" fmla="*/ 5472 h 20000"/>
                  <a:gd name="T6" fmla="*/ 13430 w 20000"/>
                  <a:gd name="T7" fmla="*/ 4430 h 20000"/>
                  <a:gd name="T8" fmla="*/ 18357 w 20000"/>
                  <a:gd name="T9" fmla="*/ 6450 h 20000"/>
                  <a:gd name="T10" fmla="*/ 17391 w 20000"/>
                  <a:gd name="T11" fmla="*/ 9186 h 20000"/>
                  <a:gd name="T12" fmla="*/ 14396 w 20000"/>
                  <a:gd name="T13" fmla="*/ 10163 h 20000"/>
                  <a:gd name="T14" fmla="*/ 13430 w 20000"/>
                  <a:gd name="T15" fmla="*/ 12508 h 20000"/>
                  <a:gd name="T16" fmla="*/ 17391 w 20000"/>
                  <a:gd name="T17" fmla="*/ 14202 h 20000"/>
                  <a:gd name="T18" fmla="*/ 19903 w 20000"/>
                  <a:gd name="T19" fmla="*/ 18632 h 20000"/>
                  <a:gd name="T20" fmla="*/ 16908 w 20000"/>
                  <a:gd name="T21" fmla="*/ 18893 h 20000"/>
                  <a:gd name="T22" fmla="*/ 11981 w 20000"/>
                  <a:gd name="T23" fmla="*/ 19935 h 20000"/>
                  <a:gd name="T24" fmla="*/ 6957 w 20000"/>
                  <a:gd name="T25" fmla="*/ 18893 h 20000"/>
                  <a:gd name="T26" fmla="*/ 5507 w 20000"/>
                  <a:gd name="T27" fmla="*/ 16221 h 20000"/>
                  <a:gd name="T28" fmla="*/ 6957 w 20000"/>
                  <a:gd name="T29" fmla="*/ 12508 h 20000"/>
                  <a:gd name="T30" fmla="*/ 5507 w 20000"/>
                  <a:gd name="T31" fmla="*/ 10814 h 20000"/>
                  <a:gd name="T32" fmla="*/ 4444 w 20000"/>
                  <a:gd name="T33" fmla="*/ 8404 h 20000"/>
                  <a:gd name="T34" fmla="*/ 2899 w 20000"/>
                  <a:gd name="T35" fmla="*/ 9186 h 20000"/>
                  <a:gd name="T36" fmla="*/ 0 w 20000"/>
                  <a:gd name="T37" fmla="*/ 7101 h 20000"/>
                  <a:gd name="T38" fmla="*/ 1353 w 20000"/>
                  <a:gd name="T39" fmla="*/ 5472 h 20000"/>
                  <a:gd name="T40" fmla="*/ 1353 w 20000"/>
                  <a:gd name="T41" fmla="*/ 4430 h 20000"/>
                  <a:gd name="T42" fmla="*/ 4444 w 20000"/>
                  <a:gd name="T43" fmla="*/ 3713 h 20000"/>
                  <a:gd name="T44" fmla="*/ 2899 w 20000"/>
                  <a:gd name="T45" fmla="*/ 2020 h 20000"/>
                  <a:gd name="T46" fmla="*/ 6957 w 20000"/>
                  <a:gd name="T4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00" h="20000">
                    <a:moveTo>
                      <a:pt x="6957" y="0"/>
                    </a:moveTo>
                    <a:lnTo>
                      <a:pt x="12947" y="2671"/>
                    </a:lnTo>
                    <a:lnTo>
                      <a:pt x="11014" y="5472"/>
                    </a:lnTo>
                    <a:lnTo>
                      <a:pt x="13430" y="4430"/>
                    </a:lnTo>
                    <a:lnTo>
                      <a:pt x="18357" y="6450"/>
                    </a:lnTo>
                    <a:lnTo>
                      <a:pt x="17391" y="9186"/>
                    </a:lnTo>
                    <a:lnTo>
                      <a:pt x="14396" y="10163"/>
                    </a:lnTo>
                    <a:lnTo>
                      <a:pt x="13430" y="12508"/>
                    </a:lnTo>
                    <a:lnTo>
                      <a:pt x="17391" y="14202"/>
                    </a:lnTo>
                    <a:lnTo>
                      <a:pt x="19903" y="18632"/>
                    </a:lnTo>
                    <a:lnTo>
                      <a:pt x="16908" y="18893"/>
                    </a:lnTo>
                    <a:lnTo>
                      <a:pt x="11981" y="19935"/>
                    </a:lnTo>
                    <a:lnTo>
                      <a:pt x="6957" y="18893"/>
                    </a:lnTo>
                    <a:lnTo>
                      <a:pt x="5507" y="16221"/>
                    </a:lnTo>
                    <a:lnTo>
                      <a:pt x="6957" y="12508"/>
                    </a:lnTo>
                    <a:lnTo>
                      <a:pt x="5507" y="10814"/>
                    </a:lnTo>
                    <a:lnTo>
                      <a:pt x="4444" y="8404"/>
                    </a:lnTo>
                    <a:lnTo>
                      <a:pt x="2899" y="9186"/>
                    </a:lnTo>
                    <a:lnTo>
                      <a:pt x="0" y="7101"/>
                    </a:lnTo>
                    <a:lnTo>
                      <a:pt x="1353" y="5472"/>
                    </a:lnTo>
                    <a:lnTo>
                      <a:pt x="1353" y="4430"/>
                    </a:lnTo>
                    <a:lnTo>
                      <a:pt x="4444" y="3713"/>
                    </a:lnTo>
                    <a:lnTo>
                      <a:pt x="2899" y="2020"/>
                    </a:lnTo>
                    <a:lnTo>
                      <a:pt x="6957"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69" name="Freeform 70"/>
              <p:cNvSpPr>
                <a:spLocks/>
              </p:cNvSpPr>
              <p:nvPr/>
            </p:nvSpPr>
            <p:spPr bwMode="auto">
              <a:xfrm>
                <a:off x="2905125" y="3859213"/>
                <a:ext cx="76200" cy="53975"/>
              </a:xfrm>
              <a:custGeom>
                <a:avLst/>
                <a:gdLst>
                  <a:gd name="T0" fmla="*/ 19833 w 20000"/>
                  <a:gd name="T1" fmla="*/ 1429 h 20000"/>
                  <a:gd name="T2" fmla="*/ 19833 w 20000"/>
                  <a:gd name="T3" fmla="*/ 11190 h 20000"/>
                  <a:gd name="T4" fmla="*/ 19833 w 20000"/>
                  <a:gd name="T5" fmla="*/ 19762 h 20000"/>
                  <a:gd name="T6" fmla="*/ 4500 w 20000"/>
                  <a:gd name="T7" fmla="*/ 19762 h 20000"/>
                  <a:gd name="T8" fmla="*/ 0 w 20000"/>
                  <a:gd name="T9" fmla="*/ 17381 h 20000"/>
                  <a:gd name="T10" fmla="*/ 1833 w 20000"/>
                  <a:gd name="T11" fmla="*/ 11190 h 20000"/>
                  <a:gd name="T12" fmla="*/ 16500 w 20000"/>
                  <a:gd name="T13" fmla="*/ 13571 h 20000"/>
                  <a:gd name="T14" fmla="*/ 13000 w 20000"/>
                  <a:gd name="T15" fmla="*/ 9762 h 20000"/>
                  <a:gd name="T16" fmla="*/ 11333 w 20000"/>
                  <a:gd name="T17" fmla="*/ 4762 h 20000"/>
                  <a:gd name="T18" fmla="*/ 8667 w 20000"/>
                  <a:gd name="T19" fmla="*/ 0 h 20000"/>
                  <a:gd name="T20" fmla="*/ 15500 w 20000"/>
                  <a:gd name="T21" fmla="*/ 0 h 20000"/>
                  <a:gd name="T22" fmla="*/ 19833 w 20000"/>
                  <a:gd name="T23" fmla="*/ 142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9833" y="1429"/>
                    </a:moveTo>
                    <a:lnTo>
                      <a:pt x="19833" y="11190"/>
                    </a:lnTo>
                    <a:lnTo>
                      <a:pt x="19833" y="19762"/>
                    </a:lnTo>
                    <a:lnTo>
                      <a:pt x="4500" y="19762"/>
                    </a:lnTo>
                    <a:lnTo>
                      <a:pt x="0" y="17381"/>
                    </a:lnTo>
                    <a:lnTo>
                      <a:pt x="1833" y="11190"/>
                    </a:lnTo>
                    <a:lnTo>
                      <a:pt x="16500" y="13571"/>
                    </a:lnTo>
                    <a:lnTo>
                      <a:pt x="13000" y="9762"/>
                    </a:lnTo>
                    <a:lnTo>
                      <a:pt x="11333" y="4762"/>
                    </a:lnTo>
                    <a:lnTo>
                      <a:pt x="8667" y="0"/>
                    </a:lnTo>
                    <a:lnTo>
                      <a:pt x="15500" y="0"/>
                    </a:lnTo>
                    <a:lnTo>
                      <a:pt x="19833" y="142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0" name="Freeform 69"/>
              <p:cNvSpPr>
                <a:spLocks/>
              </p:cNvSpPr>
              <p:nvPr/>
            </p:nvSpPr>
            <p:spPr bwMode="auto">
              <a:xfrm>
                <a:off x="2473325" y="3971925"/>
                <a:ext cx="174625" cy="82550"/>
              </a:xfrm>
              <a:custGeom>
                <a:avLst/>
                <a:gdLst>
                  <a:gd name="T0" fmla="*/ 2982 w 20000"/>
                  <a:gd name="T1" fmla="*/ 615 h 20000"/>
                  <a:gd name="T2" fmla="*/ 4873 w 20000"/>
                  <a:gd name="T3" fmla="*/ 615 h 20000"/>
                  <a:gd name="T4" fmla="*/ 8655 w 20000"/>
                  <a:gd name="T5" fmla="*/ 615 h 20000"/>
                  <a:gd name="T6" fmla="*/ 12800 w 20000"/>
                  <a:gd name="T7" fmla="*/ 0 h 20000"/>
                  <a:gd name="T8" fmla="*/ 15055 w 20000"/>
                  <a:gd name="T9" fmla="*/ 615 h 20000"/>
                  <a:gd name="T10" fmla="*/ 17673 w 20000"/>
                  <a:gd name="T11" fmla="*/ 615 h 20000"/>
                  <a:gd name="T12" fmla="*/ 18400 w 20000"/>
                  <a:gd name="T13" fmla="*/ 3077 h 20000"/>
                  <a:gd name="T14" fmla="*/ 16945 w 20000"/>
                  <a:gd name="T15" fmla="*/ 4769 h 20000"/>
                  <a:gd name="T16" fmla="*/ 19927 w 20000"/>
                  <a:gd name="T17" fmla="*/ 6308 h 20000"/>
                  <a:gd name="T18" fmla="*/ 15782 w 20000"/>
                  <a:gd name="T19" fmla="*/ 9385 h 20000"/>
                  <a:gd name="T20" fmla="*/ 14691 w 20000"/>
                  <a:gd name="T21" fmla="*/ 7231 h 20000"/>
                  <a:gd name="T22" fmla="*/ 13891 w 20000"/>
                  <a:gd name="T23" fmla="*/ 9385 h 20000"/>
                  <a:gd name="T24" fmla="*/ 12000 w 20000"/>
                  <a:gd name="T25" fmla="*/ 13538 h 20000"/>
                  <a:gd name="T26" fmla="*/ 9818 w 20000"/>
                  <a:gd name="T27" fmla="*/ 15077 h 20000"/>
                  <a:gd name="T28" fmla="*/ 7855 w 20000"/>
                  <a:gd name="T29" fmla="*/ 19846 h 20000"/>
                  <a:gd name="T30" fmla="*/ 6691 w 20000"/>
                  <a:gd name="T31" fmla="*/ 19846 h 20000"/>
                  <a:gd name="T32" fmla="*/ 5964 w 20000"/>
                  <a:gd name="T33" fmla="*/ 18923 h 20000"/>
                  <a:gd name="T34" fmla="*/ 5673 w 20000"/>
                  <a:gd name="T35" fmla="*/ 17385 h 20000"/>
                  <a:gd name="T36" fmla="*/ 4873 w 20000"/>
                  <a:gd name="T37" fmla="*/ 13538 h 20000"/>
                  <a:gd name="T38" fmla="*/ 2618 w 20000"/>
                  <a:gd name="T39" fmla="*/ 11077 h 20000"/>
                  <a:gd name="T40" fmla="*/ 0 w 20000"/>
                  <a:gd name="T41" fmla="*/ 9385 h 20000"/>
                  <a:gd name="T42" fmla="*/ 727 w 20000"/>
                  <a:gd name="T43" fmla="*/ 9385 h 20000"/>
                  <a:gd name="T44" fmla="*/ 1164 w 20000"/>
                  <a:gd name="T45" fmla="*/ 7231 h 20000"/>
                  <a:gd name="T46" fmla="*/ 1164 w 20000"/>
                  <a:gd name="T47" fmla="*/ 4769 h 20000"/>
                  <a:gd name="T48" fmla="*/ 2982 w 20000"/>
                  <a:gd name="T49" fmla="*/ 3077 h 20000"/>
                  <a:gd name="T50" fmla="*/ 2982 w 20000"/>
                  <a:gd name="T51" fmla="*/ 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2982" y="615"/>
                    </a:moveTo>
                    <a:lnTo>
                      <a:pt x="4873" y="615"/>
                    </a:lnTo>
                    <a:lnTo>
                      <a:pt x="8655" y="615"/>
                    </a:lnTo>
                    <a:lnTo>
                      <a:pt x="12800" y="0"/>
                    </a:lnTo>
                    <a:lnTo>
                      <a:pt x="15055" y="615"/>
                    </a:lnTo>
                    <a:lnTo>
                      <a:pt x="17673" y="615"/>
                    </a:lnTo>
                    <a:lnTo>
                      <a:pt x="18400" y="3077"/>
                    </a:lnTo>
                    <a:lnTo>
                      <a:pt x="16945" y="4769"/>
                    </a:lnTo>
                    <a:lnTo>
                      <a:pt x="19927" y="6308"/>
                    </a:lnTo>
                    <a:lnTo>
                      <a:pt x="15782" y="9385"/>
                    </a:lnTo>
                    <a:lnTo>
                      <a:pt x="14691" y="7231"/>
                    </a:lnTo>
                    <a:lnTo>
                      <a:pt x="13891" y="9385"/>
                    </a:lnTo>
                    <a:lnTo>
                      <a:pt x="12000" y="13538"/>
                    </a:lnTo>
                    <a:lnTo>
                      <a:pt x="9818" y="15077"/>
                    </a:lnTo>
                    <a:lnTo>
                      <a:pt x="7855" y="19846"/>
                    </a:lnTo>
                    <a:lnTo>
                      <a:pt x="6691" y="19846"/>
                    </a:lnTo>
                    <a:lnTo>
                      <a:pt x="5964" y="18923"/>
                    </a:lnTo>
                    <a:lnTo>
                      <a:pt x="5673" y="17385"/>
                    </a:lnTo>
                    <a:lnTo>
                      <a:pt x="4873" y="13538"/>
                    </a:lnTo>
                    <a:lnTo>
                      <a:pt x="2618" y="11077"/>
                    </a:lnTo>
                    <a:lnTo>
                      <a:pt x="0" y="9385"/>
                    </a:lnTo>
                    <a:lnTo>
                      <a:pt x="727" y="9385"/>
                    </a:lnTo>
                    <a:lnTo>
                      <a:pt x="1164" y="7231"/>
                    </a:lnTo>
                    <a:lnTo>
                      <a:pt x="1164" y="4769"/>
                    </a:lnTo>
                    <a:lnTo>
                      <a:pt x="2982" y="3077"/>
                    </a:lnTo>
                    <a:lnTo>
                      <a:pt x="2982" y="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1" name="Freeform 68"/>
              <p:cNvSpPr>
                <a:spLocks/>
              </p:cNvSpPr>
              <p:nvPr/>
            </p:nvSpPr>
            <p:spPr bwMode="auto">
              <a:xfrm>
                <a:off x="2800350" y="3895725"/>
                <a:ext cx="53975" cy="20638"/>
              </a:xfrm>
              <a:custGeom>
                <a:avLst/>
                <a:gdLst>
                  <a:gd name="T0" fmla="*/ 11190 w 20000"/>
                  <a:gd name="T1" fmla="*/ 19375 h 20000"/>
                  <a:gd name="T2" fmla="*/ 3810 w 20000"/>
                  <a:gd name="T3" fmla="*/ 19375 h 20000"/>
                  <a:gd name="T4" fmla="*/ 0 w 20000"/>
                  <a:gd name="T5" fmla="*/ 9375 h 20000"/>
                  <a:gd name="T6" fmla="*/ 3810 w 20000"/>
                  <a:gd name="T7" fmla="*/ 0 h 20000"/>
                  <a:gd name="T8" fmla="*/ 15952 w 20000"/>
                  <a:gd name="T9" fmla="*/ 6250 h 20000"/>
                  <a:gd name="T10" fmla="*/ 19762 w 20000"/>
                  <a:gd name="T11" fmla="*/ 19375 h 20000"/>
                  <a:gd name="T12" fmla="*/ 11190 w 20000"/>
                  <a:gd name="T13" fmla="*/ 1937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190" y="19375"/>
                    </a:moveTo>
                    <a:lnTo>
                      <a:pt x="3810" y="19375"/>
                    </a:lnTo>
                    <a:lnTo>
                      <a:pt x="0" y="9375"/>
                    </a:lnTo>
                    <a:lnTo>
                      <a:pt x="3810" y="0"/>
                    </a:lnTo>
                    <a:lnTo>
                      <a:pt x="15952" y="6250"/>
                    </a:lnTo>
                    <a:lnTo>
                      <a:pt x="19762" y="19375"/>
                    </a:lnTo>
                    <a:lnTo>
                      <a:pt x="11190"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2" name="Freeform 67"/>
              <p:cNvSpPr>
                <a:spLocks/>
              </p:cNvSpPr>
              <p:nvPr/>
            </p:nvSpPr>
            <p:spPr bwMode="auto">
              <a:xfrm>
                <a:off x="1557338" y="1576388"/>
                <a:ext cx="2028825" cy="1538287"/>
              </a:xfrm>
              <a:custGeom>
                <a:avLst/>
                <a:gdLst>
                  <a:gd name="T0" fmla="*/ 4118 w 20000"/>
                  <a:gd name="T1" fmla="*/ 1024 h 20000"/>
                  <a:gd name="T2" fmla="*/ 5870 w 20000"/>
                  <a:gd name="T3" fmla="*/ 768 h 20000"/>
                  <a:gd name="T4" fmla="*/ 5219 w 20000"/>
                  <a:gd name="T5" fmla="*/ 1148 h 20000"/>
                  <a:gd name="T6" fmla="*/ 6483 w 20000"/>
                  <a:gd name="T7" fmla="*/ 553 h 20000"/>
                  <a:gd name="T8" fmla="*/ 6740 w 20000"/>
                  <a:gd name="T9" fmla="*/ 1668 h 20000"/>
                  <a:gd name="T10" fmla="*/ 8454 w 20000"/>
                  <a:gd name="T11" fmla="*/ 2477 h 20000"/>
                  <a:gd name="T12" fmla="*/ 9362 w 20000"/>
                  <a:gd name="T13" fmla="*/ 3501 h 20000"/>
                  <a:gd name="T14" fmla="*/ 9656 w 20000"/>
                  <a:gd name="T15" fmla="*/ 4352 h 20000"/>
                  <a:gd name="T16" fmla="*/ 9887 w 20000"/>
                  <a:gd name="T17" fmla="*/ 3501 h 20000"/>
                  <a:gd name="T18" fmla="*/ 10989 w 20000"/>
                  <a:gd name="T19" fmla="*/ 3931 h 20000"/>
                  <a:gd name="T20" fmla="*/ 12253 w 20000"/>
                  <a:gd name="T21" fmla="*/ 4525 h 20000"/>
                  <a:gd name="T22" fmla="*/ 12666 w 20000"/>
                  <a:gd name="T23" fmla="*/ 4352 h 20000"/>
                  <a:gd name="T24" fmla="*/ 12509 w 20000"/>
                  <a:gd name="T25" fmla="*/ 5078 h 20000"/>
                  <a:gd name="T26" fmla="*/ 13091 w 20000"/>
                  <a:gd name="T27" fmla="*/ 4145 h 20000"/>
                  <a:gd name="T28" fmla="*/ 13548 w 20000"/>
                  <a:gd name="T29" fmla="*/ 3625 h 20000"/>
                  <a:gd name="T30" fmla="*/ 13217 w 20000"/>
                  <a:gd name="T31" fmla="*/ 2898 h 20000"/>
                  <a:gd name="T32" fmla="*/ 13773 w 20000"/>
                  <a:gd name="T33" fmla="*/ 2263 h 20000"/>
                  <a:gd name="T34" fmla="*/ 14124 w 20000"/>
                  <a:gd name="T35" fmla="*/ 3369 h 20000"/>
                  <a:gd name="T36" fmla="*/ 14161 w 20000"/>
                  <a:gd name="T37" fmla="*/ 3840 h 20000"/>
                  <a:gd name="T38" fmla="*/ 14324 w 20000"/>
                  <a:gd name="T39" fmla="*/ 4905 h 20000"/>
                  <a:gd name="T40" fmla="*/ 15388 w 20000"/>
                  <a:gd name="T41" fmla="*/ 4013 h 20000"/>
                  <a:gd name="T42" fmla="*/ 16008 w 20000"/>
                  <a:gd name="T43" fmla="*/ 4955 h 20000"/>
                  <a:gd name="T44" fmla="*/ 14906 w 20000"/>
                  <a:gd name="T45" fmla="*/ 5632 h 20000"/>
                  <a:gd name="T46" fmla="*/ 13805 w 20000"/>
                  <a:gd name="T47" fmla="*/ 6532 h 20000"/>
                  <a:gd name="T48" fmla="*/ 13379 w 20000"/>
                  <a:gd name="T49" fmla="*/ 7424 h 20000"/>
                  <a:gd name="T50" fmla="*/ 12178 w 20000"/>
                  <a:gd name="T51" fmla="*/ 7300 h 20000"/>
                  <a:gd name="T52" fmla="*/ 11602 w 20000"/>
                  <a:gd name="T53" fmla="*/ 8885 h 20000"/>
                  <a:gd name="T54" fmla="*/ 11145 w 20000"/>
                  <a:gd name="T55" fmla="*/ 11709 h 20000"/>
                  <a:gd name="T56" fmla="*/ 12804 w 20000"/>
                  <a:gd name="T57" fmla="*/ 13022 h 20000"/>
                  <a:gd name="T58" fmla="*/ 13548 w 20000"/>
                  <a:gd name="T59" fmla="*/ 15376 h 20000"/>
                  <a:gd name="T60" fmla="*/ 14969 w 20000"/>
                  <a:gd name="T61" fmla="*/ 12989 h 20000"/>
                  <a:gd name="T62" fmla="*/ 15519 w 20000"/>
                  <a:gd name="T63" fmla="*/ 9529 h 20000"/>
                  <a:gd name="T64" fmla="*/ 16915 w 20000"/>
                  <a:gd name="T65" fmla="*/ 9992 h 20000"/>
                  <a:gd name="T66" fmla="*/ 16946 w 20000"/>
                  <a:gd name="T67" fmla="*/ 11536 h 20000"/>
                  <a:gd name="T68" fmla="*/ 18536 w 20000"/>
                  <a:gd name="T69" fmla="*/ 10760 h 20000"/>
                  <a:gd name="T70" fmla="*/ 19675 w 20000"/>
                  <a:gd name="T71" fmla="*/ 14269 h 20000"/>
                  <a:gd name="T72" fmla="*/ 19637 w 20000"/>
                  <a:gd name="T73" fmla="*/ 14913 h 20000"/>
                  <a:gd name="T74" fmla="*/ 18667 w 20000"/>
                  <a:gd name="T75" fmla="*/ 16491 h 20000"/>
                  <a:gd name="T76" fmla="*/ 16915 w 20000"/>
                  <a:gd name="T77" fmla="*/ 16837 h 20000"/>
                  <a:gd name="T78" fmla="*/ 17040 w 20000"/>
                  <a:gd name="T79" fmla="*/ 17647 h 20000"/>
                  <a:gd name="T80" fmla="*/ 17109 w 20000"/>
                  <a:gd name="T81" fmla="*/ 19306 h 20000"/>
                  <a:gd name="T82" fmla="*/ 17109 w 20000"/>
                  <a:gd name="T83" fmla="*/ 18761 h 20000"/>
                  <a:gd name="T84" fmla="*/ 16108 w 20000"/>
                  <a:gd name="T85" fmla="*/ 17812 h 20000"/>
                  <a:gd name="T86" fmla="*/ 13642 w 20000"/>
                  <a:gd name="T87" fmla="*/ 19100 h 20000"/>
                  <a:gd name="T88" fmla="*/ 13185 w 20000"/>
                  <a:gd name="T89" fmla="*/ 19653 h 20000"/>
                  <a:gd name="T90" fmla="*/ 12509 w 20000"/>
                  <a:gd name="T91" fmla="*/ 19306 h 20000"/>
                  <a:gd name="T92" fmla="*/ 13091 w 20000"/>
                  <a:gd name="T93" fmla="*/ 18629 h 20000"/>
                  <a:gd name="T94" fmla="*/ 11859 w 20000"/>
                  <a:gd name="T95" fmla="*/ 17044 h 20000"/>
                  <a:gd name="T96" fmla="*/ 10144 w 20000"/>
                  <a:gd name="T97" fmla="*/ 16573 h 20000"/>
                  <a:gd name="T98" fmla="*/ 9618 w 20000"/>
                  <a:gd name="T99" fmla="*/ 15723 h 20000"/>
                  <a:gd name="T100" fmla="*/ 1358 w 20000"/>
                  <a:gd name="T101" fmla="*/ 13501 h 20000"/>
                  <a:gd name="T102" fmla="*/ 1621 w 20000"/>
                  <a:gd name="T103" fmla="*/ 10462 h 20000"/>
                  <a:gd name="T104" fmla="*/ 870 w 20000"/>
                  <a:gd name="T105" fmla="*/ 7605 h 20000"/>
                  <a:gd name="T106" fmla="*/ 1909 w 20000"/>
                  <a:gd name="T107" fmla="*/ 21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1909" y="2139"/>
                    </a:moveTo>
                    <a:lnTo>
                      <a:pt x="3235" y="0"/>
                    </a:lnTo>
                    <a:lnTo>
                      <a:pt x="3492" y="132"/>
                    </a:lnTo>
                    <a:lnTo>
                      <a:pt x="3692" y="809"/>
                    </a:lnTo>
                    <a:lnTo>
                      <a:pt x="4118" y="1148"/>
                    </a:lnTo>
                    <a:lnTo>
                      <a:pt x="4118" y="1024"/>
                    </a:lnTo>
                    <a:lnTo>
                      <a:pt x="4212" y="1107"/>
                    </a:lnTo>
                    <a:lnTo>
                      <a:pt x="4274" y="1363"/>
                    </a:lnTo>
                    <a:lnTo>
                      <a:pt x="4374" y="1024"/>
                    </a:lnTo>
                    <a:lnTo>
                      <a:pt x="4693" y="809"/>
                    </a:lnTo>
                    <a:lnTo>
                      <a:pt x="5895" y="595"/>
                    </a:lnTo>
                    <a:lnTo>
                      <a:pt x="5870" y="768"/>
                    </a:lnTo>
                    <a:lnTo>
                      <a:pt x="5444" y="892"/>
                    </a:lnTo>
                    <a:lnTo>
                      <a:pt x="4862" y="941"/>
                    </a:lnTo>
                    <a:lnTo>
                      <a:pt x="4599" y="1230"/>
                    </a:lnTo>
                    <a:lnTo>
                      <a:pt x="4762" y="1280"/>
                    </a:lnTo>
                    <a:lnTo>
                      <a:pt x="5313" y="1024"/>
                    </a:lnTo>
                    <a:lnTo>
                      <a:pt x="5219" y="1148"/>
                    </a:lnTo>
                    <a:lnTo>
                      <a:pt x="5895" y="892"/>
                    </a:lnTo>
                    <a:lnTo>
                      <a:pt x="5870" y="941"/>
                    </a:lnTo>
                    <a:lnTo>
                      <a:pt x="5895" y="1107"/>
                    </a:lnTo>
                    <a:lnTo>
                      <a:pt x="6383" y="768"/>
                    </a:lnTo>
                    <a:lnTo>
                      <a:pt x="6383" y="595"/>
                    </a:lnTo>
                    <a:lnTo>
                      <a:pt x="6483" y="553"/>
                    </a:lnTo>
                    <a:lnTo>
                      <a:pt x="6383" y="1363"/>
                    </a:lnTo>
                    <a:lnTo>
                      <a:pt x="6483" y="1577"/>
                    </a:lnTo>
                    <a:lnTo>
                      <a:pt x="6802" y="1107"/>
                    </a:lnTo>
                    <a:lnTo>
                      <a:pt x="6996" y="1024"/>
                    </a:lnTo>
                    <a:lnTo>
                      <a:pt x="6934" y="1363"/>
                    </a:lnTo>
                    <a:lnTo>
                      <a:pt x="6740" y="1668"/>
                    </a:lnTo>
                    <a:lnTo>
                      <a:pt x="7059" y="1668"/>
                    </a:lnTo>
                    <a:lnTo>
                      <a:pt x="7228" y="1445"/>
                    </a:lnTo>
                    <a:lnTo>
                      <a:pt x="7484" y="1495"/>
                    </a:lnTo>
                    <a:lnTo>
                      <a:pt x="7610" y="1833"/>
                    </a:lnTo>
                    <a:lnTo>
                      <a:pt x="8098" y="2395"/>
                    </a:lnTo>
                    <a:lnTo>
                      <a:pt x="8454" y="2477"/>
                    </a:lnTo>
                    <a:lnTo>
                      <a:pt x="8617" y="2898"/>
                    </a:lnTo>
                    <a:lnTo>
                      <a:pt x="8586" y="3121"/>
                    </a:lnTo>
                    <a:lnTo>
                      <a:pt x="8354" y="3031"/>
                    </a:lnTo>
                    <a:lnTo>
                      <a:pt x="8160" y="3154"/>
                    </a:lnTo>
                    <a:lnTo>
                      <a:pt x="8780" y="3501"/>
                    </a:lnTo>
                    <a:lnTo>
                      <a:pt x="9362" y="3501"/>
                    </a:lnTo>
                    <a:lnTo>
                      <a:pt x="9618" y="3931"/>
                    </a:lnTo>
                    <a:lnTo>
                      <a:pt x="9618" y="4269"/>
                    </a:lnTo>
                    <a:lnTo>
                      <a:pt x="9462" y="4187"/>
                    </a:lnTo>
                    <a:lnTo>
                      <a:pt x="9556" y="4740"/>
                    </a:lnTo>
                    <a:lnTo>
                      <a:pt x="9556" y="4484"/>
                    </a:lnTo>
                    <a:lnTo>
                      <a:pt x="9656" y="4352"/>
                    </a:lnTo>
                    <a:lnTo>
                      <a:pt x="9718" y="4401"/>
                    </a:lnTo>
                    <a:lnTo>
                      <a:pt x="9812" y="3840"/>
                    </a:lnTo>
                    <a:lnTo>
                      <a:pt x="9950" y="3625"/>
                    </a:lnTo>
                    <a:lnTo>
                      <a:pt x="10338" y="3625"/>
                    </a:lnTo>
                    <a:lnTo>
                      <a:pt x="10563" y="3460"/>
                    </a:lnTo>
                    <a:lnTo>
                      <a:pt x="9887" y="3501"/>
                    </a:lnTo>
                    <a:lnTo>
                      <a:pt x="9812" y="3460"/>
                    </a:lnTo>
                    <a:lnTo>
                      <a:pt x="10044" y="3287"/>
                    </a:lnTo>
                    <a:lnTo>
                      <a:pt x="10626" y="3237"/>
                    </a:lnTo>
                    <a:lnTo>
                      <a:pt x="10720" y="3799"/>
                    </a:lnTo>
                    <a:lnTo>
                      <a:pt x="10820" y="3931"/>
                    </a:lnTo>
                    <a:lnTo>
                      <a:pt x="10989" y="3931"/>
                    </a:lnTo>
                    <a:lnTo>
                      <a:pt x="11076" y="4352"/>
                    </a:lnTo>
                    <a:lnTo>
                      <a:pt x="11176" y="4269"/>
                    </a:lnTo>
                    <a:lnTo>
                      <a:pt x="11859" y="4484"/>
                    </a:lnTo>
                    <a:lnTo>
                      <a:pt x="11990" y="4269"/>
                    </a:lnTo>
                    <a:lnTo>
                      <a:pt x="12090" y="4484"/>
                    </a:lnTo>
                    <a:lnTo>
                      <a:pt x="12253" y="4525"/>
                    </a:lnTo>
                    <a:lnTo>
                      <a:pt x="12090" y="4269"/>
                    </a:lnTo>
                    <a:lnTo>
                      <a:pt x="12115" y="4063"/>
                    </a:lnTo>
                    <a:lnTo>
                      <a:pt x="12347" y="4063"/>
                    </a:lnTo>
                    <a:lnTo>
                      <a:pt x="12509" y="4269"/>
                    </a:lnTo>
                    <a:lnTo>
                      <a:pt x="12409" y="4401"/>
                    </a:lnTo>
                    <a:lnTo>
                      <a:pt x="12666" y="4352"/>
                    </a:lnTo>
                    <a:lnTo>
                      <a:pt x="12347" y="4822"/>
                    </a:lnTo>
                    <a:lnTo>
                      <a:pt x="12447" y="4955"/>
                    </a:lnTo>
                    <a:lnTo>
                      <a:pt x="12278" y="4955"/>
                    </a:lnTo>
                    <a:lnTo>
                      <a:pt x="12278" y="5293"/>
                    </a:lnTo>
                    <a:lnTo>
                      <a:pt x="12347" y="5078"/>
                    </a:lnTo>
                    <a:lnTo>
                      <a:pt x="12509" y="5078"/>
                    </a:lnTo>
                    <a:lnTo>
                      <a:pt x="12603" y="4608"/>
                    </a:lnTo>
                    <a:lnTo>
                      <a:pt x="12703" y="4401"/>
                    </a:lnTo>
                    <a:lnTo>
                      <a:pt x="12866" y="4484"/>
                    </a:lnTo>
                    <a:lnTo>
                      <a:pt x="13279" y="4269"/>
                    </a:lnTo>
                    <a:lnTo>
                      <a:pt x="13354" y="4013"/>
                    </a:lnTo>
                    <a:lnTo>
                      <a:pt x="13091" y="4145"/>
                    </a:lnTo>
                    <a:lnTo>
                      <a:pt x="13185" y="3931"/>
                    </a:lnTo>
                    <a:lnTo>
                      <a:pt x="13354" y="3799"/>
                    </a:lnTo>
                    <a:lnTo>
                      <a:pt x="13448" y="3716"/>
                    </a:lnTo>
                    <a:lnTo>
                      <a:pt x="13379" y="3840"/>
                    </a:lnTo>
                    <a:lnTo>
                      <a:pt x="13479" y="3799"/>
                    </a:lnTo>
                    <a:lnTo>
                      <a:pt x="13548" y="3625"/>
                    </a:lnTo>
                    <a:lnTo>
                      <a:pt x="13379" y="3716"/>
                    </a:lnTo>
                    <a:lnTo>
                      <a:pt x="13354" y="3501"/>
                    </a:lnTo>
                    <a:lnTo>
                      <a:pt x="13217" y="3501"/>
                    </a:lnTo>
                    <a:lnTo>
                      <a:pt x="13023" y="3287"/>
                    </a:lnTo>
                    <a:lnTo>
                      <a:pt x="13023" y="3154"/>
                    </a:lnTo>
                    <a:lnTo>
                      <a:pt x="13217" y="2898"/>
                    </a:lnTo>
                    <a:lnTo>
                      <a:pt x="13354" y="2898"/>
                    </a:lnTo>
                    <a:lnTo>
                      <a:pt x="13279" y="2601"/>
                    </a:lnTo>
                    <a:lnTo>
                      <a:pt x="13448" y="2477"/>
                    </a:lnTo>
                    <a:lnTo>
                      <a:pt x="13611" y="2345"/>
                    </a:lnTo>
                    <a:lnTo>
                      <a:pt x="13642" y="2477"/>
                    </a:lnTo>
                    <a:lnTo>
                      <a:pt x="13773" y="2263"/>
                    </a:lnTo>
                    <a:lnTo>
                      <a:pt x="13642" y="2221"/>
                    </a:lnTo>
                    <a:lnTo>
                      <a:pt x="13905" y="2139"/>
                    </a:lnTo>
                    <a:lnTo>
                      <a:pt x="14161" y="2263"/>
                    </a:lnTo>
                    <a:lnTo>
                      <a:pt x="14161" y="2601"/>
                    </a:lnTo>
                    <a:lnTo>
                      <a:pt x="14061" y="3031"/>
                    </a:lnTo>
                    <a:lnTo>
                      <a:pt x="14124" y="3369"/>
                    </a:lnTo>
                    <a:lnTo>
                      <a:pt x="13967" y="3287"/>
                    </a:lnTo>
                    <a:lnTo>
                      <a:pt x="14030" y="3460"/>
                    </a:lnTo>
                    <a:lnTo>
                      <a:pt x="13805" y="3592"/>
                    </a:lnTo>
                    <a:lnTo>
                      <a:pt x="13905" y="3799"/>
                    </a:lnTo>
                    <a:lnTo>
                      <a:pt x="14030" y="3716"/>
                    </a:lnTo>
                    <a:lnTo>
                      <a:pt x="14161" y="3840"/>
                    </a:lnTo>
                    <a:lnTo>
                      <a:pt x="14030" y="3931"/>
                    </a:lnTo>
                    <a:lnTo>
                      <a:pt x="13905" y="4608"/>
                    </a:lnTo>
                    <a:lnTo>
                      <a:pt x="14456" y="4063"/>
                    </a:lnTo>
                    <a:lnTo>
                      <a:pt x="14581" y="4484"/>
                    </a:lnTo>
                    <a:lnTo>
                      <a:pt x="14481" y="4740"/>
                    </a:lnTo>
                    <a:lnTo>
                      <a:pt x="14324" y="4905"/>
                    </a:lnTo>
                    <a:lnTo>
                      <a:pt x="14324" y="5417"/>
                    </a:lnTo>
                    <a:lnTo>
                      <a:pt x="14837" y="5037"/>
                    </a:lnTo>
                    <a:lnTo>
                      <a:pt x="15131" y="4525"/>
                    </a:lnTo>
                    <a:lnTo>
                      <a:pt x="15325" y="4484"/>
                    </a:lnTo>
                    <a:lnTo>
                      <a:pt x="15263" y="4352"/>
                    </a:lnTo>
                    <a:lnTo>
                      <a:pt x="15388" y="4013"/>
                    </a:lnTo>
                    <a:lnTo>
                      <a:pt x="16008" y="4269"/>
                    </a:lnTo>
                    <a:lnTo>
                      <a:pt x="15914" y="4352"/>
                    </a:lnTo>
                    <a:lnTo>
                      <a:pt x="16108" y="4608"/>
                    </a:lnTo>
                    <a:lnTo>
                      <a:pt x="15939" y="4690"/>
                    </a:lnTo>
                    <a:lnTo>
                      <a:pt x="16070" y="4740"/>
                    </a:lnTo>
                    <a:lnTo>
                      <a:pt x="16008" y="4955"/>
                    </a:lnTo>
                    <a:lnTo>
                      <a:pt x="15682" y="4955"/>
                    </a:lnTo>
                    <a:lnTo>
                      <a:pt x="15745" y="5599"/>
                    </a:lnTo>
                    <a:lnTo>
                      <a:pt x="15657" y="5855"/>
                    </a:lnTo>
                    <a:lnTo>
                      <a:pt x="15006" y="6152"/>
                    </a:lnTo>
                    <a:lnTo>
                      <a:pt x="15006" y="5805"/>
                    </a:lnTo>
                    <a:lnTo>
                      <a:pt x="14906" y="5632"/>
                    </a:lnTo>
                    <a:lnTo>
                      <a:pt x="14812" y="5723"/>
                    </a:lnTo>
                    <a:lnTo>
                      <a:pt x="14906" y="6193"/>
                    </a:lnTo>
                    <a:lnTo>
                      <a:pt x="14287" y="5855"/>
                    </a:lnTo>
                    <a:lnTo>
                      <a:pt x="14456" y="6152"/>
                    </a:lnTo>
                    <a:lnTo>
                      <a:pt x="13967" y="6614"/>
                    </a:lnTo>
                    <a:lnTo>
                      <a:pt x="13805" y="6532"/>
                    </a:lnTo>
                    <a:lnTo>
                      <a:pt x="13479" y="6069"/>
                    </a:lnTo>
                    <a:lnTo>
                      <a:pt x="13379" y="6069"/>
                    </a:lnTo>
                    <a:lnTo>
                      <a:pt x="13548" y="6491"/>
                    </a:lnTo>
                    <a:lnTo>
                      <a:pt x="13967" y="6697"/>
                    </a:lnTo>
                    <a:lnTo>
                      <a:pt x="13611" y="7300"/>
                    </a:lnTo>
                    <a:lnTo>
                      <a:pt x="13379" y="7424"/>
                    </a:lnTo>
                    <a:lnTo>
                      <a:pt x="13185" y="7391"/>
                    </a:lnTo>
                    <a:lnTo>
                      <a:pt x="13123" y="7217"/>
                    </a:lnTo>
                    <a:lnTo>
                      <a:pt x="12929" y="7647"/>
                    </a:lnTo>
                    <a:lnTo>
                      <a:pt x="12703" y="7647"/>
                    </a:lnTo>
                    <a:lnTo>
                      <a:pt x="12178" y="7176"/>
                    </a:lnTo>
                    <a:lnTo>
                      <a:pt x="12178" y="7300"/>
                    </a:lnTo>
                    <a:lnTo>
                      <a:pt x="12447" y="7424"/>
                    </a:lnTo>
                    <a:lnTo>
                      <a:pt x="12766" y="7861"/>
                    </a:lnTo>
                    <a:lnTo>
                      <a:pt x="12666" y="8068"/>
                    </a:lnTo>
                    <a:lnTo>
                      <a:pt x="12253" y="8068"/>
                    </a:lnTo>
                    <a:lnTo>
                      <a:pt x="12278" y="8200"/>
                    </a:lnTo>
                    <a:lnTo>
                      <a:pt x="11602" y="8885"/>
                    </a:lnTo>
                    <a:lnTo>
                      <a:pt x="11176" y="9447"/>
                    </a:lnTo>
                    <a:lnTo>
                      <a:pt x="10920" y="10421"/>
                    </a:lnTo>
                    <a:lnTo>
                      <a:pt x="11051" y="10545"/>
                    </a:lnTo>
                    <a:lnTo>
                      <a:pt x="11308" y="10636"/>
                    </a:lnTo>
                    <a:lnTo>
                      <a:pt x="11245" y="11536"/>
                    </a:lnTo>
                    <a:lnTo>
                      <a:pt x="11145" y="11709"/>
                    </a:lnTo>
                    <a:lnTo>
                      <a:pt x="11665" y="11660"/>
                    </a:lnTo>
                    <a:lnTo>
                      <a:pt x="12115" y="11998"/>
                    </a:lnTo>
                    <a:lnTo>
                      <a:pt x="12253" y="12345"/>
                    </a:lnTo>
                    <a:lnTo>
                      <a:pt x="12253" y="12552"/>
                    </a:lnTo>
                    <a:lnTo>
                      <a:pt x="12603" y="12775"/>
                    </a:lnTo>
                    <a:lnTo>
                      <a:pt x="12804" y="13022"/>
                    </a:lnTo>
                    <a:lnTo>
                      <a:pt x="13479" y="13245"/>
                    </a:lnTo>
                    <a:lnTo>
                      <a:pt x="13217" y="14393"/>
                    </a:lnTo>
                    <a:lnTo>
                      <a:pt x="13279" y="14781"/>
                    </a:lnTo>
                    <a:lnTo>
                      <a:pt x="13185" y="14913"/>
                    </a:lnTo>
                    <a:lnTo>
                      <a:pt x="13479" y="15120"/>
                    </a:lnTo>
                    <a:lnTo>
                      <a:pt x="13548" y="15376"/>
                    </a:lnTo>
                    <a:lnTo>
                      <a:pt x="13642" y="15508"/>
                    </a:lnTo>
                    <a:lnTo>
                      <a:pt x="13805" y="15334"/>
                    </a:lnTo>
                    <a:lnTo>
                      <a:pt x="13867" y="15467"/>
                    </a:lnTo>
                    <a:lnTo>
                      <a:pt x="14061" y="14814"/>
                    </a:lnTo>
                    <a:lnTo>
                      <a:pt x="14030" y="13584"/>
                    </a:lnTo>
                    <a:lnTo>
                      <a:pt x="14969" y="12989"/>
                    </a:lnTo>
                    <a:lnTo>
                      <a:pt x="15131" y="12436"/>
                    </a:lnTo>
                    <a:lnTo>
                      <a:pt x="15069" y="11792"/>
                    </a:lnTo>
                    <a:lnTo>
                      <a:pt x="14812" y="11321"/>
                    </a:lnTo>
                    <a:lnTo>
                      <a:pt x="15325" y="10545"/>
                    </a:lnTo>
                    <a:lnTo>
                      <a:pt x="15263" y="9909"/>
                    </a:lnTo>
                    <a:lnTo>
                      <a:pt x="15519" y="9529"/>
                    </a:lnTo>
                    <a:lnTo>
                      <a:pt x="15488" y="9092"/>
                    </a:lnTo>
                    <a:lnTo>
                      <a:pt x="15745" y="8885"/>
                    </a:lnTo>
                    <a:lnTo>
                      <a:pt x="16333" y="9315"/>
                    </a:lnTo>
                    <a:lnTo>
                      <a:pt x="16621" y="9182"/>
                    </a:lnTo>
                    <a:lnTo>
                      <a:pt x="16946" y="9785"/>
                    </a:lnTo>
                    <a:lnTo>
                      <a:pt x="16915" y="9992"/>
                    </a:lnTo>
                    <a:lnTo>
                      <a:pt x="17434" y="10206"/>
                    </a:lnTo>
                    <a:lnTo>
                      <a:pt x="17209" y="11107"/>
                    </a:lnTo>
                    <a:lnTo>
                      <a:pt x="17040" y="11321"/>
                    </a:lnTo>
                    <a:lnTo>
                      <a:pt x="17209" y="11321"/>
                    </a:lnTo>
                    <a:lnTo>
                      <a:pt x="17209" y="11453"/>
                    </a:lnTo>
                    <a:lnTo>
                      <a:pt x="16946" y="11536"/>
                    </a:lnTo>
                    <a:lnTo>
                      <a:pt x="17015" y="11660"/>
                    </a:lnTo>
                    <a:lnTo>
                      <a:pt x="17372" y="11536"/>
                    </a:lnTo>
                    <a:lnTo>
                      <a:pt x="17466" y="11998"/>
                    </a:lnTo>
                    <a:lnTo>
                      <a:pt x="17947" y="11660"/>
                    </a:lnTo>
                    <a:lnTo>
                      <a:pt x="18473" y="10677"/>
                    </a:lnTo>
                    <a:lnTo>
                      <a:pt x="18536" y="10760"/>
                    </a:lnTo>
                    <a:lnTo>
                      <a:pt x="18892" y="12816"/>
                    </a:lnTo>
                    <a:lnTo>
                      <a:pt x="18730" y="13154"/>
                    </a:lnTo>
                    <a:lnTo>
                      <a:pt x="18986" y="13584"/>
                    </a:lnTo>
                    <a:lnTo>
                      <a:pt x="18986" y="13881"/>
                    </a:lnTo>
                    <a:lnTo>
                      <a:pt x="19318" y="13881"/>
                    </a:lnTo>
                    <a:lnTo>
                      <a:pt x="19675" y="14269"/>
                    </a:lnTo>
                    <a:lnTo>
                      <a:pt x="19086" y="14566"/>
                    </a:lnTo>
                    <a:lnTo>
                      <a:pt x="18830" y="14781"/>
                    </a:lnTo>
                    <a:lnTo>
                      <a:pt x="18830" y="14946"/>
                    </a:lnTo>
                    <a:lnTo>
                      <a:pt x="19506" y="14566"/>
                    </a:lnTo>
                    <a:lnTo>
                      <a:pt x="19675" y="14699"/>
                    </a:lnTo>
                    <a:lnTo>
                      <a:pt x="19637" y="14913"/>
                    </a:lnTo>
                    <a:lnTo>
                      <a:pt x="19831" y="14781"/>
                    </a:lnTo>
                    <a:lnTo>
                      <a:pt x="19994" y="14946"/>
                    </a:lnTo>
                    <a:lnTo>
                      <a:pt x="19931" y="15376"/>
                    </a:lnTo>
                    <a:lnTo>
                      <a:pt x="19768" y="15723"/>
                    </a:lnTo>
                    <a:lnTo>
                      <a:pt x="19218" y="16012"/>
                    </a:lnTo>
                    <a:lnTo>
                      <a:pt x="18667" y="16491"/>
                    </a:lnTo>
                    <a:lnTo>
                      <a:pt x="17303" y="16367"/>
                    </a:lnTo>
                    <a:lnTo>
                      <a:pt x="16946" y="16400"/>
                    </a:lnTo>
                    <a:lnTo>
                      <a:pt x="16070" y="17258"/>
                    </a:lnTo>
                    <a:lnTo>
                      <a:pt x="15582" y="17853"/>
                    </a:lnTo>
                    <a:lnTo>
                      <a:pt x="16208" y="17258"/>
                    </a:lnTo>
                    <a:lnTo>
                      <a:pt x="16915" y="16837"/>
                    </a:lnTo>
                    <a:lnTo>
                      <a:pt x="17209" y="16920"/>
                    </a:lnTo>
                    <a:lnTo>
                      <a:pt x="17466" y="17126"/>
                    </a:lnTo>
                    <a:lnTo>
                      <a:pt x="17372" y="17300"/>
                    </a:lnTo>
                    <a:lnTo>
                      <a:pt x="17109" y="17514"/>
                    </a:lnTo>
                    <a:lnTo>
                      <a:pt x="16846" y="17465"/>
                    </a:lnTo>
                    <a:lnTo>
                      <a:pt x="17040" y="17647"/>
                    </a:lnTo>
                    <a:lnTo>
                      <a:pt x="17209" y="17647"/>
                    </a:lnTo>
                    <a:lnTo>
                      <a:pt x="17040" y="17936"/>
                    </a:lnTo>
                    <a:lnTo>
                      <a:pt x="17303" y="18406"/>
                    </a:lnTo>
                    <a:lnTo>
                      <a:pt x="18048" y="18927"/>
                    </a:lnTo>
                    <a:lnTo>
                      <a:pt x="17178" y="19182"/>
                    </a:lnTo>
                    <a:lnTo>
                      <a:pt x="17109" y="19306"/>
                    </a:lnTo>
                    <a:lnTo>
                      <a:pt x="16758" y="19653"/>
                    </a:lnTo>
                    <a:lnTo>
                      <a:pt x="16621" y="19521"/>
                    </a:lnTo>
                    <a:lnTo>
                      <a:pt x="16683" y="19265"/>
                    </a:lnTo>
                    <a:lnTo>
                      <a:pt x="16915" y="18968"/>
                    </a:lnTo>
                    <a:lnTo>
                      <a:pt x="17372" y="18761"/>
                    </a:lnTo>
                    <a:lnTo>
                      <a:pt x="17109" y="18761"/>
                    </a:lnTo>
                    <a:lnTo>
                      <a:pt x="17209" y="18538"/>
                    </a:lnTo>
                    <a:lnTo>
                      <a:pt x="16427" y="18844"/>
                    </a:lnTo>
                    <a:lnTo>
                      <a:pt x="16270" y="18497"/>
                    </a:lnTo>
                    <a:lnTo>
                      <a:pt x="16427" y="17853"/>
                    </a:lnTo>
                    <a:lnTo>
                      <a:pt x="16333" y="17729"/>
                    </a:lnTo>
                    <a:lnTo>
                      <a:pt x="16108" y="17812"/>
                    </a:lnTo>
                    <a:lnTo>
                      <a:pt x="16070" y="17647"/>
                    </a:lnTo>
                    <a:lnTo>
                      <a:pt x="15426" y="18712"/>
                    </a:lnTo>
                    <a:lnTo>
                      <a:pt x="15263" y="18761"/>
                    </a:lnTo>
                    <a:lnTo>
                      <a:pt x="14387" y="18761"/>
                    </a:lnTo>
                    <a:lnTo>
                      <a:pt x="13967" y="19050"/>
                    </a:lnTo>
                    <a:lnTo>
                      <a:pt x="13642" y="19100"/>
                    </a:lnTo>
                    <a:lnTo>
                      <a:pt x="13773" y="19265"/>
                    </a:lnTo>
                    <a:lnTo>
                      <a:pt x="13548" y="19182"/>
                    </a:lnTo>
                    <a:lnTo>
                      <a:pt x="13185" y="19265"/>
                    </a:lnTo>
                    <a:lnTo>
                      <a:pt x="13023" y="19438"/>
                    </a:lnTo>
                    <a:lnTo>
                      <a:pt x="13123" y="19521"/>
                    </a:lnTo>
                    <a:lnTo>
                      <a:pt x="13185" y="19653"/>
                    </a:lnTo>
                    <a:lnTo>
                      <a:pt x="12766" y="19827"/>
                    </a:lnTo>
                    <a:lnTo>
                      <a:pt x="12509" y="19860"/>
                    </a:lnTo>
                    <a:lnTo>
                      <a:pt x="11990" y="19992"/>
                    </a:lnTo>
                    <a:lnTo>
                      <a:pt x="12090" y="19827"/>
                    </a:lnTo>
                    <a:lnTo>
                      <a:pt x="12253" y="19521"/>
                    </a:lnTo>
                    <a:lnTo>
                      <a:pt x="12509" y="19306"/>
                    </a:lnTo>
                    <a:lnTo>
                      <a:pt x="12703" y="18761"/>
                    </a:lnTo>
                    <a:lnTo>
                      <a:pt x="12666" y="18497"/>
                    </a:lnTo>
                    <a:lnTo>
                      <a:pt x="12703" y="18497"/>
                    </a:lnTo>
                    <a:lnTo>
                      <a:pt x="12766" y="18761"/>
                    </a:lnTo>
                    <a:lnTo>
                      <a:pt x="13023" y="18844"/>
                    </a:lnTo>
                    <a:lnTo>
                      <a:pt x="13091" y="18629"/>
                    </a:lnTo>
                    <a:lnTo>
                      <a:pt x="12960" y="18200"/>
                    </a:lnTo>
                    <a:lnTo>
                      <a:pt x="12666" y="18068"/>
                    </a:lnTo>
                    <a:lnTo>
                      <a:pt x="12115" y="17812"/>
                    </a:lnTo>
                    <a:lnTo>
                      <a:pt x="11990" y="17597"/>
                    </a:lnTo>
                    <a:lnTo>
                      <a:pt x="12021" y="16961"/>
                    </a:lnTo>
                    <a:lnTo>
                      <a:pt x="11859" y="17044"/>
                    </a:lnTo>
                    <a:lnTo>
                      <a:pt x="11665" y="16573"/>
                    </a:lnTo>
                    <a:lnTo>
                      <a:pt x="11245" y="16400"/>
                    </a:lnTo>
                    <a:lnTo>
                      <a:pt x="10920" y="16837"/>
                    </a:lnTo>
                    <a:lnTo>
                      <a:pt x="10626" y="16738"/>
                    </a:lnTo>
                    <a:lnTo>
                      <a:pt x="10238" y="16705"/>
                    </a:lnTo>
                    <a:lnTo>
                      <a:pt x="10144" y="16573"/>
                    </a:lnTo>
                    <a:lnTo>
                      <a:pt x="9950" y="16235"/>
                    </a:lnTo>
                    <a:lnTo>
                      <a:pt x="9950" y="16400"/>
                    </a:lnTo>
                    <a:lnTo>
                      <a:pt x="9556" y="16235"/>
                    </a:lnTo>
                    <a:lnTo>
                      <a:pt x="9787" y="16235"/>
                    </a:lnTo>
                    <a:lnTo>
                      <a:pt x="9787" y="15846"/>
                    </a:lnTo>
                    <a:lnTo>
                      <a:pt x="9618" y="15723"/>
                    </a:lnTo>
                    <a:lnTo>
                      <a:pt x="9399" y="16061"/>
                    </a:lnTo>
                    <a:lnTo>
                      <a:pt x="2234" y="15120"/>
                    </a:lnTo>
                    <a:lnTo>
                      <a:pt x="2040" y="14781"/>
                    </a:lnTo>
                    <a:lnTo>
                      <a:pt x="1909" y="14220"/>
                    </a:lnTo>
                    <a:lnTo>
                      <a:pt x="1389" y="13716"/>
                    </a:lnTo>
                    <a:lnTo>
                      <a:pt x="1358" y="13501"/>
                    </a:lnTo>
                    <a:lnTo>
                      <a:pt x="1458" y="12130"/>
                    </a:lnTo>
                    <a:lnTo>
                      <a:pt x="1621" y="11874"/>
                    </a:lnTo>
                    <a:lnTo>
                      <a:pt x="1289" y="12130"/>
                    </a:lnTo>
                    <a:lnTo>
                      <a:pt x="1202" y="11453"/>
                    </a:lnTo>
                    <a:lnTo>
                      <a:pt x="1458" y="11016"/>
                    </a:lnTo>
                    <a:lnTo>
                      <a:pt x="1621" y="10462"/>
                    </a:lnTo>
                    <a:lnTo>
                      <a:pt x="1458" y="10124"/>
                    </a:lnTo>
                    <a:lnTo>
                      <a:pt x="1289" y="9736"/>
                    </a:lnTo>
                    <a:lnTo>
                      <a:pt x="1202" y="8117"/>
                    </a:lnTo>
                    <a:lnTo>
                      <a:pt x="1202" y="7647"/>
                    </a:lnTo>
                    <a:lnTo>
                      <a:pt x="1070" y="7523"/>
                    </a:lnTo>
                    <a:lnTo>
                      <a:pt x="870" y="7605"/>
                    </a:lnTo>
                    <a:lnTo>
                      <a:pt x="513" y="7944"/>
                    </a:lnTo>
                    <a:lnTo>
                      <a:pt x="357" y="6961"/>
                    </a:lnTo>
                    <a:lnTo>
                      <a:pt x="382" y="6829"/>
                    </a:lnTo>
                    <a:lnTo>
                      <a:pt x="0" y="6746"/>
                    </a:lnTo>
                    <a:lnTo>
                      <a:pt x="870" y="4484"/>
                    </a:lnTo>
                    <a:lnTo>
                      <a:pt x="1909" y="213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3" name="Freeform 66"/>
              <p:cNvSpPr>
                <a:spLocks/>
              </p:cNvSpPr>
              <p:nvPr/>
            </p:nvSpPr>
            <p:spPr bwMode="auto">
              <a:xfrm>
                <a:off x="3062288" y="1674813"/>
                <a:ext cx="539750" cy="654050"/>
              </a:xfrm>
              <a:custGeom>
                <a:avLst/>
                <a:gdLst>
                  <a:gd name="T0" fmla="*/ 11694 w 20000"/>
                  <a:gd name="T1" fmla="*/ 19670 h 20000"/>
                  <a:gd name="T2" fmla="*/ 8776 w 20000"/>
                  <a:gd name="T3" fmla="*/ 17245 h 20000"/>
                  <a:gd name="T4" fmla="*/ 8282 w 20000"/>
                  <a:gd name="T5" fmla="*/ 16256 h 20000"/>
                  <a:gd name="T6" fmla="*/ 7200 w 20000"/>
                  <a:gd name="T7" fmla="*/ 15461 h 20000"/>
                  <a:gd name="T8" fmla="*/ 5129 w 20000"/>
                  <a:gd name="T9" fmla="*/ 15461 h 20000"/>
                  <a:gd name="T10" fmla="*/ 5129 w 20000"/>
                  <a:gd name="T11" fmla="*/ 13560 h 20000"/>
                  <a:gd name="T12" fmla="*/ 7906 w 20000"/>
                  <a:gd name="T13" fmla="*/ 13637 h 20000"/>
                  <a:gd name="T14" fmla="*/ 8282 w 20000"/>
                  <a:gd name="T15" fmla="*/ 12726 h 20000"/>
                  <a:gd name="T16" fmla="*/ 10729 w 20000"/>
                  <a:gd name="T17" fmla="*/ 11445 h 20000"/>
                  <a:gd name="T18" fmla="*/ 10118 w 20000"/>
                  <a:gd name="T19" fmla="*/ 9350 h 20000"/>
                  <a:gd name="T20" fmla="*/ 8776 w 20000"/>
                  <a:gd name="T21" fmla="*/ 8516 h 20000"/>
                  <a:gd name="T22" fmla="*/ 8776 w 20000"/>
                  <a:gd name="T23" fmla="*/ 6731 h 20000"/>
                  <a:gd name="T24" fmla="*/ 7812 w 20000"/>
                  <a:gd name="T25" fmla="*/ 6421 h 20000"/>
                  <a:gd name="T26" fmla="*/ 5600 w 20000"/>
                  <a:gd name="T27" fmla="*/ 6421 h 20000"/>
                  <a:gd name="T28" fmla="*/ 4047 w 20000"/>
                  <a:gd name="T29" fmla="*/ 6421 h 20000"/>
                  <a:gd name="T30" fmla="*/ 494 w 20000"/>
                  <a:gd name="T31" fmla="*/ 5218 h 20000"/>
                  <a:gd name="T32" fmla="*/ 1459 w 20000"/>
                  <a:gd name="T33" fmla="*/ 3802 h 20000"/>
                  <a:gd name="T34" fmla="*/ 1224 w 20000"/>
                  <a:gd name="T35" fmla="*/ 2211 h 20000"/>
                  <a:gd name="T36" fmla="*/ 3176 w 20000"/>
                  <a:gd name="T37" fmla="*/ 698 h 20000"/>
                  <a:gd name="T38" fmla="*/ 6212 w 20000"/>
                  <a:gd name="T39" fmla="*/ 504 h 20000"/>
                  <a:gd name="T40" fmla="*/ 4047 w 20000"/>
                  <a:gd name="T41" fmla="*/ 2308 h 20000"/>
                  <a:gd name="T42" fmla="*/ 2447 w 20000"/>
                  <a:gd name="T43" fmla="*/ 4597 h 20000"/>
                  <a:gd name="T44" fmla="*/ 4141 w 20000"/>
                  <a:gd name="T45" fmla="*/ 3608 h 20000"/>
                  <a:gd name="T46" fmla="*/ 5365 w 20000"/>
                  <a:gd name="T47" fmla="*/ 2017 h 20000"/>
                  <a:gd name="T48" fmla="*/ 9506 w 20000"/>
                  <a:gd name="T49" fmla="*/ 912 h 20000"/>
                  <a:gd name="T50" fmla="*/ 9153 w 20000"/>
                  <a:gd name="T51" fmla="*/ 2619 h 20000"/>
                  <a:gd name="T52" fmla="*/ 9506 w 20000"/>
                  <a:gd name="T53" fmla="*/ 3414 h 20000"/>
                  <a:gd name="T54" fmla="*/ 11082 w 20000"/>
                  <a:gd name="T55" fmla="*/ 3007 h 20000"/>
                  <a:gd name="T56" fmla="*/ 13294 w 20000"/>
                  <a:gd name="T57" fmla="*/ 3919 h 20000"/>
                  <a:gd name="T58" fmla="*/ 12329 w 20000"/>
                  <a:gd name="T59" fmla="*/ 4714 h 20000"/>
                  <a:gd name="T60" fmla="*/ 14400 w 20000"/>
                  <a:gd name="T61" fmla="*/ 5121 h 20000"/>
                  <a:gd name="T62" fmla="*/ 15224 w 20000"/>
                  <a:gd name="T63" fmla="*/ 6421 h 20000"/>
                  <a:gd name="T64" fmla="*/ 15953 w 20000"/>
                  <a:gd name="T65" fmla="*/ 7818 h 20000"/>
                  <a:gd name="T66" fmla="*/ 15835 w 20000"/>
                  <a:gd name="T67" fmla="*/ 8632 h 20000"/>
                  <a:gd name="T68" fmla="*/ 15600 w 20000"/>
                  <a:gd name="T69" fmla="*/ 9641 h 20000"/>
                  <a:gd name="T70" fmla="*/ 18024 w 20000"/>
                  <a:gd name="T71" fmla="*/ 11445 h 20000"/>
                  <a:gd name="T72" fmla="*/ 19976 w 20000"/>
                  <a:gd name="T73" fmla="*/ 13036 h 20000"/>
                  <a:gd name="T74" fmla="*/ 17529 w 20000"/>
                  <a:gd name="T75" fmla="*/ 14665 h 20000"/>
                  <a:gd name="T76" fmla="*/ 15600 w 20000"/>
                  <a:gd name="T77" fmla="*/ 13851 h 20000"/>
                  <a:gd name="T78" fmla="*/ 14635 w 20000"/>
                  <a:gd name="T79" fmla="*/ 13637 h 20000"/>
                  <a:gd name="T80" fmla="*/ 14635 w 20000"/>
                  <a:gd name="T81" fmla="*/ 15655 h 20000"/>
                  <a:gd name="T82" fmla="*/ 14988 w 20000"/>
                  <a:gd name="T83" fmla="*/ 18661 h 20000"/>
                  <a:gd name="T84" fmla="*/ 13059 w 20000"/>
                  <a:gd name="T85" fmla="*/ 17866 h 20000"/>
                  <a:gd name="T86" fmla="*/ 13294 w 20000"/>
                  <a:gd name="T87" fmla="*/ 1937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13294" y="19981"/>
                    </a:moveTo>
                    <a:lnTo>
                      <a:pt x="12424" y="19981"/>
                    </a:lnTo>
                    <a:lnTo>
                      <a:pt x="11694" y="19670"/>
                    </a:lnTo>
                    <a:lnTo>
                      <a:pt x="10353" y="18565"/>
                    </a:lnTo>
                    <a:lnTo>
                      <a:pt x="9247" y="18060"/>
                    </a:lnTo>
                    <a:lnTo>
                      <a:pt x="8776" y="17245"/>
                    </a:lnTo>
                    <a:lnTo>
                      <a:pt x="8918" y="17051"/>
                    </a:lnTo>
                    <a:lnTo>
                      <a:pt x="9153" y="16760"/>
                    </a:lnTo>
                    <a:lnTo>
                      <a:pt x="8282" y="16256"/>
                    </a:lnTo>
                    <a:lnTo>
                      <a:pt x="7812" y="15461"/>
                    </a:lnTo>
                    <a:lnTo>
                      <a:pt x="7318" y="15150"/>
                    </a:lnTo>
                    <a:lnTo>
                      <a:pt x="7200" y="15461"/>
                    </a:lnTo>
                    <a:lnTo>
                      <a:pt x="6353" y="15267"/>
                    </a:lnTo>
                    <a:lnTo>
                      <a:pt x="5976" y="15267"/>
                    </a:lnTo>
                    <a:lnTo>
                      <a:pt x="5129" y="15461"/>
                    </a:lnTo>
                    <a:lnTo>
                      <a:pt x="4141" y="14956"/>
                    </a:lnTo>
                    <a:lnTo>
                      <a:pt x="4400" y="14142"/>
                    </a:lnTo>
                    <a:lnTo>
                      <a:pt x="5129" y="13560"/>
                    </a:lnTo>
                    <a:lnTo>
                      <a:pt x="5600" y="13637"/>
                    </a:lnTo>
                    <a:lnTo>
                      <a:pt x="6941" y="13948"/>
                    </a:lnTo>
                    <a:lnTo>
                      <a:pt x="7906" y="13637"/>
                    </a:lnTo>
                    <a:lnTo>
                      <a:pt x="8541" y="13851"/>
                    </a:lnTo>
                    <a:lnTo>
                      <a:pt x="8776" y="13346"/>
                    </a:lnTo>
                    <a:lnTo>
                      <a:pt x="8282" y="12726"/>
                    </a:lnTo>
                    <a:lnTo>
                      <a:pt x="8918" y="12532"/>
                    </a:lnTo>
                    <a:lnTo>
                      <a:pt x="9882" y="12047"/>
                    </a:lnTo>
                    <a:lnTo>
                      <a:pt x="10729" y="11445"/>
                    </a:lnTo>
                    <a:lnTo>
                      <a:pt x="10729" y="10747"/>
                    </a:lnTo>
                    <a:lnTo>
                      <a:pt x="10729" y="9932"/>
                    </a:lnTo>
                    <a:lnTo>
                      <a:pt x="10118" y="9350"/>
                    </a:lnTo>
                    <a:lnTo>
                      <a:pt x="9882" y="8826"/>
                    </a:lnTo>
                    <a:lnTo>
                      <a:pt x="8541" y="8923"/>
                    </a:lnTo>
                    <a:lnTo>
                      <a:pt x="8776" y="8516"/>
                    </a:lnTo>
                    <a:lnTo>
                      <a:pt x="9506" y="8516"/>
                    </a:lnTo>
                    <a:lnTo>
                      <a:pt x="8776" y="7624"/>
                    </a:lnTo>
                    <a:lnTo>
                      <a:pt x="8776" y="6731"/>
                    </a:lnTo>
                    <a:lnTo>
                      <a:pt x="8188" y="6014"/>
                    </a:lnTo>
                    <a:lnTo>
                      <a:pt x="7318" y="6014"/>
                    </a:lnTo>
                    <a:lnTo>
                      <a:pt x="7812" y="6421"/>
                    </a:lnTo>
                    <a:lnTo>
                      <a:pt x="7553" y="7022"/>
                    </a:lnTo>
                    <a:lnTo>
                      <a:pt x="6941" y="7022"/>
                    </a:lnTo>
                    <a:lnTo>
                      <a:pt x="5600" y="6421"/>
                    </a:lnTo>
                    <a:lnTo>
                      <a:pt x="5741" y="7022"/>
                    </a:lnTo>
                    <a:lnTo>
                      <a:pt x="5129" y="6731"/>
                    </a:lnTo>
                    <a:lnTo>
                      <a:pt x="4047" y="6421"/>
                    </a:lnTo>
                    <a:lnTo>
                      <a:pt x="2565" y="6014"/>
                    </a:lnTo>
                    <a:lnTo>
                      <a:pt x="1600" y="5432"/>
                    </a:lnTo>
                    <a:lnTo>
                      <a:pt x="494" y="5218"/>
                    </a:lnTo>
                    <a:lnTo>
                      <a:pt x="0" y="4113"/>
                    </a:lnTo>
                    <a:lnTo>
                      <a:pt x="1459" y="4326"/>
                    </a:lnTo>
                    <a:lnTo>
                      <a:pt x="1459" y="3802"/>
                    </a:lnTo>
                    <a:lnTo>
                      <a:pt x="0" y="3414"/>
                    </a:lnTo>
                    <a:lnTo>
                      <a:pt x="635" y="2308"/>
                    </a:lnTo>
                    <a:lnTo>
                      <a:pt x="1224" y="2211"/>
                    </a:lnTo>
                    <a:lnTo>
                      <a:pt x="1106" y="2017"/>
                    </a:lnTo>
                    <a:lnTo>
                      <a:pt x="2212" y="1203"/>
                    </a:lnTo>
                    <a:lnTo>
                      <a:pt x="3176" y="698"/>
                    </a:lnTo>
                    <a:lnTo>
                      <a:pt x="4635" y="0"/>
                    </a:lnTo>
                    <a:lnTo>
                      <a:pt x="6941" y="194"/>
                    </a:lnTo>
                    <a:lnTo>
                      <a:pt x="6212" y="504"/>
                    </a:lnTo>
                    <a:lnTo>
                      <a:pt x="5129" y="989"/>
                    </a:lnTo>
                    <a:lnTo>
                      <a:pt x="4047" y="1707"/>
                    </a:lnTo>
                    <a:lnTo>
                      <a:pt x="4047" y="2308"/>
                    </a:lnTo>
                    <a:lnTo>
                      <a:pt x="3412" y="3123"/>
                    </a:lnTo>
                    <a:lnTo>
                      <a:pt x="3765" y="3919"/>
                    </a:lnTo>
                    <a:lnTo>
                      <a:pt x="2447" y="4597"/>
                    </a:lnTo>
                    <a:lnTo>
                      <a:pt x="3671" y="4714"/>
                    </a:lnTo>
                    <a:lnTo>
                      <a:pt x="4635" y="3802"/>
                    </a:lnTo>
                    <a:lnTo>
                      <a:pt x="4141" y="3608"/>
                    </a:lnTo>
                    <a:lnTo>
                      <a:pt x="4635" y="2813"/>
                    </a:lnTo>
                    <a:lnTo>
                      <a:pt x="5129" y="2619"/>
                    </a:lnTo>
                    <a:lnTo>
                      <a:pt x="5365" y="2017"/>
                    </a:lnTo>
                    <a:lnTo>
                      <a:pt x="6212" y="1513"/>
                    </a:lnTo>
                    <a:lnTo>
                      <a:pt x="7318" y="989"/>
                    </a:lnTo>
                    <a:lnTo>
                      <a:pt x="9506" y="912"/>
                    </a:lnTo>
                    <a:lnTo>
                      <a:pt x="9247" y="1513"/>
                    </a:lnTo>
                    <a:lnTo>
                      <a:pt x="9506" y="1804"/>
                    </a:lnTo>
                    <a:lnTo>
                      <a:pt x="9153" y="2619"/>
                    </a:lnTo>
                    <a:lnTo>
                      <a:pt x="8188" y="3802"/>
                    </a:lnTo>
                    <a:lnTo>
                      <a:pt x="9153" y="3317"/>
                    </a:lnTo>
                    <a:lnTo>
                      <a:pt x="9506" y="3414"/>
                    </a:lnTo>
                    <a:lnTo>
                      <a:pt x="10494" y="3802"/>
                    </a:lnTo>
                    <a:lnTo>
                      <a:pt x="10353" y="3317"/>
                    </a:lnTo>
                    <a:lnTo>
                      <a:pt x="11082" y="3007"/>
                    </a:lnTo>
                    <a:lnTo>
                      <a:pt x="11812" y="3123"/>
                    </a:lnTo>
                    <a:lnTo>
                      <a:pt x="13059" y="3414"/>
                    </a:lnTo>
                    <a:lnTo>
                      <a:pt x="13294" y="3919"/>
                    </a:lnTo>
                    <a:lnTo>
                      <a:pt x="12329" y="4113"/>
                    </a:lnTo>
                    <a:lnTo>
                      <a:pt x="13059" y="4403"/>
                    </a:lnTo>
                    <a:lnTo>
                      <a:pt x="12329" y="4714"/>
                    </a:lnTo>
                    <a:lnTo>
                      <a:pt x="13388" y="4908"/>
                    </a:lnTo>
                    <a:lnTo>
                      <a:pt x="13647" y="5723"/>
                    </a:lnTo>
                    <a:lnTo>
                      <a:pt x="14400" y="5121"/>
                    </a:lnTo>
                    <a:lnTo>
                      <a:pt x="14988" y="5432"/>
                    </a:lnTo>
                    <a:lnTo>
                      <a:pt x="15224" y="5917"/>
                    </a:lnTo>
                    <a:lnTo>
                      <a:pt x="15224" y="6421"/>
                    </a:lnTo>
                    <a:lnTo>
                      <a:pt x="15953" y="6828"/>
                    </a:lnTo>
                    <a:lnTo>
                      <a:pt x="16565" y="7333"/>
                    </a:lnTo>
                    <a:lnTo>
                      <a:pt x="15953" y="7818"/>
                    </a:lnTo>
                    <a:lnTo>
                      <a:pt x="16824" y="7818"/>
                    </a:lnTo>
                    <a:lnTo>
                      <a:pt x="17176" y="8516"/>
                    </a:lnTo>
                    <a:lnTo>
                      <a:pt x="15835" y="8632"/>
                    </a:lnTo>
                    <a:lnTo>
                      <a:pt x="17435" y="9350"/>
                    </a:lnTo>
                    <a:lnTo>
                      <a:pt x="16565" y="9350"/>
                    </a:lnTo>
                    <a:lnTo>
                      <a:pt x="15600" y="9641"/>
                    </a:lnTo>
                    <a:lnTo>
                      <a:pt x="16188" y="10223"/>
                    </a:lnTo>
                    <a:lnTo>
                      <a:pt x="16824" y="11057"/>
                    </a:lnTo>
                    <a:lnTo>
                      <a:pt x="18024" y="11445"/>
                    </a:lnTo>
                    <a:lnTo>
                      <a:pt x="18400" y="12726"/>
                    </a:lnTo>
                    <a:lnTo>
                      <a:pt x="19365" y="12726"/>
                    </a:lnTo>
                    <a:lnTo>
                      <a:pt x="19976" y="13036"/>
                    </a:lnTo>
                    <a:lnTo>
                      <a:pt x="19741" y="13560"/>
                    </a:lnTo>
                    <a:lnTo>
                      <a:pt x="18541" y="14355"/>
                    </a:lnTo>
                    <a:lnTo>
                      <a:pt x="17529" y="14665"/>
                    </a:lnTo>
                    <a:lnTo>
                      <a:pt x="16941" y="15655"/>
                    </a:lnTo>
                    <a:lnTo>
                      <a:pt x="16188" y="14956"/>
                    </a:lnTo>
                    <a:lnTo>
                      <a:pt x="15600" y="13851"/>
                    </a:lnTo>
                    <a:lnTo>
                      <a:pt x="15224" y="13036"/>
                    </a:lnTo>
                    <a:lnTo>
                      <a:pt x="14400" y="13036"/>
                    </a:lnTo>
                    <a:lnTo>
                      <a:pt x="14635" y="13637"/>
                    </a:lnTo>
                    <a:lnTo>
                      <a:pt x="13647" y="13851"/>
                    </a:lnTo>
                    <a:lnTo>
                      <a:pt x="14024" y="14859"/>
                    </a:lnTo>
                    <a:lnTo>
                      <a:pt x="14635" y="15655"/>
                    </a:lnTo>
                    <a:lnTo>
                      <a:pt x="15459" y="16450"/>
                    </a:lnTo>
                    <a:lnTo>
                      <a:pt x="15600" y="17769"/>
                    </a:lnTo>
                    <a:lnTo>
                      <a:pt x="14988" y="18661"/>
                    </a:lnTo>
                    <a:lnTo>
                      <a:pt x="14635" y="19069"/>
                    </a:lnTo>
                    <a:lnTo>
                      <a:pt x="14024" y="18661"/>
                    </a:lnTo>
                    <a:lnTo>
                      <a:pt x="13059" y="17866"/>
                    </a:lnTo>
                    <a:lnTo>
                      <a:pt x="11694" y="16954"/>
                    </a:lnTo>
                    <a:lnTo>
                      <a:pt x="12424" y="18351"/>
                    </a:lnTo>
                    <a:lnTo>
                      <a:pt x="13294" y="19379"/>
                    </a:lnTo>
                    <a:lnTo>
                      <a:pt x="13294" y="199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4" name="Freeform 65"/>
              <p:cNvSpPr>
                <a:spLocks/>
              </p:cNvSpPr>
              <p:nvPr/>
            </p:nvSpPr>
            <p:spPr bwMode="auto">
              <a:xfrm>
                <a:off x="3257550" y="1119188"/>
                <a:ext cx="769938" cy="457200"/>
              </a:xfrm>
              <a:custGeom>
                <a:avLst/>
                <a:gdLst>
                  <a:gd name="T0" fmla="*/ 4106 w 20000"/>
                  <a:gd name="T1" fmla="*/ 19667 h 20000"/>
                  <a:gd name="T2" fmla="*/ 4270 w 20000"/>
                  <a:gd name="T3" fmla="*/ 18835 h 20000"/>
                  <a:gd name="T4" fmla="*/ 3397 w 20000"/>
                  <a:gd name="T5" fmla="*/ 18946 h 20000"/>
                  <a:gd name="T6" fmla="*/ 758 w 20000"/>
                  <a:gd name="T7" fmla="*/ 18086 h 20000"/>
                  <a:gd name="T8" fmla="*/ 66 w 20000"/>
                  <a:gd name="T9" fmla="*/ 16949 h 20000"/>
                  <a:gd name="T10" fmla="*/ 1105 w 20000"/>
                  <a:gd name="T11" fmla="*/ 15506 h 20000"/>
                  <a:gd name="T12" fmla="*/ 2045 w 20000"/>
                  <a:gd name="T13" fmla="*/ 15090 h 20000"/>
                  <a:gd name="T14" fmla="*/ 2885 w 20000"/>
                  <a:gd name="T15" fmla="*/ 14064 h 20000"/>
                  <a:gd name="T16" fmla="*/ 3149 w 20000"/>
                  <a:gd name="T17" fmla="*/ 16227 h 20000"/>
                  <a:gd name="T18" fmla="*/ 4946 w 20000"/>
                  <a:gd name="T19" fmla="*/ 15090 h 20000"/>
                  <a:gd name="T20" fmla="*/ 3842 w 20000"/>
                  <a:gd name="T21" fmla="*/ 15201 h 20000"/>
                  <a:gd name="T22" fmla="*/ 5375 w 20000"/>
                  <a:gd name="T23" fmla="*/ 12067 h 20000"/>
                  <a:gd name="T24" fmla="*/ 6134 w 20000"/>
                  <a:gd name="T25" fmla="*/ 12483 h 20000"/>
                  <a:gd name="T26" fmla="*/ 6051 w 20000"/>
                  <a:gd name="T27" fmla="*/ 11623 h 20000"/>
                  <a:gd name="T28" fmla="*/ 5622 w 20000"/>
                  <a:gd name="T29" fmla="*/ 9071 h 20000"/>
                  <a:gd name="T30" fmla="*/ 6562 w 20000"/>
                  <a:gd name="T31" fmla="*/ 7490 h 20000"/>
                  <a:gd name="T32" fmla="*/ 7420 w 20000"/>
                  <a:gd name="T33" fmla="*/ 9487 h 20000"/>
                  <a:gd name="T34" fmla="*/ 8359 w 20000"/>
                  <a:gd name="T35" fmla="*/ 10208 h 20000"/>
                  <a:gd name="T36" fmla="*/ 7683 w 20000"/>
                  <a:gd name="T37" fmla="*/ 8044 h 20000"/>
                  <a:gd name="T38" fmla="*/ 9728 w 20000"/>
                  <a:gd name="T39" fmla="*/ 7906 h 20000"/>
                  <a:gd name="T40" fmla="*/ 10585 w 20000"/>
                  <a:gd name="T41" fmla="*/ 6907 h 20000"/>
                  <a:gd name="T42" fmla="*/ 10404 w 20000"/>
                  <a:gd name="T43" fmla="*/ 6186 h 20000"/>
                  <a:gd name="T44" fmla="*/ 7585 w 20000"/>
                  <a:gd name="T45" fmla="*/ 7184 h 20000"/>
                  <a:gd name="T46" fmla="*/ 7585 w 20000"/>
                  <a:gd name="T47" fmla="*/ 5603 h 20000"/>
                  <a:gd name="T48" fmla="*/ 7848 w 20000"/>
                  <a:gd name="T49" fmla="*/ 5049 h 20000"/>
                  <a:gd name="T50" fmla="*/ 5622 w 20000"/>
                  <a:gd name="T51" fmla="*/ 4882 h 20000"/>
                  <a:gd name="T52" fmla="*/ 5375 w 20000"/>
                  <a:gd name="T53" fmla="*/ 4161 h 20000"/>
                  <a:gd name="T54" fmla="*/ 5787 w 20000"/>
                  <a:gd name="T55" fmla="*/ 2746 h 20000"/>
                  <a:gd name="T56" fmla="*/ 7238 w 20000"/>
                  <a:gd name="T57" fmla="*/ 1886 h 20000"/>
                  <a:gd name="T58" fmla="*/ 8524 w 20000"/>
                  <a:gd name="T59" fmla="*/ 1886 h 20000"/>
                  <a:gd name="T60" fmla="*/ 9052 w 20000"/>
                  <a:gd name="T61" fmla="*/ 1165 h 20000"/>
                  <a:gd name="T62" fmla="*/ 10585 w 20000"/>
                  <a:gd name="T63" fmla="*/ 1165 h 20000"/>
                  <a:gd name="T64" fmla="*/ 11261 w 20000"/>
                  <a:gd name="T65" fmla="*/ 3024 h 20000"/>
                  <a:gd name="T66" fmla="*/ 12119 w 20000"/>
                  <a:gd name="T67" fmla="*/ 444 h 20000"/>
                  <a:gd name="T68" fmla="*/ 13916 w 20000"/>
                  <a:gd name="T69" fmla="*/ 2330 h 20000"/>
                  <a:gd name="T70" fmla="*/ 15268 w 20000"/>
                  <a:gd name="T71" fmla="*/ 749 h 20000"/>
                  <a:gd name="T72" fmla="*/ 15878 w 20000"/>
                  <a:gd name="T73" fmla="*/ 860 h 20000"/>
                  <a:gd name="T74" fmla="*/ 16373 w 20000"/>
                  <a:gd name="T75" fmla="*/ 1581 h 20000"/>
                  <a:gd name="T76" fmla="*/ 17246 w 20000"/>
                  <a:gd name="T77" fmla="*/ 860 h 20000"/>
                  <a:gd name="T78" fmla="*/ 18434 w 20000"/>
                  <a:gd name="T79" fmla="*/ 2330 h 20000"/>
                  <a:gd name="T80" fmla="*/ 18434 w 20000"/>
                  <a:gd name="T81" fmla="*/ 3024 h 20000"/>
                  <a:gd name="T82" fmla="*/ 19984 w 20000"/>
                  <a:gd name="T83" fmla="*/ 5049 h 20000"/>
                  <a:gd name="T84" fmla="*/ 18434 w 20000"/>
                  <a:gd name="T85" fmla="*/ 6463 h 20000"/>
                  <a:gd name="T86" fmla="*/ 15697 w 20000"/>
                  <a:gd name="T87" fmla="*/ 6768 h 20000"/>
                  <a:gd name="T88" fmla="*/ 17659 w 20000"/>
                  <a:gd name="T89" fmla="*/ 7184 h 20000"/>
                  <a:gd name="T90" fmla="*/ 15268 w 20000"/>
                  <a:gd name="T91" fmla="*/ 8766 h 20000"/>
                  <a:gd name="T92" fmla="*/ 13735 w 20000"/>
                  <a:gd name="T93" fmla="*/ 10208 h 20000"/>
                  <a:gd name="T94" fmla="*/ 11954 w 20000"/>
                  <a:gd name="T95" fmla="*/ 11789 h 20000"/>
                  <a:gd name="T96" fmla="*/ 9893 w 20000"/>
                  <a:gd name="T97" fmla="*/ 12067 h 20000"/>
                  <a:gd name="T98" fmla="*/ 8112 w 20000"/>
                  <a:gd name="T99" fmla="*/ 12926 h 20000"/>
                  <a:gd name="T100" fmla="*/ 9629 w 20000"/>
                  <a:gd name="T101" fmla="*/ 13953 h 20000"/>
                  <a:gd name="T102" fmla="*/ 8524 w 20000"/>
                  <a:gd name="T103" fmla="*/ 15784 h 20000"/>
                  <a:gd name="T104" fmla="*/ 6991 w 20000"/>
                  <a:gd name="T105" fmla="*/ 16505 h 20000"/>
                  <a:gd name="T106" fmla="*/ 5458 w 20000"/>
                  <a:gd name="T107" fmla="*/ 16949 h 20000"/>
                  <a:gd name="T108" fmla="*/ 4683 w 20000"/>
                  <a:gd name="T109" fmla="*/ 16949 h 20000"/>
                  <a:gd name="T110" fmla="*/ 6298 w 20000"/>
                  <a:gd name="T111" fmla="*/ 18086 h 20000"/>
                  <a:gd name="T112" fmla="*/ 5029 w 20000"/>
                  <a:gd name="T113" fmla="*/ 199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00" h="20000">
                    <a:moveTo>
                      <a:pt x="5029" y="19972"/>
                    </a:moveTo>
                    <a:lnTo>
                      <a:pt x="4106" y="19667"/>
                    </a:lnTo>
                    <a:lnTo>
                      <a:pt x="4336" y="19223"/>
                    </a:lnTo>
                    <a:lnTo>
                      <a:pt x="4270" y="18835"/>
                    </a:lnTo>
                    <a:lnTo>
                      <a:pt x="3842" y="18086"/>
                    </a:lnTo>
                    <a:lnTo>
                      <a:pt x="3397" y="18946"/>
                    </a:lnTo>
                    <a:lnTo>
                      <a:pt x="1880" y="18835"/>
                    </a:lnTo>
                    <a:lnTo>
                      <a:pt x="758" y="18086"/>
                    </a:lnTo>
                    <a:lnTo>
                      <a:pt x="0" y="17365"/>
                    </a:lnTo>
                    <a:lnTo>
                      <a:pt x="66" y="16949"/>
                    </a:lnTo>
                    <a:lnTo>
                      <a:pt x="495" y="16227"/>
                    </a:lnTo>
                    <a:lnTo>
                      <a:pt x="1105" y="15506"/>
                    </a:lnTo>
                    <a:lnTo>
                      <a:pt x="2045" y="16227"/>
                    </a:lnTo>
                    <a:lnTo>
                      <a:pt x="2045" y="15090"/>
                    </a:lnTo>
                    <a:lnTo>
                      <a:pt x="2209" y="14064"/>
                    </a:lnTo>
                    <a:lnTo>
                      <a:pt x="2885" y="14064"/>
                    </a:lnTo>
                    <a:lnTo>
                      <a:pt x="2984" y="15201"/>
                    </a:lnTo>
                    <a:lnTo>
                      <a:pt x="3149" y="16227"/>
                    </a:lnTo>
                    <a:lnTo>
                      <a:pt x="3842" y="16227"/>
                    </a:lnTo>
                    <a:lnTo>
                      <a:pt x="4946" y="15090"/>
                    </a:lnTo>
                    <a:lnTo>
                      <a:pt x="4518" y="15090"/>
                    </a:lnTo>
                    <a:lnTo>
                      <a:pt x="3842" y="15201"/>
                    </a:lnTo>
                    <a:lnTo>
                      <a:pt x="4782" y="11623"/>
                    </a:lnTo>
                    <a:lnTo>
                      <a:pt x="5375" y="12067"/>
                    </a:lnTo>
                    <a:lnTo>
                      <a:pt x="5886" y="13204"/>
                    </a:lnTo>
                    <a:lnTo>
                      <a:pt x="6134" y="12483"/>
                    </a:lnTo>
                    <a:lnTo>
                      <a:pt x="6744" y="11789"/>
                    </a:lnTo>
                    <a:lnTo>
                      <a:pt x="6051" y="11623"/>
                    </a:lnTo>
                    <a:lnTo>
                      <a:pt x="5787" y="10624"/>
                    </a:lnTo>
                    <a:lnTo>
                      <a:pt x="5622" y="9071"/>
                    </a:lnTo>
                    <a:lnTo>
                      <a:pt x="5886" y="7601"/>
                    </a:lnTo>
                    <a:lnTo>
                      <a:pt x="6562" y="7490"/>
                    </a:lnTo>
                    <a:lnTo>
                      <a:pt x="7172" y="7906"/>
                    </a:lnTo>
                    <a:lnTo>
                      <a:pt x="7420" y="9487"/>
                    </a:lnTo>
                    <a:lnTo>
                      <a:pt x="7585" y="10902"/>
                    </a:lnTo>
                    <a:lnTo>
                      <a:pt x="8359" y="10208"/>
                    </a:lnTo>
                    <a:lnTo>
                      <a:pt x="7848" y="9182"/>
                    </a:lnTo>
                    <a:lnTo>
                      <a:pt x="7683" y="8044"/>
                    </a:lnTo>
                    <a:lnTo>
                      <a:pt x="8359" y="8044"/>
                    </a:lnTo>
                    <a:lnTo>
                      <a:pt x="9728" y="7906"/>
                    </a:lnTo>
                    <a:lnTo>
                      <a:pt x="11261" y="7184"/>
                    </a:lnTo>
                    <a:lnTo>
                      <a:pt x="10585" y="6907"/>
                    </a:lnTo>
                    <a:lnTo>
                      <a:pt x="11954" y="5326"/>
                    </a:lnTo>
                    <a:lnTo>
                      <a:pt x="10404" y="6186"/>
                    </a:lnTo>
                    <a:lnTo>
                      <a:pt x="9052" y="7490"/>
                    </a:lnTo>
                    <a:lnTo>
                      <a:pt x="7585" y="7184"/>
                    </a:lnTo>
                    <a:lnTo>
                      <a:pt x="6744" y="6463"/>
                    </a:lnTo>
                    <a:lnTo>
                      <a:pt x="7585" y="5603"/>
                    </a:lnTo>
                    <a:lnTo>
                      <a:pt x="9464" y="5049"/>
                    </a:lnTo>
                    <a:lnTo>
                      <a:pt x="7848" y="5049"/>
                    </a:lnTo>
                    <a:lnTo>
                      <a:pt x="6496" y="6019"/>
                    </a:lnTo>
                    <a:lnTo>
                      <a:pt x="5622" y="4882"/>
                    </a:lnTo>
                    <a:lnTo>
                      <a:pt x="8524" y="4438"/>
                    </a:lnTo>
                    <a:lnTo>
                      <a:pt x="5375" y="4161"/>
                    </a:lnTo>
                    <a:lnTo>
                      <a:pt x="7420" y="3190"/>
                    </a:lnTo>
                    <a:lnTo>
                      <a:pt x="5787" y="2746"/>
                    </a:lnTo>
                    <a:lnTo>
                      <a:pt x="5787" y="1997"/>
                    </a:lnTo>
                    <a:lnTo>
                      <a:pt x="7238" y="1886"/>
                    </a:lnTo>
                    <a:lnTo>
                      <a:pt x="8277" y="1442"/>
                    </a:lnTo>
                    <a:lnTo>
                      <a:pt x="8524" y="1886"/>
                    </a:lnTo>
                    <a:lnTo>
                      <a:pt x="9629" y="2330"/>
                    </a:lnTo>
                    <a:lnTo>
                      <a:pt x="9052" y="1165"/>
                    </a:lnTo>
                    <a:lnTo>
                      <a:pt x="9893" y="444"/>
                    </a:lnTo>
                    <a:lnTo>
                      <a:pt x="10585" y="1165"/>
                    </a:lnTo>
                    <a:lnTo>
                      <a:pt x="10404" y="2330"/>
                    </a:lnTo>
                    <a:lnTo>
                      <a:pt x="11261" y="3024"/>
                    </a:lnTo>
                    <a:lnTo>
                      <a:pt x="11179" y="1442"/>
                    </a:lnTo>
                    <a:lnTo>
                      <a:pt x="12119" y="444"/>
                    </a:lnTo>
                    <a:lnTo>
                      <a:pt x="13306" y="166"/>
                    </a:lnTo>
                    <a:lnTo>
                      <a:pt x="13916" y="2330"/>
                    </a:lnTo>
                    <a:lnTo>
                      <a:pt x="13982" y="0"/>
                    </a:lnTo>
                    <a:lnTo>
                      <a:pt x="15268" y="749"/>
                    </a:lnTo>
                    <a:lnTo>
                      <a:pt x="15449" y="2330"/>
                    </a:lnTo>
                    <a:lnTo>
                      <a:pt x="15878" y="860"/>
                    </a:lnTo>
                    <a:lnTo>
                      <a:pt x="16208" y="749"/>
                    </a:lnTo>
                    <a:lnTo>
                      <a:pt x="16373" y="1581"/>
                    </a:lnTo>
                    <a:lnTo>
                      <a:pt x="16636" y="860"/>
                    </a:lnTo>
                    <a:lnTo>
                      <a:pt x="17246" y="860"/>
                    </a:lnTo>
                    <a:lnTo>
                      <a:pt x="17246" y="1886"/>
                    </a:lnTo>
                    <a:lnTo>
                      <a:pt x="18434" y="2330"/>
                    </a:lnTo>
                    <a:lnTo>
                      <a:pt x="17082" y="3190"/>
                    </a:lnTo>
                    <a:lnTo>
                      <a:pt x="18434" y="3024"/>
                    </a:lnTo>
                    <a:lnTo>
                      <a:pt x="19472" y="3024"/>
                    </a:lnTo>
                    <a:lnTo>
                      <a:pt x="19984" y="5049"/>
                    </a:lnTo>
                    <a:lnTo>
                      <a:pt x="19472" y="5742"/>
                    </a:lnTo>
                    <a:lnTo>
                      <a:pt x="18434" y="6463"/>
                    </a:lnTo>
                    <a:lnTo>
                      <a:pt x="17246" y="6768"/>
                    </a:lnTo>
                    <a:lnTo>
                      <a:pt x="15697" y="6768"/>
                    </a:lnTo>
                    <a:lnTo>
                      <a:pt x="16208" y="7490"/>
                    </a:lnTo>
                    <a:lnTo>
                      <a:pt x="17659" y="7184"/>
                    </a:lnTo>
                    <a:lnTo>
                      <a:pt x="16142" y="8350"/>
                    </a:lnTo>
                    <a:lnTo>
                      <a:pt x="15268" y="8766"/>
                    </a:lnTo>
                    <a:lnTo>
                      <a:pt x="14427" y="9487"/>
                    </a:lnTo>
                    <a:lnTo>
                      <a:pt x="13735" y="10208"/>
                    </a:lnTo>
                    <a:lnTo>
                      <a:pt x="12976" y="11345"/>
                    </a:lnTo>
                    <a:lnTo>
                      <a:pt x="11954" y="11789"/>
                    </a:lnTo>
                    <a:lnTo>
                      <a:pt x="10849" y="12205"/>
                    </a:lnTo>
                    <a:lnTo>
                      <a:pt x="9893" y="12067"/>
                    </a:lnTo>
                    <a:lnTo>
                      <a:pt x="9052" y="11789"/>
                    </a:lnTo>
                    <a:lnTo>
                      <a:pt x="8112" y="12926"/>
                    </a:lnTo>
                    <a:lnTo>
                      <a:pt x="9052" y="12926"/>
                    </a:lnTo>
                    <a:lnTo>
                      <a:pt x="9629" y="13953"/>
                    </a:lnTo>
                    <a:lnTo>
                      <a:pt x="8953" y="15090"/>
                    </a:lnTo>
                    <a:lnTo>
                      <a:pt x="8524" y="15784"/>
                    </a:lnTo>
                    <a:lnTo>
                      <a:pt x="7238" y="15784"/>
                    </a:lnTo>
                    <a:lnTo>
                      <a:pt x="6991" y="16505"/>
                    </a:lnTo>
                    <a:lnTo>
                      <a:pt x="6496" y="16949"/>
                    </a:lnTo>
                    <a:lnTo>
                      <a:pt x="5458" y="16949"/>
                    </a:lnTo>
                    <a:lnTo>
                      <a:pt x="5029" y="15784"/>
                    </a:lnTo>
                    <a:lnTo>
                      <a:pt x="4683" y="16949"/>
                    </a:lnTo>
                    <a:lnTo>
                      <a:pt x="5622" y="18086"/>
                    </a:lnTo>
                    <a:lnTo>
                      <a:pt x="6298" y="18086"/>
                    </a:lnTo>
                    <a:lnTo>
                      <a:pt x="5622" y="19528"/>
                    </a:lnTo>
                    <a:lnTo>
                      <a:pt x="5029" y="1997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5" name="Freeform 64"/>
              <p:cNvSpPr>
                <a:spLocks/>
              </p:cNvSpPr>
              <p:nvPr/>
            </p:nvSpPr>
            <p:spPr bwMode="auto">
              <a:xfrm>
                <a:off x="2411413" y="1552575"/>
                <a:ext cx="374650" cy="290513"/>
              </a:xfrm>
              <a:custGeom>
                <a:avLst/>
                <a:gdLst>
                  <a:gd name="T0" fmla="*/ 14721 w 20000"/>
                  <a:gd name="T1" fmla="*/ 19956 h 20000"/>
                  <a:gd name="T2" fmla="*/ 12081 w 20000"/>
                  <a:gd name="T3" fmla="*/ 18162 h 20000"/>
                  <a:gd name="T4" fmla="*/ 10694 w 20000"/>
                  <a:gd name="T5" fmla="*/ 17637 h 20000"/>
                  <a:gd name="T6" fmla="*/ 6633 w 20000"/>
                  <a:gd name="T7" fmla="*/ 18337 h 20000"/>
                  <a:gd name="T8" fmla="*/ 2437 w 20000"/>
                  <a:gd name="T9" fmla="*/ 17199 h 20000"/>
                  <a:gd name="T10" fmla="*/ 2809 w 20000"/>
                  <a:gd name="T11" fmla="*/ 15186 h 20000"/>
                  <a:gd name="T12" fmla="*/ 135 w 20000"/>
                  <a:gd name="T13" fmla="*/ 13348 h 20000"/>
                  <a:gd name="T14" fmla="*/ 135 w 20000"/>
                  <a:gd name="T15" fmla="*/ 10635 h 20000"/>
                  <a:gd name="T16" fmla="*/ 4535 w 20000"/>
                  <a:gd name="T17" fmla="*/ 11116 h 20000"/>
                  <a:gd name="T18" fmla="*/ 7885 w 20000"/>
                  <a:gd name="T19" fmla="*/ 12254 h 20000"/>
                  <a:gd name="T20" fmla="*/ 5245 w 20000"/>
                  <a:gd name="T21" fmla="*/ 9497 h 20000"/>
                  <a:gd name="T22" fmla="*/ 1015 w 20000"/>
                  <a:gd name="T23" fmla="*/ 8840 h 20000"/>
                  <a:gd name="T24" fmla="*/ 1387 w 20000"/>
                  <a:gd name="T25" fmla="*/ 6565 h 20000"/>
                  <a:gd name="T26" fmla="*/ 5956 w 20000"/>
                  <a:gd name="T27" fmla="*/ 6565 h 20000"/>
                  <a:gd name="T28" fmla="*/ 2809 w 20000"/>
                  <a:gd name="T29" fmla="*/ 5208 h 20000"/>
                  <a:gd name="T30" fmla="*/ 2267 w 20000"/>
                  <a:gd name="T31" fmla="*/ 3414 h 20000"/>
                  <a:gd name="T32" fmla="*/ 4196 w 20000"/>
                  <a:gd name="T33" fmla="*/ 2713 h 20000"/>
                  <a:gd name="T34" fmla="*/ 4535 w 20000"/>
                  <a:gd name="T35" fmla="*/ 1619 h 20000"/>
                  <a:gd name="T36" fmla="*/ 6971 w 20000"/>
                  <a:gd name="T37" fmla="*/ 919 h 20000"/>
                  <a:gd name="T38" fmla="*/ 10694 w 20000"/>
                  <a:gd name="T39" fmla="*/ 0 h 20000"/>
                  <a:gd name="T40" fmla="*/ 8900 w 20000"/>
                  <a:gd name="T41" fmla="*/ 2932 h 20000"/>
                  <a:gd name="T42" fmla="*/ 11540 w 20000"/>
                  <a:gd name="T43" fmla="*/ 2713 h 20000"/>
                  <a:gd name="T44" fmla="*/ 12420 w 20000"/>
                  <a:gd name="T45" fmla="*/ 4551 h 20000"/>
                  <a:gd name="T46" fmla="*/ 12589 w 20000"/>
                  <a:gd name="T47" fmla="*/ 5208 h 20000"/>
                  <a:gd name="T48" fmla="*/ 14349 w 20000"/>
                  <a:gd name="T49" fmla="*/ 4551 h 20000"/>
                  <a:gd name="T50" fmla="*/ 14856 w 20000"/>
                  <a:gd name="T51" fmla="*/ 3414 h 20000"/>
                  <a:gd name="T52" fmla="*/ 14856 w 20000"/>
                  <a:gd name="T53" fmla="*/ 6565 h 20000"/>
                  <a:gd name="T54" fmla="*/ 14856 w 20000"/>
                  <a:gd name="T55" fmla="*/ 8840 h 20000"/>
                  <a:gd name="T56" fmla="*/ 16311 w 20000"/>
                  <a:gd name="T57" fmla="*/ 6346 h 20000"/>
                  <a:gd name="T58" fmla="*/ 18037 w 20000"/>
                  <a:gd name="T59" fmla="*/ 2932 h 20000"/>
                  <a:gd name="T60" fmla="*/ 19425 w 20000"/>
                  <a:gd name="T61" fmla="*/ 4770 h 20000"/>
                  <a:gd name="T62" fmla="*/ 19289 w 20000"/>
                  <a:gd name="T63" fmla="*/ 7484 h 20000"/>
                  <a:gd name="T64" fmla="*/ 18037 w 20000"/>
                  <a:gd name="T65" fmla="*/ 10635 h 20000"/>
                  <a:gd name="T66" fmla="*/ 17834 w 20000"/>
                  <a:gd name="T67" fmla="*/ 12910 h 20000"/>
                  <a:gd name="T68" fmla="*/ 18579 w 20000"/>
                  <a:gd name="T69" fmla="*/ 14048 h 20000"/>
                  <a:gd name="T70" fmla="*/ 19966 w 20000"/>
                  <a:gd name="T71" fmla="*/ 16543 h 20000"/>
                  <a:gd name="T72" fmla="*/ 18376 w 20000"/>
                  <a:gd name="T73" fmla="*/ 17199 h 20000"/>
                  <a:gd name="T74" fmla="*/ 16311 w 20000"/>
                  <a:gd name="T75" fmla="*/ 17199 h 20000"/>
                  <a:gd name="T76" fmla="*/ 17157 w 20000"/>
                  <a:gd name="T77" fmla="*/ 18337 h 20000"/>
                  <a:gd name="T78" fmla="*/ 16108 w 20000"/>
                  <a:gd name="T79" fmla="*/ 199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16108" y="19956"/>
                    </a:moveTo>
                    <a:lnTo>
                      <a:pt x="14721" y="19956"/>
                    </a:lnTo>
                    <a:lnTo>
                      <a:pt x="12927" y="19037"/>
                    </a:lnTo>
                    <a:lnTo>
                      <a:pt x="12081" y="18162"/>
                    </a:lnTo>
                    <a:lnTo>
                      <a:pt x="12081" y="16543"/>
                    </a:lnTo>
                    <a:lnTo>
                      <a:pt x="10694" y="17637"/>
                    </a:lnTo>
                    <a:lnTo>
                      <a:pt x="8900" y="18162"/>
                    </a:lnTo>
                    <a:lnTo>
                      <a:pt x="6633" y="18337"/>
                    </a:lnTo>
                    <a:lnTo>
                      <a:pt x="4196" y="17637"/>
                    </a:lnTo>
                    <a:lnTo>
                      <a:pt x="2437" y="17199"/>
                    </a:lnTo>
                    <a:lnTo>
                      <a:pt x="2437" y="16105"/>
                    </a:lnTo>
                    <a:lnTo>
                      <a:pt x="2809" y="15186"/>
                    </a:lnTo>
                    <a:lnTo>
                      <a:pt x="1557" y="14048"/>
                    </a:lnTo>
                    <a:lnTo>
                      <a:pt x="135" y="13348"/>
                    </a:lnTo>
                    <a:lnTo>
                      <a:pt x="0" y="11816"/>
                    </a:lnTo>
                    <a:lnTo>
                      <a:pt x="135" y="10635"/>
                    </a:lnTo>
                    <a:lnTo>
                      <a:pt x="2437" y="10635"/>
                    </a:lnTo>
                    <a:lnTo>
                      <a:pt x="4535" y="11116"/>
                    </a:lnTo>
                    <a:lnTo>
                      <a:pt x="5956" y="11816"/>
                    </a:lnTo>
                    <a:lnTo>
                      <a:pt x="7885" y="12254"/>
                    </a:lnTo>
                    <a:lnTo>
                      <a:pt x="7343" y="11335"/>
                    </a:lnTo>
                    <a:lnTo>
                      <a:pt x="5245" y="9497"/>
                    </a:lnTo>
                    <a:lnTo>
                      <a:pt x="3316" y="9497"/>
                    </a:lnTo>
                    <a:lnTo>
                      <a:pt x="1015" y="8840"/>
                    </a:lnTo>
                    <a:lnTo>
                      <a:pt x="880" y="7484"/>
                    </a:lnTo>
                    <a:lnTo>
                      <a:pt x="1387" y="6565"/>
                    </a:lnTo>
                    <a:lnTo>
                      <a:pt x="2978" y="6565"/>
                    </a:lnTo>
                    <a:lnTo>
                      <a:pt x="5956" y="6565"/>
                    </a:lnTo>
                    <a:lnTo>
                      <a:pt x="2267" y="5646"/>
                    </a:lnTo>
                    <a:lnTo>
                      <a:pt x="2809" y="5208"/>
                    </a:lnTo>
                    <a:lnTo>
                      <a:pt x="1557" y="4551"/>
                    </a:lnTo>
                    <a:lnTo>
                      <a:pt x="2267" y="3414"/>
                    </a:lnTo>
                    <a:lnTo>
                      <a:pt x="3316" y="2932"/>
                    </a:lnTo>
                    <a:lnTo>
                      <a:pt x="4196" y="2713"/>
                    </a:lnTo>
                    <a:lnTo>
                      <a:pt x="3858" y="1794"/>
                    </a:lnTo>
                    <a:lnTo>
                      <a:pt x="4535" y="1619"/>
                    </a:lnTo>
                    <a:lnTo>
                      <a:pt x="5584" y="1619"/>
                    </a:lnTo>
                    <a:lnTo>
                      <a:pt x="6971" y="919"/>
                    </a:lnTo>
                    <a:lnTo>
                      <a:pt x="8426" y="438"/>
                    </a:lnTo>
                    <a:lnTo>
                      <a:pt x="10694" y="0"/>
                    </a:lnTo>
                    <a:lnTo>
                      <a:pt x="10355" y="1794"/>
                    </a:lnTo>
                    <a:lnTo>
                      <a:pt x="8900" y="2932"/>
                    </a:lnTo>
                    <a:lnTo>
                      <a:pt x="10694" y="2932"/>
                    </a:lnTo>
                    <a:lnTo>
                      <a:pt x="11540" y="2713"/>
                    </a:lnTo>
                    <a:lnTo>
                      <a:pt x="12589" y="3589"/>
                    </a:lnTo>
                    <a:lnTo>
                      <a:pt x="12420" y="4551"/>
                    </a:lnTo>
                    <a:lnTo>
                      <a:pt x="11201" y="5208"/>
                    </a:lnTo>
                    <a:lnTo>
                      <a:pt x="12589" y="5208"/>
                    </a:lnTo>
                    <a:lnTo>
                      <a:pt x="13841" y="5646"/>
                    </a:lnTo>
                    <a:lnTo>
                      <a:pt x="14349" y="4551"/>
                    </a:lnTo>
                    <a:lnTo>
                      <a:pt x="14349" y="2932"/>
                    </a:lnTo>
                    <a:lnTo>
                      <a:pt x="14856" y="3414"/>
                    </a:lnTo>
                    <a:lnTo>
                      <a:pt x="15601" y="4770"/>
                    </a:lnTo>
                    <a:lnTo>
                      <a:pt x="14856" y="6565"/>
                    </a:lnTo>
                    <a:lnTo>
                      <a:pt x="14349" y="8403"/>
                    </a:lnTo>
                    <a:lnTo>
                      <a:pt x="14856" y="8840"/>
                    </a:lnTo>
                    <a:lnTo>
                      <a:pt x="15770" y="8140"/>
                    </a:lnTo>
                    <a:lnTo>
                      <a:pt x="16311" y="6346"/>
                    </a:lnTo>
                    <a:lnTo>
                      <a:pt x="16988" y="4551"/>
                    </a:lnTo>
                    <a:lnTo>
                      <a:pt x="18037" y="2932"/>
                    </a:lnTo>
                    <a:lnTo>
                      <a:pt x="18917" y="3414"/>
                    </a:lnTo>
                    <a:lnTo>
                      <a:pt x="19425" y="4770"/>
                    </a:lnTo>
                    <a:lnTo>
                      <a:pt x="19797" y="5908"/>
                    </a:lnTo>
                    <a:lnTo>
                      <a:pt x="19289" y="7484"/>
                    </a:lnTo>
                    <a:lnTo>
                      <a:pt x="18579" y="9278"/>
                    </a:lnTo>
                    <a:lnTo>
                      <a:pt x="18037" y="10635"/>
                    </a:lnTo>
                    <a:lnTo>
                      <a:pt x="17496" y="11816"/>
                    </a:lnTo>
                    <a:lnTo>
                      <a:pt x="17834" y="12910"/>
                    </a:lnTo>
                    <a:lnTo>
                      <a:pt x="18376" y="14311"/>
                    </a:lnTo>
                    <a:lnTo>
                      <a:pt x="18579" y="14048"/>
                    </a:lnTo>
                    <a:lnTo>
                      <a:pt x="19289" y="15405"/>
                    </a:lnTo>
                    <a:lnTo>
                      <a:pt x="19966" y="16543"/>
                    </a:lnTo>
                    <a:lnTo>
                      <a:pt x="19289" y="18162"/>
                    </a:lnTo>
                    <a:lnTo>
                      <a:pt x="18376" y="17199"/>
                    </a:lnTo>
                    <a:lnTo>
                      <a:pt x="17157" y="17199"/>
                    </a:lnTo>
                    <a:lnTo>
                      <a:pt x="16311" y="17199"/>
                    </a:lnTo>
                    <a:lnTo>
                      <a:pt x="15770" y="19037"/>
                    </a:lnTo>
                    <a:lnTo>
                      <a:pt x="17157" y="18337"/>
                    </a:lnTo>
                    <a:lnTo>
                      <a:pt x="17157" y="19475"/>
                    </a:lnTo>
                    <a:lnTo>
                      <a:pt x="16108" y="1995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6" name="Freeform 63"/>
              <p:cNvSpPr>
                <a:spLocks/>
              </p:cNvSpPr>
              <p:nvPr/>
            </p:nvSpPr>
            <p:spPr bwMode="auto">
              <a:xfrm>
                <a:off x="3273425" y="1171575"/>
                <a:ext cx="195263" cy="242888"/>
              </a:xfrm>
              <a:custGeom>
                <a:avLst/>
                <a:gdLst>
                  <a:gd name="T0" fmla="*/ 7036 w 20000"/>
                  <a:gd name="T1" fmla="*/ 19948 h 20000"/>
                  <a:gd name="T2" fmla="*/ 3974 w 20000"/>
                  <a:gd name="T3" fmla="*/ 19687 h 20000"/>
                  <a:gd name="T4" fmla="*/ 2671 w 20000"/>
                  <a:gd name="T5" fmla="*/ 19112 h 20000"/>
                  <a:gd name="T6" fmla="*/ 0 w 20000"/>
                  <a:gd name="T7" fmla="*/ 17807 h 20000"/>
                  <a:gd name="T8" fmla="*/ 0 w 20000"/>
                  <a:gd name="T9" fmla="*/ 15352 h 20000"/>
                  <a:gd name="T10" fmla="*/ 2671 w 20000"/>
                  <a:gd name="T11" fmla="*/ 13473 h 20000"/>
                  <a:gd name="T12" fmla="*/ 8404 w 20000"/>
                  <a:gd name="T13" fmla="*/ 14308 h 20000"/>
                  <a:gd name="T14" fmla="*/ 8078 w 20000"/>
                  <a:gd name="T15" fmla="*/ 12167 h 20000"/>
                  <a:gd name="T16" fmla="*/ 3062 w 20000"/>
                  <a:gd name="T17" fmla="*/ 11854 h 20000"/>
                  <a:gd name="T18" fmla="*/ 261 w 20000"/>
                  <a:gd name="T19" fmla="*/ 11332 h 20000"/>
                  <a:gd name="T20" fmla="*/ 3974 w 20000"/>
                  <a:gd name="T21" fmla="*/ 9713 h 20000"/>
                  <a:gd name="T22" fmla="*/ 261 w 20000"/>
                  <a:gd name="T23" fmla="*/ 9713 h 20000"/>
                  <a:gd name="T24" fmla="*/ 2671 w 20000"/>
                  <a:gd name="T25" fmla="*/ 6475 h 20000"/>
                  <a:gd name="T26" fmla="*/ 5407 w 20000"/>
                  <a:gd name="T27" fmla="*/ 7781 h 20000"/>
                  <a:gd name="T28" fmla="*/ 8078 w 20000"/>
                  <a:gd name="T29" fmla="*/ 6475 h 20000"/>
                  <a:gd name="T30" fmla="*/ 5407 w 20000"/>
                  <a:gd name="T31" fmla="*/ 6475 h 20000"/>
                  <a:gd name="T32" fmla="*/ 3974 w 20000"/>
                  <a:gd name="T33" fmla="*/ 5117 h 20000"/>
                  <a:gd name="T34" fmla="*/ 6384 w 20000"/>
                  <a:gd name="T35" fmla="*/ 4021 h 20000"/>
                  <a:gd name="T36" fmla="*/ 9772 w 20000"/>
                  <a:gd name="T37" fmla="*/ 4804 h 20000"/>
                  <a:gd name="T38" fmla="*/ 10749 w 20000"/>
                  <a:gd name="T39" fmla="*/ 4021 h 20000"/>
                  <a:gd name="T40" fmla="*/ 9772 w 20000"/>
                  <a:gd name="T41" fmla="*/ 2977 h 20000"/>
                  <a:gd name="T42" fmla="*/ 11792 w 20000"/>
                  <a:gd name="T43" fmla="*/ 2141 h 20000"/>
                  <a:gd name="T44" fmla="*/ 15505 w 20000"/>
                  <a:gd name="T45" fmla="*/ 0 h 20000"/>
                  <a:gd name="T46" fmla="*/ 17915 w 20000"/>
                  <a:gd name="T47" fmla="*/ 1619 h 20000"/>
                  <a:gd name="T48" fmla="*/ 16873 w 20000"/>
                  <a:gd name="T49" fmla="*/ 3499 h 20000"/>
                  <a:gd name="T50" fmla="*/ 16873 w 20000"/>
                  <a:gd name="T51" fmla="*/ 6162 h 20000"/>
                  <a:gd name="T52" fmla="*/ 17915 w 20000"/>
                  <a:gd name="T53" fmla="*/ 6997 h 20000"/>
                  <a:gd name="T54" fmla="*/ 17264 w 20000"/>
                  <a:gd name="T55" fmla="*/ 9138 h 20000"/>
                  <a:gd name="T56" fmla="*/ 18893 w 20000"/>
                  <a:gd name="T57" fmla="*/ 10548 h 20000"/>
                  <a:gd name="T58" fmla="*/ 16873 w 20000"/>
                  <a:gd name="T59" fmla="*/ 13473 h 20000"/>
                  <a:gd name="T60" fmla="*/ 18893 w 20000"/>
                  <a:gd name="T61" fmla="*/ 12898 h 20000"/>
                  <a:gd name="T62" fmla="*/ 19935 w 20000"/>
                  <a:gd name="T63" fmla="*/ 15614 h 20000"/>
                  <a:gd name="T64" fmla="*/ 18241 w 20000"/>
                  <a:gd name="T65" fmla="*/ 15614 h 20000"/>
                  <a:gd name="T66" fmla="*/ 15505 w 20000"/>
                  <a:gd name="T67" fmla="*/ 16449 h 20000"/>
                  <a:gd name="T68" fmla="*/ 12508 w 20000"/>
                  <a:gd name="T69" fmla="*/ 17493 h 20000"/>
                  <a:gd name="T70" fmla="*/ 13550 w 20000"/>
                  <a:gd name="T71" fmla="*/ 15352 h 20000"/>
                  <a:gd name="T72" fmla="*/ 11140 w 20000"/>
                  <a:gd name="T73" fmla="*/ 16449 h 20000"/>
                  <a:gd name="T74" fmla="*/ 10749 w 20000"/>
                  <a:gd name="T75" fmla="*/ 18329 h 20000"/>
                  <a:gd name="T76" fmla="*/ 9121 w 20000"/>
                  <a:gd name="T77" fmla="*/ 18590 h 20000"/>
                  <a:gd name="T78" fmla="*/ 7036 w 20000"/>
                  <a:gd name="T79" fmla="*/ 1994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7036" y="19948"/>
                    </a:moveTo>
                    <a:lnTo>
                      <a:pt x="3974" y="19687"/>
                    </a:lnTo>
                    <a:lnTo>
                      <a:pt x="2671" y="19112"/>
                    </a:lnTo>
                    <a:lnTo>
                      <a:pt x="0" y="17807"/>
                    </a:lnTo>
                    <a:lnTo>
                      <a:pt x="0" y="15352"/>
                    </a:lnTo>
                    <a:lnTo>
                      <a:pt x="2671" y="13473"/>
                    </a:lnTo>
                    <a:lnTo>
                      <a:pt x="8404" y="14308"/>
                    </a:lnTo>
                    <a:lnTo>
                      <a:pt x="8078" y="12167"/>
                    </a:lnTo>
                    <a:lnTo>
                      <a:pt x="3062" y="11854"/>
                    </a:lnTo>
                    <a:lnTo>
                      <a:pt x="261" y="11332"/>
                    </a:lnTo>
                    <a:lnTo>
                      <a:pt x="3974" y="9713"/>
                    </a:lnTo>
                    <a:lnTo>
                      <a:pt x="261" y="9713"/>
                    </a:lnTo>
                    <a:lnTo>
                      <a:pt x="2671" y="6475"/>
                    </a:lnTo>
                    <a:lnTo>
                      <a:pt x="5407" y="7781"/>
                    </a:lnTo>
                    <a:lnTo>
                      <a:pt x="8078" y="6475"/>
                    </a:lnTo>
                    <a:lnTo>
                      <a:pt x="5407" y="6475"/>
                    </a:lnTo>
                    <a:lnTo>
                      <a:pt x="3974" y="5117"/>
                    </a:lnTo>
                    <a:lnTo>
                      <a:pt x="6384" y="4021"/>
                    </a:lnTo>
                    <a:lnTo>
                      <a:pt x="9772" y="4804"/>
                    </a:lnTo>
                    <a:lnTo>
                      <a:pt x="10749" y="4021"/>
                    </a:lnTo>
                    <a:lnTo>
                      <a:pt x="9772" y="2977"/>
                    </a:lnTo>
                    <a:lnTo>
                      <a:pt x="11792" y="2141"/>
                    </a:lnTo>
                    <a:lnTo>
                      <a:pt x="15505" y="0"/>
                    </a:lnTo>
                    <a:lnTo>
                      <a:pt x="17915" y="1619"/>
                    </a:lnTo>
                    <a:lnTo>
                      <a:pt x="16873" y="3499"/>
                    </a:lnTo>
                    <a:lnTo>
                      <a:pt x="16873" y="6162"/>
                    </a:lnTo>
                    <a:lnTo>
                      <a:pt x="17915" y="6997"/>
                    </a:lnTo>
                    <a:lnTo>
                      <a:pt x="17264" y="9138"/>
                    </a:lnTo>
                    <a:lnTo>
                      <a:pt x="18893" y="10548"/>
                    </a:lnTo>
                    <a:lnTo>
                      <a:pt x="16873" y="13473"/>
                    </a:lnTo>
                    <a:lnTo>
                      <a:pt x="18893" y="12898"/>
                    </a:lnTo>
                    <a:lnTo>
                      <a:pt x="19935" y="15614"/>
                    </a:lnTo>
                    <a:lnTo>
                      <a:pt x="18241" y="15614"/>
                    </a:lnTo>
                    <a:lnTo>
                      <a:pt x="15505" y="16449"/>
                    </a:lnTo>
                    <a:lnTo>
                      <a:pt x="12508" y="17493"/>
                    </a:lnTo>
                    <a:lnTo>
                      <a:pt x="13550" y="15352"/>
                    </a:lnTo>
                    <a:lnTo>
                      <a:pt x="11140" y="16449"/>
                    </a:lnTo>
                    <a:lnTo>
                      <a:pt x="10749" y="18329"/>
                    </a:lnTo>
                    <a:lnTo>
                      <a:pt x="9121" y="18590"/>
                    </a:lnTo>
                    <a:lnTo>
                      <a:pt x="7036" y="199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7" name="Freeform 62"/>
              <p:cNvSpPr>
                <a:spLocks/>
              </p:cNvSpPr>
              <p:nvPr/>
            </p:nvSpPr>
            <p:spPr bwMode="auto">
              <a:xfrm>
                <a:off x="2316163" y="1438275"/>
                <a:ext cx="290512" cy="184150"/>
              </a:xfrm>
              <a:custGeom>
                <a:avLst/>
                <a:gdLst>
                  <a:gd name="T0" fmla="*/ 2495 w 20000"/>
                  <a:gd name="T1" fmla="*/ 19931 h 20000"/>
                  <a:gd name="T2" fmla="*/ 1357 w 20000"/>
                  <a:gd name="T3" fmla="*/ 19931 h 20000"/>
                  <a:gd name="T4" fmla="*/ 1794 w 20000"/>
                  <a:gd name="T5" fmla="*/ 17801 h 20000"/>
                  <a:gd name="T6" fmla="*/ 1794 w 20000"/>
                  <a:gd name="T7" fmla="*/ 16014 h 20000"/>
                  <a:gd name="T8" fmla="*/ 875 w 20000"/>
                  <a:gd name="T9" fmla="*/ 14914 h 20000"/>
                  <a:gd name="T10" fmla="*/ 0 w 20000"/>
                  <a:gd name="T11" fmla="*/ 13127 h 20000"/>
                  <a:gd name="T12" fmla="*/ 2057 w 20000"/>
                  <a:gd name="T13" fmla="*/ 11340 h 20000"/>
                  <a:gd name="T14" fmla="*/ 3151 w 20000"/>
                  <a:gd name="T15" fmla="*/ 9210 h 20000"/>
                  <a:gd name="T16" fmla="*/ 4726 w 20000"/>
                  <a:gd name="T17" fmla="*/ 9210 h 20000"/>
                  <a:gd name="T18" fmla="*/ 4989 w 20000"/>
                  <a:gd name="T19" fmla="*/ 8522 h 20000"/>
                  <a:gd name="T20" fmla="*/ 4726 w 20000"/>
                  <a:gd name="T21" fmla="*/ 7423 h 20000"/>
                  <a:gd name="T22" fmla="*/ 4989 w 20000"/>
                  <a:gd name="T23" fmla="*/ 7423 h 20000"/>
                  <a:gd name="T24" fmla="*/ 5427 w 20000"/>
                  <a:gd name="T25" fmla="*/ 7423 h 20000"/>
                  <a:gd name="T26" fmla="*/ 8403 w 20000"/>
                  <a:gd name="T27" fmla="*/ 4605 h 20000"/>
                  <a:gd name="T28" fmla="*/ 7921 w 20000"/>
                  <a:gd name="T29" fmla="*/ 3162 h 20000"/>
                  <a:gd name="T30" fmla="*/ 9059 w 20000"/>
                  <a:gd name="T31" fmla="*/ 0 h 20000"/>
                  <a:gd name="T32" fmla="*/ 11554 w 20000"/>
                  <a:gd name="T33" fmla="*/ 275 h 20000"/>
                  <a:gd name="T34" fmla="*/ 11991 w 20000"/>
                  <a:gd name="T35" fmla="*/ 1100 h 20000"/>
                  <a:gd name="T36" fmla="*/ 14923 w 20000"/>
                  <a:gd name="T37" fmla="*/ 1787 h 20000"/>
                  <a:gd name="T38" fmla="*/ 14923 w 20000"/>
                  <a:gd name="T39" fmla="*/ 2818 h 20000"/>
                  <a:gd name="T40" fmla="*/ 15624 w 20000"/>
                  <a:gd name="T41" fmla="*/ 3918 h 20000"/>
                  <a:gd name="T42" fmla="*/ 14486 w 20000"/>
                  <a:gd name="T43" fmla="*/ 4948 h 20000"/>
                  <a:gd name="T44" fmla="*/ 16105 w 20000"/>
                  <a:gd name="T45" fmla="*/ 4605 h 20000"/>
                  <a:gd name="T46" fmla="*/ 16280 w 20000"/>
                  <a:gd name="T47" fmla="*/ 4605 h 20000"/>
                  <a:gd name="T48" fmla="*/ 16105 w 20000"/>
                  <a:gd name="T49" fmla="*/ 6392 h 20000"/>
                  <a:gd name="T50" fmla="*/ 17199 w 20000"/>
                  <a:gd name="T51" fmla="*/ 4948 h 20000"/>
                  <a:gd name="T52" fmla="*/ 17199 w 20000"/>
                  <a:gd name="T53" fmla="*/ 4605 h 20000"/>
                  <a:gd name="T54" fmla="*/ 18600 w 20000"/>
                  <a:gd name="T55" fmla="*/ 4948 h 20000"/>
                  <a:gd name="T56" fmla="*/ 19256 w 20000"/>
                  <a:gd name="T57" fmla="*/ 5704 h 20000"/>
                  <a:gd name="T58" fmla="*/ 19256 w 20000"/>
                  <a:gd name="T59" fmla="*/ 9210 h 20000"/>
                  <a:gd name="T60" fmla="*/ 19956 w 20000"/>
                  <a:gd name="T61" fmla="*/ 11340 h 20000"/>
                  <a:gd name="T62" fmla="*/ 18118 w 20000"/>
                  <a:gd name="T63" fmla="*/ 12096 h 20000"/>
                  <a:gd name="T64" fmla="*/ 16105 w 20000"/>
                  <a:gd name="T65" fmla="*/ 12440 h 20000"/>
                  <a:gd name="T66" fmla="*/ 13348 w 20000"/>
                  <a:gd name="T67" fmla="*/ 13127 h 20000"/>
                  <a:gd name="T68" fmla="*/ 11991 w 20000"/>
                  <a:gd name="T69" fmla="*/ 13883 h 20000"/>
                  <a:gd name="T70" fmla="*/ 10460 w 20000"/>
                  <a:gd name="T71" fmla="*/ 15258 h 20000"/>
                  <a:gd name="T72" fmla="*/ 9059 w 20000"/>
                  <a:gd name="T73" fmla="*/ 15258 h 20000"/>
                  <a:gd name="T74" fmla="*/ 8578 w 20000"/>
                  <a:gd name="T75" fmla="*/ 14914 h 20000"/>
                  <a:gd name="T76" fmla="*/ 7221 w 20000"/>
                  <a:gd name="T77" fmla="*/ 17045 h 20000"/>
                  <a:gd name="T78" fmla="*/ 6083 w 20000"/>
                  <a:gd name="T79" fmla="*/ 19519 h 20000"/>
                  <a:gd name="T80" fmla="*/ 4726 w 20000"/>
                  <a:gd name="T81" fmla="*/ 18832 h 20000"/>
                  <a:gd name="T82" fmla="*/ 2495 w 20000"/>
                  <a:gd name="T83" fmla="*/ 199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2495" y="19931"/>
                    </a:moveTo>
                    <a:lnTo>
                      <a:pt x="1357" y="19931"/>
                    </a:lnTo>
                    <a:lnTo>
                      <a:pt x="1794" y="17801"/>
                    </a:lnTo>
                    <a:lnTo>
                      <a:pt x="1794" y="16014"/>
                    </a:lnTo>
                    <a:lnTo>
                      <a:pt x="875" y="14914"/>
                    </a:lnTo>
                    <a:lnTo>
                      <a:pt x="0" y="13127"/>
                    </a:lnTo>
                    <a:lnTo>
                      <a:pt x="2057" y="11340"/>
                    </a:lnTo>
                    <a:lnTo>
                      <a:pt x="3151" y="9210"/>
                    </a:lnTo>
                    <a:lnTo>
                      <a:pt x="4726" y="9210"/>
                    </a:lnTo>
                    <a:lnTo>
                      <a:pt x="4989" y="8522"/>
                    </a:lnTo>
                    <a:lnTo>
                      <a:pt x="4726" y="7423"/>
                    </a:lnTo>
                    <a:lnTo>
                      <a:pt x="4989" y="7423"/>
                    </a:lnTo>
                    <a:lnTo>
                      <a:pt x="5427" y="7423"/>
                    </a:lnTo>
                    <a:lnTo>
                      <a:pt x="8403" y="4605"/>
                    </a:lnTo>
                    <a:lnTo>
                      <a:pt x="7921" y="3162"/>
                    </a:lnTo>
                    <a:lnTo>
                      <a:pt x="9059" y="0"/>
                    </a:lnTo>
                    <a:lnTo>
                      <a:pt x="11554" y="275"/>
                    </a:lnTo>
                    <a:lnTo>
                      <a:pt x="11991" y="1100"/>
                    </a:lnTo>
                    <a:lnTo>
                      <a:pt x="14923" y="1787"/>
                    </a:lnTo>
                    <a:lnTo>
                      <a:pt x="14923" y="2818"/>
                    </a:lnTo>
                    <a:lnTo>
                      <a:pt x="15624" y="3918"/>
                    </a:lnTo>
                    <a:lnTo>
                      <a:pt x="14486" y="4948"/>
                    </a:lnTo>
                    <a:lnTo>
                      <a:pt x="16105" y="4605"/>
                    </a:lnTo>
                    <a:lnTo>
                      <a:pt x="16280" y="4605"/>
                    </a:lnTo>
                    <a:lnTo>
                      <a:pt x="16105" y="6392"/>
                    </a:lnTo>
                    <a:lnTo>
                      <a:pt x="17199" y="4948"/>
                    </a:lnTo>
                    <a:lnTo>
                      <a:pt x="17199" y="4605"/>
                    </a:lnTo>
                    <a:lnTo>
                      <a:pt x="18600" y="4948"/>
                    </a:lnTo>
                    <a:lnTo>
                      <a:pt x="19256" y="5704"/>
                    </a:lnTo>
                    <a:lnTo>
                      <a:pt x="19256" y="9210"/>
                    </a:lnTo>
                    <a:lnTo>
                      <a:pt x="19956" y="11340"/>
                    </a:lnTo>
                    <a:lnTo>
                      <a:pt x="18118" y="12096"/>
                    </a:lnTo>
                    <a:lnTo>
                      <a:pt x="16105" y="12440"/>
                    </a:lnTo>
                    <a:lnTo>
                      <a:pt x="13348" y="13127"/>
                    </a:lnTo>
                    <a:lnTo>
                      <a:pt x="11991" y="13883"/>
                    </a:lnTo>
                    <a:lnTo>
                      <a:pt x="10460" y="15258"/>
                    </a:lnTo>
                    <a:lnTo>
                      <a:pt x="9059" y="15258"/>
                    </a:lnTo>
                    <a:lnTo>
                      <a:pt x="8578" y="14914"/>
                    </a:lnTo>
                    <a:lnTo>
                      <a:pt x="7221" y="17045"/>
                    </a:lnTo>
                    <a:lnTo>
                      <a:pt x="6083" y="19519"/>
                    </a:lnTo>
                    <a:lnTo>
                      <a:pt x="4726" y="18832"/>
                    </a:lnTo>
                    <a:lnTo>
                      <a:pt x="2495" y="1993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8" name="Freeform 61"/>
              <p:cNvSpPr>
                <a:spLocks/>
              </p:cNvSpPr>
              <p:nvPr/>
            </p:nvSpPr>
            <p:spPr bwMode="auto">
              <a:xfrm>
                <a:off x="3121025" y="1457325"/>
                <a:ext cx="293688" cy="196850"/>
              </a:xfrm>
              <a:custGeom>
                <a:avLst/>
                <a:gdLst>
                  <a:gd name="T0" fmla="*/ 16760 w 20000"/>
                  <a:gd name="T1" fmla="*/ 19936 h 20000"/>
                  <a:gd name="T2" fmla="*/ 14125 w 20000"/>
                  <a:gd name="T3" fmla="*/ 19936 h 20000"/>
                  <a:gd name="T4" fmla="*/ 12095 w 20000"/>
                  <a:gd name="T5" fmla="*/ 18907 h 20000"/>
                  <a:gd name="T6" fmla="*/ 9201 w 20000"/>
                  <a:gd name="T7" fmla="*/ 18264 h 20000"/>
                  <a:gd name="T8" fmla="*/ 5832 w 20000"/>
                  <a:gd name="T9" fmla="*/ 17299 h 20000"/>
                  <a:gd name="T10" fmla="*/ 2894 w 20000"/>
                  <a:gd name="T11" fmla="*/ 16270 h 20000"/>
                  <a:gd name="T12" fmla="*/ 1123 w 20000"/>
                  <a:gd name="T13" fmla="*/ 13891 h 20000"/>
                  <a:gd name="T14" fmla="*/ 1771 w 20000"/>
                  <a:gd name="T15" fmla="*/ 11961 h 20000"/>
                  <a:gd name="T16" fmla="*/ 2678 w 20000"/>
                  <a:gd name="T17" fmla="*/ 9582 h 20000"/>
                  <a:gd name="T18" fmla="*/ 2894 w 20000"/>
                  <a:gd name="T19" fmla="*/ 6945 h 20000"/>
                  <a:gd name="T20" fmla="*/ 2678 w 20000"/>
                  <a:gd name="T21" fmla="*/ 5273 h 20000"/>
                  <a:gd name="T22" fmla="*/ 691 w 20000"/>
                  <a:gd name="T23" fmla="*/ 4309 h 20000"/>
                  <a:gd name="T24" fmla="*/ 0 w 20000"/>
                  <a:gd name="T25" fmla="*/ 2315 h 20000"/>
                  <a:gd name="T26" fmla="*/ 432 w 20000"/>
                  <a:gd name="T27" fmla="*/ 0 h 20000"/>
                  <a:gd name="T28" fmla="*/ 2203 w 20000"/>
                  <a:gd name="T29" fmla="*/ 0 h 20000"/>
                  <a:gd name="T30" fmla="*/ 4492 w 20000"/>
                  <a:gd name="T31" fmla="*/ 2315 h 20000"/>
                  <a:gd name="T32" fmla="*/ 5400 w 20000"/>
                  <a:gd name="T33" fmla="*/ 3280 h 20000"/>
                  <a:gd name="T34" fmla="*/ 7387 w 20000"/>
                  <a:gd name="T35" fmla="*/ 5273 h 20000"/>
                  <a:gd name="T36" fmla="*/ 8035 w 20000"/>
                  <a:gd name="T37" fmla="*/ 7588 h 20000"/>
                  <a:gd name="T38" fmla="*/ 6955 w 20000"/>
                  <a:gd name="T39" fmla="*/ 7588 h 20000"/>
                  <a:gd name="T40" fmla="*/ 6523 w 20000"/>
                  <a:gd name="T41" fmla="*/ 8617 h 20000"/>
                  <a:gd name="T42" fmla="*/ 6523 w 20000"/>
                  <a:gd name="T43" fmla="*/ 9582 h 20000"/>
                  <a:gd name="T44" fmla="*/ 7387 w 20000"/>
                  <a:gd name="T45" fmla="*/ 11961 h 20000"/>
                  <a:gd name="T46" fmla="*/ 9201 w 20000"/>
                  <a:gd name="T47" fmla="*/ 12283 h 20000"/>
                  <a:gd name="T48" fmla="*/ 10972 w 20000"/>
                  <a:gd name="T49" fmla="*/ 13633 h 20000"/>
                  <a:gd name="T50" fmla="*/ 13866 w 20000"/>
                  <a:gd name="T51" fmla="*/ 13633 h 20000"/>
                  <a:gd name="T52" fmla="*/ 15896 w 20000"/>
                  <a:gd name="T53" fmla="*/ 12990 h 20000"/>
                  <a:gd name="T54" fmla="*/ 18618 w 20000"/>
                  <a:gd name="T55" fmla="*/ 13891 h 20000"/>
                  <a:gd name="T56" fmla="*/ 19957 w 20000"/>
                  <a:gd name="T57" fmla="*/ 15627 h 20000"/>
                  <a:gd name="T58" fmla="*/ 19957 w 20000"/>
                  <a:gd name="T59" fmla="*/ 16656 h 20000"/>
                  <a:gd name="T60" fmla="*/ 18618 w 20000"/>
                  <a:gd name="T61" fmla="*/ 17942 h 20000"/>
                  <a:gd name="T62" fmla="*/ 17667 w 20000"/>
                  <a:gd name="T63" fmla="*/ 19293 h 20000"/>
                  <a:gd name="T64" fmla="*/ 16760 w 20000"/>
                  <a:gd name="T65" fmla="*/ 199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6760" y="19936"/>
                    </a:moveTo>
                    <a:lnTo>
                      <a:pt x="14125" y="19936"/>
                    </a:lnTo>
                    <a:lnTo>
                      <a:pt x="12095" y="18907"/>
                    </a:lnTo>
                    <a:lnTo>
                      <a:pt x="9201" y="18264"/>
                    </a:lnTo>
                    <a:lnTo>
                      <a:pt x="5832" y="17299"/>
                    </a:lnTo>
                    <a:lnTo>
                      <a:pt x="2894" y="16270"/>
                    </a:lnTo>
                    <a:lnTo>
                      <a:pt x="1123" y="13891"/>
                    </a:lnTo>
                    <a:lnTo>
                      <a:pt x="1771" y="11961"/>
                    </a:lnTo>
                    <a:lnTo>
                      <a:pt x="2678" y="9582"/>
                    </a:lnTo>
                    <a:lnTo>
                      <a:pt x="2894" y="6945"/>
                    </a:lnTo>
                    <a:lnTo>
                      <a:pt x="2678" y="5273"/>
                    </a:lnTo>
                    <a:lnTo>
                      <a:pt x="691" y="4309"/>
                    </a:lnTo>
                    <a:lnTo>
                      <a:pt x="0" y="2315"/>
                    </a:lnTo>
                    <a:lnTo>
                      <a:pt x="432" y="0"/>
                    </a:lnTo>
                    <a:lnTo>
                      <a:pt x="2203" y="0"/>
                    </a:lnTo>
                    <a:lnTo>
                      <a:pt x="4492" y="2315"/>
                    </a:lnTo>
                    <a:lnTo>
                      <a:pt x="5400" y="3280"/>
                    </a:lnTo>
                    <a:lnTo>
                      <a:pt x="7387" y="5273"/>
                    </a:lnTo>
                    <a:lnTo>
                      <a:pt x="8035" y="7588"/>
                    </a:lnTo>
                    <a:lnTo>
                      <a:pt x="6955" y="7588"/>
                    </a:lnTo>
                    <a:lnTo>
                      <a:pt x="6523" y="8617"/>
                    </a:lnTo>
                    <a:lnTo>
                      <a:pt x="6523" y="9582"/>
                    </a:lnTo>
                    <a:lnTo>
                      <a:pt x="7387" y="11961"/>
                    </a:lnTo>
                    <a:lnTo>
                      <a:pt x="9201" y="12283"/>
                    </a:lnTo>
                    <a:lnTo>
                      <a:pt x="10972" y="13633"/>
                    </a:lnTo>
                    <a:lnTo>
                      <a:pt x="13866" y="13633"/>
                    </a:lnTo>
                    <a:lnTo>
                      <a:pt x="15896" y="12990"/>
                    </a:lnTo>
                    <a:lnTo>
                      <a:pt x="18618" y="13891"/>
                    </a:lnTo>
                    <a:lnTo>
                      <a:pt x="19957" y="15627"/>
                    </a:lnTo>
                    <a:lnTo>
                      <a:pt x="19957" y="16656"/>
                    </a:lnTo>
                    <a:lnTo>
                      <a:pt x="18618" y="17942"/>
                    </a:lnTo>
                    <a:lnTo>
                      <a:pt x="17667" y="19293"/>
                    </a:lnTo>
                    <a:lnTo>
                      <a:pt x="16760" y="199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79" name="Freeform 60"/>
              <p:cNvSpPr>
                <a:spLocks/>
              </p:cNvSpPr>
              <p:nvPr/>
            </p:nvSpPr>
            <p:spPr bwMode="auto">
              <a:xfrm>
                <a:off x="2644775" y="1371600"/>
                <a:ext cx="260350" cy="146050"/>
              </a:xfrm>
              <a:custGeom>
                <a:avLst/>
                <a:gdLst>
                  <a:gd name="T0" fmla="*/ 16195 w 20000"/>
                  <a:gd name="T1" fmla="*/ 19913 h 20000"/>
                  <a:gd name="T2" fmla="*/ 12098 w 20000"/>
                  <a:gd name="T3" fmla="*/ 18515 h 20000"/>
                  <a:gd name="T4" fmla="*/ 12683 w 20000"/>
                  <a:gd name="T5" fmla="*/ 17205 h 20000"/>
                  <a:gd name="T6" fmla="*/ 3512 w 20000"/>
                  <a:gd name="T7" fmla="*/ 19039 h 20000"/>
                  <a:gd name="T8" fmla="*/ 2537 w 20000"/>
                  <a:gd name="T9" fmla="*/ 16332 h 20000"/>
                  <a:gd name="T10" fmla="*/ 4829 w 20000"/>
                  <a:gd name="T11" fmla="*/ 15371 h 20000"/>
                  <a:gd name="T12" fmla="*/ 8098 w 20000"/>
                  <a:gd name="T13" fmla="*/ 15371 h 20000"/>
                  <a:gd name="T14" fmla="*/ 9902 w 20000"/>
                  <a:gd name="T15" fmla="*/ 13100 h 20000"/>
                  <a:gd name="T16" fmla="*/ 5317 w 20000"/>
                  <a:gd name="T17" fmla="*/ 12664 h 20000"/>
                  <a:gd name="T18" fmla="*/ 6829 w 20000"/>
                  <a:gd name="T19" fmla="*/ 10480 h 20000"/>
                  <a:gd name="T20" fmla="*/ 6585 w 20000"/>
                  <a:gd name="T21" fmla="*/ 9432 h 20000"/>
                  <a:gd name="T22" fmla="*/ 3317 w 20000"/>
                  <a:gd name="T23" fmla="*/ 12664 h 20000"/>
                  <a:gd name="T24" fmla="*/ 1317 w 20000"/>
                  <a:gd name="T25" fmla="*/ 11790 h 20000"/>
                  <a:gd name="T26" fmla="*/ 0 w 20000"/>
                  <a:gd name="T27" fmla="*/ 8122 h 20000"/>
                  <a:gd name="T28" fmla="*/ 2780 w 20000"/>
                  <a:gd name="T29" fmla="*/ 5852 h 20000"/>
                  <a:gd name="T30" fmla="*/ 4585 w 20000"/>
                  <a:gd name="T31" fmla="*/ 3144 h 20000"/>
                  <a:gd name="T32" fmla="*/ 6829 w 20000"/>
                  <a:gd name="T33" fmla="*/ 873 h 20000"/>
                  <a:gd name="T34" fmla="*/ 9366 w 20000"/>
                  <a:gd name="T35" fmla="*/ 0 h 20000"/>
                  <a:gd name="T36" fmla="*/ 9366 w 20000"/>
                  <a:gd name="T37" fmla="*/ 3581 h 20000"/>
                  <a:gd name="T38" fmla="*/ 10634 w 20000"/>
                  <a:gd name="T39" fmla="*/ 3581 h 20000"/>
                  <a:gd name="T40" fmla="*/ 11366 w 20000"/>
                  <a:gd name="T41" fmla="*/ 5502 h 20000"/>
                  <a:gd name="T42" fmla="*/ 10878 w 20000"/>
                  <a:gd name="T43" fmla="*/ 8122 h 20000"/>
                  <a:gd name="T44" fmla="*/ 10634 w 20000"/>
                  <a:gd name="T45" fmla="*/ 11354 h 20000"/>
                  <a:gd name="T46" fmla="*/ 11902 w 20000"/>
                  <a:gd name="T47" fmla="*/ 11790 h 20000"/>
                  <a:gd name="T48" fmla="*/ 13415 w 20000"/>
                  <a:gd name="T49" fmla="*/ 13100 h 20000"/>
                  <a:gd name="T50" fmla="*/ 14683 w 20000"/>
                  <a:gd name="T51" fmla="*/ 11354 h 20000"/>
                  <a:gd name="T52" fmla="*/ 15415 w 20000"/>
                  <a:gd name="T53" fmla="*/ 8122 h 20000"/>
                  <a:gd name="T54" fmla="*/ 16683 w 20000"/>
                  <a:gd name="T55" fmla="*/ 4454 h 20000"/>
                  <a:gd name="T56" fmla="*/ 19171 w 20000"/>
                  <a:gd name="T57" fmla="*/ 2271 h 20000"/>
                  <a:gd name="T58" fmla="*/ 18488 w 20000"/>
                  <a:gd name="T59" fmla="*/ 5852 h 20000"/>
                  <a:gd name="T60" fmla="*/ 17463 w 20000"/>
                  <a:gd name="T61" fmla="*/ 10480 h 20000"/>
                  <a:gd name="T62" fmla="*/ 17951 w 20000"/>
                  <a:gd name="T63" fmla="*/ 12664 h 20000"/>
                  <a:gd name="T64" fmla="*/ 19463 w 20000"/>
                  <a:gd name="T65" fmla="*/ 11354 h 20000"/>
                  <a:gd name="T66" fmla="*/ 19951 w 20000"/>
                  <a:gd name="T67" fmla="*/ 13100 h 20000"/>
                  <a:gd name="T68" fmla="*/ 18488 w 20000"/>
                  <a:gd name="T69" fmla="*/ 17642 h 20000"/>
                  <a:gd name="T70" fmla="*/ 16195 w 20000"/>
                  <a:gd name="T71" fmla="*/ 1991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16195" y="19913"/>
                    </a:moveTo>
                    <a:lnTo>
                      <a:pt x="12098" y="18515"/>
                    </a:lnTo>
                    <a:lnTo>
                      <a:pt x="12683" y="17205"/>
                    </a:lnTo>
                    <a:lnTo>
                      <a:pt x="3512" y="19039"/>
                    </a:lnTo>
                    <a:lnTo>
                      <a:pt x="2537" y="16332"/>
                    </a:lnTo>
                    <a:lnTo>
                      <a:pt x="4829" y="15371"/>
                    </a:lnTo>
                    <a:lnTo>
                      <a:pt x="8098" y="15371"/>
                    </a:lnTo>
                    <a:lnTo>
                      <a:pt x="9902" y="13100"/>
                    </a:lnTo>
                    <a:lnTo>
                      <a:pt x="5317" y="12664"/>
                    </a:lnTo>
                    <a:lnTo>
                      <a:pt x="6829" y="10480"/>
                    </a:lnTo>
                    <a:lnTo>
                      <a:pt x="6585" y="9432"/>
                    </a:lnTo>
                    <a:lnTo>
                      <a:pt x="3317" y="12664"/>
                    </a:lnTo>
                    <a:lnTo>
                      <a:pt x="1317" y="11790"/>
                    </a:lnTo>
                    <a:lnTo>
                      <a:pt x="0" y="8122"/>
                    </a:lnTo>
                    <a:lnTo>
                      <a:pt x="2780" y="5852"/>
                    </a:lnTo>
                    <a:lnTo>
                      <a:pt x="4585" y="3144"/>
                    </a:lnTo>
                    <a:lnTo>
                      <a:pt x="6829" y="873"/>
                    </a:lnTo>
                    <a:lnTo>
                      <a:pt x="9366" y="0"/>
                    </a:lnTo>
                    <a:lnTo>
                      <a:pt x="9366" y="3581"/>
                    </a:lnTo>
                    <a:lnTo>
                      <a:pt x="10634" y="3581"/>
                    </a:lnTo>
                    <a:lnTo>
                      <a:pt x="11366" y="5502"/>
                    </a:lnTo>
                    <a:lnTo>
                      <a:pt x="10878" y="8122"/>
                    </a:lnTo>
                    <a:lnTo>
                      <a:pt x="10634" y="11354"/>
                    </a:lnTo>
                    <a:lnTo>
                      <a:pt x="11902" y="11790"/>
                    </a:lnTo>
                    <a:lnTo>
                      <a:pt x="13415" y="13100"/>
                    </a:lnTo>
                    <a:lnTo>
                      <a:pt x="14683" y="11354"/>
                    </a:lnTo>
                    <a:lnTo>
                      <a:pt x="15415" y="8122"/>
                    </a:lnTo>
                    <a:lnTo>
                      <a:pt x="16683" y="4454"/>
                    </a:lnTo>
                    <a:lnTo>
                      <a:pt x="19171" y="2271"/>
                    </a:lnTo>
                    <a:lnTo>
                      <a:pt x="18488" y="5852"/>
                    </a:lnTo>
                    <a:lnTo>
                      <a:pt x="17463" y="10480"/>
                    </a:lnTo>
                    <a:lnTo>
                      <a:pt x="17951" y="12664"/>
                    </a:lnTo>
                    <a:lnTo>
                      <a:pt x="19463" y="11354"/>
                    </a:lnTo>
                    <a:lnTo>
                      <a:pt x="19951" y="13100"/>
                    </a:lnTo>
                    <a:lnTo>
                      <a:pt x="18488" y="17642"/>
                    </a:lnTo>
                    <a:lnTo>
                      <a:pt x="16195" y="1991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0" name="Freeform 59"/>
              <p:cNvSpPr>
                <a:spLocks/>
              </p:cNvSpPr>
              <p:nvPr/>
            </p:nvSpPr>
            <p:spPr bwMode="auto">
              <a:xfrm>
                <a:off x="3451225" y="2794000"/>
                <a:ext cx="171450" cy="196850"/>
              </a:xfrm>
              <a:custGeom>
                <a:avLst/>
                <a:gdLst>
                  <a:gd name="T0" fmla="*/ 17630 w 20000"/>
                  <a:gd name="T1" fmla="*/ 19936 h 20000"/>
                  <a:gd name="T2" fmla="*/ 14963 w 20000"/>
                  <a:gd name="T3" fmla="*/ 18907 h 20000"/>
                  <a:gd name="T4" fmla="*/ 16148 w 20000"/>
                  <a:gd name="T5" fmla="*/ 16270 h 20000"/>
                  <a:gd name="T6" fmla="*/ 15704 w 20000"/>
                  <a:gd name="T7" fmla="*/ 15627 h 20000"/>
                  <a:gd name="T8" fmla="*/ 13778 w 20000"/>
                  <a:gd name="T9" fmla="*/ 17299 h 20000"/>
                  <a:gd name="T10" fmla="*/ 9556 w 20000"/>
                  <a:gd name="T11" fmla="*/ 18264 h 20000"/>
                  <a:gd name="T12" fmla="*/ 12667 w 20000"/>
                  <a:gd name="T13" fmla="*/ 16270 h 20000"/>
                  <a:gd name="T14" fmla="*/ 9556 w 20000"/>
                  <a:gd name="T15" fmla="*/ 16270 h 20000"/>
                  <a:gd name="T16" fmla="*/ 0 w 20000"/>
                  <a:gd name="T17" fmla="*/ 15627 h 20000"/>
                  <a:gd name="T18" fmla="*/ 0 w 20000"/>
                  <a:gd name="T19" fmla="*/ 13955 h 20000"/>
                  <a:gd name="T20" fmla="*/ 2667 w 20000"/>
                  <a:gd name="T21" fmla="*/ 12605 h 20000"/>
                  <a:gd name="T22" fmla="*/ 741 w 20000"/>
                  <a:gd name="T23" fmla="*/ 11961 h 20000"/>
                  <a:gd name="T24" fmla="*/ 4519 w 20000"/>
                  <a:gd name="T25" fmla="*/ 9968 h 20000"/>
                  <a:gd name="T26" fmla="*/ 4519 w 20000"/>
                  <a:gd name="T27" fmla="*/ 8682 h 20000"/>
                  <a:gd name="T28" fmla="*/ 7704 w 20000"/>
                  <a:gd name="T29" fmla="*/ 5659 h 20000"/>
                  <a:gd name="T30" fmla="*/ 9926 w 20000"/>
                  <a:gd name="T31" fmla="*/ 1672 h 20000"/>
                  <a:gd name="T32" fmla="*/ 13778 w 20000"/>
                  <a:gd name="T33" fmla="*/ 643 h 20000"/>
                  <a:gd name="T34" fmla="*/ 15704 w 20000"/>
                  <a:gd name="T35" fmla="*/ 0 h 20000"/>
                  <a:gd name="T36" fmla="*/ 13778 w 20000"/>
                  <a:gd name="T37" fmla="*/ 3023 h 20000"/>
                  <a:gd name="T38" fmla="*/ 8741 w 20000"/>
                  <a:gd name="T39" fmla="*/ 7653 h 20000"/>
                  <a:gd name="T40" fmla="*/ 11481 w 20000"/>
                  <a:gd name="T41" fmla="*/ 6688 h 20000"/>
                  <a:gd name="T42" fmla="*/ 12667 w 20000"/>
                  <a:gd name="T43" fmla="*/ 6945 h 20000"/>
                  <a:gd name="T44" fmla="*/ 11481 w 20000"/>
                  <a:gd name="T45" fmla="*/ 8682 h 20000"/>
                  <a:gd name="T46" fmla="*/ 14963 w 20000"/>
                  <a:gd name="T47" fmla="*/ 8682 h 20000"/>
                  <a:gd name="T48" fmla="*/ 18741 w 20000"/>
                  <a:gd name="T49" fmla="*/ 9968 h 20000"/>
                  <a:gd name="T50" fmla="*/ 17630 w 20000"/>
                  <a:gd name="T51" fmla="*/ 11318 h 20000"/>
                  <a:gd name="T52" fmla="*/ 17630 w 20000"/>
                  <a:gd name="T53" fmla="*/ 12990 h 20000"/>
                  <a:gd name="T54" fmla="*/ 19556 w 20000"/>
                  <a:gd name="T55" fmla="*/ 12605 h 20000"/>
                  <a:gd name="T56" fmla="*/ 19926 w 20000"/>
                  <a:gd name="T57" fmla="*/ 13955 h 20000"/>
                  <a:gd name="T58" fmla="*/ 19926 w 20000"/>
                  <a:gd name="T59" fmla="*/ 15627 h 20000"/>
                  <a:gd name="T60" fmla="*/ 19556 w 20000"/>
                  <a:gd name="T61" fmla="*/ 17299 h 20000"/>
                  <a:gd name="T62" fmla="*/ 17630 w 20000"/>
                  <a:gd name="T63" fmla="*/ 199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630" y="19936"/>
                    </a:moveTo>
                    <a:lnTo>
                      <a:pt x="14963" y="18907"/>
                    </a:lnTo>
                    <a:lnTo>
                      <a:pt x="16148" y="16270"/>
                    </a:lnTo>
                    <a:lnTo>
                      <a:pt x="15704" y="15627"/>
                    </a:lnTo>
                    <a:lnTo>
                      <a:pt x="13778" y="17299"/>
                    </a:lnTo>
                    <a:lnTo>
                      <a:pt x="9556" y="18264"/>
                    </a:lnTo>
                    <a:lnTo>
                      <a:pt x="12667" y="16270"/>
                    </a:lnTo>
                    <a:lnTo>
                      <a:pt x="9556" y="16270"/>
                    </a:lnTo>
                    <a:lnTo>
                      <a:pt x="0" y="15627"/>
                    </a:lnTo>
                    <a:lnTo>
                      <a:pt x="0" y="13955"/>
                    </a:lnTo>
                    <a:lnTo>
                      <a:pt x="2667" y="12605"/>
                    </a:lnTo>
                    <a:lnTo>
                      <a:pt x="741" y="11961"/>
                    </a:lnTo>
                    <a:lnTo>
                      <a:pt x="4519" y="9968"/>
                    </a:lnTo>
                    <a:lnTo>
                      <a:pt x="4519" y="8682"/>
                    </a:lnTo>
                    <a:lnTo>
                      <a:pt x="7704" y="5659"/>
                    </a:lnTo>
                    <a:lnTo>
                      <a:pt x="9926" y="1672"/>
                    </a:lnTo>
                    <a:lnTo>
                      <a:pt x="13778" y="643"/>
                    </a:lnTo>
                    <a:lnTo>
                      <a:pt x="15704" y="0"/>
                    </a:lnTo>
                    <a:lnTo>
                      <a:pt x="13778" y="3023"/>
                    </a:lnTo>
                    <a:lnTo>
                      <a:pt x="8741" y="7653"/>
                    </a:lnTo>
                    <a:lnTo>
                      <a:pt x="11481" y="6688"/>
                    </a:lnTo>
                    <a:lnTo>
                      <a:pt x="12667" y="6945"/>
                    </a:lnTo>
                    <a:lnTo>
                      <a:pt x="11481" y="8682"/>
                    </a:lnTo>
                    <a:lnTo>
                      <a:pt x="14963" y="8682"/>
                    </a:lnTo>
                    <a:lnTo>
                      <a:pt x="18741" y="9968"/>
                    </a:lnTo>
                    <a:lnTo>
                      <a:pt x="17630" y="11318"/>
                    </a:lnTo>
                    <a:lnTo>
                      <a:pt x="17630" y="12990"/>
                    </a:lnTo>
                    <a:lnTo>
                      <a:pt x="19556" y="12605"/>
                    </a:lnTo>
                    <a:lnTo>
                      <a:pt x="19926" y="13955"/>
                    </a:lnTo>
                    <a:lnTo>
                      <a:pt x="19926" y="15627"/>
                    </a:lnTo>
                    <a:lnTo>
                      <a:pt x="19556" y="17299"/>
                    </a:lnTo>
                    <a:lnTo>
                      <a:pt x="17630" y="199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1" name="Freeform 58"/>
              <p:cNvSpPr>
                <a:spLocks/>
              </p:cNvSpPr>
              <p:nvPr/>
            </p:nvSpPr>
            <p:spPr bwMode="auto">
              <a:xfrm>
                <a:off x="2841625" y="1612900"/>
                <a:ext cx="152400" cy="146050"/>
              </a:xfrm>
              <a:custGeom>
                <a:avLst/>
                <a:gdLst>
                  <a:gd name="T0" fmla="*/ 3917 w 20000"/>
                  <a:gd name="T1" fmla="*/ 19913 h 20000"/>
                  <a:gd name="T2" fmla="*/ 2583 w 20000"/>
                  <a:gd name="T3" fmla="*/ 19039 h 20000"/>
                  <a:gd name="T4" fmla="*/ 3417 w 20000"/>
                  <a:gd name="T5" fmla="*/ 16332 h 20000"/>
                  <a:gd name="T6" fmla="*/ 2583 w 20000"/>
                  <a:gd name="T7" fmla="*/ 13100 h 20000"/>
                  <a:gd name="T8" fmla="*/ 1750 w 20000"/>
                  <a:gd name="T9" fmla="*/ 10830 h 20000"/>
                  <a:gd name="T10" fmla="*/ 0 w 20000"/>
                  <a:gd name="T11" fmla="*/ 8559 h 20000"/>
                  <a:gd name="T12" fmla="*/ 0 w 20000"/>
                  <a:gd name="T13" fmla="*/ 4978 h 20000"/>
                  <a:gd name="T14" fmla="*/ 2583 w 20000"/>
                  <a:gd name="T15" fmla="*/ 3581 h 20000"/>
                  <a:gd name="T16" fmla="*/ 2583 w 20000"/>
                  <a:gd name="T17" fmla="*/ 7249 h 20000"/>
                  <a:gd name="T18" fmla="*/ 3917 w 20000"/>
                  <a:gd name="T19" fmla="*/ 8559 h 20000"/>
                  <a:gd name="T20" fmla="*/ 6083 w 20000"/>
                  <a:gd name="T21" fmla="*/ 6725 h 20000"/>
                  <a:gd name="T22" fmla="*/ 7333 w 20000"/>
                  <a:gd name="T23" fmla="*/ 4454 h 20000"/>
                  <a:gd name="T24" fmla="*/ 9500 w 20000"/>
                  <a:gd name="T25" fmla="*/ 4454 h 20000"/>
                  <a:gd name="T26" fmla="*/ 9500 w 20000"/>
                  <a:gd name="T27" fmla="*/ 3144 h 20000"/>
                  <a:gd name="T28" fmla="*/ 7333 w 20000"/>
                  <a:gd name="T29" fmla="*/ 1397 h 20000"/>
                  <a:gd name="T30" fmla="*/ 9500 w 20000"/>
                  <a:gd name="T31" fmla="*/ 0 h 20000"/>
                  <a:gd name="T32" fmla="*/ 11750 w 20000"/>
                  <a:gd name="T33" fmla="*/ 0 h 20000"/>
                  <a:gd name="T34" fmla="*/ 13833 w 20000"/>
                  <a:gd name="T35" fmla="*/ 2271 h 20000"/>
                  <a:gd name="T36" fmla="*/ 18167 w 20000"/>
                  <a:gd name="T37" fmla="*/ 1397 h 20000"/>
                  <a:gd name="T38" fmla="*/ 19917 w 20000"/>
                  <a:gd name="T39" fmla="*/ 3144 h 20000"/>
                  <a:gd name="T40" fmla="*/ 18583 w 20000"/>
                  <a:gd name="T41" fmla="*/ 3581 h 20000"/>
                  <a:gd name="T42" fmla="*/ 16500 w 20000"/>
                  <a:gd name="T43" fmla="*/ 3581 h 20000"/>
                  <a:gd name="T44" fmla="*/ 17333 w 20000"/>
                  <a:gd name="T45" fmla="*/ 4454 h 20000"/>
                  <a:gd name="T46" fmla="*/ 16000 w 20000"/>
                  <a:gd name="T47" fmla="*/ 4454 h 20000"/>
                  <a:gd name="T48" fmla="*/ 12583 w 20000"/>
                  <a:gd name="T49" fmla="*/ 5852 h 20000"/>
                  <a:gd name="T50" fmla="*/ 12583 w 20000"/>
                  <a:gd name="T51" fmla="*/ 7249 h 20000"/>
                  <a:gd name="T52" fmla="*/ 13833 w 20000"/>
                  <a:gd name="T53" fmla="*/ 7249 h 20000"/>
                  <a:gd name="T54" fmla="*/ 15167 w 20000"/>
                  <a:gd name="T55" fmla="*/ 7249 h 20000"/>
                  <a:gd name="T56" fmla="*/ 16000 w 20000"/>
                  <a:gd name="T57" fmla="*/ 11703 h 20000"/>
                  <a:gd name="T58" fmla="*/ 13000 w 20000"/>
                  <a:gd name="T59" fmla="*/ 15371 h 20000"/>
                  <a:gd name="T60" fmla="*/ 10417 w 20000"/>
                  <a:gd name="T61" fmla="*/ 17642 h 20000"/>
                  <a:gd name="T62" fmla="*/ 7333 w 20000"/>
                  <a:gd name="T63" fmla="*/ 16681 h 20000"/>
                  <a:gd name="T64" fmla="*/ 8167 w 20000"/>
                  <a:gd name="T65" fmla="*/ 15371 h 20000"/>
                  <a:gd name="T66" fmla="*/ 6083 w 20000"/>
                  <a:gd name="T67" fmla="*/ 16681 h 20000"/>
                  <a:gd name="T68" fmla="*/ 6083 w 20000"/>
                  <a:gd name="T69" fmla="*/ 18515 h 20000"/>
                  <a:gd name="T70" fmla="*/ 3917 w 20000"/>
                  <a:gd name="T71" fmla="*/ 1991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3917" y="19913"/>
                    </a:moveTo>
                    <a:lnTo>
                      <a:pt x="2583" y="19039"/>
                    </a:lnTo>
                    <a:lnTo>
                      <a:pt x="3417" y="16332"/>
                    </a:lnTo>
                    <a:lnTo>
                      <a:pt x="2583" y="13100"/>
                    </a:lnTo>
                    <a:lnTo>
                      <a:pt x="1750" y="10830"/>
                    </a:lnTo>
                    <a:lnTo>
                      <a:pt x="0" y="8559"/>
                    </a:lnTo>
                    <a:lnTo>
                      <a:pt x="0" y="4978"/>
                    </a:lnTo>
                    <a:lnTo>
                      <a:pt x="2583" y="3581"/>
                    </a:lnTo>
                    <a:lnTo>
                      <a:pt x="2583" y="7249"/>
                    </a:lnTo>
                    <a:lnTo>
                      <a:pt x="3917" y="8559"/>
                    </a:lnTo>
                    <a:lnTo>
                      <a:pt x="6083" y="6725"/>
                    </a:lnTo>
                    <a:lnTo>
                      <a:pt x="7333" y="4454"/>
                    </a:lnTo>
                    <a:lnTo>
                      <a:pt x="9500" y="4454"/>
                    </a:lnTo>
                    <a:lnTo>
                      <a:pt x="9500" y="3144"/>
                    </a:lnTo>
                    <a:lnTo>
                      <a:pt x="7333" y="1397"/>
                    </a:lnTo>
                    <a:lnTo>
                      <a:pt x="9500" y="0"/>
                    </a:lnTo>
                    <a:lnTo>
                      <a:pt x="11750" y="0"/>
                    </a:lnTo>
                    <a:lnTo>
                      <a:pt x="13833" y="2271"/>
                    </a:lnTo>
                    <a:lnTo>
                      <a:pt x="18167" y="1397"/>
                    </a:lnTo>
                    <a:lnTo>
                      <a:pt x="19917" y="3144"/>
                    </a:lnTo>
                    <a:lnTo>
                      <a:pt x="18583" y="3581"/>
                    </a:lnTo>
                    <a:lnTo>
                      <a:pt x="16500" y="3581"/>
                    </a:lnTo>
                    <a:lnTo>
                      <a:pt x="17333" y="4454"/>
                    </a:lnTo>
                    <a:lnTo>
                      <a:pt x="16000" y="4454"/>
                    </a:lnTo>
                    <a:lnTo>
                      <a:pt x="12583" y="5852"/>
                    </a:lnTo>
                    <a:lnTo>
                      <a:pt x="12583" y="7249"/>
                    </a:lnTo>
                    <a:lnTo>
                      <a:pt x="13833" y="7249"/>
                    </a:lnTo>
                    <a:lnTo>
                      <a:pt x="15167" y="7249"/>
                    </a:lnTo>
                    <a:lnTo>
                      <a:pt x="16000" y="11703"/>
                    </a:lnTo>
                    <a:lnTo>
                      <a:pt x="13000" y="15371"/>
                    </a:lnTo>
                    <a:lnTo>
                      <a:pt x="10417" y="17642"/>
                    </a:lnTo>
                    <a:lnTo>
                      <a:pt x="7333" y="16681"/>
                    </a:lnTo>
                    <a:lnTo>
                      <a:pt x="8167" y="15371"/>
                    </a:lnTo>
                    <a:lnTo>
                      <a:pt x="6083" y="16681"/>
                    </a:lnTo>
                    <a:lnTo>
                      <a:pt x="6083" y="18515"/>
                    </a:lnTo>
                    <a:lnTo>
                      <a:pt x="3917" y="1991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2" name="Freeform 57"/>
              <p:cNvSpPr>
                <a:spLocks/>
              </p:cNvSpPr>
              <p:nvPr/>
            </p:nvSpPr>
            <p:spPr bwMode="auto">
              <a:xfrm>
                <a:off x="2930525" y="2062163"/>
                <a:ext cx="174625" cy="138112"/>
              </a:xfrm>
              <a:custGeom>
                <a:avLst/>
                <a:gdLst>
                  <a:gd name="T0" fmla="*/ 17673 w 20000"/>
                  <a:gd name="T1" fmla="*/ 19908 h 20000"/>
                  <a:gd name="T2" fmla="*/ 13527 w 20000"/>
                  <a:gd name="T3" fmla="*/ 17982 h 20000"/>
                  <a:gd name="T4" fmla="*/ 13527 w 20000"/>
                  <a:gd name="T5" fmla="*/ 14220 h 20000"/>
                  <a:gd name="T6" fmla="*/ 11636 w 20000"/>
                  <a:gd name="T7" fmla="*/ 14679 h 20000"/>
                  <a:gd name="T8" fmla="*/ 8582 w 20000"/>
                  <a:gd name="T9" fmla="*/ 17982 h 20000"/>
                  <a:gd name="T10" fmla="*/ 5964 w 20000"/>
                  <a:gd name="T11" fmla="*/ 19908 h 20000"/>
                  <a:gd name="T12" fmla="*/ 3709 w 20000"/>
                  <a:gd name="T13" fmla="*/ 19908 h 20000"/>
                  <a:gd name="T14" fmla="*/ 2982 w 20000"/>
                  <a:gd name="T15" fmla="*/ 18440 h 20000"/>
                  <a:gd name="T16" fmla="*/ 0 w 20000"/>
                  <a:gd name="T17" fmla="*/ 18440 h 20000"/>
                  <a:gd name="T18" fmla="*/ 727 w 20000"/>
                  <a:gd name="T19" fmla="*/ 17064 h 20000"/>
                  <a:gd name="T20" fmla="*/ 3709 w 20000"/>
                  <a:gd name="T21" fmla="*/ 14679 h 20000"/>
                  <a:gd name="T22" fmla="*/ 5964 w 20000"/>
                  <a:gd name="T23" fmla="*/ 7064 h 20000"/>
                  <a:gd name="T24" fmla="*/ 8582 w 20000"/>
                  <a:gd name="T25" fmla="*/ 3303 h 20000"/>
                  <a:gd name="T26" fmla="*/ 10836 w 20000"/>
                  <a:gd name="T27" fmla="*/ 0 h 20000"/>
                  <a:gd name="T28" fmla="*/ 10836 w 20000"/>
                  <a:gd name="T29" fmla="*/ 4679 h 20000"/>
                  <a:gd name="T30" fmla="*/ 12800 w 20000"/>
                  <a:gd name="T31" fmla="*/ 4220 h 20000"/>
                  <a:gd name="T32" fmla="*/ 16509 w 20000"/>
                  <a:gd name="T33" fmla="*/ 9908 h 20000"/>
                  <a:gd name="T34" fmla="*/ 16945 w 20000"/>
                  <a:gd name="T35" fmla="*/ 14679 h 20000"/>
                  <a:gd name="T36" fmla="*/ 19491 w 20000"/>
                  <a:gd name="T37" fmla="*/ 16147 h 20000"/>
                  <a:gd name="T38" fmla="*/ 19927 w 20000"/>
                  <a:gd name="T39" fmla="*/ 18440 h 20000"/>
                  <a:gd name="T40" fmla="*/ 17673 w 20000"/>
                  <a:gd name="T41" fmla="*/ 199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17673" y="19908"/>
                    </a:moveTo>
                    <a:lnTo>
                      <a:pt x="13527" y="17982"/>
                    </a:lnTo>
                    <a:lnTo>
                      <a:pt x="13527" y="14220"/>
                    </a:lnTo>
                    <a:lnTo>
                      <a:pt x="11636" y="14679"/>
                    </a:lnTo>
                    <a:lnTo>
                      <a:pt x="8582" y="17982"/>
                    </a:lnTo>
                    <a:lnTo>
                      <a:pt x="5964" y="19908"/>
                    </a:lnTo>
                    <a:lnTo>
                      <a:pt x="3709" y="19908"/>
                    </a:lnTo>
                    <a:lnTo>
                      <a:pt x="2982" y="18440"/>
                    </a:lnTo>
                    <a:lnTo>
                      <a:pt x="0" y="18440"/>
                    </a:lnTo>
                    <a:lnTo>
                      <a:pt x="727" y="17064"/>
                    </a:lnTo>
                    <a:lnTo>
                      <a:pt x="3709" y="14679"/>
                    </a:lnTo>
                    <a:lnTo>
                      <a:pt x="5964" y="7064"/>
                    </a:lnTo>
                    <a:lnTo>
                      <a:pt x="8582" y="3303"/>
                    </a:lnTo>
                    <a:lnTo>
                      <a:pt x="10836" y="0"/>
                    </a:lnTo>
                    <a:lnTo>
                      <a:pt x="10836" y="4679"/>
                    </a:lnTo>
                    <a:lnTo>
                      <a:pt x="12800" y="4220"/>
                    </a:lnTo>
                    <a:lnTo>
                      <a:pt x="16509" y="9908"/>
                    </a:lnTo>
                    <a:lnTo>
                      <a:pt x="16945" y="14679"/>
                    </a:lnTo>
                    <a:lnTo>
                      <a:pt x="19491" y="16147"/>
                    </a:lnTo>
                    <a:lnTo>
                      <a:pt x="19927" y="18440"/>
                    </a:lnTo>
                    <a:lnTo>
                      <a:pt x="17673" y="199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3" name="Freeform 56"/>
              <p:cNvSpPr>
                <a:spLocks/>
              </p:cNvSpPr>
              <p:nvPr/>
            </p:nvSpPr>
            <p:spPr bwMode="auto">
              <a:xfrm>
                <a:off x="2954338" y="1428750"/>
                <a:ext cx="125412" cy="125413"/>
              </a:xfrm>
              <a:custGeom>
                <a:avLst/>
                <a:gdLst>
                  <a:gd name="T0" fmla="*/ 11010 w 20000"/>
                  <a:gd name="T1" fmla="*/ 19898 h 20000"/>
                  <a:gd name="T2" fmla="*/ 4141 w 20000"/>
                  <a:gd name="T3" fmla="*/ 19391 h 20000"/>
                  <a:gd name="T4" fmla="*/ 8889 w 20000"/>
                  <a:gd name="T5" fmla="*/ 13096 h 20000"/>
                  <a:gd name="T6" fmla="*/ 606 w 20000"/>
                  <a:gd name="T7" fmla="*/ 12589 h 20000"/>
                  <a:gd name="T8" fmla="*/ 0 w 20000"/>
                  <a:gd name="T9" fmla="*/ 9949 h 20000"/>
                  <a:gd name="T10" fmla="*/ 606 w 20000"/>
                  <a:gd name="T11" fmla="*/ 4772 h 20000"/>
                  <a:gd name="T12" fmla="*/ 2121 w 20000"/>
                  <a:gd name="T13" fmla="*/ 0 h 20000"/>
                  <a:gd name="T14" fmla="*/ 4141 w 20000"/>
                  <a:gd name="T15" fmla="*/ 1624 h 20000"/>
                  <a:gd name="T16" fmla="*/ 4747 w 20000"/>
                  <a:gd name="T17" fmla="*/ 4772 h 20000"/>
                  <a:gd name="T18" fmla="*/ 6263 w 20000"/>
                  <a:gd name="T19" fmla="*/ 10964 h 20000"/>
                  <a:gd name="T20" fmla="*/ 8889 w 20000"/>
                  <a:gd name="T21" fmla="*/ 4772 h 20000"/>
                  <a:gd name="T22" fmla="*/ 11010 w 20000"/>
                  <a:gd name="T23" fmla="*/ 10964 h 20000"/>
                  <a:gd name="T24" fmla="*/ 11414 w 20000"/>
                  <a:gd name="T25" fmla="*/ 4772 h 20000"/>
                  <a:gd name="T26" fmla="*/ 15152 w 20000"/>
                  <a:gd name="T27" fmla="*/ 4772 h 20000"/>
                  <a:gd name="T28" fmla="*/ 19899 w 20000"/>
                  <a:gd name="T29" fmla="*/ 6193 h 20000"/>
                  <a:gd name="T30" fmla="*/ 19293 w 20000"/>
                  <a:gd name="T31" fmla="*/ 11574 h 20000"/>
                  <a:gd name="T32" fmla="*/ 15657 w 20000"/>
                  <a:gd name="T33" fmla="*/ 16751 h 20000"/>
                  <a:gd name="T34" fmla="*/ 11010 w 20000"/>
                  <a:gd name="T35" fmla="*/ 198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11010" y="19898"/>
                    </a:moveTo>
                    <a:lnTo>
                      <a:pt x="4141" y="19391"/>
                    </a:lnTo>
                    <a:lnTo>
                      <a:pt x="8889" y="13096"/>
                    </a:lnTo>
                    <a:lnTo>
                      <a:pt x="606" y="12589"/>
                    </a:lnTo>
                    <a:lnTo>
                      <a:pt x="0" y="9949"/>
                    </a:lnTo>
                    <a:lnTo>
                      <a:pt x="606" y="4772"/>
                    </a:lnTo>
                    <a:lnTo>
                      <a:pt x="2121" y="0"/>
                    </a:lnTo>
                    <a:lnTo>
                      <a:pt x="4141" y="1624"/>
                    </a:lnTo>
                    <a:lnTo>
                      <a:pt x="4747" y="4772"/>
                    </a:lnTo>
                    <a:lnTo>
                      <a:pt x="6263" y="10964"/>
                    </a:lnTo>
                    <a:lnTo>
                      <a:pt x="8889" y="4772"/>
                    </a:lnTo>
                    <a:lnTo>
                      <a:pt x="11010" y="10964"/>
                    </a:lnTo>
                    <a:lnTo>
                      <a:pt x="11414" y="4772"/>
                    </a:lnTo>
                    <a:lnTo>
                      <a:pt x="15152" y="4772"/>
                    </a:lnTo>
                    <a:lnTo>
                      <a:pt x="19899" y="6193"/>
                    </a:lnTo>
                    <a:lnTo>
                      <a:pt x="19293" y="11574"/>
                    </a:lnTo>
                    <a:lnTo>
                      <a:pt x="15657" y="16751"/>
                    </a:lnTo>
                    <a:lnTo>
                      <a:pt x="11010" y="1989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4" name="Freeform 55"/>
              <p:cNvSpPr>
                <a:spLocks/>
              </p:cNvSpPr>
              <p:nvPr/>
            </p:nvSpPr>
            <p:spPr bwMode="auto">
              <a:xfrm>
                <a:off x="2592388" y="1300163"/>
                <a:ext cx="207962" cy="85725"/>
              </a:xfrm>
              <a:custGeom>
                <a:avLst/>
                <a:gdLst>
                  <a:gd name="T0" fmla="*/ 2866 w 20000"/>
                  <a:gd name="T1" fmla="*/ 19852 h 20000"/>
                  <a:gd name="T2" fmla="*/ 4451 w 20000"/>
                  <a:gd name="T3" fmla="*/ 12296 h 20000"/>
                  <a:gd name="T4" fmla="*/ 1890 w 20000"/>
                  <a:gd name="T5" fmla="*/ 16000 h 20000"/>
                  <a:gd name="T6" fmla="*/ 0 w 20000"/>
                  <a:gd name="T7" fmla="*/ 14519 h 20000"/>
                  <a:gd name="T8" fmla="*/ 366 w 20000"/>
                  <a:gd name="T9" fmla="*/ 9926 h 20000"/>
                  <a:gd name="T10" fmla="*/ 4085 w 20000"/>
                  <a:gd name="T11" fmla="*/ 8444 h 20000"/>
                  <a:gd name="T12" fmla="*/ 6646 w 20000"/>
                  <a:gd name="T13" fmla="*/ 6074 h 20000"/>
                  <a:gd name="T14" fmla="*/ 10732 w 20000"/>
                  <a:gd name="T15" fmla="*/ 2370 h 20000"/>
                  <a:gd name="T16" fmla="*/ 14207 w 20000"/>
                  <a:gd name="T17" fmla="*/ 0 h 20000"/>
                  <a:gd name="T18" fmla="*/ 17439 w 20000"/>
                  <a:gd name="T19" fmla="*/ 2370 h 20000"/>
                  <a:gd name="T20" fmla="*/ 17439 w 20000"/>
                  <a:gd name="T21" fmla="*/ 0 h 20000"/>
                  <a:gd name="T22" fmla="*/ 18659 w 20000"/>
                  <a:gd name="T23" fmla="*/ 593 h 20000"/>
                  <a:gd name="T24" fmla="*/ 19939 w 20000"/>
                  <a:gd name="T25" fmla="*/ 4593 h 20000"/>
                  <a:gd name="T26" fmla="*/ 17439 w 20000"/>
                  <a:gd name="T27" fmla="*/ 6815 h 20000"/>
                  <a:gd name="T28" fmla="*/ 16707 w 20000"/>
                  <a:gd name="T29" fmla="*/ 10815 h 20000"/>
                  <a:gd name="T30" fmla="*/ 15793 w 20000"/>
                  <a:gd name="T31" fmla="*/ 10815 h 20000"/>
                  <a:gd name="T32" fmla="*/ 15793 w 20000"/>
                  <a:gd name="T33" fmla="*/ 13778 h 20000"/>
                  <a:gd name="T34" fmla="*/ 12683 w 20000"/>
                  <a:gd name="T35" fmla="*/ 14519 h 20000"/>
                  <a:gd name="T36" fmla="*/ 11707 w 20000"/>
                  <a:gd name="T37" fmla="*/ 16889 h 20000"/>
                  <a:gd name="T38" fmla="*/ 10122 w 20000"/>
                  <a:gd name="T39" fmla="*/ 14519 h 20000"/>
                  <a:gd name="T40" fmla="*/ 12683 w 20000"/>
                  <a:gd name="T41" fmla="*/ 6815 h 20000"/>
                  <a:gd name="T42" fmla="*/ 9207 w 20000"/>
                  <a:gd name="T43" fmla="*/ 10815 h 20000"/>
                  <a:gd name="T44" fmla="*/ 8476 w 20000"/>
                  <a:gd name="T45" fmla="*/ 13778 h 20000"/>
                  <a:gd name="T46" fmla="*/ 6951 w 20000"/>
                  <a:gd name="T47" fmla="*/ 16000 h 20000"/>
                  <a:gd name="T48" fmla="*/ 7622 w 20000"/>
                  <a:gd name="T49" fmla="*/ 13778 h 20000"/>
                  <a:gd name="T50" fmla="*/ 5061 w 20000"/>
                  <a:gd name="T51" fmla="*/ 16889 h 20000"/>
                  <a:gd name="T52" fmla="*/ 2866 w 20000"/>
                  <a:gd name="T53" fmla="*/ 198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2866" y="19852"/>
                    </a:moveTo>
                    <a:lnTo>
                      <a:pt x="4451" y="12296"/>
                    </a:lnTo>
                    <a:lnTo>
                      <a:pt x="1890" y="16000"/>
                    </a:lnTo>
                    <a:lnTo>
                      <a:pt x="0" y="14519"/>
                    </a:lnTo>
                    <a:lnTo>
                      <a:pt x="366" y="9926"/>
                    </a:lnTo>
                    <a:lnTo>
                      <a:pt x="4085" y="8444"/>
                    </a:lnTo>
                    <a:lnTo>
                      <a:pt x="6646" y="6074"/>
                    </a:lnTo>
                    <a:lnTo>
                      <a:pt x="10732" y="2370"/>
                    </a:lnTo>
                    <a:lnTo>
                      <a:pt x="14207" y="0"/>
                    </a:lnTo>
                    <a:lnTo>
                      <a:pt x="17439" y="2370"/>
                    </a:lnTo>
                    <a:lnTo>
                      <a:pt x="17439" y="0"/>
                    </a:lnTo>
                    <a:lnTo>
                      <a:pt x="18659" y="593"/>
                    </a:lnTo>
                    <a:lnTo>
                      <a:pt x="19939" y="4593"/>
                    </a:lnTo>
                    <a:lnTo>
                      <a:pt x="17439" y="6815"/>
                    </a:lnTo>
                    <a:lnTo>
                      <a:pt x="16707" y="10815"/>
                    </a:lnTo>
                    <a:lnTo>
                      <a:pt x="15793" y="10815"/>
                    </a:lnTo>
                    <a:lnTo>
                      <a:pt x="15793" y="13778"/>
                    </a:lnTo>
                    <a:lnTo>
                      <a:pt x="12683" y="14519"/>
                    </a:lnTo>
                    <a:lnTo>
                      <a:pt x="11707" y="16889"/>
                    </a:lnTo>
                    <a:lnTo>
                      <a:pt x="10122" y="14519"/>
                    </a:lnTo>
                    <a:lnTo>
                      <a:pt x="12683" y="6815"/>
                    </a:lnTo>
                    <a:lnTo>
                      <a:pt x="9207" y="10815"/>
                    </a:lnTo>
                    <a:lnTo>
                      <a:pt x="8476" y="13778"/>
                    </a:lnTo>
                    <a:lnTo>
                      <a:pt x="6951" y="16000"/>
                    </a:lnTo>
                    <a:lnTo>
                      <a:pt x="7622" y="13778"/>
                    </a:lnTo>
                    <a:lnTo>
                      <a:pt x="5061" y="16889"/>
                    </a:lnTo>
                    <a:lnTo>
                      <a:pt x="2866" y="1985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5" name="Freeform 54"/>
              <p:cNvSpPr>
                <a:spLocks/>
              </p:cNvSpPr>
              <p:nvPr/>
            </p:nvSpPr>
            <p:spPr bwMode="auto">
              <a:xfrm>
                <a:off x="2973388" y="1635125"/>
                <a:ext cx="165100" cy="98425"/>
              </a:xfrm>
              <a:custGeom>
                <a:avLst/>
                <a:gdLst>
                  <a:gd name="T0" fmla="*/ 2385 w 20000"/>
                  <a:gd name="T1" fmla="*/ 19872 h 20000"/>
                  <a:gd name="T2" fmla="*/ 0 w 20000"/>
                  <a:gd name="T3" fmla="*/ 17949 h 20000"/>
                  <a:gd name="T4" fmla="*/ 1231 w 20000"/>
                  <a:gd name="T5" fmla="*/ 12564 h 20000"/>
                  <a:gd name="T6" fmla="*/ 3923 w 20000"/>
                  <a:gd name="T7" fmla="*/ 5256 h 20000"/>
                  <a:gd name="T8" fmla="*/ 7538 w 20000"/>
                  <a:gd name="T9" fmla="*/ 0 h 20000"/>
                  <a:gd name="T10" fmla="*/ 13538 w 20000"/>
                  <a:gd name="T11" fmla="*/ 0 h 20000"/>
                  <a:gd name="T12" fmla="*/ 19923 w 20000"/>
                  <a:gd name="T13" fmla="*/ 5256 h 20000"/>
                  <a:gd name="T14" fmla="*/ 14769 w 20000"/>
                  <a:gd name="T15" fmla="*/ 9231 h 20000"/>
                  <a:gd name="T16" fmla="*/ 10385 w 20000"/>
                  <a:gd name="T17" fmla="*/ 16026 h 20000"/>
                  <a:gd name="T18" fmla="*/ 3923 w 20000"/>
                  <a:gd name="T19" fmla="*/ 10513 h 20000"/>
                  <a:gd name="T20" fmla="*/ 3154 w 20000"/>
                  <a:gd name="T21" fmla="*/ 13974 h 20000"/>
                  <a:gd name="T22" fmla="*/ 6385 w 20000"/>
                  <a:gd name="T23" fmla="*/ 14615 h 20000"/>
                  <a:gd name="T24" fmla="*/ 2385 w 20000"/>
                  <a:gd name="T25" fmla="*/ 198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2385" y="19872"/>
                    </a:moveTo>
                    <a:lnTo>
                      <a:pt x="0" y="17949"/>
                    </a:lnTo>
                    <a:lnTo>
                      <a:pt x="1231" y="12564"/>
                    </a:lnTo>
                    <a:lnTo>
                      <a:pt x="3923" y="5256"/>
                    </a:lnTo>
                    <a:lnTo>
                      <a:pt x="7538" y="0"/>
                    </a:lnTo>
                    <a:lnTo>
                      <a:pt x="13538" y="0"/>
                    </a:lnTo>
                    <a:lnTo>
                      <a:pt x="19923" y="5256"/>
                    </a:lnTo>
                    <a:lnTo>
                      <a:pt x="14769" y="9231"/>
                    </a:lnTo>
                    <a:lnTo>
                      <a:pt x="10385" y="16026"/>
                    </a:lnTo>
                    <a:lnTo>
                      <a:pt x="3923" y="10513"/>
                    </a:lnTo>
                    <a:lnTo>
                      <a:pt x="3154" y="13974"/>
                    </a:lnTo>
                    <a:lnTo>
                      <a:pt x="6385" y="14615"/>
                    </a:lnTo>
                    <a:lnTo>
                      <a:pt x="2385" y="1987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6" name="Freeform 53"/>
              <p:cNvSpPr>
                <a:spLocks/>
              </p:cNvSpPr>
              <p:nvPr/>
            </p:nvSpPr>
            <p:spPr bwMode="auto">
              <a:xfrm>
                <a:off x="1665288" y="2636838"/>
                <a:ext cx="98425" cy="122237"/>
              </a:xfrm>
              <a:custGeom>
                <a:avLst/>
                <a:gdLst>
                  <a:gd name="T0" fmla="*/ 19872 w 20000"/>
                  <a:gd name="T1" fmla="*/ 19896 h 20000"/>
                  <a:gd name="T2" fmla="*/ 13333 w 20000"/>
                  <a:gd name="T3" fmla="*/ 18238 h 20000"/>
                  <a:gd name="T4" fmla="*/ 10000 w 20000"/>
                  <a:gd name="T5" fmla="*/ 14404 h 20000"/>
                  <a:gd name="T6" fmla="*/ 6026 w 20000"/>
                  <a:gd name="T7" fmla="*/ 12332 h 20000"/>
                  <a:gd name="T8" fmla="*/ 0 w 20000"/>
                  <a:gd name="T9" fmla="*/ 5907 h 20000"/>
                  <a:gd name="T10" fmla="*/ 0 w 20000"/>
                  <a:gd name="T11" fmla="*/ 1036 h 20000"/>
                  <a:gd name="T12" fmla="*/ 2692 w 20000"/>
                  <a:gd name="T13" fmla="*/ 0 h 20000"/>
                  <a:gd name="T14" fmla="*/ 13333 w 20000"/>
                  <a:gd name="T15" fmla="*/ 5285 h 20000"/>
                  <a:gd name="T16" fmla="*/ 13974 w 20000"/>
                  <a:gd name="T17" fmla="*/ 10155 h 20000"/>
                  <a:gd name="T18" fmla="*/ 16538 w 20000"/>
                  <a:gd name="T19" fmla="*/ 13990 h 20000"/>
                  <a:gd name="T20" fmla="*/ 19872 w 20000"/>
                  <a:gd name="T21" fmla="*/ 1989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9872" y="19896"/>
                    </a:moveTo>
                    <a:lnTo>
                      <a:pt x="13333" y="18238"/>
                    </a:lnTo>
                    <a:lnTo>
                      <a:pt x="10000" y="14404"/>
                    </a:lnTo>
                    <a:lnTo>
                      <a:pt x="6026" y="12332"/>
                    </a:lnTo>
                    <a:lnTo>
                      <a:pt x="0" y="5907"/>
                    </a:lnTo>
                    <a:lnTo>
                      <a:pt x="0" y="1036"/>
                    </a:lnTo>
                    <a:lnTo>
                      <a:pt x="2692" y="0"/>
                    </a:lnTo>
                    <a:lnTo>
                      <a:pt x="13333" y="5285"/>
                    </a:lnTo>
                    <a:lnTo>
                      <a:pt x="13974" y="10155"/>
                    </a:lnTo>
                    <a:lnTo>
                      <a:pt x="16538" y="13990"/>
                    </a:lnTo>
                    <a:lnTo>
                      <a:pt x="19872" y="1989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7" name="Freeform 52"/>
              <p:cNvSpPr>
                <a:spLocks/>
              </p:cNvSpPr>
              <p:nvPr/>
            </p:nvSpPr>
            <p:spPr bwMode="auto">
              <a:xfrm>
                <a:off x="2852738" y="1292225"/>
                <a:ext cx="96837" cy="53975"/>
              </a:xfrm>
              <a:custGeom>
                <a:avLst/>
                <a:gdLst>
                  <a:gd name="T0" fmla="*/ 7500 w 20000"/>
                  <a:gd name="T1" fmla="*/ 19765 h 20000"/>
                  <a:gd name="T2" fmla="*/ 0 w 20000"/>
                  <a:gd name="T3" fmla="*/ 19765 h 20000"/>
                  <a:gd name="T4" fmla="*/ 0 w 20000"/>
                  <a:gd name="T5" fmla="*/ 13412 h 20000"/>
                  <a:gd name="T6" fmla="*/ 789 w 20000"/>
                  <a:gd name="T7" fmla="*/ 8706 h 20000"/>
                  <a:gd name="T8" fmla="*/ 5395 w 20000"/>
                  <a:gd name="T9" fmla="*/ 0 h 20000"/>
                  <a:gd name="T10" fmla="*/ 12368 w 20000"/>
                  <a:gd name="T11" fmla="*/ 0 h 20000"/>
                  <a:gd name="T12" fmla="*/ 19868 w 20000"/>
                  <a:gd name="T13" fmla="*/ 6353 h 20000"/>
                  <a:gd name="T14" fmla="*/ 17763 w 20000"/>
                  <a:gd name="T15" fmla="*/ 10118 h 20000"/>
                  <a:gd name="T16" fmla="*/ 12895 w 20000"/>
                  <a:gd name="T17" fmla="*/ 8706 h 20000"/>
                  <a:gd name="T18" fmla="*/ 12895 w 20000"/>
                  <a:gd name="T19" fmla="*/ 12471 h 20000"/>
                  <a:gd name="T20" fmla="*/ 14474 w 20000"/>
                  <a:gd name="T21" fmla="*/ 13412 h 20000"/>
                  <a:gd name="T22" fmla="*/ 12895 w 20000"/>
                  <a:gd name="T23" fmla="*/ 18353 h 20000"/>
                  <a:gd name="T24" fmla="*/ 7500 w 20000"/>
                  <a:gd name="T25" fmla="*/ 19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7500" y="19765"/>
                    </a:moveTo>
                    <a:lnTo>
                      <a:pt x="0" y="19765"/>
                    </a:lnTo>
                    <a:lnTo>
                      <a:pt x="0" y="13412"/>
                    </a:lnTo>
                    <a:lnTo>
                      <a:pt x="789" y="8706"/>
                    </a:lnTo>
                    <a:lnTo>
                      <a:pt x="5395" y="0"/>
                    </a:lnTo>
                    <a:lnTo>
                      <a:pt x="12368" y="0"/>
                    </a:lnTo>
                    <a:lnTo>
                      <a:pt x="19868" y="6353"/>
                    </a:lnTo>
                    <a:lnTo>
                      <a:pt x="17763" y="10118"/>
                    </a:lnTo>
                    <a:lnTo>
                      <a:pt x="12895" y="8706"/>
                    </a:lnTo>
                    <a:lnTo>
                      <a:pt x="12895" y="12471"/>
                    </a:lnTo>
                    <a:lnTo>
                      <a:pt x="14474" y="13412"/>
                    </a:lnTo>
                    <a:lnTo>
                      <a:pt x="12895" y="18353"/>
                    </a:lnTo>
                    <a:lnTo>
                      <a:pt x="7500" y="19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8" name="Freeform 51"/>
              <p:cNvSpPr>
                <a:spLocks/>
              </p:cNvSpPr>
              <p:nvPr/>
            </p:nvSpPr>
            <p:spPr bwMode="auto">
              <a:xfrm>
                <a:off x="2782888" y="1819275"/>
                <a:ext cx="85725" cy="69850"/>
              </a:xfrm>
              <a:custGeom>
                <a:avLst/>
                <a:gdLst>
                  <a:gd name="T0" fmla="*/ 16889 w 20000"/>
                  <a:gd name="T1" fmla="*/ 19818 h 20000"/>
                  <a:gd name="T2" fmla="*/ 10815 w 20000"/>
                  <a:gd name="T3" fmla="*/ 19818 h 20000"/>
                  <a:gd name="T4" fmla="*/ 6074 w 20000"/>
                  <a:gd name="T5" fmla="*/ 16909 h 20000"/>
                  <a:gd name="T6" fmla="*/ 0 w 20000"/>
                  <a:gd name="T7" fmla="*/ 10364 h 20000"/>
                  <a:gd name="T8" fmla="*/ 4444 w 20000"/>
                  <a:gd name="T9" fmla="*/ 9455 h 20000"/>
                  <a:gd name="T10" fmla="*/ 8444 w 20000"/>
                  <a:gd name="T11" fmla="*/ 4727 h 20000"/>
                  <a:gd name="T12" fmla="*/ 14519 w 20000"/>
                  <a:gd name="T13" fmla="*/ 0 h 20000"/>
                  <a:gd name="T14" fmla="*/ 18370 w 20000"/>
                  <a:gd name="T15" fmla="*/ 9455 h 20000"/>
                  <a:gd name="T16" fmla="*/ 19852 w 20000"/>
                  <a:gd name="T17" fmla="*/ 16909 h 20000"/>
                  <a:gd name="T18" fmla="*/ 16889 w 20000"/>
                  <a:gd name="T19" fmla="*/ 198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16889" y="19818"/>
                    </a:moveTo>
                    <a:lnTo>
                      <a:pt x="10815" y="19818"/>
                    </a:lnTo>
                    <a:lnTo>
                      <a:pt x="6074" y="16909"/>
                    </a:lnTo>
                    <a:lnTo>
                      <a:pt x="0" y="10364"/>
                    </a:lnTo>
                    <a:lnTo>
                      <a:pt x="4444" y="9455"/>
                    </a:lnTo>
                    <a:lnTo>
                      <a:pt x="8444" y="4727"/>
                    </a:lnTo>
                    <a:lnTo>
                      <a:pt x="14519" y="0"/>
                    </a:lnTo>
                    <a:lnTo>
                      <a:pt x="18370" y="9455"/>
                    </a:lnTo>
                    <a:lnTo>
                      <a:pt x="19852" y="16909"/>
                    </a:lnTo>
                    <a:lnTo>
                      <a:pt x="16889" y="1981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89" name="Freeform 50"/>
              <p:cNvSpPr>
                <a:spLocks/>
              </p:cNvSpPr>
              <p:nvPr/>
            </p:nvSpPr>
            <p:spPr bwMode="auto">
              <a:xfrm>
                <a:off x="3325813" y="1706563"/>
                <a:ext cx="85725" cy="66675"/>
              </a:xfrm>
              <a:custGeom>
                <a:avLst/>
                <a:gdLst>
                  <a:gd name="T0" fmla="*/ 19853 w 20000"/>
                  <a:gd name="T1" fmla="*/ 19810 h 20000"/>
                  <a:gd name="T2" fmla="*/ 12941 w 20000"/>
                  <a:gd name="T3" fmla="*/ 16000 h 20000"/>
                  <a:gd name="T4" fmla="*/ 8382 w 20000"/>
                  <a:gd name="T5" fmla="*/ 16000 h 20000"/>
                  <a:gd name="T6" fmla="*/ 2353 w 20000"/>
                  <a:gd name="T7" fmla="*/ 16000 h 20000"/>
                  <a:gd name="T8" fmla="*/ 0 w 20000"/>
                  <a:gd name="T9" fmla="*/ 12952 h 20000"/>
                  <a:gd name="T10" fmla="*/ 2353 w 20000"/>
                  <a:gd name="T11" fmla="*/ 7810 h 20000"/>
                  <a:gd name="T12" fmla="*/ 882 w 20000"/>
                  <a:gd name="T13" fmla="*/ 5143 h 20000"/>
                  <a:gd name="T14" fmla="*/ 3824 w 20000"/>
                  <a:gd name="T15" fmla="*/ 0 h 20000"/>
                  <a:gd name="T16" fmla="*/ 6912 w 20000"/>
                  <a:gd name="T17" fmla="*/ 3048 h 20000"/>
                  <a:gd name="T18" fmla="*/ 16765 w 20000"/>
                  <a:gd name="T19" fmla="*/ 7048 h 20000"/>
                  <a:gd name="T20" fmla="*/ 19853 w 20000"/>
                  <a:gd name="T21" fmla="*/ 1981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9853" y="19810"/>
                    </a:moveTo>
                    <a:lnTo>
                      <a:pt x="12941" y="16000"/>
                    </a:lnTo>
                    <a:lnTo>
                      <a:pt x="8382" y="16000"/>
                    </a:lnTo>
                    <a:lnTo>
                      <a:pt x="2353" y="16000"/>
                    </a:lnTo>
                    <a:lnTo>
                      <a:pt x="0" y="12952"/>
                    </a:lnTo>
                    <a:lnTo>
                      <a:pt x="2353" y="7810"/>
                    </a:lnTo>
                    <a:lnTo>
                      <a:pt x="882" y="5143"/>
                    </a:lnTo>
                    <a:lnTo>
                      <a:pt x="3824" y="0"/>
                    </a:lnTo>
                    <a:lnTo>
                      <a:pt x="6912" y="3048"/>
                    </a:lnTo>
                    <a:lnTo>
                      <a:pt x="16765" y="7048"/>
                    </a:lnTo>
                    <a:lnTo>
                      <a:pt x="19853" y="198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0" name="Freeform 49"/>
              <p:cNvSpPr>
                <a:spLocks/>
              </p:cNvSpPr>
              <p:nvPr/>
            </p:nvSpPr>
            <p:spPr bwMode="auto">
              <a:xfrm>
                <a:off x="3049588" y="1536700"/>
                <a:ext cx="73025" cy="60325"/>
              </a:xfrm>
              <a:custGeom>
                <a:avLst/>
                <a:gdLst>
                  <a:gd name="T0" fmla="*/ 12696 w 20000"/>
                  <a:gd name="T1" fmla="*/ 19787 h 20000"/>
                  <a:gd name="T2" fmla="*/ 3478 w 20000"/>
                  <a:gd name="T3" fmla="*/ 16596 h 20000"/>
                  <a:gd name="T4" fmla="*/ 0 w 20000"/>
                  <a:gd name="T5" fmla="*/ 10000 h 20000"/>
                  <a:gd name="T6" fmla="*/ 8174 w 20000"/>
                  <a:gd name="T7" fmla="*/ 4468 h 20000"/>
                  <a:gd name="T8" fmla="*/ 18783 w 20000"/>
                  <a:gd name="T9" fmla="*/ 0 h 20000"/>
                  <a:gd name="T10" fmla="*/ 19826 w 20000"/>
                  <a:gd name="T11" fmla="*/ 4468 h 20000"/>
                  <a:gd name="T12" fmla="*/ 19826 w 20000"/>
                  <a:gd name="T13" fmla="*/ 10000 h 20000"/>
                  <a:gd name="T14" fmla="*/ 12696 w 20000"/>
                  <a:gd name="T15" fmla="*/ 19787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2696" y="19787"/>
                    </a:moveTo>
                    <a:lnTo>
                      <a:pt x="3478" y="16596"/>
                    </a:lnTo>
                    <a:lnTo>
                      <a:pt x="0" y="10000"/>
                    </a:lnTo>
                    <a:lnTo>
                      <a:pt x="8174" y="4468"/>
                    </a:lnTo>
                    <a:lnTo>
                      <a:pt x="18783" y="0"/>
                    </a:lnTo>
                    <a:lnTo>
                      <a:pt x="19826" y="4468"/>
                    </a:lnTo>
                    <a:lnTo>
                      <a:pt x="19826" y="10000"/>
                    </a:lnTo>
                    <a:lnTo>
                      <a:pt x="12696" y="197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1" name="Freeform 48"/>
              <p:cNvSpPr>
                <a:spLocks/>
              </p:cNvSpPr>
              <p:nvPr/>
            </p:nvSpPr>
            <p:spPr bwMode="auto">
              <a:xfrm>
                <a:off x="3243263" y="1990725"/>
                <a:ext cx="66675" cy="42863"/>
              </a:xfrm>
              <a:custGeom>
                <a:avLst/>
                <a:gdLst>
                  <a:gd name="T0" fmla="*/ 8952 w 20000"/>
                  <a:gd name="T1" fmla="*/ 19706 h 20000"/>
                  <a:gd name="T2" fmla="*/ 0 w 20000"/>
                  <a:gd name="T3" fmla="*/ 16765 h 20000"/>
                  <a:gd name="T4" fmla="*/ 1905 w 20000"/>
                  <a:gd name="T5" fmla="*/ 8824 h 20000"/>
                  <a:gd name="T6" fmla="*/ 6857 w 20000"/>
                  <a:gd name="T7" fmla="*/ 1176 h 20000"/>
                  <a:gd name="T8" fmla="*/ 14857 w 20000"/>
                  <a:gd name="T9" fmla="*/ 0 h 20000"/>
                  <a:gd name="T10" fmla="*/ 19810 w 20000"/>
                  <a:gd name="T11" fmla="*/ 4118 h 20000"/>
                  <a:gd name="T12" fmla="*/ 16762 w 20000"/>
                  <a:gd name="T13" fmla="*/ 16765 h 20000"/>
                  <a:gd name="T14" fmla="*/ 8952 w 20000"/>
                  <a:gd name="T15" fmla="*/ 19706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8952" y="19706"/>
                    </a:moveTo>
                    <a:lnTo>
                      <a:pt x="0" y="16765"/>
                    </a:lnTo>
                    <a:lnTo>
                      <a:pt x="1905" y="8824"/>
                    </a:lnTo>
                    <a:lnTo>
                      <a:pt x="6857" y="1176"/>
                    </a:lnTo>
                    <a:lnTo>
                      <a:pt x="14857" y="0"/>
                    </a:lnTo>
                    <a:lnTo>
                      <a:pt x="19810" y="4118"/>
                    </a:lnTo>
                    <a:lnTo>
                      <a:pt x="16762" y="16765"/>
                    </a:lnTo>
                    <a:lnTo>
                      <a:pt x="8952"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2" name="Freeform 47"/>
              <p:cNvSpPr>
                <a:spLocks/>
              </p:cNvSpPr>
              <p:nvPr/>
            </p:nvSpPr>
            <p:spPr bwMode="auto">
              <a:xfrm>
                <a:off x="2776538" y="1579563"/>
                <a:ext cx="53975" cy="57150"/>
              </a:xfrm>
              <a:custGeom>
                <a:avLst/>
                <a:gdLst>
                  <a:gd name="T0" fmla="*/ 6118 w 20000"/>
                  <a:gd name="T1" fmla="*/ 19775 h 20000"/>
                  <a:gd name="T2" fmla="*/ 3765 w 20000"/>
                  <a:gd name="T3" fmla="*/ 8315 h 20000"/>
                  <a:gd name="T4" fmla="*/ 0 w 20000"/>
                  <a:gd name="T5" fmla="*/ 4719 h 20000"/>
                  <a:gd name="T6" fmla="*/ 8706 w 20000"/>
                  <a:gd name="T7" fmla="*/ 0 h 20000"/>
                  <a:gd name="T8" fmla="*/ 16000 w 20000"/>
                  <a:gd name="T9" fmla="*/ 2472 h 20000"/>
                  <a:gd name="T10" fmla="*/ 19765 w 20000"/>
                  <a:gd name="T11" fmla="*/ 8315 h 20000"/>
                  <a:gd name="T12" fmla="*/ 18353 w 20000"/>
                  <a:gd name="T13" fmla="*/ 13933 h 20000"/>
                  <a:gd name="T14" fmla="*/ 12471 w 20000"/>
                  <a:gd name="T15" fmla="*/ 17528 h 20000"/>
                  <a:gd name="T16" fmla="*/ 6118 w 20000"/>
                  <a:gd name="T17" fmla="*/ 197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6118" y="19775"/>
                    </a:moveTo>
                    <a:lnTo>
                      <a:pt x="3765" y="8315"/>
                    </a:lnTo>
                    <a:lnTo>
                      <a:pt x="0" y="4719"/>
                    </a:lnTo>
                    <a:lnTo>
                      <a:pt x="8706" y="0"/>
                    </a:lnTo>
                    <a:lnTo>
                      <a:pt x="16000" y="2472"/>
                    </a:lnTo>
                    <a:lnTo>
                      <a:pt x="19765" y="8315"/>
                    </a:lnTo>
                    <a:lnTo>
                      <a:pt x="18353" y="13933"/>
                    </a:lnTo>
                    <a:lnTo>
                      <a:pt x="12471" y="17528"/>
                    </a:lnTo>
                    <a:lnTo>
                      <a:pt x="6118" y="197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3" name="Freeform 46"/>
              <p:cNvSpPr>
                <a:spLocks/>
              </p:cNvSpPr>
              <p:nvPr/>
            </p:nvSpPr>
            <p:spPr bwMode="auto">
              <a:xfrm>
                <a:off x="2898775" y="1260475"/>
                <a:ext cx="82550" cy="33338"/>
              </a:xfrm>
              <a:custGeom>
                <a:avLst/>
                <a:gdLst>
                  <a:gd name="T0" fmla="*/ 14308 w 20000"/>
                  <a:gd name="T1" fmla="*/ 19615 h 20000"/>
                  <a:gd name="T2" fmla="*/ 6308 w 20000"/>
                  <a:gd name="T3" fmla="*/ 13462 h 20000"/>
                  <a:gd name="T4" fmla="*/ 0 w 20000"/>
                  <a:gd name="T5" fmla="*/ 8077 h 20000"/>
                  <a:gd name="T6" fmla="*/ 8000 w 20000"/>
                  <a:gd name="T7" fmla="*/ 0 h 20000"/>
                  <a:gd name="T8" fmla="*/ 19846 w 20000"/>
                  <a:gd name="T9" fmla="*/ 0 h 20000"/>
                  <a:gd name="T10" fmla="*/ 19846 w 20000"/>
                  <a:gd name="T11" fmla="*/ 13462 h 20000"/>
                  <a:gd name="T12" fmla="*/ 14308 w 20000"/>
                  <a:gd name="T13" fmla="*/ 1961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4308" y="19615"/>
                    </a:moveTo>
                    <a:lnTo>
                      <a:pt x="6308" y="13462"/>
                    </a:lnTo>
                    <a:lnTo>
                      <a:pt x="0" y="8077"/>
                    </a:lnTo>
                    <a:lnTo>
                      <a:pt x="8000" y="0"/>
                    </a:lnTo>
                    <a:lnTo>
                      <a:pt x="19846" y="0"/>
                    </a:lnTo>
                    <a:lnTo>
                      <a:pt x="19846" y="13462"/>
                    </a:lnTo>
                    <a:lnTo>
                      <a:pt x="14308"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4" name="Freeform 45"/>
              <p:cNvSpPr>
                <a:spLocks/>
              </p:cNvSpPr>
              <p:nvPr/>
            </p:nvSpPr>
            <p:spPr bwMode="auto">
              <a:xfrm>
                <a:off x="2994025" y="2222500"/>
                <a:ext cx="60325" cy="36513"/>
              </a:xfrm>
              <a:custGeom>
                <a:avLst/>
                <a:gdLst>
                  <a:gd name="T0" fmla="*/ 5532 w 20000"/>
                  <a:gd name="T1" fmla="*/ 19655 h 20000"/>
                  <a:gd name="T2" fmla="*/ 0 w 20000"/>
                  <a:gd name="T3" fmla="*/ 17931 h 20000"/>
                  <a:gd name="T4" fmla="*/ 0 w 20000"/>
                  <a:gd name="T5" fmla="*/ 10690 h 20000"/>
                  <a:gd name="T6" fmla="*/ 7660 w 20000"/>
                  <a:gd name="T7" fmla="*/ 0 h 20000"/>
                  <a:gd name="T8" fmla="*/ 19787 w 20000"/>
                  <a:gd name="T9" fmla="*/ 5517 h 20000"/>
                  <a:gd name="T10" fmla="*/ 16596 w 20000"/>
                  <a:gd name="T11" fmla="*/ 10690 h 20000"/>
                  <a:gd name="T12" fmla="*/ 5532 w 20000"/>
                  <a:gd name="T13" fmla="*/ 1965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532" y="19655"/>
                    </a:moveTo>
                    <a:lnTo>
                      <a:pt x="0" y="17931"/>
                    </a:lnTo>
                    <a:lnTo>
                      <a:pt x="0" y="10690"/>
                    </a:lnTo>
                    <a:lnTo>
                      <a:pt x="7660" y="0"/>
                    </a:lnTo>
                    <a:lnTo>
                      <a:pt x="19787" y="5517"/>
                    </a:lnTo>
                    <a:lnTo>
                      <a:pt x="16596" y="10690"/>
                    </a:lnTo>
                    <a:lnTo>
                      <a:pt x="5532" y="1965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5" name="Freeform 44"/>
              <p:cNvSpPr>
                <a:spLocks/>
              </p:cNvSpPr>
              <p:nvPr/>
            </p:nvSpPr>
            <p:spPr bwMode="auto">
              <a:xfrm>
                <a:off x="3335338" y="2851150"/>
                <a:ext cx="63500" cy="36513"/>
              </a:xfrm>
              <a:custGeom>
                <a:avLst/>
                <a:gdLst>
                  <a:gd name="T0" fmla="*/ 19798 w 20000"/>
                  <a:gd name="T1" fmla="*/ 19655 h 20000"/>
                  <a:gd name="T2" fmla="*/ 11515 w 20000"/>
                  <a:gd name="T3" fmla="*/ 19655 h 20000"/>
                  <a:gd name="T4" fmla="*/ 5253 w 20000"/>
                  <a:gd name="T5" fmla="*/ 10690 h 20000"/>
                  <a:gd name="T6" fmla="*/ 0 w 20000"/>
                  <a:gd name="T7" fmla="*/ 0 h 20000"/>
                  <a:gd name="T8" fmla="*/ 3232 w 20000"/>
                  <a:gd name="T9" fmla="*/ 0 h 20000"/>
                  <a:gd name="T10" fmla="*/ 13535 w 20000"/>
                  <a:gd name="T11" fmla="*/ 6897 h 20000"/>
                  <a:gd name="T12" fmla="*/ 18788 w 20000"/>
                  <a:gd name="T13" fmla="*/ 14138 h 20000"/>
                  <a:gd name="T14" fmla="*/ 19798 w 20000"/>
                  <a:gd name="T15" fmla="*/ 19655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798" y="19655"/>
                    </a:moveTo>
                    <a:lnTo>
                      <a:pt x="11515" y="19655"/>
                    </a:lnTo>
                    <a:lnTo>
                      <a:pt x="5253" y="10690"/>
                    </a:lnTo>
                    <a:lnTo>
                      <a:pt x="0" y="0"/>
                    </a:lnTo>
                    <a:lnTo>
                      <a:pt x="3232" y="0"/>
                    </a:lnTo>
                    <a:lnTo>
                      <a:pt x="13535" y="6897"/>
                    </a:lnTo>
                    <a:lnTo>
                      <a:pt x="18788" y="14138"/>
                    </a:lnTo>
                    <a:lnTo>
                      <a:pt x="19798" y="1965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6" name="Freeform 43"/>
              <p:cNvSpPr>
                <a:spLocks/>
              </p:cNvSpPr>
              <p:nvPr/>
            </p:nvSpPr>
            <p:spPr bwMode="auto">
              <a:xfrm>
                <a:off x="3070225" y="2259013"/>
                <a:ext cx="33338" cy="44450"/>
              </a:xfrm>
              <a:custGeom>
                <a:avLst/>
                <a:gdLst>
                  <a:gd name="T0" fmla="*/ 5769 w 20000"/>
                  <a:gd name="T1" fmla="*/ 19710 h 20000"/>
                  <a:gd name="T2" fmla="*/ 0 w 20000"/>
                  <a:gd name="T3" fmla="*/ 15072 h 20000"/>
                  <a:gd name="T4" fmla="*/ 9615 w 20000"/>
                  <a:gd name="T5" fmla="*/ 2899 h 20000"/>
                  <a:gd name="T6" fmla="*/ 19615 w 20000"/>
                  <a:gd name="T7" fmla="*/ 0 h 20000"/>
                  <a:gd name="T8" fmla="*/ 19615 w 20000"/>
                  <a:gd name="T9" fmla="*/ 7536 h 20000"/>
                  <a:gd name="T10" fmla="*/ 5769 w 20000"/>
                  <a:gd name="T11" fmla="*/ 19710 h 20000"/>
                </a:gdLst>
                <a:ahLst/>
                <a:cxnLst>
                  <a:cxn ang="0">
                    <a:pos x="T0" y="T1"/>
                  </a:cxn>
                  <a:cxn ang="0">
                    <a:pos x="T2" y="T3"/>
                  </a:cxn>
                  <a:cxn ang="0">
                    <a:pos x="T4" y="T5"/>
                  </a:cxn>
                  <a:cxn ang="0">
                    <a:pos x="T6" y="T7"/>
                  </a:cxn>
                  <a:cxn ang="0">
                    <a:pos x="T8" y="T9"/>
                  </a:cxn>
                  <a:cxn ang="0">
                    <a:pos x="T10" y="T11"/>
                  </a:cxn>
                </a:cxnLst>
                <a:rect l="0" t="0" r="r" b="b"/>
                <a:pathLst>
                  <a:path w="20000" h="20000">
                    <a:moveTo>
                      <a:pt x="5769" y="19710"/>
                    </a:moveTo>
                    <a:lnTo>
                      <a:pt x="0" y="15072"/>
                    </a:lnTo>
                    <a:lnTo>
                      <a:pt x="9615" y="2899"/>
                    </a:lnTo>
                    <a:lnTo>
                      <a:pt x="19615" y="0"/>
                    </a:lnTo>
                    <a:lnTo>
                      <a:pt x="19615" y="7536"/>
                    </a:lnTo>
                    <a:lnTo>
                      <a:pt x="5769" y="197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7" name="Freeform 42"/>
              <p:cNvSpPr>
                <a:spLocks/>
              </p:cNvSpPr>
              <p:nvPr/>
            </p:nvSpPr>
            <p:spPr bwMode="auto">
              <a:xfrm>
                <a:off x="3144838" y="2212975"/>
                <a:ext cx="17462" cy="20638"/>
              </a:xfrm>
              <a:custGeom>
                <a:avLst/>
                <a:gdLst>
                  <a:gd name="T0" fmla="*/ 3704 w 20000"/>
                  <a:gd name="T1" fmla="*/ 19375 h 20000"/>
                  <a:gd name="T2" fmla="*/ 0 w 20000"/>
                  <a:gd name="T3" fmla="*/ 0 h 20000"/>
                  <a:gd name="T4" fmla="*/ 19259 w 20000"/>
                  <a:gd name="T5" fmla="*/ 3750 h 20000"/>
                  <a:gd name="T6" fmla="*/ 19259 w 20000"/>
                  <a:gd name="T7" fmla="*/ 15625 h 20000"/>
                  <a:gd name="T8" fmla="*/ 3704 w 20000"/>
                  <a:gd name="T9" fmla="*/ 19375 h 20000"/>
                </a:gdLst>
                <a:ahLst/>
                <a:cxnLst>
                  <a:cxn ang="0">
                    <a:pos x="T0" y="T1"/>
                  </a:cxn>
                  <a:cxn ang="0">
                    <a:pos x="T2" y="T3"/>
                  </a:cxn>
                  <a:cxn ang="0">
                    <a:pos x="T4" y="T5"/>
                  </a:cxn>
                  <a:cxn ang="0">
                    <a:pos x="T6" y="T7"/>
                  </a:cxn>
                  <a:cxn ang="0">
                    <a:pos x="T8" y="T9"/>
                  </a:cxn>
                </a:cxnLst>
                <a:rect l="0" t="0" r="r" b="b"/>
                <a:pathLst>
                  <a:path w="20000" h="20000">
                    <a:moveTo>
                      <a:pt x="3704" y="19375"/>
                    </a:moveTo>
                    <a:lnTo>
                      <a:pt x="0" y="0"/>
                    </a:lnTo>
                    <a:lnTo>
                      <a:pt x="19259" y="3750"/>
                    </a:lnTo>
                    <a:lnTo>
                      <a:pt x="19259" y="15625"/>
                    </a:lnTo>
                    <a:lnTo>
                      <a:pt x="3704"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8" name="Freeform 41"/>
              <p:cNvSpPr>
                <a:spLocks/>
              </p:cNvSpPr>
              <p:nvPr/>
            </p:nvSpPr>
            <p:spPr bwMode="auto">
              <a:xfrm>
                <a:off x="3171825" y="2206625"/>
                <a:ext cx="17463" cy="17463"/>
              </a:xfrm>
              <a:custGeom>
                <a:avLst/>
                <a:gdLst>
                  <a:gd name="T0" fmla="*/ 3704 w 20000"/>
                  <a:gd name="T1" fmla="*/ 19259 h 20000"/>
                  <a:gd name="T2" fmla="*/ 0 w 20000"/>
                  <a:gd name="T3" fmla="*/ 0 h 20000"/>
                  <a:gd name="T4" fmla="*/ 11852 w 20000"/>
                  <a:gd name="T5" fmla="*/ 0 h 20000"/>
                  <a:gd name="T6" fmla="*/ 19259 w 20000"/>
                  <a:gd name="T7" fmla="*/ 11852 h 20000"/>
                  <a:gd name="T8" fmla="*/ 3704 w 20000"/>
                  <a:gd name="T9" fmla="*/ 19259 h 20000"/>
                </a:gdLst>
                <a:ahLst/>
                <a:cxnLst>
                  <a:cxn ang="0">
                    <a:pos x="T0" y="T1"/>
                  </a:cxn>
                  <a:cxn ang="0">
                    <a:pos x="T2" y="T3"/>
                  </a:cxn>
                  <a:cxn ang="0">
                    <a:pos x="T4" y="T5"/>
                  </a:cxn>
                  <a:cxn ang="0">
                    <a:pos x="T6" y="T7"/>
                  </a:cxn>
                  <a:cxn ang="0">
                    <a:pos x="T8" y="T9"/>
                  </a:cxn>
                </a:cxnLst>
                <a:rect l="0" t="0" r="r" b="b"/>
                <a:pathLst>
                  <a:path w="20000" h="20000">
                    <a:moveTo>
                      <a:pt x="3704" y="19259"/>
                    </a:moveTo>
                    <a:lnTo>
                      <a:pt x="0" y="0"/>
                    </a:lnTo>
                    <a:lnTo>
                      <a:pt x="11852" y="0"/>
                    </a:lnTo>
                    <a:lnTo>
                      <a:pt x="19259" y="11852"/>
                    </a:lnTo>
                    <a:lnTo>
                      <a:pt x="3704"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899" name="Freeform 40"/>
              <p:cNvSpPr>
                <a:spLocks/>
              </p:cNvSpPr>
              <p:nvPr/>
            </p:nvSpPr>
            <p:spPr bwMode="auto">
              <a:xfrm>
                <a:off x="2755900" y="4076700"/>
                <a:ext cx="339725" cy="476250"/>
              </a:xfrm>
              <a:custGeom>
                <a:avLst/>
                <a:gdLst>
                  <a:gd name="T0" fmla="*/ 3701 w 20000"/>
                  <a:gd name="T1" fmla="*/ 5513 h 20000"/>
                  <a:gd name="T2" fmla="*/ 5047 w 20000"/>
                  <a:gd name="T3" fmla="*/ 3728 h 20000"/>
                  <a:gd name="T4" fmla="*/ 6206 w 20000"/>
                  <a:gd name="T5" fmla="*/ 2503 h 20000"/>
                  <a:gd name="T6" fmla="*/ 8112 w 20000"/>
                  <a:gd name="T7" fmla="*/ 1917 h 20000"/>
                  <a:gd name="T8" fmla="*/ 10879 w 20000"/>
                  <a:gd name="T9" fmla="*/ 1092 h 20000"/>
                  <a:gd name="T10" fmla="*/ 11850 w 20000"/>
                  <a:gd name="T11" fmla="*/ 426 h 20000"/>
                  <a:gd name="T12" fmla="*/ 13383 w 20000"/>
                  <a:gd name="T13" fmla="*/ 426 h 20000"/>
                  <a:gd name="T14" fmla="*/ 11850 w 20000"/>
                  <a:gd name="T15" fmla="*/ 826 h 20000"/>
                  <a:gd name="T16" fmla="*/ 10654 w 20000"/>
                  <a:gd name="T17" fmla="*/ 2237 h 20000"/>
                  <a:gd name="T18" fmla="*/ 9869 w 20000"/>
                  <a:gd name="T19" fmla="*/ 3329 h 20000"/>
                  <a:gd name="T20" fmla="*/ 10280 w 20000"/>
                  <a:gd name="T21" fmla="*/ 3995 h 20000"/>
                  <a:gd name="T22" fmla="*/ 11252 w 20000"/>
                  <a:gd name="T23" fmla="*/ 6205 h 20000"/>
                  <a:gd name="T24" fmla="*/ 14916 w 20000"/>
                  <a:gd name="T25" fmla="*/ 6897 h 20000"/>
                  <a:gd name="T26" fmla="*/ 19364 w 20000"/>
                  <a:gd name="T27" fmla="*/ 7723 h 20000"/>
                  <a:gd name="T28" fmla="*/ 18804 w 20000"/>
                  <a:gd name="T29" fmla="*/ 10200 h 20000"/>
                  <a:gd name="T30" fmla="*/ 18991 w 20000"/>
                  <a:gd name="T31" fmla="*/ 11585 h 20000"/>
                  <a:gd name="T32" fmla="*/ 19963 w 20000"/>
                  <a:gd name="T33" fmla="*/ 13795 h 20000"/>
                  <a:gd name="T34" fmla="*/ 18991 w 20000"/>
                  <a:gd name="T35" fmla="*/ 12676 h 20000"/>
                  <a:gd name="T36" fmla="*/ 17832 w 20000"/>
                  <a:gd name="T37" fmla="*/ 13076 h 20000"/>
                  <a:gd name="T38" fmla="*/ 14916 w 20000"/>
                  <a:gd name="T39" fmla="*/ 13076 h 20000"/>
                  <a:gd name="T40" fmla="*/ 15888 w 20000"/>
                  <a:gd name="T41" fmla="*/ 14061 h 20000"/>
                  <a:gd name="T42" fmla="*/ 14916 w 20000"/>
                  <a:gd name="T43" fmla="*/ 14487 h 20000"/>
                  <a:gd name="T44" fmla="*/ 15701 w 20000"/>
                  <a:gd name="T45" fmla="*/ 15579 h 20000"/>
                  <a:gd name="T46" fmla="*/ 14916 w 20000"/>
                  <a:gd name="T47" fmla="*/ 19973 h 20000"/>
                  <a:gd name="T48" fmla="*/ 13944 w 20000"/>
                  <a:gd name="T49" fmla="*/ 19281 h 20000"/>
                  <a:gd name="T50" fmla="*/ 13159 w 20000"/>
                  <a:gd name="T51" fmla="*/ 17763 h 20000"/>
                  <a:gd name="T52" fmla="*/ 10879 w 20000"/>
                  <a:gd name="T53" fmla="*/ 18029 h 20000"/>
                  <a:gd name="T54" fmla="*/ 9308 w 20000"/>
                  <a:gd name="T55" fmla="*/ 17097 h 20000"/>
                  <a:gd name="T56" fmla="*/ 6804 w 20000"/>
                  <a:gd name="T57" fmla="*/ 15313 h 20000"/>
                  <a:gd name="T58" fmla="*/ 5234 w 20000"/>
                  <a:gd name="T59" fmla="*/ 14887 h 20000"/>
                  <a:gd name="T60" fmla="*/ 3140 w 20000"/>
                  <a:gd name="T61" fmla="*/ 14594 h 20000"/>
                  <a:gd name="T62" fmla="*/ 224 w 20000"/>
                  <a:gd name="T63" fmla="*/ 13395 h 20000"/>
                  <a:gd name="T64" fmla="*/ 598 w 20000"/>
                  <a:gd name="T65" fmla="*/ 11984 h 20000"/>
                  <a:gd name="T66" fmla="*/ 2692 w 20000"/>
                  <a:gd name="T67" fmla="*/ 10466 h 20000"/>
                  <a:gd name="T68" fmla="*/ 2692 w 20000"/>
                  <a:gd name="T69" fmla="*/ 9374 h 20000"/>
                  <a:gd name="T70" fmla="*/ 2692 w 20000"/>
                  <a:gd name="T71" fmla="*/ 7590 h 20000"/>
                  <a:gd name="T72" fmla="*/ 1757 w 20000"/>
                  <a:gd name="T73" fmla="*/ 6471 h 20000"/>
                  <a:gd name="T74" fmla="*/ 2542 w 20000"/>
                  <a:gd name="T75" fmla="*/ 6205 h 20000"/>
                  <a:gd name="T76" fmla="*/ 3140 w 20000"/>
                  <a:gd name="T77" fmla="*/ 46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3140" y="4687"/>
                    </a:moveTo>
                    <a:lnTo>
                      <a:pt x="3701" y="5513"/>
                    </a:lnTo>
                    <a:lnTo>
                      <a:pt x="3701" y="4687"/>
                    </a:lnTo>
                    <a:lnTo>
                      <a:pt x="5047" y="3728"/>
                    </a:lnTo>
                    <a:lnTo>
                      <a:pt x="5832" y="3595"/>
                    </a:lnTo>
                    <a:lnTo>
                      <a:pt x="6206" y="2503"/>
                    </a:lnTo>
                    <a:lnTo>
                      <a:pt x="7589" y="1811"/>
                    </a:lnTo>
                    <a:lnTo>
                      <a:pt x="8112" y="1917"/>
                    </a:lnTo>
                    <a:lnTo>
                      <a:pt x="8336" y="1518"/>
                    </a:lnTo>
                    <a:lnTo>
                      <a:pt x="10879" y="1092"/>
                    </a:lnTo>
                    <a:lnTo>
                      <a:pt x="11626" y="826"/>
                    </a:lnTo>
                    <a:lnTo>
                      <a:pt x="11850" y="426"/>
                    </a:lnTo>
                    <a:lnTo>
                      <a:pt x="12785" y="0"/>
                    </a:lnTo>
                    <a:lnTo>
                      <a:pt x="13383" y="426"/>
                    </a:lnTo>
                    <a:lnTo>
                      <a:pt x="12785" y="719"/>
                    </a:lnTo>
                    <a:lnTo>
                      <a:pt x="11850" y="826"/>
                    </a:lnTo>
                    <a:lnTo>
                      <a:pt x="11626" y="1518"/>
                    </a:lnTo>
                    <a:lnTo>
                      <a:pt x="10654" y="2237"/>
                    </a:lnTo>
                    <a:lnTo>
                      <a:pt x="9869" y="2903"/>
                    </a:lnTo>
                    <a:lnTo>
                      <a:pt x="9869" y="3329"/>
                    </a:lnTo>
                    <a:lnTo>
                      <a:pt x="9869" y="3995"/>
                    </a:lnTo>
                    <a:lnTo>
                      <a:pt x="10280" y="3995"/>
                    </a:lnTo>
                    <a:lnTo>
                      <a:pt x="11252" y="5379"/>
                    </a:lnTo>
                    <a:lnTo>
                      <a:pt x="11252" y="6205"/>
                    </a:lnTo>
                    <a:lnTo>
                      <a:pt x="12411" y="6897"/>
                    </a:lnTo>
                    <a:lnTo>
                      <a:pt x="14916" y="6897"/>
                    </a:lnTo>
                    <a:lnTo>
                      <a:pt x="15888" y="7723"/>
                    </a:lnTo>
                    <a:lnTo>
                      <a:pt x="19364" y="7723"/>
                    </a:lnTo>
                    <a:lnTo>
                      <a:pt x="18430" y="8815"/>
                    </a:lnTo>
                    <a:lnTo>
                      <a:pt x="18804" y="10200"/>
                    </a:lnTo>
                    <a:lnTo>
                      <a:pt x="19364" y="10892"/>
                    </a:lnTo>
                    <a:lnTo>
                      <a:pt x="18991" y="11585"/>
                    </a:lnTo>
                    <a:lnTo>
                      <a:pt x="19364" y="12410"/>
                    </a:lnTo>
                    <a:lnTo>
                      <a:pt x="19963" y="13795"/>
                    </a:lnTo>
                    <a:lnTo>
                      <a:pt x="19738" y="13502"/>
                    </a:lnTo>
                    <a:lnTo>
                      <a:pt x="18991" y="12676"/>
                    </a:lnTo>
                    <a:lnTo>
                      <a:pt x="17832" y="12676"/>
                    </a:lnTo>
                    <a:lnTo>
                      <a:pt x="17832" y="13076"/>
                    </a:lnTo>
                    <a:lnTo>
                      <a:pt x="15701" y="12969"/>
                    </a:lnTo>
                    <a:lnTo>
                      <a:pt x="14916" y="13076"/>
                    </a:lnTo>
                    <a:lnTo>
                      <a:pt x="14916" y="13795"/>
                    </a:lnTo>
                    <a:lnTo>
                      <a:pt x="15888" y="14061"/>
                    </a:lnTo>
                    <a:lnTo>
                      <a:pt x="15888" y="14487"/>
                    </a:lnTo>
                    <a:lnTo>
                      <a:pt x="14916" y="14487"/>
                    </a:lnTo>
                    <a:lnTo>
                      <a:pt x="14692" y="15153"/>
                    </a:lnTo>
                    <a:lnTo>
                      <a:pt x="15701" y="15579"/>
                    </a:lnTo>
                    <a:lnTo>
                      <a:pt x="15888" y="16405"/>
                    </a:lnTo>
                    <a:lnTo>
                      <a:pt x="14916" y="19973"/>
                    </a:lnTo>
                    <a:lnTo>
                      <a:pt x="14692" y="19973"/>
                    </a:lnTo>
                    <a:lnTo>
                      <a:pt x="13944" y="19281"/>
                    </a:lnTo>
                    <a:lnTo>
                      <a:pt x="14318" y="18189"/>
                    </a:lnTo>
                    <a:lnTo>
                      <a:pt x="13159" y="17763"/>
                    </a:lnTo>
                    <a:lnTo>
                      <a:pt x="11850" y="17497"/>
                    </a:lnTo>
                    <a:lnTo>
                      <a:pt x="10879" y="18029"/>
                    </a:lnTo>
                    <a:lnTo>
                      <a:pt x="9869" y="18029"/>
                    </a:lnTo>
                    <a:lnTo>
                      <a:pt x="9308" y="17097"/>
                    </a:lnTo>
                    <a:lnTo>
                      <a:pt x="7738" y="16272"/>
                    </a:lnTo>
                    <a:lnTo>
                      <a:pt x="6804" y="15313"/>
                    </a:lnTo>
                    <a:lnTo>
                      <a:pt x="5832" y="15153"/>
                    </a:lnTo>
                    <a:lnTo>
                      <a:pt x="5234" y="14887"/>
                    </a:lnTo>
                    <a:lnTo>
                      <a:pt x="4299" y="14594"/>
                    </a:lnTo>
                    <a:lnTo>
                      <a:pt x="3140" y="14594"/>
                    </a:lnTo>
                    <a:lnTo>
                      <a:pt x="2131" y="14061"/>
                    </a:lnTo>
                    <a:lnTo>
                      <a:pt x="224" y="13395"/>
                    </a:lnTo>
                    <a:lnTo>
                      <a:pt x="0" y="12969"/>
                    </a:lnTo>
                    <a:lnTo>
                      <a:pt x="598" y="11984"/>
                    </a:lnTo>
                    <a:lnTo>
                      <a:pt x="2542" y="11158"/>
                    </a:lnTo>
                    <a:lnTo>
                      <a:pt x="2692" y="10466"/>
                    </a:lnTo>
                    <a:lnTo>
                      <a:pt x="2542" y="10067"/>
                    </a:lnTo>
                    <a:lnTo>
                      <a:pt x="2692" y="9374"/>
                    </a:lnTo>
                    <a:lnTo>
                      <a:pt x="2542" y="8389"/>
                    </a:lnTo>
                    <a:lnTo>
                      <a:pt x="2692" y="7590"/>
                    </a:lnTo>
                    <a:lnTo>
                      <a:pt x="2542" y="7190"/>
                    </a:lnTo>
                    <a:lnTo>
                      <a:pt x="1757" y="6471"/>
                    </a:lnTo>
                    <a:lnTo>
                      <a:pt x="2131" y="5939"/>
                    </a:lnTo>
                    <a:lnTo>
                      <a:pt x="2542" y="6205"/>
                    </a:lnTo>
                    <a:lnTo>
                      <a:pt x="3140" y="5513"/>
                    </a:lnTo>
                    <a:lnTo>
                      <a:pt x="3140" y="46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0" name="Freeform 39"/>
              <p:cNvSpPr>
                <a:spLocks/>
              </p:cNvSpPr>
              <p:nvPr/>
            </p:nvSpPr>
            <p:spPr bwMode="auto">
              <a:xfrm>
                <a:off x="2619375" y="3751263"/>
                <a:ext cx="303213" cy="109537"/>
              </a:xfrm>
              <a:custGeom>
                <a:avLst/>
                <a:gdLst>
                  <a:gd name="T0" fmla="*/ 13222 w 20000"/>
                  <a:gd name="T1" fmla="*/ 19884 h 20000"/>
                  <a:gd name="T2" fmla="*/ 14310 w 20000"/>
                  <a:gd name="T3" fmla="*/ 15581 h 20000"/>
                  <a:gd name="T4" fmla="*/ 12134 w 20000"/>
                  <a:gd name="T5" fmla="*/ 13953 h 20000"/>
                  <a:gd name="T6" fmla="*/ 11464 w 20000"/>
                  <a:gd name="T7" fmla="*/ 8953 h 20000"/>
                  <a:gd name="T8" fmla="*/ 9079 w 20000"/>
                  <a:gd name="T9" fmla="*/ 8953 h 20000"/>
                  <a:gd name="T10" fmla="*/ 5649 w 20000"/>
                  <a:gd name="T11" fmla="*/ 4767 h 20000"/>
                  <a:gd name="T12" fmla="*/ 6276 w 20000"/>
                  <a:gd name="T13" fmla="*/ 4186 h 20000"/>
                  <a:gd name="T14" fmla="*/ 4100 w 20000"/>
                  <a:gd name="T15" fmla="*/ 3023 h 20000"/>
                  <a:gd name="T16" fmla="*/ 2385 w 20000"/>
                  <a:gd name="T17" fmla="*/ 7093 h 20000"/>
                  <a:gd name="T18" fmla="*/ 0 w 20000"/>
                  <a:gd name="T19" fmla="*/ 7093 h 20000"/>
                  <a:gd name="T20" fmla="*/ 1297 w 20000"/>
                  <a:gd name="T21" fmla="*/ 4767 h 20000"/>
                  <a:gd name="T22" fmla="*/ 2845 w 20000"/>
                  <a:gd name="T23" fmla="*/ 2326 h 20000"/>
                  <a:gd name="T24" fmla="*/ 5230 w 20000"/>
                  <a:gd name="T25" fmla="*/ 0 h 20000"/>
                  <a:gd name="T26" fmla="*/ 7364 w 20000"/>
                  <a:gd name="T27" fmla="*/ 0 h 20000"/>
                  <a:gd name="T28" fmla="*/ 9749 w 20000"/>
                  <a:gd name="T29" fmla="*/ 2326 h 20000"/>
                  <a:gd name="T30" fmla="*/ 12134 w 20000"/>
                  <a:gd name="T31" fmla="*/ 5930 h 20000"/>
                  <a:gd name="T32" fmla="*/ 14310 w 20000"/>
                  <a:gd name="T33" fmla="*/ 8953 h 20000"/>
                  <a:gd name="T34" fmla="*/ 17113 w 20000"/>
                  <a:gd name="T35" fmla="*/ 12558 h 20000"/>
                  <a:gd name="T36" fmla="*/ 16695 w 20000"/>
                  <a:gd name="T37" fmla="*/ 15116 h 20000"/>
                  <a:gd name="T38" fmla="*/ 18410 w 20000"/>
                  <a:gd name="T39" fmla="*/ 15581 h 20000"/>
                  <a:gd name="T40" fmla="*/ 19958 w 20000"/>
                  <a:gd name="T41" fmla="*/ 17442 h 20000"/>
                  <a:gd name="T42" fmla="*/ 13222 w 20000"/>
                  <a:gd name="T43" fmla="*/ 198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13222" y="19884"/>
                    </a:moveTo>
                    <a:lnTo>
                      <a:pt x="14310" y="15581"/>
                    </a:lnTo>
                    <a:lnTo>
                      <a:pt x="12134" y="13953"/>
                    </a:lnTo>
                    <a:lnTo>
                      <a:pt x="11464" y="8953"/>
                    </a:lnTo>
                    <a:lnTo>
                      <a:pt x="9079" y="8953"/>
                    </a:lnTo>
                    <a:lnTo>
                      <a:pt x="5649" y="4767"/>
                    </a:lnTo>
                    <a:lnTo>
                      <a:pt x="6276" y="4186"/>
                    </a:lnTo>
                    <a:lnTo>
                      <a:pt x="4100" y="3023"/>
                    </a:lnTo>
                    <a:lnTo>
                      <a:pt x="2385" y="7093"/>
                    </a:lnTo>
                    <a:lnTo>
                      <a:pt x="0" y="7093"/>
                    </a:lnTo>
                    <a:lnTo>
                      <a:pt x="1297" y="4767"/>
                    </a:lnTo>
                    <a:lnTo>
                      <a:pt x="2845" y="2326"/>
                    </a:lnTo>
                    <a:lnTo>
                      <a:pt x="5230" y="0"/>
                    </a:lnTo>
                    <a:lnTo>
                      <a:pt x="7364" y="0"/>
                    </a:lnTo>
                    <a:lnTo>
                      <a:pt x="9749" y="2326"/>
                    </a:lnTo>
                    <a:lnTo>
                      <a:pt x="12134" y="5930"/>
                    </a:lnTo>
                    <a:lnTo>
                      <a:pt x="14310" y="8953"/>
                    </a:lnTo>
                    <a:lnTo>
                      <a:pt x="17113" y="12558"/>
                    </a:lnTo>
                    <a:lnTo>
                      <a:pt x="16695" y="15116"/>
                    </a:lnTo>
                    <a:lnTo>
                      <a:pt x="18410" y="15581"/>
                    </a:lnTo>
                    <a:lnTo>
                      <a:pt x="19958" y="17442"/>
                    </a:lnTo>
                    <a:lnTo>
                      <a:pt x="13222" y="198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1" name="Freeform 38"/>
              <p:cNvSpPr>
                <a:spLocks/>
              </p:cNvSpPr>
              <p:nvPr/>
            </p:nvSpPr>
            <p:spPr bwMode="auto">
              <a:xfrm>
                <a:off x="1773238" y="3403600"/>
                <a:ext cx="793750" cy="604838"/>
              </a:xfrm>
              <a:custGeom>
                <a:avLst/>
                <a:gdLst>
                  <a:gd name="T0" fmla="*/ 1584 w 20000"/>
                  <a:gd name="T1" fmla="*/ 0 h 20000"/>
                  <a:gd name="T2" fmla="*/ 4160 w 20000"/>
                  <a:gd name="T3" fmla="*/ 1721 h 20000"/>
                  <a:gd name="T4" fmla="*/ 6144 w 20000"/>
                  <a:gd name="T5" fmla="*/ 1406 h 20000"/>
                  <a:gd name="T6" fmla="*/ 8304 w 20000"/>
                  <a:gd name="T7" fmla="*/ 2917 h 20000"/>
                  <a:gd name="T8" fmla="*/ 9360 w 20000"/>
                  <a:gd name="T9" fmla="*/ 4659 h 20000"/>
                  <a:gd name="T10" fmla="*/ 10704 w 20000"/>
                  <a:gd name="T11" fmla="*/ 4113 h 20000"/>
                  <a:gd name="T12" fmla="*/ 11616 w 20000"/>
                  <a:gd name="T13" fmla="*/ 6401 h 20000"/>
                  <a:gd name="T14" fmla="*/ 12848 w 20000"/>
                  <a:gd name="T15" fmla="*/ 8227 h 20000"/>
                  <a:gd name="T16" fmla="*/ 13024 w 20000"/>
                  <a:gd name="T17" fmla="*/ 8688 h 20000"/>
                  <a:gd name="T18" fmla="*/ 12592 w 20000"/>
                  <a:gd name="T19" fmla="*/ 9759 h 20000"/>
                  <a:gd name="T20" fmla="*/ 12272 w 20000"/>
                  <a:gd name="T21" fmla="*/ 12046 h 20000"/>
                  <a:gd name="T22" fmla="*/ 12272 w 20000"/>
                  <a:gd name="T23" fmla="*/ 12802 h 20000"/>
                  <a:gd name="T24" fmla="*/ 13024 w 20000"/>
                  <a:gd name="T25" fmla="*/ 14648 h 20000"/>
                  <a:gd name="T26" fmla="*/ 13936 w 20000"/>
                  <a:gd name="T27" fmla="*/ 16076 h 20000"/>
                  <a:gd name="T28" fmla="*/ 15408 w 20000"/>
                  <a:gd name="T29" fmla="*/ 16285 h 20000"/>
                  <a:gd name="T30" fmla="*/ 17008 w 20000"/>
                  <a:gd name="T31" fmla="*/ 15425 h 20000"/>
                  <a:gd name="T32" fmla="*/ 17504 w 20000"/>
                  <a:gd name="T33" fmla="*/ 13788 h 20000"/>
                  <a:gd name="T34" fmla="*/ 18576 w 20000"/>
                  <a:gd name="T35" fmla="*/ 13116 h 20000"/>
                  <a:gd name="T36" fmla="*/ 19984 w 20000"/>
                  <a:gd name="T37" fmla="*/ 13116 h 20000"/>
                  <a:gd name="T38" fmla="*/ 19568 w 20000"/>
                  <a:gd name="T39" fmla="*/ 14544 h 20000"/>
                  <a:gd name="T40" fmla="*/ 19392 w 20000"/>
                  <a:gd name="T41" fmla="*/ 15215 h 20000"/>
                  <a:gd name="T42" fmla="*/ 18912 w 20000"/>
                  <a:gd name="T43" fmla="*/ 15950 h 20000"/>
                  <a:gd name="T44" fmla="*/ 18480 w 20000"/>
                  <a:gd name="T45" fmla="*/ 16285 h 20000"/>
                  <a:gd name="T46" fmla="*/ 16832 w 20000"/>
                  <a:gd name="T47" fmla="*/ 16810 h 20000"/>
                  <a:gd name="T48" fmla="*/ 17168 w 20000"/>
                  <a:gd name="T49" fmla="*/ 18237 h 20000"/>
                  <a:gd name="T50" fmla="*/ 16160 w 20000"/>
                  <a:gd name="T51" fmla="*/ 18552 h 20000"/>
                  <a:gd name="T52" fmla="*/ 15920 w 20000"/>
                  <a:gd name="T53" fmla="*/ 19643 h 20000"/>
                  <a:gd name="T54" fmla="*/ 15248 w 20000"/>
                  <a:gd name="T55" fmla="*/ 19203 h 20000"/>
                  <a:gd name="T56" fmla="*/ 13760 w 20000"/>
                  <a:gd name="T57" fmla="*/ 18552 h 20000"/>
                  <a:gd name="T58" fmla="*/ 11280 w 20000"/>
                  <a:gd name="T59" fmla="*/ 18006 h 20000"/>
                  <a:gd name="T60" fmla="*/ 8960 w 20000"/>
                  <a:gd name="T61" fmla="*/ 16600 h 20000"/>
                  <a:gd name="T62" fmla="*/ 7040 w 20000"/>
                  <a:gd name="T63" fmla="*/ 15425 h 20000"/>
                  <a:gd name="T64" fmla="*/ 6800 w 20000"/>
                  <a:gd name="T65" fmla="*/ 14019 h 20000"/>
                  <a:gd name="T66" fmla="*/ 6976 w 20000"/>
                  <a:gd name="T67" fmla="*/ 13116 h 20000"/>
                  <a:gd name="T68" fmla="*/ 6304 w 20000"/>
                  <a:gd name="T69" fmla="*/ 10850 h 20000"/>
                  <a:gd name="T70" fmla="*/ 4384 w 20000"/>
                  <a:gd name="T71" fmla="*/ 8017 h 20000"/>
                  <a:gd name="T72" fmla="*/ 4560 w 20000"/>
                  <a:gd name="T73" fmla="*/ 6946 h 20000"/>
                  <a:gd name="T74" fmla="*/ 3904 w 20000"/>
                  <a:gd name="T75" fmla="*/ 5750 h 20000"/>
                  <a:gd name="T76" fmla="*/ 3232 w 20000"/>
                  <a:gd name="T77" fmla="*/ 4890 h 20000"/>
                  <a:gd name="T78" fmla="*/ 2656 w 20000"/>
                  <a:gd name="T79" fmla="*/ 2057 h 20000"/>
                  <a:gd name="T80" fmla="*/ 1344 w 20000"/>
                  <a:gd name="T81" fmla="*/ 2917 h 20000"/>
                  <a:gd name="T82" fmla="*/ 2240 w 20000"/>
                  <a:gd name="T83" fmla="*/ 4974 h 20000"/>
                  <a:gd name="T84" fmla="*/ 2496 w 20000"/>
                  <a:gd name="T85" fmla="*/ 5960 h 20000"/>
                  <a:gd name="T86" fmla="*/ 2912 w 20000"/>
                  <a:gd name="T87" fmla="*/ 6611 h 20000"/>
                  <a:gd name="T88" fmla="*/ 3728 w 20000"/>
                  <a:gd name="T89" fmla="*/ 9654 h 20000"/>
                  <a:gd name="T90" fmla="*/ 3984 w 20000"/>
                  <a:gd name="T91" fmla="*/ 10976 h 20000"/>
                  <a:gd name="T92" fmla="*/ 3472 w 20000"/>
                  <a:gd name="T93" fmla="*/ 10640 h 20000"/>
                  <a:gd name="T94" fmla="*/ 2416 w 20000"/>
                  <a:gd name="T95" fmla="*/ 7492 h 20000"/>
                  <a:gd name="T96" fmla="*/ 1584 w 20000"/>
                  <a:gd name="T97" fmla="*/ 6821 h 20000"/>
                  <a:gd name="T98" fmla="*/ 1344 w 20000"/>
                  <a:gd name="T99" fmla="*/ 5750 h 20000"/>
                  <a:gd name="T100" fmla="*/ 912 w 20000"/>
                  <a:gd name="T101" fmla="*/ 3799 h 20000"/>
                  <a:gd name="T102" fmla="*/ 256 w 20000"/>
                  <a:gd name="T103" fmla="*/ 14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00" h="20000">
                    <a:moveTo>
                      <a:pt x="0" y="84"/>
                    </a:moveTo>
                    <a:lnTo>
                      <a:pt x="1584" y="0"/>
                    </a:lnTo>
                    <a:lnTo>
                      <a:pt x="1584" y="336"/>
                    </a:lnTo>
                    <a:lnTo>
                      <a:pt x="4160" y="1721"/>
                    </a:lnTo>
                    <a:lnTo>
                      <a:pt x="6144" y="1847"/>
                    </a:lnTo>
                    <a:lnTo>
                      <a:pt x="6144" y="1406"/>
                    </a:lnTo>
                    <a:lnTo>
                      <a:pt x="7392" y="1406"/>
                    </a:lnTo>
                    <a:lnTo>
                      <a:pt x="8304" y="2917"/>
                    </a:lnTo>
                    <a:lnTo>
                      <a:pt x="8464" y="4008"/>
                    </a:lnTo>
                    <a:lnTo>
                      <a:pt x="9360" y="4659"/>
                    </a:lnTo>
                    <a:lnTo>
                      <a:pt x="10032" y="3799"/>
                    </a:lnTo>
                    <a:lnTo>
                      <a:pt x="10704" y="4113"/>
                    </a:lnTo>
                    <a:lnTo>
                      <a:pt x="11280" y="5750"/>
                    </a:lnTo>
                    <a:lnTo>
                      <a:pt x="11616" y="6401"/>
                    </a:lnTo>
                    <a:lnTo>
                      <a:pt x="11776" y="7492"/>
                    </a:lnTo>
                    <a:lnTo>
                      <a:pt x="12848" y="8227"/>
                    </a:lnTo>
                    <a:lnTo>
                      <a:pt x="13088" y="8017"/>
                    </a:lnTo>
                    <a:lnTo>
                      <a:pt x="13024" y="8688"/>
                    </a:lnTo>
                    <a:lnTo>
                      <a:pt x="12688" y="8898"/>
                    </a:lnTo>
                    <a:lnTo>
                      <a:pt x="12592" y="9759"/>
                    </a:lnTo>
                    <a:lnTo>
                      <a:pt x="12432" y="10850"/>
                    </a:lnTo>
                    <a:lnTo>
                      <a:pt x="12272" y="12046"/>
                    </a:lnTo>
                    <a:lnTo>
                      <a:pt x="12592" y="12907"/>
                    </a:lnTo>
                    <a:lnTo>
                      <a:pt x="12272" y="12802"/>
                    </a:lnTo>
                    <a:lnTo>
                      <a:pt x="12592" y="13683"/>
                    </a:lnTo>
                    <a:lnTo>
                      <a:pt x="13024" y="14648"/>
                    </a:lnTo>
                    <a:lnTo>
                      <a:pt x="13280" y="15740"/>
                    </a:lnTo>
                    <a:lnTo>
                      <a:pt x="13936" y="16076"/>
                    </a:lnTo>
                    <a:lnTo>
                      <a:pt x="14352" y="16495"/>
                    </a:lnTo>
                    <a:lnTo>
                      <a:pt x="15408" y="16285"/>
                    </a:lnTo>
                    <a:lnTo>
                      <a:pt x="16096" y="15950"/>
                    </a:lnTo>
                    <a:lnTo>
                      <a:pt x="17008" y="15425"/>
                    </a:lnTo>
                    <a:lnTo>
                      <a:pt x="17248" y="14879"/>
                    </a:lnTo>
                    <a:lnTo>
                      <a:pt x="17504" y="13788"/>
                    </a:lnTo>
                    <a:lnTo>
                      <a:pt x="17824" y="13452"/>
                    </a:lnTo>
                    <a:lnTo>
                      <a:pt x="18576" y="13116"/>
                    </a:lnTo>
                    <a:lnTo>
                      <a:pt x="19136" y="12907"/>
                    </a:lnTo>
                    <a:lnTo>
                      <a:pt x="19984" y="13116"/>
                    </a:lnTo>
                    <a:lnTo>
                      <a:pt x="19984" y="13788"/>
                    </a:lnTo>
                    <a:lnTo>
                      <a:pt x="19568" y="14544"/>
                    </a:lnTo>
                    <a:lnTo>
                      <a:pt x="19136" y="15089"/>
                    </a:lnTo>
                    <a:lnTo>
                      <a:pt x="19392" y="15215"/>
                    </a:lnTo>
                    <a:lnTo>
                      <a:pt x="19136" y="16285"/>
                    </a:lnTo>
                    <a:lnTo>
                      <a:pt x="18912" y="15950"/>
                    </a:lnTo>
                    <a:lnTo>
                      <a:pt x="18736" y="16285"/>
                    </a:lnTo>
                    <a:lnTo>
                      <a:pt x="18480" y="16285"/>
                    </a:lnTo>
                    <a:lnTo>
                      <a:pt x="18080" y="16810"/>
                    </a:lnTo>
                    <a:lnTo>
                      <a:pt x="16832" y="16810"/>
                    </a:lnTo>
                    <a:lnTo>
                      <a:pt x="16576" y="17482"/>
                    </a:lnTo>
                    <a:lnTo>
                      <a:pt x="17168" y="18237"/>
                    </a:lnTo>
                    <a:lnTo>
                      <a:pt x="17008" y="18552"/>
                    </a:lnTo>
                    <a:lnTo>
                      <a:pt x="16160" y="18552"/>
                    </a:lnTo>
                    <a:lnTo>
                      <a:pt x="15760" y="19203"/>
                    </a:lnTo>
                    <a:lnTo>
                      <a:pt x="15920" y="19643"/>
                    </a:lnTo>
                    <a:lnTo>
                      <a:pt x="15664" y="19979"/>
                    </a:lnTo>
                    <a:lnTo>
                      <a:pt x="15248" y="19203"/>
                    </a:lnTo>
                    <a:lnTo>
                      <a:pt x="14352" y="18552"/>
                    </a:lnTo>
                    <a:lnTo>
                      <a:pt x="13760" y="18552"/>
                    </a:lnTo>
                    <a:lnTo>
                      <a:pt x="12688" y="19119"/>
                    </a:lnTo>
                    <a:lnTo>
                      <a:pt x="11280" y="18006"/>
                    </a:lnTo>
                    <a:lnTo>
                      <a:pt x="10032" y="17482"/>
                    </a:lnTo>
                    <a:lnTo>
                      <a:pt x="8960" y="16600"/>
                    </a:lnTo>
                    <a:lnTo>
                      <a:pt x="8048" y="16285"/>
                    </a:lnTo>
                    <a:lnTo>
                      <a:pt x="7040" y="15425"/>
                    </a:lnTo>
                    <a:lnTo>
                      <a:pt x="6544" y="14229"/>
                    </a:lnTo>
                    <a:lnTo>
                      <a:pt x="6800" y="14019"/>
                    </a:lnTo>
                    <a:lnTo>
                      <a:pt x="6800" y="13452"/>
                    </a:lnTo>
                    <a:lnTo>
                      <a:pt x="6976" y="13116"/>
                    </a:lnTo>
                    <a:lnTo>
                      <a:pt x="6720" y="12046"/>
                    </a:lnTo>
                    <a:lnTo>
                      <a:pt x="6304" y="10850"/>
                    </a:lnTo>
                    <a:lnTo>
                      <a:pt x="5632" y="9654"/>
                    </a:lnTo>
                    <a:lnTo>
                      <a:pt x="4384" y="8017"/>
                    </a:lnTo>
                    <a:lnTo>
                      <a:pt x="4640" y="7492"/>
                    </a:lnTo>
                    <a:lnTo>
                      <a:pt x="4560" y="6946"/>
                    </a:lnTo>
                    <a:lnTo>
                      <a:pt x="3904" y="6296"/>
                    </a:lnTo>
                    <a:lnTo>
                      <a:pt x="3904" y="5750"/>
                    </a:lnTo>
                    <a:lnTo>
                      <a:pt x="3568" y="5750"/>
                    </a:lnTo>
                    <a:lnTo>
                      <a:pt x="3232" y="4890"/>
                    </a:lnTo>
                    <a:lnTo>
                      <a:pt x="2656" y="3463"/>
                    </a:lnTo>
                    <a:lnTo>
                      <a:pt x="2656" y="2057"/>
                    </a:lnTo>
                    <a:lnTo>
                      <a:pt x="1504" y="965"/>
                    </a:lnTo>
                    <a:lnTo>
                      <a:pt x="1344" y="2917"/>
                    </a:lnTo>
                    <a:lnTo>
                      <a:pt x="1824" y="3799"/>
                    </a:lnTo>
                    <a:lnTo>
                      <a:pt x="2240" y="4974"/>
                    </a:lnTo>
                    <a:lnTo>
                      <a:pt x="2240" y="5519"/>
                    </a:lnTo>
                    <a:lnTo>
                      <a:pt x="2496" y="5960"/>
                    </a:lnTo>
                    <a:lnTo>
                      <a:pt x="2912" y="7156"/>
                    </a:lnTo>
                    <a:lnTo>
                      <a:pt x="2912" y="6611"/>
                    </a:lnTo>
                    <a:lnTo>
                      <a:pt x="3472" y="8898"/>
                    </a:lnTo>
                    <a:lnTo>
                      <a:pt x="3728" y="9654"/>
                    </a:lnTo>
                    <a:lnTo>
                      <a:pt x="3904" y="10073"/>
                    </a:lnTo>
                    <a:lnTo>
                      <a:pt x="3984" y="10976"/>
                    </a:lnTo>
                    <a:lnTo>
                      <a:pt x="3728" y="11396"/>
                    </a:lnTo>
                    <a:lnTo>
                      <a:pt x="3472" y="10640"/>
                    </a:lnTo>
                    <a:lnTo>
                      <a:pt x="2240" y="8898"/>
                    </a:lnTo>
                    <a:lnTo>
                      <a:pt x="2416" y="7492"/>
                    </a:lnTo>
                    <a:lnTo>
                      <a:pt x="1824" y="6611"/>
                    </a:lnTo>
                    <a:lnTo>
                      <a:pt x="1584" y="6821"/>
                    </a:lnTo>
                    <a:lnTo>
                      <a:pt x="752" y="5519"/>
                    </a:lnTo>
                    <a:lnTo>
                      <a:pt x="1344" y="5750"/>
                    </a:lnTo>
                    <a:lnTo>
                      <a:pt x="1504" y="4890"/>
                    </a:lnTo>
                    <a:lnTo>
                      <a:pt x="912" y="3799"/>
                    </a:lnTo>
                    <a:lnTo>
                      <a:pt x="496" y="3127"/>
                    </a:lnTo>
                    <a:lnTo>
                      <a:pt x="256" y="1406"/>
                    </a:lnTo>
                    <a:lnTo>
                      <a:pt x="0" y="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2" name="Freeform 37"/>
              <p:cNvSpPr>
                <a:spLocks/>
              </p:cNvSpPr>
              <p:nvPr/>
            </p:nvSpPr>
            <p:spPr bwMode="auto">
              <a:xfrm>
                <a:off x="2524125" y="3997325"/>
                <a:ext cx="125413" cy="125413"/>
              </a:xfrm>
              <a:custGeom>
                <a:avLst/>
                <a:gdLst>
                  <a:gd name="T0" fmla="*/ 1421 w 20000"/>
                  <a:gd name="T1" fmla="*/ 8934 h 20000"/>
                  <a:gd name="T2" fmla="*/ 3046 w 20000"/>
                  <a:gd name="T3" fmla="*/ 8934 h 20000"/>
                  <a:gd name="T4" fmla="*/ 5787 w 20000"/>
                  <a:gd name="T5" fmla="*/ 5787 h 20000"/>
                  <a:gd name="T6" fmla="*/ 8832 w 20000"/>
                  <a:gd name="T7" fmla="*/ 4772 h 20000"/>
                  <a:gd name="T8" fmla="*/ 11574 w 20000"/>
                  <a:gd name="T9" fmla="*/ 2030 h 20000"/>
                  <a:gd name="T10" fmla="*/ 12589 w 20000"/>
                  <a:gd name="T11" fmla="*/ 609 h 20000"/>
                  <a:gd name="T12" fmla="*/ 14112 w 20000"/>
                  <a:gd name="T13" fmla="*/ 2030 h 20000"/>
                  <a:gd name="T14" fmla="*/ 19898 w 20000"/>
                  <a:gd name="T15" fmla="*/ 0 h 20000"/>
                  <a:gd name="T16" fmla="*/ 19898 w 20000"/>
                  <a:gd name="T17" fmla="*/ 2030 h 20000"/>
                  <a:gd name="T18" fmla="*/ 19289 w 20000"/>
                  <a:gd name="T19" fmla="*/ 4772 h 20000"/>
                  <a:gd name="T20" fmla="*/ 18274 w 20000"/>
                  <a:gd name="T21" fmla="*/ 8325 h 20000"/>
                  <a:gd name="T22" fmla="*/ 17766 w 20000"/>
                  <a:gd name="T23" fmla="*/ 12589 h 20000"/>
                  <a:gd name="T24" fmla="*/ 17766 w 20000"/>
                  <a:gd name="T25" fmla="*/ 16751 h 20000"/>
                  <a:gd name="T26" fmla="*/ 17766 w 20000"/>
                  <a:gd name="T27" fmla="*/ 19898 h 20000"/>
                  <a:gd name="T28" fmla="*/ 15127 w 20000"/>
                  <a:gd name="T29" fmla="*/ 19898 h 20000"/>
                  <a:gd name="T30" fmla="*/ 12589 w 20000"/>
                  <a:gd name="T31" fmla="*/ 18274 h 20000"/>
                  <a:gd name="T32" fmla="*/ 9949 w 20000"/>
                  <a:gd name="T33" fmla="*/ 15228 h 20000"/>
                  <a:gd name="T34" fmla="*/ 7310 w 20000"/>
                  <a:gd name="T35" fmla="*/ 14112 h 20000"/>
                  <a:gd name="T36" fmla="*/ 8832 w 20000"/>
                  <a:gd name="T37" fmla="*/ 18274 h 20000"/>
                  <a:gd name="T38" fmla="*/ 7310 w 20000"/>
                  <a:gd name="T39" fmla="*/ 18274 h 20000"/>
                  <a:gd name="T40" fmla="*/ 5787 w 20000"/>
                  <a:gd name="T41" fmla="*/ 15736 h 20000"/>
                  <a:gd name="T42" fmla="*/ 3046 w 20000"/>
                  <a:gd name="T43" fmla="*/ 13096 h 20000"/>
                  <a:gd name="T44" fmla="*/ 0 w 20000"/>
                  <a:gd name="T45" fmla="*/ 8934 h 20000"/>
                  <a:gd name="T46" fmla="*/ 1421 w 20000"/>
                  <a:gd name="T47" fmla="*/ 893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00" h="20000">
                    <a:moveTo>
                      <a:pt x="1421" y="8934"/>
                    </a:moveTo>
                    <a:lnTo>
                      <a:pt x="3046" y="8934"/>
                    </a:lnTo>
                    <a:lnTo>
                      <a:pt x="5787" y="5787"/>
                    </a:lnTo>
                    <a:lnTo>
                      <a:pt x="8832" y="4772"/>
                    </a:lnTo>
                    <a:lnTo>
                      <a:pt x="11574" y="2030"/>
                    </a:lnTo>
                    <a:lnTo>
                      <a:pt x="12589" y="609"/>
                    </a:lnTo>
                    <a:lnTo>
                      <a:pt x="14112" y="2030"/>
                    </a:lnTo>
                    <a:lnTo>
                      <a:pt x="19898" y="0"/>
                    </a:lnTo>
                    <a:lnTo>
                      <a:pt x="19898" y="2030"/>
                    </a:lnTo>
                    <a:lnTo>
                      <a:pt x="19289" y="4772"/>
                    </a:lnTo>
                    <a:lnTo>
                      <a:pt x="18274" y="8325"/>
                    </a:lnTo>
                    <a:lnTo>
                      <a:pt x="17766" y="12589"/>
                    </a:lnTo>
                    <a:lnTo>
                      <a:pt x="17766" y="16751"/>
                    </a:lnTo>
                    <a:lnTo>
                      <a:pt x="17766" y="19898"/>
                    </a:lnTo>
                    <a:lnTo>
                      <a:pt x="15127" y="19898"/>
                    </a:lnTo>
                    <a:lnTo>
                      <a:pt x="12589" y="18274"/>
                    </a:lnTo>
                    <a:lnTo>
                      <a:pt x="9949" y="15228"/>
                    </a:lnTo>
                    <a:lnTo>
                      <a:pt x="7310" y="14112"/>
                    </a:lnTo>
                    <a:lnTo>
                      <a:pt x="8832" y="18274"/>
                    </a:lnTo>
                    <a:lnTo>
                      <a:pt x="7310" y="18274"/>
                    </a:lnTo>
                    <a:lnTo>
                      <a:pt x="5787" y="15736"/>
                    </a:lnTo>
                    <a:lnTo>
                      <a:pt x="3046" y="13096"/>
                    </a:lnTo>
                    <a:lnTo>
                      <a:pt x="0" y="8934"/>
                    </a:lnTo>
                    <a:lnTo>
                      <a:pt x="1421" y="893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3" name="Freeform 36"/>
              <p:cNvSpPr>
                <a:spLocks/>
              </p:cNvSpPr>
              <p:nvPr/>
            </p:nvSpPr>
            <p:spPr bwMode="auto">
              <a:xfrm>
                <a:off x="2647950" y="4162425"/>
                <a:ext cx="161925" cy="69850"/>
              </a:xfrm>
              <a:custGeom>
                <a:avLst/>
                <a:gdLst>
                  <a:gd name="T0" fmla="*/ 2039 w 20000"/>
                  <a:gd name="T1" fmla="*/ 0 h 20000"/>
                  <a:gd name="T2" fmla="*/ 2902 w 20000"/>
                  <a:gd name="T3" fmla="*/ 2936 h 20000"/>
                  <a:gd name="T4" fmla="*/ 4000 w 20000"/>
                  <a:gd name="T5" fmla="*/ 2936 h 20000"/>
                  <a:gd name="T6" fmla="*/ 6118 w 20000"/>
                  <a:gd name="T7" fmla="*/ 5688 h 20000"/>
                  <a:gd name="T8" fmla="*/ 9333 w 20000"/>
                  <a:gd name="T9" fmla="*/ 2936 h 20000"/>
                  <a:gd name="T10" fmla="*/ 11373 w 20000"/>
                  <a:gd name="T11" fmla="*/ 0 h 20000"/>
                  <a:gd name="T12" fmla="*/ 15451 w 20000"/>
                  <a:gd name="T13" fmla="*/ 1101 h 20000"/>
                  <a:gd name="T14" fmla="*/ 18667 w 20000"/>
                  <a:gd name="T15" fmla="*/ 5688 h 20000"/>
                  <a:gd name="T16" fmla="*/ 19922 w 20000"/>
                  <a:gd name="T17" fmla="*/ 7523 h 20000"/>
                  <a:gd name="T18" fmla="*/ 19922 w 20000"/>
                  <a:gd name="T19" fmla="*/ 13211 h 20000"/>
                  <a:gd name="T20" fmla="*/ 18667 w 20000"/>
                  <a:gd name="T21" fmla="*/ 17982 h 20000"/>
                  <a:gd name="T22" fmla="*/ 17804 w 20000"/>
                  <a:gd name="T23" fmla="*/ 16147 h 20000"/>
                  <a:gd name="T24" fmla="*/ 17020 w 20000"/>
                  <a:gd name="T25" fmla="*/ 19817 h 20000"/>
                  <a:gd name="T26" fmla="*/ 15843 w 20000"/>
                  <a:gd name="T27" fmla="*/ 12294 h 20000"/>
                  <a:gd name="T28" fmla="*/ 16706 w 20000"/>
                  <a:gd name="T29" fmla="*/ 8624 h 20000"/>
                  <a:gd name="T30" fmla="*/ 15451 w 20000"/>
                  <a:gd name="T31" fmla="*/ 8624 h 20000"/>
                  <a:gd name="T32" fmla="*/ 13804 w 20000"/>
                  <a:gd name="T33" fmla="*/ 5688 h 20000"/>
                  <a:gd name="T34" fmla="*/ 12157 w 20000"/>
                  <a:gd name="T35" fmla="*/ 5688 h 20000"/>
                  <a:gd name="T36" fmla="*/ 8549 w 20000"/>
                  <a:gd name="T37" fmla="*/ 12294 h 20000"/>
                  <a:gd name="T38" fmla="*/ 10118 w 20000"/>
                  <a:gd name="T39" fmla="*/ 17982 h 20000"/>
                  <a:gd name="T40" fmla="*/ 7373 w 20000"/>
                  <a:gd name="T41" fmla="*/ 19817 h 20000"/>
                  <a:gd name="T42" fmla="*/ 6118 w 20000"/>
                  <a:gd name="T43" fmla="*/ 15046 h 20000"/>
                  <a:gd name="T44" fmla="*/ 5255 w 20000"/>
                  <a:gd name="T45" fmla="*/ 15046 h 20000"/>
                  <a:gd name="T46" fmla="*/ 3686 w 20000"/>
                  <a:gd name="T47" fmla="*/ 12294 h 20000"/>
                  <a:gd name="T48" fmla="*/ 784 w 20000"/>
                  <a:gd name="T49" fmla="*/ 10459 h 20000"/>
                  <a:gd name="T50" fmla="*/ 0 w 20000"/>
                  <a:gd name="T51" fmla="*/ 7523 h 20000"/>
                  <a:gd name="T52" fmla="*/ 0 w 20000"/>
                  <a:gd name="T53" fmla="*/ 5688 h 20000"/>
                  <a:gd name="T54" fmla="*/ 784 w 20000"/>
                  <a:gd name="T55" fmla="*/ 0 h 20000"/>
                  <a:gd name="T56" fmla="*/ 2039 w 20000"/>
                  <a:gd name="T5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2039" y="0"/>
                    </a:moveTo>
                    <a:lnTo>
                      <a:pt x="2902" y="2936"/>
                    </a:lnTo>
                    <a:lnTo>
                      <a:pt x="4000" y="2936"/>
                    </a:lnTo>
                    <a:lnTo>
                      <a:pt x="6118" y="5688"/>
                    </a:lnTo>
                    <a:lnTo>
                      <a:pt x="9333" y="2936"/>
                    </a:lnTo>
                    <a:lnTo>
                      <a:pt x="11373" y="0"/>
                    </a:lnTo>
                    <a:lnTo>
                      <a:pt x="15451" y="1101"/>
                    </a:lnTo>
                    <a:lnTo>
                      <a:pt x="18667" y="5688"/>
                    </a:lnTo>
                    <a:lnTo>
                      <a:pt x="19922" y="7523"/>
                    </a:lnTo>
                    <a:lnTo>
                      <a:pt x="19922" y="13211"/>
                    </a:lnTo>
                    <a:lnTo>
                      <a:pt x="18667" y="17982"/>
                    </a:lnTo>
                    <a:lnTo>
                      <a:pt x="17804" y="16147"/>
                    </a:lnTo>
                    <a:lnTo>
                      <a:pt x="17020" y="19817"/>
                    </a:lnTo>
                    <a:lnTo>
                      <a:pt x="15843" y="12294"/>
                    </a:lnTo>
                    <a:lnTo>
                      <a:pt x="16706" y="8624"/>
                    </a:lnTo>
                    <a:lnTo>
                      <a:pt x="15451" y="8624"/>
                    </a:lnTo>
                    <a:lnTo>
                      <a:pt x="13804" y="5688"/>
                    </a:lnTo>
                    <a:lnTo>
                      <a:pt x="12157" y="5688"/>
                    </a:lnTo>
                    <a:lnTo>
                      <a:pt x="8549" y="12294"/>
                    </a:lnTo>
                    <a:lnTo>
                      <a:pt x="10118" y="17982"/>
                    </a:lnTo>
                    <a:lnTo>
                      <a:pt x="7373" y="19817"/>
                    </a:lnTo>
                    <a:lnTo>
                      <a:pt x="6118" y="15046"/>
                    </a:lnTo>
                    <a:lnTo>
                      <a:pt x="5255" y="15046"/>
                    </a:lnTo>
                    <a:lnTo>
                      <a:pt x="3686" y="12294"/>
                    </a:lnTo>
                    <a:lnTo>
                      <a:pt x="784" y="10459"/>
                    </a:lnTo>
                    <a:lnTo>
                      <a:pt x="0" y="7523"/>
                    </a:lnTo>
                    <a:lnTo>
                      <a:pt x="0" y="5688"/>
                    </a:lnTo>
                    <a:lnTo>
                      <a:pt x="784" y="0"/>
                    </a:lnTo>
                    <a:lnTo>
                      <a:pt x="203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4" name="Freeform 35"/>
              <p:cNvSpPr>
                <a:spLocks/>
              </p:cNvSpPr>
              <p:nvPr/>
            </p:nvSpPr>
            <p:spPr bwMode="auto">
              <a:xfrm>
                <a:off x="3233738" y="5006975"/>
                <a:ext cx="247650" cy="250825"/>
              </a:xfrm>
              <a:custGeom>
                <a:avLst/>
                <a:gdLst>
                  <a:gd name="T0" fmla="*/ 0 w 20000"/>
                  <a:gd name="T1" fmla="*/ 5772 h 20000"/>
                  <a:gd name="T2" fmla="*/ 1337 w 20000"/>
                  <a:gd name="T3" fmla="*/ 3696 h 20000"/>
                  <a:gd name="T4" fmla="*/ 823 w 20000"/>
                  <a:gd name="T5" fmla="*/ 2076 h 20000"/>
                  <a:gd name="T6" fmla="*/ 2108 w 20000"/>
                  <a:gd name="T7" fmla="*/ 810 h 20000"/>
                  <a:gd name="T8" fmla="*/ 2108 w 20000"/>
                  <a:gd name="T9" fmla="*/ 0 h 20000"/>
                  <a:gd name="T10" fmla="*/ 8792 w 20000"/>
                  <a:gd name="T11" fmla="*/ 0 h 20000"/>
                  <a:gd name="T12" fmla="*/ 10386 w 20000"/>
                  <a:gd name="T13" fmla="*/ 1570 h 20000"/>
                  <a:gd name="T14" fmla="*/ 11671 w 20000"/>
                  <a:gd name="T15" fmla="*/ 6278 h 20000"/>
                  <a:gd name="T16" fmla="*/ 16504 w 20000"/>
                  <a:gd name="T17" fmla="*/ 6532 h 20000"/>
                  <a:gd name="T18" fmla="*/ 18098 w 20000"/>
                  <a:gd name="T19" fmla="*/ 10532 h 20000"/>
                  <a:gd name="T20" fmla="*/ 18920 w 20000"/>
                  <a:gd name="T21" fmla="*/ 9924 h 20000"/>
                  <a:gd name="T22" fmla="*/ 19949 w 20000"/>
                  <a:gd name="T23" fmla="*/ 11038 h 20000"/>
                  <a:gd name="T24" fmla="*/ 19434 w 20000"/>
                  <a:gd name="T25" fmla="*/ 13114 h 20000"/>
                  <a:gd name="T26" fmla="*/ 19949 w 20000"/>
                  <a:gd name="T27" fmla="*/ 15190 h 20000"/>
                  <a:gd name="T28" fmla="*/ 19434 w 20000"/>
                  <a:gd name="T29" fmla="*/ 17266 h 20000"/>
                  <a:gd name="T30" fmla="*/ 17584 w 20000"/>
                  <a:gd name="T31" fmla="*/ 18886 h 20000"/>
                  <a:gd name="T32" fmla="*/ 15424 w 20000"/>
                  <a:gd name="T33" fmla="*/ 19949 h 20000"/>
                  <a:gd name="T34" fmla="*/ 13316 w 20000"/>
                  <a:gd name="T35" fmla="*/ 18886 h 20000"/>
                  <a:gd name="T36" fmla="*/ 10900 w 20000"/>
                  <a:gd name="T37" fmla="*/ 18633 h 20000"/>
                  <a:gd name="T38" fmla="*/ 11671 w 20000"/>
                  <a:gd name="T39" fmla="*/ 16506 h 20000"/>
                  <a:gd name="T40" fmla="*/ 12494 w 20000"/>
                  <a:gd name="T41" fmla="*/ 15190 h 20000"/>
                  <a:gd name="T42" fmla="*/ 13059 w 20000"/>
                  <a:gd name="T43" fmla="*/ 13367 h 20000"/>
                  <a:gd name="T44" fmla="*/ 11979 w 20000"/>
                  <a:gd name="T45" fmla="*/ 12608 h 20000"/>
                  <a:gd name="T46" fmla="*/ 9563 w 20000"/>
                  <a:gd name="T47" fmla="*/ 12101 h 20000"/>
                  <a:gd name="T48" fmla="*/ 7455 w 20000"/>
                  <a:gd name="T49" fmla="*/ 11038 h 20000"/>
                  <a:gd name="T50" fmla="*/ 4833 w 20000"/>
                  <a:gd name="T51" fmla="*/ 10532 h 20000"/>
                  <a:gd name="T52" fmla="*/ 2622 w 20000"/>
                  <a:gd name="T53" fmla="*/ 8405 h 20000"/>
                  <a:gd name="T54" fmla="*/ 0 w 20000"/>
                  <a:gd name="T55" fmla="*/ 57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0" y="5772"/>
                    </a:moveTo>
                    <a:lnTo>
                      <a:pt x="1337" y="3696"/>
                    </a:lnTo>
                    <a:lnTo>
                      <a:pt x="823" y="2076"/>
                    </a:lnTo>
                    <a:lnTo>
                      <a:pt x="2108" y="810"/>
                    </a:lnTo>
                    <a:lnTo>
                      <a:pt x="2108" y="0"/>
                    </a:lnTo>
                    <a:lnTo>
                      <a:pt x="8792" y="0"/>
                    </a:lnTo>
                    <a:lnTo>
                      <a:pt x="10386" y="1570"/>
                    </a:lnTo>
                    <a:lnTo>
                      <a:pt x="11671" y="6278"/>
                    </a:lnTo>
                    <a:lnTo>
                      <a:pt x="16504" y="6532"/>
                    </a:lnTo>
                    <a:lnTo>
                      <a:pt x="18098" y="10532"/>
                    </a:lnTo>
                    <a:lnTo>
                      <a:pt x="18920" y="9924"/>
                    </a:lnTo>
                    <a:lnTo>
                      <a:pt x="19949" y="11038"/>
                    </a:lnTo>
                    <a:lnTo>
                      <a:pt x="19434" y="13114"/>
                    </a:lnTo>
                    <a:lnTo>
                      <a:pt x="19949" y="15190"/>
                    </a:lnTo>
                    <a:lnTo>
                      <a:pt x="19434" y="17266"/>
                    </a:lnTo>
                    <a:lnTo>
                      <a:pt x="17584" y="18886"/>
                    </a:lnTo>
                    <a:lnTo>
                      <a:pt x="15424" y="19949"/>
                    </a:lnTo>
                    <a:lnTo>
                      <a:pt x="13316" y="18886"/>
                    </a:lnTo>
                    <a:lnTo>
                      <a:pt x="10900" y="18633"/>
                    </a:lnTo>
                    <a:lnTo>
                      <a:pt x="11671" y="16506"/>
                    </a:lnTo>
                    <a:lnTo>
                      <a:pt x="12494" y="15190"/>
                    </a:lnTo>
                    <a:lnTo>
                      <a:pt x="13059" y="13367"/>
                    </a:lnTo>
                    <a:lnTo>
                      <a:pt x="11979" y="12608"/>
                    </a:lnTo>
                    <a:lnTo>
                      <a:pt x="9563" y="12101"/>
                    </a:lnTo>
                    <a:lnTo>
                      <a:pt x="7455" y="11038"/>
                    </a:lnTo>
                    <a:lnTo>
                      <a:pt x="4833" y="10532"/>
                    </a:lnTo>
                    <a:lnTo>
                      <a:pt x="2622" y="8405"/>
                    </a:lnTo>
                    <a:lnTo>
                      <a:pt x="0" y="577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5" name="Freeform 34"/>
              <p:cNvSpPr>
                <a:spLocks/>
              </p:cNvSpPr>
              <p:nvPr/>
            </p:nvSpPr>
            <p:spPr bwMode="auto">
              <a:xfrm>
                <a:off x="2690813" y="4432300"/>
                <a:ext cx="361950" cy="542925"/>
              </a:xfrm>
              <a:custGeom>
                <a:avLst/>
                <a:gdLst>
                  <a:gd name="T0" fmla="*/ 8546 w 20000"/>
                  <a:gd name="T1" fmla="*/ 0 h 20000"/>
                  <a:gd name="T2" fmla="*/ 9107 w 20000"/>
                  <a:gd name="T3" fmla="*/ 234 h 20000"/>
                  <a:gd name="T4" fmla="*/ 10018 w 20000"/>
                  <a:gd name="T5" fmla="*/ 374 h 20000"/>
                  <a:gd name="T6" fmla="*/ 10893 w 20000"/>
                  <a:gd name="T7" fmla="*/ 1193 h 20000"/>
                  <a:gd name="T8" fmla="*/ 12329 w 20000"/>
                  <a:gd name="T9" fmla="*/ 1918 h 20000"/>
                  <a:gd name="T10" fmla="*/ 12890 w 20000"/>
                  <a:gd name="T11" fmla="*/ 2760 h 20000"/>
                  <a:gd name="T12" fmla="*/ 13835 w 20000"/>
                  <a:gd name="T13" fmla="*/ 2760 h 20000"/>
                  <a:gd name="T14" fmla="*/ 14711 w 20000"/>
                  <a:gd name="T15" fmla="*/ 2292 h 20000"/>
                  <a:gd name="T16" fmla="*/ 15972 w 20000"/>
                  <a:gd name="T17" fmla="*/ 2526 h 20000"/>
                  <a:gd name="T18" fmla="*/ 17058 w 20000"/>
                  <a:gd name="T19" fmla="*/ 2901 h 20000"/>
                  <a:gd name="T20" fmla="*/ 16708 w 20000"/>
                  <a:gd name="T21" fmla="*/ 3860 h 20000"/>
                  <a:gd name="T22" fmla="*/ 17408 w 20000"/>
                  <a:gd name="T23" fmla="*/ 4468 h 20000"/>
                  <a:gd name="T24" fmla="*/ 16182 w 20000"/>
                  <a:gd name="T25" fmla="*/ 4468 h 20000"/>
                  <a:gd name="T26" fmla="*/ 13625 w 20000"/>
                  <a:gd name="T27" fmla="*/ 5310 h 20000"/>
                  <a:gd name="T28" fmla="*/ 12890 w 20000"/>
                  <a:gd name="T29" fmla="*/ 6058 h 20000"/>
                  <a:gd name="T30" fmla="*/ 12750 w 20000"/>
                  <a:gd name="T31" fmla="*/ 7018 h 20000"/>
                  <a:gd name="T32" fmla="*/ 11804 w 20000"/>
                  <a:gd name="T33" fmla="*/ 7368 h 20000"/>
                  <a:gd name="T34" fmla="*/ 11804 w 20000"/>
                  <a:gd name="T35" fmla="*/ 8585 h 20000"/>
                  <a:gd name="T36" fmla="*/ 12750 w 20000"/>
                  <a:gd name="T37" fmla="*/ 9544 h 20000"/>
                  <a:gd name="T38" fmla="*/ 13625 w 20000"/>
                  <a:gd name="T39" fmla="*/ 10175 h 20000"/>
                  <a:gd name="T40" fmla="*/ 14711 w 20000"/>
                  <a:gd name="T41" fmla="*/ 10526 h 20000"/>
                  <a:gd name="T42" fmla="*/ 16182 w 20000"/>
                  <a:gd name="T43" fmla="*/ 10526 h 20000"/>
                  <a:gd name="T44" fmla="*/ 17058 w 20000"/>
                  <a:gd name="T45" fmla="*/ 10175 h 20000"/>
                  <a:gd name="T46" fmla="*/ 17058 w 20000"/>
                  <a:gd name="T47" fmla="*/ 11743 h 20000"/>
                  <a:gd name="T48" fmla="*/ 17618 w 20000"/>
                  <a:gd name="T49" fmla="*/ 11743 h 20000"/>
                  <a:gd name="T50" fmla="*/ 18529 w 20000"/>
                  <a:gd name="T51" fmla="*/ 11743 h 20000"/>
                  <a:gd name="T52" fmla="*/ 19965 w 20000"/>
                  <a:gd name="T53" fmla="*/ 13310 h 20000"/>
                  <a:gd name="T54" fmla="*/ 19440 w 20000"/>
                  <a:gd name="T55" fmla="*/ 14620 h 20000"/>
                  <a:gd name="T56" fmla="*/ 19440 w 20000"/>
                  <a:gd name="T57" fmla="*/ 15485 h 20000"/>
                  <a:gd name="T58" fmla="*/ 19054 w 20000"/>
                  <a:gd name="T59" fmla="*/ 16585 h 20000"/>
                  <a:gd name="T60" fmla="*/ 18354 w 20000"/>
                  <a:gd name="T61" fmla="*/ 16444 h 20000"/>
                  <a:gd name="T62" fmla="*/ 18354 w 20000"/>
                  <a:gd name="T63" fmla="*/ 17053 h 20000"/>
                  <a:gd name="T64" fmla="*/ 19440 w 20000"/>
                  <a:gd name="T65" fmla="*/ 17661 h 20000"/>
                  <a:gd name="T66" fmla="*/ 19790 w 20000"/>
                  <a:gd name="T67" fmla="*/ 17661 h 20000"/>
                  <a:gd name="T68" fmla="*/ 19440 w 20000"/>
                  <a:gd name="T69" fmla="*/ 18152 h 20000"/>
                  <a:gd name="T70" fmla="*/ 19054 w 20000"/>
                  <a:gd name="T71" fmla="*/ 18994 h 20000"/>
                  <a:gd name="T72" fmla="*/ 18529 w 20000"/>
                  <a:gd name="T73" fmla="*/ 19602 h 20000"/>
                  <a:gd name="T74" fmla="*/ 17968 w 20000"/>
                  <a:gd name="T75" fmla="*/ 19977 h 20000"/>
                  <a:gd name="T76" fmla="*/ 16532 w 20000"/>
                  <a:gd name="T77" fmla="*/ 19111 h 20000"/>
                  <a:gd name="T78" fmla="*/ 15061 w 20000"/>
                  <a:gd name="T79" fmla="*/ 18386 h 20000"/>
                  <a:gd name="T80" fmla="*/ 12329 w 20000"/>
                  <a:gd name="T81" fmla="*/ 17427 h 20000"/>
                  <a:gd name="T82" fmla="*/ 10368 w 20000"/>
                  <a:gd name="T83" fmla="*/ 16585 h 20000"/>
                  <a:gd name="T84" fmla="*/ 8371 w 20000"/>
                  <a:gd name="T85" fmla="*/ 15135 h 20000"/>
                  <a:gd name="T86" fmla="*/ 7671 w 20000"/>
                  <a:gd name="T87" fmla="*/ 13567 h 20000"/>
                  <a:gd name="T88" fmla="*/ 6550 w 20000"/>
                  <a:gd name="T89" fmla="*/ 12936 h 20000"/>
                  <a:gd name="T90" fmla="*/ 6025 w 20000"/>
                  <a:gd name="T91" fmla="*/ 11743 h 20000"/>
                  <a:gd name="T92" fmla="*/ 4729 w 20000"/>
                  <a:gd name="T93" fmla="*/ 10526 h 20000"/>
                  <a:gd name="T94" fmla="*/ 3818 w 20000"/>
                  <a:gd name="T95" fmla="*/ 9170 h 20000"/>
                  <a:gd name="T96" fmla="*/ 2382 w 20000"/>
                  <a:gd name="T97" fmla="*/ 7626 h 20000"/>
                  <a:gd name="T98" fmla="*/ 0 w 20000"/>
                  <a:gd name="T99" fmla="*/ 6292 h 20000"/>
                  <a:gd name="T100" fmla="*/ 0 w 20000"/>
                  <a:gd name="T101" fmla="*/ 4725 h 20000"/>
                  <a:gd name="T102" fmla="*/ 736 w 20000"/>
                  <a:gd name="T103" fmla="*/ 4094 h 20000"/>
                  <a:gd name="T104" fmla="*/ 1821 w 20000"/>
                  <a:gd name="T105" fmla="*/ 3766 h 20000"/>
                  <a:gd name="T106" fmla="*/ 1471 w 20000"/>
                  <a:gd name="T107" fmla="*/ 4725 h 20000"/>
                  <a:gd name="T108" fmla="*/ 2382 w 20000"/>
                  <a:gd name="T109" fmla="*/ 4819 h 20000"/>
                  <a:gd name="T110" fmla="*/ 3643 w 20000"/>
                  <a:gd name="T111" fmla="*/ 5310 h 20000"/>
                  <a:gd name="T112" fmla="*/ 4168 w 20000"/>
                  <a:gd name="T113" fmla="*/ 4351 h 20000"/>
                  <a:gd name="T114" fmla="*/ 5289 w 20000"/>
                  <a:gd name="T115" fmla="*/ 3392 h 20000"/>
                  <a:gd name="T116" fmla="*/ 7110 w 20000"/>
                  <a:gd name="T117" fmla="*/ 2901 h 20000"/>
                  <a:gd name="T118" fmla="*/ 8546 w 20000"/>
                  <a:gd name="T119" fmla="*/ 1801 h 20000"/>
                  <a:gd name="T120" fmla="*/ 9457 w 20000"/>
                  <a:gd name="T121" fmla="*/ 959 h 20000"/>
                  <a:gd name="T122" fmla="*/ 8546 w 20000"/>
                  <a:gd name="T1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00" h="20000">
                    <a:moveTo>
                      <a:pt x="8546" y="0"/>
                    </a:moveTo>
                    <a:lnTo>
                      <a:pt x="9107" y="234"/>
                    </a:lnTo>
                    <a:lnTo>
                      <a:pt x="10018" y="374"/>
                    </a:lnTo>
                    <a:lnTo>
                      <a:pt x="10893" y="1193"/>
                    </a:lnTo>
                    <a:lnTo>
                      <a:pt x="12329" y="1918"/>
                    </a:lnTo>
                    <a:lnTo>
                      <a:pt x="12890" y="2760"/>
                    </a:lnTo>
                    <a:lnTo>
                      <a:pt x="13835" y="2760"/>
                    </a:lnTo>
                    <a:lnTo>
                      <a:pt x="14711" y="2292"/>
                    </a:lnTo>
                    <a:lnTo>
                      <a:pt x="15972" y="2526"/>
                    </a:lnTo>
                    <a:lnTo>
                      <a:pt x="17058" y="2901"/>
                    </a:lnTo>
                    <a:lnTo>
                      <a:pt x="16708" y="3860"/>
                    </a:lnTo>
                    <a:lnTo>
                      <a:pt x="17408" y="4468"/>
                    </a:lnTo>
                    <a:lnTo>
                      <a:pt x="16182" y="4468"/>
                    </a:lnTo>
                    <a:lnTo>
                      <a:pt x="13625" y="5310"/>
                    </a:lnTo>
                    <a:lnTo>
                      <a:pt x="12890" y="6058"/>
                    </a:lnTo>
                    <a:lnTo>
                      <a:pt x="12750" y="7018"/>
                    </a:lnTo>
                    <a:lnTo>
                      <a:pt x="11804" y="7368"/>
                    </a:lnTo>
                    <a:lnTo>
                      <a:pt x="11804" y="8585"/>
                    </a:lnTo>
                    <a:lnTo>
                      <a:pt x="12750" y="9544"/>
                    </a:lnTo>
                    <a:lnTo>
                      <a:pt x="13625" y="10175"/>
                    </a:lnTo>
                    <a:lnTo>
                      <a:pt x="14711" y="10526"/>
                    </a:lnTo>
                    <a:lnTo>
                      <a:pt x="16182" y="10526"/>
                    </a:lnTo>
                    <a:lnTo>
                      <a:pt x="17058" y="10175"/>
                    </a:lnTo>
                    <a:lnTo>
                      <a:pt x="17058" y="11743"/>
                    </a:lnTo>
                    <a:lnTo>
                      <a:pt x="17618" y="11743"/>
                    </a:lnTo>
                    <a:lnTo>
                      <a:pt x="18529" y="11743"/>
                    </a:lnTo>
                    <a:lnTo>
                      <a:pt x="19965" y="13310"/>
                    </a:lnTo>
                    <a:lnTo>
                      <a:pt x="19440" y="14620"/>
                    </a:lnTo>
                    <a:lnTo>
                      <a:pt x="19440" y="15485"/>
                    </a:lnTo>
                    <a:lnTo>
                      <a:pt x="19054" y="16585"/>
                    </a:lnTo>
                    <a:lnTo>
                      <a:pt x="18354" y="16444"/>
                    </a:lnTo>
                    <a:lnTo>
                      <a:pt x="18354" y="17053"/>
                    </a:lnTo>
                    <a:lnTo>
                      <a:pt x="19440" y="17661"/>
                    </a:lnTo>
                    <a:lnTo>
                      <a:pt x="19790" y="17661"/>
                    </a:lnTo>
                    <a:lnTo>
                      <a:pt x="19440" y="18152"/>
                    </a:lnTo>
                    <a:lnTo>
                      <a:pt x="19054" y="18994"/>
                    </a:lnTo>
                    <a:lnTo>
                      <a:pt x="18529" y="19602"/>
                    </a:lnTo>
                    <a:lnTo>
                      <a:pt x="17968" y="19977"/>
                    </a:lnTo>
                    <a:lnTo>
                      <a:pt x="16532" y="19111"/>
                    </a:lnTo>
                    <a:lnTo>
                      <a:pt x="15061" y="18386"/>
                    </a:lnTo>
                    <a:lnTo>
                      <a:pt x="12329" y="17427"/>
                    </a:lnTo>
                    <a:lnTo>
                      <a:pt x="10368" y="16585"/>
                    </a:lnTo>
                    <a:lnTo>
                      <a:pt x="8371" y="15135"/>
                    </a:lnTo>
                    <a:lnTo>
                      <a:pt x="7671" y="13567"/>
                    </a:lnTo>
                    <a:lnTo>
                      <a:pt x="6550" y="12936"/>
                    </a:lnTo>
                    <a:lnTo>
                      <a:pt x="6025" y="11743"/>
                    </a:lnTo>
                    <a:lnTo>
                      <a:pt x="4729" y="10526"/>
                    </a:lnTo>
                    <a:lnTo>
                      <a:pt x="3818" y="9170"/>
                    </a:lnTo>
                    <a:lnTo>
                      <a:pt x="2382" y="7626"/>
                    </a:lnTo>
                    <a:lnTo>
                      <a:pt x="0" y="6292"/>
                    </a:lnTo>
                    <a:lnTo>
                      <a:pt x="0" y="4725"/>
                    </a:lnTo>
                    <a:lnTo>
                      <a:pt x="736" y="4094"/>
                    </a:lnTo>
                    <a:lnTo>
                      <a:pt x="1821" y="3766"/>
                    </a:lnTo>
                    <a:lnTo>
                      <a:pt x="1471" y="4725"/>
                    </a:lnTo>
                    <a:lnTo>
                      <a:pt x="2382" y="4819"/>
                    </a:lnTo>
                    <a:lnTo>
                      <a:pt x="3643" y="5310"/>
                    </a:lnTo>
                    <a:lnTo>
                      <a:pt x="4168" y="4351"/>
                    </a:lnTo>
                    <a:lnTo>
                      <a:pt x="5289" y="3392"/>
                    </a:lnTo>
                    <a:lnTo>
                      <a:pt x="7110" y="2901"/>
                    </a:lnTo>
                    <a:lnTo>
                      <a:pt x="8546" y="1801"/>
                    </a:lnTo>
                    <a:lnTo>
                      <a:pt x="9457" y="959"/>
                    </a:lnTo>
                    <a:lnTo>
                      <a:pt x="854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6" name="Freeform 33"/>
              <p:cNvSpPr>
                <a:spLocks/>
              </p:cNvSpPr>
              <p:nvPr/>
            </p:nvSpPr>
            <p:spPr bwMode="auto">
              <a:xfrm>
                <a:off x="3273425" y="4040188"/>
                <a:ext cx="3175" cy="11112"/>
              </a:xfrm>
              <a:custGeom>
                <a:avLst/>
                <a:gdLst>
                  <a:gd name="T0" fmla="*/ 0 w 20000"/>
                  <a:gd name="T1" fmla="*/ 18824 h 20000"/>
                  <a:gd name="T2" fmla="*/ 0 w 20000"/>
                  <a:gd name="T3" fmla="*/ 0 h 20000"/>
                  <a:gd name="T4" fmla="*/ 16667 w 20000"/>
                  <a:gd name="T5" fmla="*/ 0 h 20000"/>
                  <a:gd name="T6" fmla="*/ 16667 w 20000"/>
                  <a:gd name="T7" fmla="*/ 7059 h 20000"/>
                  <a:gd name="T8" fmla="*/ 0 w 20000"/>
                  <a:gd name="T9" fmla="*/ 18824 h 20000"/>
                </a:gdLst>
                <a:ahLst/>
                <a:cxnLst>
                  <a:cxn ang="0">
                    <a:pos x="T0" y="T1"/>
                  </a:cxn>
                  <a:cxn ang="0">
                    <a:pos x="T2" y="T3"/>
                  </a:cxn>
                  <a:cxn ang="0">
                    <a:pos x="T4" y="T5"/>
                  </a:cxn>
                  <a:cxn ang="0">
                    <a:pos x="T6" y="T7"/>
                  </a:cxn>
                  <a:cxn ang="0">
                    <a:pos x="T8" y="T9"/>
                  </a:cxn>
                </a:cxnLst>
                <a:rect l="0" t="0" r="r" b="b"/>
                <a:pathLst>
                  <a:path w="20000" h="20000">
                    <a:moveTo>
                      <a:pt x="0" y="18824"/>
                    </a:moveTo>
                    <a:lnTo>
                      <a:pt x="0" y="0"/>
                    </a:lnTo>
                    <a:lnTo>
                      <a:pt x="16667" y="0"/>
                    </a:lnTo>
                    <a:lnTo>
                      <a:pt x="16667" y="7059"/>
                    </a:lnTo>
                    <a:lnTo>
                      <a:pt x="0"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7" name="Freeform 32"/>
              <p:cNvSpPr>
                <a:spLocks/>
              </p:cNvSpPr>
              <p:nvPr/>
            </p:nvSpPr>
            <p:spPr bwMode="auto">
              <a:xfrm>
                <a:off x="3344863" y="4267200"/>
                <a:ext cx="122237" cy="122238"/>
              </a:xfrm>
              <a:custGeom>
                <a:avLst/>
                <a:gdLst>
                  <a:gd name="T0" fmla="*/ 5285 w 20000"/>
                  <a:gd name="T1" fmla="*/ 0 h 20000"/>
                  <a:gd name="T2" fmla="*/ 10777 w 20000"/>
                  <a:gd name="T3" fmla="*/ 1563 h 20000"/>
                  <a:gd name="T4" fmla="*/ 15026 w 20000"/>
                  <a:gd name="T5" fmla="*/ 0 h 20000"/>
                  <a:gd name="T6" fmla="*/ 19896 w 20000"/>
                  <a:gd name="T7" fmla="*/ 1563 h 20000"/>
                  <a:gd name="T8" fmla="*/ 17202 w 20000"/>
                  <a:gd name="T9" fmla="*/ 4271 h 20000"/>
                  <a:gd name="T10" fmla="*/ 18238 w 20000"/>
                  <a:gd name="T11" fmla="*/ 10208 h 20000"/>
                  <a:gd name="T12" fmla="*/ 19275 w 20000"/>
                  <a:gd name="T13" fmla="*/ 12917 h 20000"/>
                  <a:gd name="T14" fmla="*/ 16684 w 20000"/>
                  <a:gd name="T15" fmla="*/ 17188 h 20000"/>
                  <a:gd name="T16" fmla="*/ 15026 w 20000"/>
                  <a:gd name="T17" fmla="*/ 15625 h 20000"/>
                  <a:gd name="T18" fmla="*/ 10777 w 20000"/>
                  <a:gd name="T19" fmla="*/ 16667 h 20000"/>
                  <a:gd name="T20" fmla="*/ 9741 w 20000"/>
                  <a:gd name="T21" fmla="*/ 19896 h 20000"/>
                  <a:gd name="T22" fmla="*/ 6943 w 20000"/>
                  <a:gd name="T23" fmla="*/ 19375 h 20000"/>
                  <a:gd name="T24" fmla="*/ 4249 w 20000"/>
                  <a:gd name="T25" fmla="*/ 12292 h 20000"/>
                  <a:gd name="T26" fmla="*/ 0 w 20000"/>
                  <a:gd name="T27" fmla="*/ 9688 h 20000"/>
                  <a:gd name="T28" fmla="*/ 1036 w 20000"/>
                  <a:gd name="T29" fmla="*/ 5938 h 20000"/>
                  <a:gd name="T30" fmla="*/ 4249 w 20000"/>
                  <a:gd name="T31" fmla="*/ 4271 h 20000"/>
                  <a:gd name="T32" fmla="*/ 5285 w 20000"/>
                  <a:gd name="T3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5285" y="0"/>
                    </a:moveTo>
                    <a:lnTo>
                      <a:pt x="10777" y="1563"/>
                    </a:lnTo>
                    <a:lnTo>
                      <a:pt x="15026" y="0"/>
                    </a:lnTo>
                    <a:lnTo>
                      <a:pt x="19896" y="1563"/>
                    </a:lnTo>
                    <a:lnTo>
                      <a:pt x="17202" y="4271"/>
                    </a:lnTo>
                    <a:lnTo>
                      <a:pt x="18238" y="10208"/>
                    </a:lnTo>
                    <a:lnTo>
                      <a:pt x="19275" y="12917"/>
                    </a:lnTo>
                    <a:lnTo>
                      <a:pt x="16684" y="17188"/>
                    </a:lnTo>
                    <a:lnTo>
                      <a:pt x="15026" y="15625"/>
                    </a:lnTo>
                    <a:lnTo>
                      <a:pt x="10777" y="16667"/>
                    </a:lnTo>
                    <a:lnTo>
                      <a:pt x="9741" y="19896"/>
                    </a:lnTo>
                    <a:lnTo>
                      <a:pt x="6943" y="19375"/>
                    </a:lnTo>
                    <a:lnTo>
                      <a:pt x="4249" y="12292"/>
                    </a:lnTo>
                    <a:lnTo>
                      <a:pt x="0" y="9688"/>
                    </a:lnTo>
                    <a:lnTo>
                      <a:pt x="1036" y="5938"/>
                    </a:lnTo>
                    <a:lnTo>
                      <a:pt x="4249" y="4271"/>
                    </a:lnTo>
                    <a:lnTo>
                      <a:pt x="528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8" name="Freeform 31"/>
              <p:cNvSpPr>
                <a:spLocks/>
              </p:cNvSpPr>
              <p:nvPr/>
            </p:nvSpPr>
            <p:spPr bwMode="auto">
              <a:xfrm>
                <a:off x="3394075" y="5334000"/>
                <a:ext cx="138113" cy="158750"/>
              </a:xfrm>
              <a:custGeom>
                <a:avLst/>
                <a:gdLst>
                  <a:gd name="T0" fmla="*/ 2385 w 20000"/>
                  <a:gd name="T1" fmla="*/ 0 h 20000"/>
                  <a:gd name="T2" fmla="*/ 3761 w 20000"/>
                  <a:gd name="T3" fmla="*/ 0 h 20000"/>
                  <a:gd name="T4" fmla="*/ 8991 w 20000"/>
                  <a:gd name="T5" fmla="*/ 3280 h 20000"/>
                  <a:gd name="T6" fmla="*/ 11284 w 20000"/>
                  <a:gd name="T7" fmla="*/ 3280 h 20000"/>
                  <a:gd name="T8" fmla="*/ 15138 w 20000"/>
                  <a:gd name="T9" fmla="*/ 5840 h 20000"/>
                  <a:gd name="T10" fmla="*/ 19908 w 20000"/>
                  <a:gd name="T11" fmla="*/ 9120 h 20000"/>
                  <a:gd name="T12" fmla="*/ 18899 w 20000"/>
                  <a:gd name="T13" fmla="*/ 11280 h 20000"/>
                  <a:gd name="T14" fmla="*/ 19908 w 20000"/>
                  <a:gd name="T15" fmla="*/ 14080 h 20000"/>
                  <a:gd name="T16" fmla="*/ 17523 w 20000"/>
                  <a:gd name="T17" fmla="*/ 17440 h 20000"/>
                  <a:gd name="T18" fmla="*/ 15138 w 20000"/>
                  <a:gd name="T19" fmla="*/ 19440 h 20000"/>
                  <a:gd name="T20" fmla="*/ 9908 w 20000"/>
                  <a:gd name="T21" fmla="*/ 19920 h 20000"/>
                  <a:gd name="T22" fmla="*/ 6147 w 20000"/>
                  <a:gd name="T23" fmla="*/ 17840 h 20000"/>
                  <a:gd name="T24" fmla="*/ 2844 w 20000"/>
                  <a:gd name="T25" fmla="*/ 17440 h 20000"/>
                  <a:gd name="T26" fmla="*/ 0 w 20000"/>
                  <a:gd name="T27" fmla="*/ 16160 h 20000"/>
                  <a:gd name="T28" fmla="*/ 0 w 20000"/>
                  <a:gd name="T29" fmla="*/ 12480 h 20000"/>
                  <a:gd name="T30" fmla="*/ 0 w 20000"/>
                  <a:gd name="T31" fmla="*/ 12080 h 20000"/>
                  <a:gd name="T32" fmla="*/ 0 w 20000"/>
                  <a:gd name="T33" fmla="*/ 10000 h 20000"/>
                  <a:gd name="T34" fmla="*/ 0 w 20000"/>
                  <a:gd name="T35" fmla="*/ 6720 h 20000"/>
                  <a:gd name="T36" fmla="*/ 367 w 20000"/>
                  <a:gd name="T37" fmla="*/ 3280 h 20000"/>
                  <a:gd name="T38" fmla="*/ 367 w 20000"/>
                  <a:gd name="T39" fmla="*/ 480 h 20000"/>
                  <a:gd name="T40" fmla="*/ 2385 w 20000"/>
                  <a:gd name="T4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2385" y="0"/>
                    </a:moveTo>
                    <a:lnTo>
                      <a:pt x="3761" y="0"/>
                    </a:lnTo>
                    <a:lnTo>
                      <a:pt x="8991" y="3280"/>
                    </a:lnTo>
                    <a:lnTo>
                      <a:pt x="11284" y="3280"/>
                    </a:lnTo>
                    <a:lnTo>
                      <a:pt x="15138" y="5840"/>
                    </a:lnTo>
                    <a:lnTo>
                      <a:pt x="19908" y="9120"/>
                    </a:lnTo>
                    <a:lnTo>
                      <a:pt x="18899" y="11280"/>
                    </a:lnTo>
                    <a:lnTo>
                      <a:pt x="19908" y="14080"/>
                    </a:lnTo>
                    <a:lnTo>
                      <a:pt x="17523" y="17440"/>
                    </a:lnTo>
                    <a:lnTo>
                      <a:pt x="15138" y="19440"/>
                    </a:lnTo>
                    <a:lnTo>
                      <a:pt x="9908" y="19920"/>
                    </a:lnTo>
                    <a:lnTo>
                      <a:pt x="6147" y="17840"/>
                    </a:lnTo>
                    <a:lnTo>
                      <a:pt x="2844" y="17440"/>
                    </a:lnTo>
                    <a:lnTo>
                      <a:pt x="0" y="16160"/>
                    </a:lnTo>
                    <a:lnTo>
                      <a:pt x="0" y="12480"/>
                    </a:lnTo>
                    <a:lnTo>
                      <a:pt x="0" y="12080"/>
                    </a:lnTo>
                    <a:lnTo>
                      <a:pt x="0" y="10000"/>
                    </a:lnTo>
                    <a:lnTo>
                      <a:pt x="0" y="6720"/>
                    </a:lnTo>
                    <a:lnTo>
                      <a:pt x="367" y="3280"/>
                    </a:lnTo>
                    <a:lnTo>
                      <a:pt x="367" y="480"/>
                    </a:lnTo>
                    <a:lnTo>
                      <a:pt x="238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09" name="Freeform 30"/>
              <p:cNvSpPr>
                <a:spLocks/>
              </p:cNvSpPr>
              <p:nvPr/>
            </p:nvSpPr>
            <p:spPr bwMode="auto">
              <a:xfrm>
                <a:off x="2924175" y="4086225"/>
                <a:ext cx="379413" cy="328613"/>
              </a:xfrm>
              <a:custGeom>
                <a:avLst/>
                <a:gdLst>
                  <a:gd name="T0" fmla="*/ 2077 w 20000"/>
                  <a:gd name="T1" fmla="*/ 1429 h 20000"/>
                  <a:gd name="T2" fmla="*/ 2077 w 20000"/>
                  <a:gd name="T3" fmla="*/ 3243 h 20000"/>
                  <a:gd name="T4" fmla="*/ 2077 w 20000"/>
                  <a:gd name="T5" fmla="*/ 5598 h 20000"/>
                  <a:gd name="T6" fmla="*/ 3149 w 20000"/>
                  <a:gd name="T7" fmla="*/ 4208 h 20000"/>
                  <a:gd name="T8" fmla="*/ 3484 w 20000"/>
                  <a:gd name="T9" fmla="*/ 2008 h 20000"/>
                  <a:gd name="T10" fmla="*/ 4523 w 20000"/>
                  <a:gd name="T11" fmla="*/ 1004 h 20000"/>
                  <a:gd name="T12" fmla="*/ 5360 w 20000"/>
                  <a:gd name="T13" fmla="*/ 1429 h 20000"/>
                  <a:gd name="T14" fmla="*/ 7136 w 20000"/>
                  <a:gd name="T15" fmla="*/ 2008 h 20000"/>
                  <a:gd name="T16" fmla="*/ 9045 w 20000"/>
                  <a:gd name="T17" fmla="*/ 3012 h 20000"/>
                  <a:gd name="T18" fmla="*/ 10921 w 20000"/>
                  <a:gd name="T19" fmla="*/ 3629 h 20000"/>
                  <a:gd name="T20" fmla="*/ 14070 w 20000"/>
                  <a:gd name="T21" fmla="*/ 3243 h 20000"/>
                  <a:gd name="T22" fmla="*/ 16817 w 20000"/>
                  <a:gd name="T23" fmla="*/ 3012 h 20000"/>
                  <a:gd name="T24" fmla="*/ 16114 w 20000"/>
                  <a:gd name="T25" fmla="*/ 4208 h 20000"/>
                  <a:gd name="T26" fmla="*/ 18392 w 20000"/>
                  <a:gd name="T27" fmla="*/ 5212 h 20000"/>
                  <a:gd name="T28" fmla="*/ 19062 w 20000"/>
                  <a:gd name="T29" fmla="*/ 6409 h 20000"/>
                  <a:gd name="T30" fmla="*/ 18559 w 20000"/>
                  <a:gd name="T31" fmla="*/ 8378 h 20000"/>
                  <a:gd name="T32" fmla="*/ 18023 w 20000"/>
                  <a:gd name="T33" fmla="*/ 9807 h 20000"/>
                  <a:gd name="T34" fmla="*/ 17521 w 20000"/>
                  <a:gd name="T35" fmla="*/ 11390 h 20000"/>
                  <a:gd name="T36" fmla="*/ 17521 w 20000"/>
                  <a:gd name="T37" fmla="*/ 13591 h 20000"/>
                  <a:gd name="T38" fmla="*/ 15276 w 20000"/>
                  <a:gd name="T39" fmla="*/ 14788 h 20000"/>
                  <a:gd name="T40" fmla="*/ 12127 w 20000"/>
                  <a:gd name="T41" fmla="*/ 14208 h 20000"/>
                  <a:gd name="T42" fmla="*/ 13032 w 20000"/>
                  <a:gd name="T43" fmla="*/ 16757 h 20000"/>
                  <a:gd name="T44" fmla="*/ 14573 w 20000"/>
                  <a:gd name="T45" fmla="*/ 17761 h 20000"/>
                  <a:gd name="T46" fmla="*/ 10921 w 20000"/>
                  <a:gd name="T47" fmla="*/ 19768 h 20000"/>
                  <a:gd name="T48" fmla="*/ 9045 w 20000"/>
                  <a:gd name="T49" fmla="*/ 19382 h 20000"/>
                  <a:gd name="T50" fmla="*/ 8174 w 20000"/>
                  <a:gd name="T51" fmla="*/ 16178 h 20000"/>
                  <a:gd name="T52" fmla="*/ 7973 w 20000"/>
                  <a:gd name="T53" fmla="*/ 14208 h 20000"/>
                  <a:gd name="T54" fmla="*/ 8509 w 20000"/>
                  <a:gd name="T55" fmla="*/ 10579 h 20000"/>
                  <a:gd name="T56" fmla="*/ 4523 w 20000"/>
                  <a:gd name="T57" fmla="*/ 9382 h 20000"/>
                  <a:gd name="T58" fmla="*/ 1240 w 20000"/>
                  <a:gd name="T59" fmla="*/ 8378 h 20000"/>
                  <a:gd name="T60" fmla="*/ 369 w 20000"/>
                  <a:gd name="T61" fmla="*/ 5212 h 20000"/>
                  <a:gd name="T62" fmla="*/ 0 w 20000"/>
                  <a:gd name="T63" fmla="*/ 4208 h 20000"/>
                  <a:gd name="T64" fmla="*/ 704 w 20000"/>
                  <a:gd name="T65" fmla="*/ 2625 h 20000"/>
                  <a:gd name="T66" fmla="*/ 1742 w 20000"/>
                  <a:gd name="T67" fmla="*/ 618 h 20000"/>
                  <a:gd name="T68" fmla="*/ 3149 w 20000"/>
                  <a:gd name="T6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3149" y="0"/>
                    </a:moveTo>
                    <a:lnTo>
                      <a:pt x="2077" y="1429"/>
                    </a:lnTo>
                    <a:lnTo>
                      <a:pt x="2077" y="2008"/>
                    </a:lnTo>
                    <a:lnTo>
                      <a:pt x="2077" y="3243"/>
                    </a:lnTo>
                    <a:lnTo>
                      <a:pt x="1575" y="4208"/>
                    </a:lnTo>
                    <a:lnTo>
                      <a:pt x="2077" y="5598"/>
                    </a:lnTo>
                    <a:lnTo>
                      <a:pt x="2948" y="5598"/>
                    </a:lnTo>
                    <a:lnTo>
                      <a:pt x="3149" y="4208"/>
                    </a:lnTo>
                    <a:lnTo>
                      <a:pt x="2948" y="2625"/>
                    </a:lnTo>
                    <a:lnTo>
                      <a:pt x="3484" y="2008"/>
                    </a:lnTo>
                    <a:lnTo>
                      <a:pt x="4858" y="1583"/>
                    </a:lnTo>
                    <a:lnTo>
                      <a:pt x="4523" y="1004"/>
                    </a:lnTo>
                    <a:lnTo>
                      <a:pt x="4858" y="0"/>
                    </a:lnTo>
                    <a:lnTo>
                      <a:pt x="5360" y="1429"/>
                    </a:lnTo>
                    <a:lnTo>
                      <a:pt x="5896" y="1429"/>
                    </a:lnTo>
                    <a:lnTo>
                      <a:pt x="7136" y="2008"/>
                    </a:lnTo>
                    <a:lnTo>
                      <a:pt x="7270" y="3012"/>
                    </a:lnTo>
                    <a:lnTo>
                      <a:pt x="9045" y="3012"/>
                    </a:lnTo>
                    <a:lnTo>
                      <a:pt x="10419" y="3012"/>
                    </a:lnTo>
                    <a:lnTo>
                      <a:pt x="10921" y="3629"/>
                    </a:lnTo>
                    <a:lnTo>
                      <a:pt x="12663" y="3784"/>
                    </a:lnTo>
                    <a:lnTo>
                      <a:pt x="14070" y="3243"/>
                    </a:lnTo>
                    <a:lnTo>
                      <a:pt x="13166" y="3012"/>
                    </a:lnTo>
                    <a:lnTo>
                      <a:pt x="16817" y="3012"/>
                    </a:lnTo>
                    <a:lnTo>
                      <a:pt x="15444" y="3243"/>
                    </a:lnTo>
                    <a:lnTo>
                      <a:pt x="16114" y="4208"/>
                    </a:lnTo>
                    <a:lnTo>
                      <a:pt x="17521" y="4208"/>
                    </a:lnTo>
                    <a:lnTo>
                      <a:pt x="18392" y="5212"/>
                    </a:lnTo>
                    <a:lnTo>
                      <a:pt x="18559" y="6409"/>
                    </a:lnTo>
                    <a:lnTo>
                      <a:pt x="19062" y="6409"/>
                    </a:lnTo>
                    <a:lnTo>
                      <a:pt x="19966" y="7181"/>
                    </a:lnTo>
                    <a:lnTo>
                      <a:pt x="18559" y="8378"/>
                    </a:lnTo>
                    <a:lnTo>
                      <a:pt x="19062" y="9382"/>
                    </a:lnTo>
                    <a:lnTo>
                      <a:pt x="18023" y="9807"/>
                    </a:lnTo>
                    <a:lnTo>
                      <a:pt x="18023" y="10425"/>
                    </a:lnTo>
                    <a:lnTo>
                      <a:pt x="17521" y="11390"/>
                    </a:lnTo>
                    <a:lnTo>
                      <a:pt x="18559" y="12587"/>
                    </a:lnTo>
                    <a:lnTo>
                      <a:pt x="17521" y="13591"/>
                    </a:lnTo>
                    <a:lnTo>
                      <a:pt x="15779" y="14208"/>
                    </a:lnTo>
                    <a:lnTo>
                      <a:pt x="15276" y="14788"/>
                    </a:lnTo>
                    <a:lnTo>
                      <a:pt x="13534" y="14208"/>
                    </a:lnTo>
                    <a:lnTo>
                      <a:pt x="12127" y="14208"/>
                    </a:lnTo>
                    <a:lnTo>
                      <a:pt x="13166" y="15174"/>
                    </a:lnTo>
                    <a:lnTo>
                      <a:pt x="13032" y="16757"/>
                    </a:lnTo>
                    <a:lnTo>
                      <a:pt x="14405" y="17143"/>
                    </a:lnTo>
                    <a:lnTo>
                      <a:pt x="14573" y="17761"/>
                    </a:lnTo>
                    <a:lnTo>
                      <a:pt x="13166" y="18803"/>
                    </a:lnTo>
                    <a:lnTo>
                      <a:pt x="10921" y="19768"/>
                    </a:lnTo>
                    <a:lnTo>
                      <a:pt x="9883" y="19961"/>
                    </a:lnTo>
                    <a:lnTo>
                      <a:pt x="9045" y="19382"/>
                    </a:lnTo>
                    <a:lnTo>
                      <a:pt x="8509" y="17375"/>
                    </a:lnTo>
                    <a:lnTo>
                      <a:pt x="8174" y="16178"/>
                    </a:lnTo>
                    <a:lnTo>
                      <a:pt x="8509" y="15174"/>
                    </a:lnTo>
                    <a:lnTo>
                      <a:pt x="7973" y="14208"/>
                    </a:lnTo>
                    <a:lnTo>
                      <a:pt x="7638" y="12162"/>
                    </a:lnTo>
                    <a:lnTo>
                      <a:pt x="8509" y="10579"/>
                    </a:lnTo>
                    <a:lnTo>
                      <a:pt x="5360" y="10579"/>
                    </a:lnTo>
                    <a:lnTo>
                      <a:pt x="4523" y="9382"/>
                    </a:lnTo>
                    <a:lnTo>
                      <a:pt x="2278" y="9382"/>
                    </a:lnTo>
                    <a:lnTo>
                      <a:pt x="1240" y="8378"/>
                    </a:lnTo>
                    <a:lnTo>
                      <a:pt x="1240" y="7181"/>
                    </a:lnTo>
                    <a:lnTo>
                      <a:pt x="369" y="5212"/>
                    </a:lnTo>
                    <a:lnTo>
                      <a:pt x="0" y="5212"/>
                    </a:lnTo>
                    <a:lnTo>
                      <a:pt x="0" y="4208"/>
                    </a:lnTo>
                    <a:lnTo>
                      <a:pt x="0" y="3629"/>
                    </a:lnTo>
                    <a:lnTo>
                      <a:pt x="704" y="2625"/>
                    </a:lnTo>
                    <a:lnTo>
                      <a:pt x="1575" y="1583"/>
                    </a:lnTo>
                    <a:lnTo>
                      <a:pt x="1742" y="618"/>
                    </a:lnTo>
                    <a:lnTo>
                      <a:pt x="2613" y="425"/>
                    </a:lnTo>
                    <a:lnTo>
                      <a:pt x="314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0" name="Freeform 29"/>
              <p:cNvSpPr>
                <a:spLocks/>
              </p:cNvSpPr>
              <p:nvPr/>
            </p:nvSpPr>
            <p:spPr bwMode="auto">
              <a:xfrm>
                <a:off x="1638300" y="2738438"/>
                <a:ext cx="1585913" cy="950912"/>
              </a:xfrm>
              <a:custGeom>
                <a:avLst/>
                <a:gdLst>
                  <a:gd name="T0" fmla="*/ 11494 w 20000"/>
                  <a:gd name="T1" fmla="*/ 1176 h 20000"/>
                  <a:gd name="T2" fmla="*/ 11694 w 20000"/>
                  <a:gd name="T3" fmla="*/ 2071 h 20000"/>
                  <a:gd name="T4" fmla="*/ 12070 w 20000"/>
                  <a:gd name="T5" fmla="*/ 2565 h 20000"/>
                  <a:gd name="T6" fmla="*/ 12479 w 20000"/>
                  <a:gd name="T7" fmla="*/ 2979 h 20000"/>
                  <a:gd name="T8" fmla="*/ 11950 w 20000"/>
                  <a:gd name="T9" fmla="*/ 3794 h 20000"/>
                  <a:gd name="T10" fmla="*/ 12815 w 20000"/>
                  <a:gd name="T11" fmla="*/ 3794 h 20000"/>
                  <a:gd name="T12" fmla="*/ 13144 w 20000"/>
                  <a:gd name="T13" fmla="*/ 3527 h 20000"/>
                  <a:gd name="T14" fmla="*/ 13360 w 20000"/>
                  <a:gd name="T15" fmla="*/ 4075 h 20000"/>
                  <a:gd name="T16" fmla="*/ 14145 w 20000"/>
                  <a:gd name="T17" fmla="*/ 4008 h 20000"/>
                  <a:gd name="T18" fmla="*/ 14441 w 20000"/>
                  <a:gd name="T19" fmla="*/ 4703 h 20000"/>
                  <a:gd name="T20" fmla="*/ 13480 w 20000"/>
                  <a:gd name="T21" fmla="*/ 4770 h 20000"/>
                  <a:gd name="T22" fmla="*/ 13024 w 20000"/>
                  <a:gd name="T23" fmla="*/ 6146 h 20000"/>
                  <a:gd name="T24" fmla="*/ 12815 w 20000"/>
                  <a:gd name="T25" fmla="*/ 8016 h 20000"/>
                  <a:gd name="T26" fmla="*/ 13264 w 20000"/>
                  <a:gd name="T27" fmla="*/ 6907 h 20000"/>
                  <a:gd name="T28" fmla="*/ 13769 w 20000"/>
                  <a:gd name="T29" fmla="*/ 5464 h 20000"/>
                  <a:gd name="T30" fmla="*/ 14145 w 20000"/>
                  <a:gd name="T31" fmla="*/ 4916 h 20000"/>
                  <a:gd name="T32" fmla="*/ 14345 w 20000"/>
                  <a:gd name="T33" fmla="*/ 6226 h 20000"/>
                  <a:gd name="T34" fmla="*/ 14642 w 20000"/>
                  <a:gd name="T35" fmla="*/ 6359 h 20000"/>
                  <a:gd name="T36" fmla="*/ 14441 w 20000"/>
                  <a:gd name="T37" fmla="*/ 7615 h 20000"/>
                  <a:gd name="T38" fmla="*/ 15226 w 20000"/>
                  <a:gd name="T39" fmla="*/ 8363 h 20000"/>
                  <a:gd name="T40" fmla="*/ 15843 w 20000"/>
                  <a:gd name="T41" fmla="*/ 7321 h 20000"/>
                  <a:gd name="T42" fmla="*/ 16636 w 20000"/>
                  <a:gd name="T43" fmla="*/ 6987 h 20000"/>
                  <a:gd name="T44" fmla="*/ 18502 w 20000"/>
                  <a:gd name="T45" fmla="*/ 5878 h 20000"/>
                  <a:gd name="T46" fmla="*/ 19584 w 20000"/>
                  <a:gd name="T47" fmla="*/ 4342 h 20000"/>
                  <a:gd name="T48" fmla="*/ 19784 w 20000"/>
                  <a:gd name="T49" fmla="*/ 5464 h 20000"/>
                  <a:gd name="T50" fmla="*/ 19455 w 20000"/>
                  <a:gd name="T51" fmla="*/ 6440 h 20000"/>
                  <a:gd name="T52" fmla="*/ 18502 w 20000"/>
                  <a:gd name="T53" fmla="*/ 8016 h 20000"/>
                  <a:gd name="T54" fmla="*/ 18783 w 20000"/>
                  <a:gd name="T55" fmla="*/ 8577 h 20000"/>
                  <a:gd name="T56" fmla="*/ 17461 w 20000"/>
                  <a:gd name="T57" fmla="*/ 9058 h 20000"/>
                  <a:gd name="T58" fmla="*/ 17253 w 20000"/>
                  <a:gd name="T59" fmla="*/ 9339 h 20000"/>
                  <a:gd name="T60" fmla="*/ 16916 w 20000"/>
                  <a:gd name="T61" fmla="*/ 10514 h 20000"/>
                  <a:gd name="T62" fmla="*/ 16756 w 20000"/>
                  <a:gd name="T63" fmla="*/ 10701 h 20000"/>
                  <a:gd name="T64" fmla="*/ 16388 w 20000"/>
                  <a:gd name="T65" fmla="*/ 10514 h 20000"/>
                  <a:gd name="T66" fmla="*/ 16211 w 20000"/>
                  <a:gd name="T67" fmla="*/ 10915 h 20000"/>
                  <a:gd name="T68" fmla="*/ 16211 w 20000"/>
                  <a:gd name="T69" fmla="*/ 11476 h 20000"/>
                  <a:gd name="T70" fmla="*/ 16388 w 20000"/>
                  <a:gd name="T71" fmla="*/ 12585 h 20000"/>
                  <a:gd name="T72" fmla="*/ 16051 w 20000"/>
                  <a:gd name="T73" fmla="*/ 12585 h 20000"/>
                  <a:gd name="T74" fmla="*/ 15963 w 20000"/>
                  <a:gd name="T75" fmla="*/ 13066 h 20000"/>
                  <a:gd name="T76" fmla="*/ 14970 w 20000"/>
                  <a:gd name="T77" fmla="*/ 14522 h 20000"/>
                  <a:gd name="T78" fmla="*/ 14145 w 20000"/>
                  <a:gd name="T79" fmla="*/ 17088 h 20000"/>
                  <a:gd name="T80" fmla="*/ 14145 w 20000"/>
                  <a:gd name="T81" fmla="*/ 19987 h 20000"/>
                  <a:gd name="T82" fmla="*/ 13560 w 20000"/>
                  <a:gd name="T83" fmla="*/ 18731 h 20000"/>
                  <a:gd name="T84" fmla="*/ 13480 w 20000"/>
                  <a:gd name="T85" fmla="*/ 17635 h 20000"/>
                  <a:gd name="T86" fmla="*/ 12687 w 20000"/>
                  <a:gd name="T87" fmla="*/ 16927 h 20000"/>
                  <a:gd name="T88" fmla="*/ 11742 w 20000"/>
                  <a:gd name="T89" fmla="*/ 16326 h 20000"/>
                  <a:gd name="T90" fmla="*/ 11197 w 20000"/>
                  <a:gd name="T91" fmla="*/ 16727 h 20000"/>
                  <a:gd name="T92" fmla="*/ 10453 w 20000"/>
                  <a:gd name="T93" fmla="*/ 16874 h 20000"/>
                  <a:gd name="T94" fmla="*/ 9083 w 20000"/>
                  <a:gd name="T95" fmla="*/ 17141 h 20000"/>
                  <a:gd name="T96" fmla="*/ 8250 w 20000"/>
                  <a:gd name="T97" fmla="*/ 19078 h 20000"/>
                  <a:gd name="T98" fmla="*/ 7505 w 20000"/>
                  <a:gd name="T99" fmla="*/ 18049 h 20000"/>
                  <a:gd name="T100" fmla="*/ 6712 w 20000"/>
                  <a:gd name="T101" fmla="*/ 16379 h 20000"/>
                  <a:gd name="T102" fmla="*/ 5847 w 20000"/>
                  <a:gd name="T103" fmla="*/ 15832 h 20000"/>
                  <a:gd name="T104" fmla="*/ 4766 w 20000"/>
                  <a:gd name="T105" fmla="*/ 15150 h 20000"/>
                  <a:gd name="T106" fmla="*/ 2491 w 20000"/>
                  <a:gd name="T107" fmla="*/ 13975 h 20000"/>
                  <a:gd name="T108" fmla="*/ 1370 w 20000"/>
                  <a:gd name="T109" fmla="*/ 12933 h 20000"/>
                  <a:gd name="T110" fmla="*/ 705 w 20000"/>
                  <a:gd name="T111" fmla="*/ 11824 h 20000"/>
                  <a:gd name="T112" fmla="*/ 328 w 20000"/>
                  <a:gd name="T113" fmla="*/ 10367 h 20000"/>
                  <a:gd name="T114" fmla="*/ 408 w 20000"/>
                  <a:gd name="T115" fmla="*/ 9472 h 20000"/>
                  <a:gd name="T116" fmla="*/ 80 w 20000"/>
                  <a:gd name="T117" fmla="*/ 8016 h 20000"/>
                  <a:gd name="T118" fmla="*/ 288 w 20000"/>
                  <a:gd name="T119" fmla="*/ 5464 h 20000"/>
                  <a:gd name="T120" fmla="*/ 1081 w 20000"/>
                  <a:gd name="T121" fmla="*/ 2004 h 20000"/>
                  <a:gd name="T122" fmla="*/ 1618 w 20000"/>
                  <a:gd name="T123" fmla="*/ 1309 h 20000"/>
                  <a:gd name="T124" fmla="*/ 1898 w 20000"/>
                  <a:gd name="T125" fmla="*/ 41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0989" y="1523"/>
                    </a:moveTo>
                    <a:lnTo>
                      <a:pt x="11278" y="962"/>
                    </a:lnTo>
                    <a:lnTo>
                      <a:pt x="11494" y="1176"/>
                    </a:lnTo>
                    <a:lnTo>
                      <a:pt x="11494" y="1804"/>
                    </a:lnTo>
                    <a:lnTo>
                      <a:pt x="11197" y="1804"/>
                    </a:lnTo>
                    <a:lnTo>
                      <a:pt x="11694" y="2071"/>
                    </a:lnTo>
                    <a:lnTo>
                      <a:pt x="11694" y="1804"/>
                    </a:lnTo>
                    <a:lnTo>
                      <a:pt x="11950" y="2351"/>
                    </a:lnTo>
                    <a:lnTo>
                      <a:pt x="12070" y="2565"/>
                    </a:lnTo>
                    <a:lnTo>
                      <a:pt x="12559" y="2619"/>
                    </a:lnTo>
                    <a:lnTo>
                      <a:pt x="12936" y="2766"/>
                    </a:lnTo>
                    <a:lnTo>
                      <a:pt x="12479" y="2979"/>
                    </a:lnTo>
                    <a:lnTo>
                      <a:pt x="12151" y="3327"/>
                    </a:lnTo>
                    <a:lnTo>
                      <a:pt x="11822" y="3794"/>
                    </a:lnTo>
                    <a:lnTo>
                      <a:pt x="11950" y="3794"/>
                    </a:lnTo>
                    <a:lnTo>
                      <a:pt x="12199" y="3661"/>
                    </a:lnTo>
                    <a:lnTo>
                      <a:pt x="12151" y="3874"/>
                    </a:lnTo>
                    <a:lnTo>
                      <a:pt x="12815" y="3794"/>
                    </a:lnTo>
                    <a:lnTo>
                      <a:pt x="13232" y="3327"/>
                    </a:lnTo>
                    <a:lnTo>
                      <a:pt x="13360" y="3327"/>
                    </a:lnTo>
                    <a:lnTo>
                      <a:pt x="13144" y="3527"/>
                    </a:lnTo>
                    <a:lnTo>
                      <a:pt x="13024" y="3874"/>
                    </a:lnTo>
                    <a:lnTo>
                      <a:pt x="13264" y="3874"/>
                    </a:lnTo>
                    <a:lnTo>
                      <a:pt x="13360" y="4075"/>
                    </a:lnTo>
                    <a:lnTo>
                      <a:pt x="13560" y="4208"/>
                    </a:lnTo>
                    <a:lnTo>
                      <a:pt x="13769" y="4075"/>
                    </a:lnTo>
                    <a:lnTo>
                      <a:pt x="14145" y="4008"/>
                    </a:lnTo>
                    <a:lnTo>
                      <a:pt x="14145" y="4342"/>
                    </a:lnTo>
                    <a:lnTo>
                      <a:pt x="14345" y="4422"/>
                    </a:lnTo>
                    <a:lnTo>
                      <a:pt x="14441" y="4703"/>
                    </a:lnTo>
                    <a:lnTo>
                      <a:pt x="14225" y="4703"/>
                    </a:lnTo>
                    <a:lnTo>
                      <a:pt x="13897" y="4556"/>
                    </a:lnTo>
                    <a:lnTo>
                      <a:pt x="13480" y="4770"/>
                    </a:lnTo>
                    <a:lnTo>
                      <a:pt x="12936" y="5678"/>
                    </a:lnTo>
                    <a:lnTo>
                      <a:pt x="13360" y="5104"/>
                    </a:lnTo>
                    <a:lnTo>
                      <a:pt x="13024" y="6146"/>
                    </a:lnTo>
                    <a:lnTo>
                      <a:pt x="12903" y="6774"/>
                    </a:lnTo>
                    <a:lnTo>
                      <a:pt x="12815" y="7455"/>
                    </a:lnTo>
                    <a:lnTo>
                      <a:pt x="12815" y="8016"/>
                    </a:lnTo>
                    <a:lnTo>
                      <a:pt x="13104" y="8016"/>
                    </a:lnTo>
                    <a:lnTo>
                      <a:pt x="13264" y="7615"/>
                    </a:lnTo>
                    <a:lnTo>
                      <a:pt x="13264" y="6907"/>
                    </a:lnTo>
                    <a:lnTo>
                      <a:pt x="13360" y="6359"/>
                    </a:lnTo>
                    <a:lnTo>
                      <a:pt x="13480" y="5812"/>
                    </a:lnTo>
                    <a:lnTo>
                      <a:pt x="13769" y="5464"/>
                    </a:lnTo>
                    <a:lnTo>
                      <a:pt x="13897" y="5317"/>
                    </a:lnTo>
                    <a:lnTo>
                      <a:pt x="14017" y="4970"/>
                    </a:lnTo>
                    <a:lnTo>
                      <a:pt x="14145" y="4916"/>
                    </a:lnTo>
                    <a:lnTo>
                      <a:pt x="14553" y="5317"/>
                    </a:lnTo>
                    <a:lnTo>
                      <a:pt x="14553" y="5812"/>
                    </a:lnTo>
                    <a:lnTo>
                      <a:pt x="14345" y="6226"/>
                    </a:lnTo>
                    <a:lnTo>
                      <a:pt x="14225" y="6707"/>
                    </a:lnTo>
                    <a:lnTo>
                      <a:pt x="14345" y="6440"/>
                    </a:lnTo>
                    <a:lnTo>
                      <a:pt x="14642" y="6359"/>
                    </a:lnTo>
                    <a:lnTo>
                      <a:pt x="14642" y="6707"/>
                    </a:lnTo>
                    <a:lnTo>
                      <a:pt x="14642" y="7121"/>
                    </a:lnTo>
                    <a:lnTo>
                      <a:pt x="14441" y="7615"/>
                    </a:lnTo>
                    <a:lnTo>
                      <a:pt x="14145" y="8163"/>
                    </a:lnTo>
                    <a:lnTo>
                      <a:pt x="14642" y="8363"/>
                    </a:lnTo>
                    <a:lnTo>
                      <a:pt x="15226" y="8363"/>
                    </a:lnTo>
                    <a:lnTo>
                      <a:pt x="15635" y="8016"/>
                    </a:lnTo>
                    <a:lnTo>
                      <a:pt x="15883" y="7669"/>
                    </a:lnTo>
                    <a:lnTo>
                      <a:pt x="15843" y="7321"/>
                    </a:lnTo>
                    <a:lnTo>
                      <a:pt x="15763" y="7121"/>
                    </a:lnTo>
                    <a:lnTo>
                      <a:pt x="16388" y="7121"/>
                    </a:lnTo>
                    <a:lnTo>
                      <a:pt x="16636" y="6987"/>
                    </a:lnTo>
                    <a:lnTo>
                      <a:pt x="17173" y="6573"/>
                    </a:lnTo>
                    <a:lnTo>
                      <a:pt x="17373" y="5878"/>
                    </a:lnTo>
                    <a:lnTo>
                      <a:pt x="18502" y="5878"/>
                    </a:lnTo>
                    <a:lnTo>
                      <a:pt x="18702" y="5812"/>
                    </a:lnTo>
                    <a:lnTo>
                      <a:pt x="19535" y="4075"/>
                    </a:lnTo>
                    <a:lnTo>
                      <a:pt x="19584" y="4342"/>
                    </a:lnTo>
                    <a:lnTo>
                      <a:pt x="19864" y="4208"/>
                    </a:lnTo>
                    <a:lnTo>
                      <a:pt x="19992" y="4422"/>
                    </a:lnTo>
                    <a:lnTo>
                      <a:pt x="19784" y="5464"/>
                    </a:lnTo>
                    <a:lnTo>
                      <a:pt x="19992" y="6012"/>
                    </a:lnTo>
                    <a:lnTo>
                      <a:pt x="19912" y="6440"/>
                    </a:lnTo>
                    <a:lnTo>
                      <a:pt x="19455" y="6440"/>
                    </a:lnTo>
                    <a:lnTo>
                      <a:pt x="19207" y="6907"/>
                    </a:lnTo>
                    <a:lnTo>
                      <a:pt x="18783" y="7321"/>
                    </a:lnTo>
                    <a:lnTo>
                      <a:pt x="18502" y="8016"/>
                    </a:lnTo>
                    <a:lnTo>
                      <a:pt x="18582" y="8363"/>
                    </a:lnTo>
                    <a:lnTo>
                      <a:pt x="18783" y="8363"/>
                    </a:lnTo>
                    <a:lnTo>
                      <a:pt x="18783" y="8577"/>
                    </a:lnTo>
                    <a:lnTo>
                      <a:pt x="18334" y="8711"/>
                    </a:lnTo>
                    <a:lnTo>
                      <a:pt x="17958" y="8791"/>
                    </a:lnTo>
                    <a:lnTo>
                      <a:pt x="17461" y="9058"/>
                    </a:lnTo>
                    <a:lnTo>
                      <a:pt x="17918" y="9058"/>
                    </a:lnTo>
                    <a:lnTo>
                      <a:pt x="17461" y="9259"/>
                    </a:lnTo>
                    <a:lnTo>
                      <a:pt x="17253" y="9339"/>
                    </a:lnTo>
                    <a:lnTo>
                      <a:pt x="17293" y="9472"/>
                    </a:lnTo>
                    <a:lnTo>
                      <a:pt x="17173" y="9886"/>
                    </a:lnTo>
                    <a:lnTo>
                      <a:pt x="16916" y="10514"/>
                    </a:lnTo>
                    <a:lnTo>
                      <a:pt x="16716" y="10154"/>
                    </a:lnTo>
                    <a:lnTo>
                      <a:pt x="16716" y="10367"/>
                    </a:lnTo>
                    <a:lnTo>
                      <a:pt x="16756" y="10701"/>
                    </a:lnTo>
                    <a:lnTo>
                      <a:pt x="16508" y="11329"/>
                    </a:lnTo>
                    <a:lnTo>
                      <a:pt x="16428" y="10782"/>
                    </a:lnTo>
                    <a:lnTo>
                      <a:pt x="16388" y="10514"/>
                    </a:lnTo>
                    <a:lnTo>
                      <a:pt x="16508" y="10020"/>
                    </a:lnTo>
                    <a:lnTo>
                      <a:pt x="16308" y="10154"/>
                    </a:lnTo>
                    <a:lnTo>
                      <a:pt x="16211" y="10915"/>
                    </a:lnTo>
                    <a:lnTo>
                      <a:pt x="15963" y="10782"/>
                    </a:lnTo>
                    <a:lnTo>
                      <a:pt x="16308" y="11276"/>
                    </a:lnTo>
                    <a:lnTo>
                      <a:pt x="16211" y="11476"/>
                    </a:lnTo>
                    <a:lnTo>
                      <a:pt x="16179" y="11957"/>
                    </a:lnTo>
                    <a:lnTo>
                      <a:pt x="16388" y="12037"/>
                    </a:lnTo>
                    <a:lnTo>
                      <a:pt x="16388" y="12585"/>
                    </a:lnTo>
                    <a:lnTo>
                      <a:pt x="16308" y="12238"/>
                    </a:lnTo>
                    <a:lnTo>
                      <a:pt x="16211" y="12505"/>
                    </a:lnTo>
                    <a:lnTo>
                      <a:pt x="16051" y="12585"/>
                    </a:lnTo>
                    <a:lnTo>
                      <a:pt x="16388" y="12719"/>
                    </a:lnTo>
                    <a:lnTo>
                      <a:pt x="16211" y="13133"/>
                    </a:lnTo>
                    <a:lnTo>
                      <a:pt x="15963" y="13066"/>
                    </a:lnTo>
                    <a:lnTo>
                      <a:pt x="16091" y="13413"/>
                    </a:lnTo>
                    <a:lnTo>
                      <a:pt x="15427" y="14028"/>
                    </a:lnTo>
                    <a:lnTo>
                      <a:pt x="14970" y="14522"/>
                    </a:lnTo>
                    <a:lnTo>
                      <a:pt x="14473" y="15070"/>
                    </a:lnTo>
                    <a:lnTo>
                      <a:pt x="14097" y="15965"/>
                    </a:lnTo>
                    <a:lnTo>
                      <a:pt x="14145" y="17088"/>
                    </a:lnTo>
                    <a:lnTo>
                      <a:pt x="14225" y="18049"/>
                    </a:lnTo>
                    <a:lnTo>
                      <a:pt x="14345" y="18864"/>
                    </a:lnTo>
                    <a:lnTo>
                      <a:pt x="14145" y="19987"/>
                    </a:lnTo>
                    <a:lnTo>
                      <a:pt x="13897" y="19987"/>
                    </a:lnTo>
                    <a:lnTo>
                      <a:pt x="13688" y="19492"/>
                    </a:lnTo>
                    <a:lnTo>
                      <a:pt x="13560" y="18731"/>
                    </a:lnTo>
                    <a:lnTo>
                      <a:pt x="13560" y="18183"/>
                    </a:lnTo>
                    <a:lnTo>
                      <a:pt x="13440" y="18049"/>
                    </a:lnTo>
                    <a:lnTo>
                      <a:pt x="13480" y="17635"/>
                    </a:lnTo>
                    <a:lnTo>
                      <a:pt x="13360" y="17088"/>
                    </a:lnTo>
                    <a:lnTo>
                      <a:pt x="13104" y="16593"/>
                    </a:lnTo>
                    <a:lnTo>
                      <a:pt x="12687" y="16927"/>
                    </a:lnTo>
                    <a:lnTo>
                      <a:pt x="12399" y="16379"/>
                    </a:lnTo>
                    <a:lnTo>
                      <a:pt x="11854" y="16379"/>
                    </a:lnTo>
                    <a:lnTo>
                      <a:pt x="11742" y="16326"/>
                    </a:lnTo>
                    <a:lnTo>
                      <a:pt x="11278" y="16379"/>
                    </a:lnTo>
                    <a:lnTo>
                      <a:pt x="10869" y="16379"/>
                    </a:lnTo>
                    <a:lnTo>
                      <a:pt x="11197" y="16727"/>
                    </a:lnTo>
                    <a:lnTo>
                      <a:pt x="11278" y="17088"/>
                    </a:lnTo>
                    <a:lnTo>
                      <a:pt x="10949" y="17141"/>
                    </a:lnTo>
                    <a:lnTo>
                      <a:pt x="10453" y="16874"/>
                    </a:lnTo>
                    <a:lnTo>
                      <a:pt x="9956" y="16727"/>
                    </a:lnTo>
                    <a:lnTo>
                      <a:pt x="9459" y="16727"/>
                    </a:lnTo>
                    <a:lnTo>
                      <a:pt x="9083" y="17141"/>
                    </a:lnTo>
                    <a:lnTo>
                      <a:pt x="8578" y="17488"/>
                    </a:lnTo>
                    <a:lnTo>
                      <a:pt x="8218" y="18183"/>
                    </a:lnTo>
                    <a:lnTo>
                      <a:pt x="8250" y="19078"/>
                    </a:lnTo>
                    <a:lnTo>
                      <a:pt x="8122" y="19212"/>
                    </a:lnTo>
                    <a:lnTo>
                      <a:pt x="7593" y="18731"/>
                    </a:lnTo>
                    <a:lnTo>
                      <a:pt x="7505" y="18049"/>
                    </a:lnTo>
                    <a:lnTo>
                      <a:pt x="7337" y="17635"/>
                    </a:lnTo>
                    <a:lnTo>
                      <a:pt x="7056" y="16593"/>
                    </a:lnTo>
                    <a:lnTo>
                      <a:pt x="6712" y="16379"/>
                    </a:lnTo>
                    <a:lnTo>
                      <a:pt x="6384" y="16927"/>
                    </a:lnTo>
                    <a:lnTo>
                      <a:pt x="5927" y="16513"/>
                    </a:lnTo>
                    <a:lnTo>
                      <a:pt x="5847" y="15832"/>
                    </a:lnTo>
                    <a:lnTo>
                      <a:pt x="5390" y="14856"/>
                    </a:lnTo>
                    <a:lnTo>
                      <a:pt x="4766" y="14856"/>
                    </a:lnTo>
                    <a:lnTo>
                      <a:pt x="4766" y="15150"/>
                    </a:lnTo>
                    <a:lnTo>
                      <a:pt x="3781" y="15070"/>
                    </a:lnTo>
                    <a:lnTo>
                      <a:pt x="2491" y="14175"/>
                    </a:lnTo>
                    <a:lnTo>
                      <a:pt x="2491" y="13975"/>
                    </a:lnTo>
                    <a:lnTo>
                      <a:pt x="1698" y="14028"/>
                    </a:lnTo>
                    <a:lnTo>
                      <a:pt x="1618" y="13413"/>
                    </a:lnTo>
                    <a:lnTo>
                      <a:pt x="1370" y="12933"/>
                    </a:lnTo>
                    <a:lnTo>
                      <a:pt x="1081" y="12585"/>
                    </a:lnTo>
                    <a:lnTo>
                      <a:pt x="705" y="12505"/>
                    </a:lnTo>
                    <a:lnTo>
                      <a:pt x="705" y="11824"/>
                    </a:lnTo>
                    <a:lnTo>
                      <a:pt x="408" y="10915"/>
                    </a:lnTo>
                    <a:lnTo>
                      <a:pt x="497" y="10568"/>
                    </a:lnTo>
                    <a:lnTo>
                      <a:pt x="328" y="10367"/>
                    </a:lnTo>
                    <a:lnTo>
                      <a:pt x="328" y="9886"/>
                    </a:lnTo>
                    <a:lnTo>
                      <a:pt x="497" y="10020"/>
                    </a:lnTo>
                    <a:lnTo>
                      <a:pt x="408" y="9472"/>
                    </a:lnTo>
                    <a:lnTo>
                      <a:pt x="208" y="9606"/>
                    </a:lnTo>
                    <a:lnTo>
                      <a:pt x="80" y="8791"/>
                    </a:lnTo>
                    <a:lnTo>
                      <a:pt x="80" y="8016"/>
                    </a:lnTo>
                    <a:lnTo>
                      <a:pt x="0" y="7669"/>
                    </a:lnTo>
                    <a:lnTo>
                      <a:pt x="208" y="6707"/>
                    </a:lnTo>
                    <a:lnTo>
                      <a:pt x="288" y="5464"/>
                    </a:lnTo>
                    <a:lnTo>
                      <a:pt x="705" y="4075"/>
                    </a:lnTo>
                    <a:lnTo>
                      <a:pt x="953" y="2899"/>
                    </a:lnTo>
                    <a:lnTo>
                      <a:pt x="1081" y="2004"/>
                    </a:lnTo>
                    <a:lnTo>
                      <a:pt x="1161" y="548"/>
                    </a:lnTo>
                    <a:lnTo>
                      <a:pt x="1618" y="895"/>
                    </a:lnTo>
                    <a:lnTo>
                      <a:pt x="1618" y="1309"/>
                    </a:lnTo>
                    <a:lnTo>
                      <a:pt x="1570" y="1804"/>
                    </a:lnTo>
                    <a:lnTo>
                      <a:pt x="1818" y="1443"/>
                    </a:lnTo>
                    <a:lnTo>
                      <a:pt x="1898" y="414"/>
                    </a:lnTo>
                    <a:lnTo>
                      <a:pt x="1818" y="0"/>
                    </a:lnTo>
                    <a:lnTo>
                      <a:pt x="10989" y="152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1" name="Freeform 28"/>
              <p:cNvSpPr>
                <a:spLocks/>
              </p:cNvSpPr>
              <p:nvPr/>
            </p:nvSpPr>
            <p:spPr bwMode="auto">
              <a:xfrm>
                <a:off x="892175" y="1371600"/>
                <a:ext cx="993775" cy="1065213"/>
              </a:xfrm>
              <a:custGeom>
                <a:avLst/>
                <a:gdLst>
                  <a:gd name="T0" fmla="*/ 14160 w 20000"/>
                  <a:gd name="T1" fmla="*/ 13683 h 20000"/>
                  <a:gd name="T2" fmla="*/ 15553 w 20000"/>
                  <a:gd name="T3" fmla="*/ 14684 h 20000"/>
                  <a:gd name="T4" fmla="*/ 16358 w 20000"/>
                  <a:gd name="T5" fmla="*/ 18451 h 20000"/>
                  <a:gd name="T6" fmla="*/ 15821 w 20000"/>
                  <a:gd name="T7" fmla="*/ 19988 h 20000"/>
                  <a:gd name="T8" fmla="*/ 15821 w 20000"/>
                  <a:gd name="T9" fmla="*/ 18868 h 20000"/>
                  <a:gd name="T10" fmla="*/ 15821 w 20000"/>
                  <a:gd name="T11" fmla="*/ 18379 h 20000"/>
                  <a:gd name="T12" fmla="*/ 15489 w 20000"/>
                  <a:gd name="T13" fmla="*/ 17461 h 20000"/>
                  <a:gd name="T14" fmla="*/ 15489 w 20000"/>
                  <a:gd name="T15" fmla="*/ 16603 h 20000"/>
                  <a:gd name="T16" fmla="*/ 15489 w 20000"/>
                  <a:gd name="T17" fmla="*/ 15292 h 20000"/>
                  <a:gd name="T18" fmla="*/ 14760 w 20000"/>
                  <a:gd name="T19" fmla="*/ 15673 h 20000"/>
                  <a:gd name="T20" fmla="*/ 14109 w 20000"/>
                  <a:gd name="T21" fmla="*/ 15852 h 20000"/>
                  <a:gd name="T22" fmla="*/ 13431 w 20000"/>
                  <a:gd name="T23" fmla="*/ 14553 h 20000"/>
                  <a:gd name="T24" fmla="*/ 13955 w 20000"/>
                  <a:gd name="T25" fmla="*/ 14243 h 20000"/>
                  <a:gd name="T26" fmla="*/ 12907 w 20000"/>
                  <a:gd name="T27" fmla="*/ 14064 h 20000"/>
                  <a:gd name="T28" fmla="*/ 11655 w 20000"/>
                  <a:gd name="T29" fmla="*/ 13564 h 20000"/>
                  <a:gd name="T30" fmla="*/ 11182 w 20000"/>
                  <a:gd name="T31" fmla="*/ 13075 h 20000"/>
                  <a:gd name="T32" fmla="*/ 11131 w 20000"/>
                  <a:gd name="T33" fmla="*/ 12217 h 20000"/>
                  <a:gd name="T34" fmla="*/ 10006 w 20000"/>
                  <a:gd name="T35" fmla="*/ 12217 h 20000"/>
                  <a:gd name="T36" fmla="*/ 8869 w 20000"/>
                  <a:gd name="T37" fmla="*/ 13075 h 20000"/>
                  <a:gd name="T38" fmla="*/ 7348 w 20000"/>
                  <a:gd name="T39" fmla="*/ 13504 h 20000"/>
                  <a:gd name="T40" fmla="*/ 7872 w 20000"/>
                  <a:gd name="T41" fmla="*/ 12765 h 20000"/>
                  <a:gd name="T42" fmla="*/ 9406 w 20000"/>
                  <a:gd name="T43" fmla="*/ 11955 h 20000"/>
                  <a:gd name="T44" fmla="*/ 9278 w 20000"/>
                  <a:gd name="T45" fmla="*/ 11418 h 20000"/>
                  <a:gd name="T46" fmla="*/ 7348 w 20000"/>
                  <a:gd name="T47" fmla="*/ 12467 h 20000"/>
                  <a:gd name="T48" fmla="*/ 5955 w 20000"/>
                  <a:gd name="T49" fmla="*/ 13564 h 20000"/>
                  <a:gd name="T50" fmla="*/ 4575 w 20000"/>
                  <a:gd name="T51" fmla="*/ 14875 h 20000"/>
                  <a:gd name="T52" fmla="*/ 1917 w 20000"/>
                  <a:gd name="T53" fmla="*/ 16460 h 20000"/>
                  <a:gd name="T54" fmla="*/ 204 w 20000"/>
                  <a:gd name="T55" fmla="*/ 16841 h 20000"/>
                  <a:gd name="T56" fmla="*/ 0 w 20000"/>
                  <a:gd name="T57" fmla="*/ 16651 h 20000"/>
                  <a:gd name="T58" fmla="*/ 728 w 20000"/>
                  <a:gd name="T59" fmla="*/ 16341 h 20000"/>
                  <a:gd name="T60" fmla="*/ 1073 w 20000"/>
                  <a:gd name="T61" fmla="*/ 16162 h 20000"/>
                  <a:gd name="T62" fmla="*/ 2645 w 20000"/>
                  <a:gd name="T63" fmla="*/ 15173 h 20000"/>
                  <a:gd name="T64" fmla="*/ 3706 w 20000"/>
                  <a:gd name="T65" fmla="*/ 14195 h 20000"/>
                  <a:gd name="T66" fmla="*/ 3847 w 20000"/>
                  <a:gd name="T67" fmla="*/ 13075 h 20000"/>
                  <a:gd name="T68" fmla="*/ 2850 w 20000"/>
                  <a:gd name="T69" fmla="*/ 12956 h 20000"/>
                  <a:gd name="T70" fmla="*/ 2121 w 20000"/>
                  <a:gd name="T71" fmla="*/ 12706 h 20000"/>
                  <a:gd name="T72" fmla="*/ 1994 w 20000"/>
                  <a:gd name="T73" fmla="*/ 11776 h 20000"/>
                  <a:gd name="T74" fmla="*/ 1789 w 20000"/>
                  <a:gd name="T75" fmla="*/ 10489 h 20000"/>
                  <a:gd name="T76" fmla="*/ 2645 w 20000"/>
                  <a:gd name="T77" fmla="*/ 10179 h 20000"/>
                  <a:gd name="T78" fmla="*/ 1649 w 20000"/>
                  <a:gd name="T79" fmla="*/ 9809 h 20000"/>
                  <a:gd name="T80" fmla="*/ 2326 w 20000"/>
                  <a:gd name="T81" fmla="*/ 8880 h 20000"/>
                  <a:gd name="T82" fmla="*/ 3578 w 20000"/>
                  <a:gd name="T83" fmla="*/ 7890 h 20000"/>
                  <a:gd name="T84" fmla="*/ 4971 w 20000"/>
                  <a:gd name="T85" fmla="*/ 7712 h 20000"/>
                  <a:gd name="T86" fmla="*/ 6160 w 20000"/>
                  <a:gd name="T87" fmla="*/ 6722 h 20000"/>
                  <a:gd name="T88" fmla="*/ 5559 w 20000"/>
                  <a:gd name="T89" fmla="*/ 6603 h 20000"/>
                  <a:gd name="T90" fmla="*/ 4051 w 20000"/>
                  <a:gd name="T91" fmla="*/ 5793 h 20000"/>
                  <a:gd name="T92" fmla="*/ 4703 w 20000"/>
                  <a:gd name="T93" fmla="*/ 5304 h 20000"/>
                  <a:gd name="T94" fmla="*/ 4051 w 20000"/>
                  <a:gd name="T95" fmla="*/ 4505 h 20000"/>
                  <a:gd name="T96" fmla="*/ 5431 w 20000"/>
                  <a:gd name="T97" fmla="*/ 4017 h 20000"/>
                  <a:gd name="T98" fmla="*/ 6952 w 20000"/>
                  <a:gd name="T99" fmla="*/ 3695 h 20000"/>
                  <a:gd name="T100" fmla="*/ 7744 w 20000"/>
                  <a:gd name="T101" fmla="*/ 4505 h 20000"/>
                  <a:gd name="T102" fmla="*/ 7553 w 20000"/>
                  <a:gd name="T103" fmla="*/ 4315 h 20000"/>
                  <a:gd name="T104" fmla="*/ 8077 w 20000"/>
                  <a:gd name="T105" fmla="*/ 4374 h 20000"/>
                  <a:gd name="T106" fmla="*/ 8000 w 20000"/>
                  <a:gd name="T107" fmla="*/ 3886 h 20000"/>
                  <a:gd name="T108" fmla="*/ 7348 w 20000"/>
                  <a:gd name="T109" fmla="*/ 1538 h 20000"/>
                  <a:gd name="T110" fmla="*/ 9137 w 20000"/>
                  <a:gd name="T111" fmla="*/ 1287 h 20000"/>
                  <a:gd name="T112" fmla="*/ 12575 w 20000"/>
                  <a:gd name="T113" fmla="*/ 238 h 20000"/>
                  <a:gd name="T114" fmla="*/ 13380 w 20000"/>
                  <a:gd name="T115" fmla="*/ 0 h 20000"/>
                  <a:gd name="T116" fmla="*/ 14505 w 20000"/>
                  <a:gd name="T117" fmla="*/ 608 h 20000"/>
                  <a:gd name="T118" fmla="*/ 15885 w 20000"/>
                  <a:gd name="T119" fmla="*/ 918 h 20000"/>
                  <a:gd name="T120" fmla="*/ 15885 w 20000"/>
                  <a:gd name="T121" fmla="*/ 1538 h 20000"/>
                  <a:gd name="T122" fmla="*/ 17214 w 20000"/>
                  <a:gd name="T123" fmla="*/ 1776 h 20000"/>
                  <a:gd name="T124" fmla="*/ 18134 w 20000"/>
                  <a:gd name="T125" fmla="*/ 25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9987" y="3826"/>
                    </a:moveTo>
                    <a:lnTo>
                      <a:pt x="15157" y="10298"/>
                    </a:lnTo>
                    <a:lnTo>
                      <a:pt x="13380" y="13564"/>
                    </a:lnTo>
                    <a:lnTo>
                      <a:pt x="14160" y="13683"/>
                    </a:lnTo>
                    <a:lnTo>
                      <a:pt x="14109" y="13874"/>
                    </a:lnTo>
                    <a:lnTo>
                      <a:pt x="14428" y="15292"/>
                    </a:lnTo>
                    <a:lnTo>
                      <a:pt x="15157" y="14803"/>
                    </a:lnTo>
                    <a:lnTo>
                      <a:pt x="15553" y="14684"/>
                    </a:lnTo>
                    <a:lnTo>
                      <a:pt x="15821" y="14875"/>
                    </a:lnTo>
                    <a:lnTo>
                      <a:pt x="15821" y="15542"/>
                    </a:lnTo>
                    <a:lnTo>
                      <a:pt x="16013" y="17890"/>
                    </a:lnTo>
                    <a:lnTo>
                      <a:pt x="16358" y="18451"/>
                    </a:lnTo>
                    <a:lnTo>
                      <a:pt x="16677" y="18939"/>
                    </a:lnTo>
                    <a:lnTo>
                      <a:pt x="16550" y="19190"/>
                    </a:lnTo>
                    <a:lnTo>
                      <a:pt x="16153" y="19738"/>
                    </a:lnTo>
                    <a:lnTo>
                      <a:pt x="15821" y="19988"/>
                    </a:lnTo>
                    <a:lnTo>
                      <a:pt x="15821" y="19678"/>
                    </a:lnTo>
                    <a:lnTo>
                      <a:pt x="16153" y="19237"/>
                    </a:lnTo>
                    <a:lnTo>
                      <a:pt x="16013" y="18868"/>
                    </a:lnTo>
                    <a:lnTo>
                      <a:pt x="15821" y="18868"/>
                    </a:lnTo>
                    <a:lnTo>
                      <a:pt x="15489" y="19058"/>
                    </a:lnTo>
                    <a:lnTo>
                      <a:pt x="15361" y="19058"/>
                    </a:lnTo>
                    <a:lnTo>
                      <a:pt x="15681" y="18749"/>
                    </a:lnTo>
                    <a:lnTo>
                      <a:pt x="15821" y="18379"/>
                    </a:lnTo>
                    <a:lnTo>
                      <a:pt x="15885" y="18069"/>
                    </a:lnTo>
                    <a:lnTo>
                      <a:pt x="15681" y="18069"/>
                    </a:lnTo>
                    <a:lnTo>
                      <a:pt x="15681" y="17890"/>
                    </a:lnTo>
                    <a:lnTo>
                      <a:pt x="15489" y="17461"/>
                    </a:lnTo>
                    <a:lnTo>
                      <a:pt x="15681" y="17139"/>
                    </a:lnTo>
                    <a:lnTo>
                      <a:pt x="15821" y="17271"/>
                    </a:lnTo>
                    <a:lnTo>
                      <a:pt x="15681" y="16841"/>
                    </a:lnTo>
                    <a:lnTo>
                      <a:pt x="15489" y="16603"/>
                    </a:lnTo>
                    <a:lnTo>
                      <a:pt x="15681" y="16281"/>
                    </a:lnTo>
                    <a:lnTo>
                      <a:pt x="15553" y="16341"/>
                    </a:lnTo>
                    <a:lnTo>
                      <a:pt x="15361" y="16162"/>
                    </a:lnTo>
                    <a:lnTo>
                      <a:pt x="15489" y="15292"/>
                    </a:lnTo>
                    <a:lnTo>
                      <a:pt x="15029" y="16281"/>
                    </a:lnTo>
                    <a:lnTo>
                      <a:pt x="14824" y="16091"/>
                    </a:lnTo>
                    <a:lnTo>
                      <a:pt x="14952" y="15483"/>
                    </a:lnTo>
                    <a:lnTo>
                      <a:pt x="14760" y="15673"/>
                    </a:lnTo>
                    <a:lnTo>
                      <a:pt x="14505" y="15364"/>
                    </a:lnTo>
                    <a:lnTo>
                      <a:pt x="14633" y="16091"/>
                    </a:lnTo>
                    <a:lnTo>
                      <a:pt x="14300" y="16162"/>
                    </a:lnTo>
                    <a:lnTo>
                      <a:pt x="14109" y="15852"/>
                    </a:lnTo>
                    <a:lnTo>
                      <a:pt x="13904" y="15173"/>
                    </a:lnTo>
                    <a:lnTo>
                      <a:pt x="13955" y="15054"/>
                    </a:lnTo>
                    <a:lnTo>
                      <a:pt x="13776" y="15054"/>
                    </a:lnTo>
                    <a:lnTo>
                      <a:pt x="13431" y="14553"/>
                    </a:lnTo>
                    <a:lnTo>
                      <a:pt x="13572" y="14362"/>
                    </a:lnTo>
                    <a:lnTo>
                      <a:pt x="13636" y="14195"/>
                    </a:lnTo>
                    <a:lnTo>
                      <a:pt x="13776" y="14493"/>
                    </a:lnTo>
                    <a:lnTo>
                      <a:pt x="13955" y="14243"/>
                    </a:lnTo>
                    <a:lnTo>
                      <a:pt x="13904" y="14064"/>
                    </a:lnTo>
                    <a:lnTo>
                      <a:pt x="13431" y="14243"/>
                    </a:lnTo>
                    <a:lnTo>
                      <a:pt x="13099" y="14243"/>
                    </a:lnTo>
                    <a:lnTo>
                      <a:pt x="12907" y="14064"/>
                    </a:lnTo>
                    <a:lnTo>
                      <a:pt x="13035" y="13874"/>
                    </a:lnTo>
                    <a:lnTo>
                      <a:pt x="12703" y="14005"/>
                    </a:lnTo>
                    <a:lnTo>
                      <a:pt x="12383" y="13683"/>
                    </a:lnTo>
                    <a:lnTo>
                      <a:pt x="11655" y="13564"/>
                    </a:lnTo>
                    <a:lnTo>
                      <a:pt x="11323" y="13194"/>
                    </a:lnTo>
                    <a:lnTo>
                      <a:pt x="11527" y="13075"/>
                    </a:lnTo>
                    <a:lnTo>
                      <a:pt x="11527" y="12896"/>
                    </a:lnTo>
                    <a:lnTo>
                      <a:pt x="11182" y="13075"/>
                    </a:lnTo>
                    <a:lnTo>
                      <a:pt x="10978" y="12896"/>
                    </a:lnTo>
                    <a:lnTo>
                      <a:pt x="10658" y="12586"/>
                    </a:lnTo>
                    <a:lnTo>
                      <a:pt x="10786" y="12396"/>
                    </a:lnTo>
                    <a:lnTo>
                      <a:pt x="11131" y="12217"/>
                    </a:lnTo>
                    <a:lnTo>
                      <a:pt x="10530" y="12277"/>
                    </a:lnTo>
                    <a:lnTo>
                      <a:pt x="10262" y="12277"/>
                    </a:lnTo>
                    <a:lnTo>
                      <a:pt x="10134" y="12217"/>
                    </a:lnTo>
                    <a:lnTo>
                      <a:pt x="10006" y="12217"/>
                    </a:lnTo>
                    <a:lnTo>
                      <a:pt x="9802" y="12467"/>
                    </a:lnTo>
                    <a:lnTo>
                      <a:pt x="9930" y="12706"/>
                    </a:lnTo>
                    <a:lnTo>
                      <a:pt x="9278" y="13194"/>
                    </a:lnTo>
                    <a:lnTo>
                      <a:pt x="8869" y="13075"/>
                    </a:lnTo>
                    <a:lnTo>
                      <a:pt x="8077" y="13504"/>
                    </a:lnTo>
                    <a:lnTo>
                      <a:pt x="7681" y="13683"/>
                    </a:lnTo>
                    <a:lnTo>
                      <a:pt x="7220" y="13683"/>
                    </a:lnTo>
                    <a:lnTo>
                      <a:pt x="7348" y="13504"/>
                    </a:lnTo>
                    <a:lnTo>
                      <a:pt x="8000" y="13194"/>
                    </a:lnTo>
                    <a:lnTo>
                      <a:pt x="7553" y="13194"/>
                    </a:lnTo>
                    <a:lnTo>
                      <a:pt x="7553" y="13075"/>
                    </a:lnTo>
                    <a:lnTo>
                      <a:pt x="7872" y="12765"/>
                    </a:lnTo>
                    <a:lnTo>
                      <a:pt x="8409" y="12217"/>
                    </a:lnTo>
                    <a:lnTo>
                      <a:pt x="8933" y="11955"/>
                    </a:lnTo>
                    <a:lnTo>
                      <a:pt x="9073" y="12098"/>
                    </a:lnTo>
                    <a:lnTo>
                      <a:pt x="9406" y="11955"/>
                    </a:lnTo>
                    <a:lnTo>
                      <a:pt x="9278" y="11907"/>
                    </a:lnTo>
                    <a:lnTo>
                      <a:pt x="9597" y="11657"/>
                    </a:lnTo>
                    <a:lnTo>
                      <a:pt x="9137" y="11657"/>
                    </a:lnTo>
                    <a:lnTo>
                      <a:pt x="9278" y="11418"/>
                    </a:lnTo>
                    <a:lnTo>
                      <a:pt x="8869" y="11657"/>
                    </a:lnTo>
                    <a:lnTo>
                      <a:pt x="8204" y="11955"/>
                    </a:lnTo>
                    <a:lnTo>
                      <a:pt x="7553" y="12467"/>
                    </a:lnTo>
                    <a:lnTo>
                      <a:pt x="7348" y="12467"/>
                    </a:lnTo>
                    <a:lnTo>
                      <a:pt x="7476" y="12706"/>
                    </a:lnTo>
                    <a:lnTo>
                      <a:pt x="7220" y="12765"/>
                    </a:lnTo>
                    <a:lnTo>
                      <a:pt x="6684" y="13075"/>
                    </a:lnTo>
                    <a:lnTo>
                      <a:pt x="5955" y="13564"/>
                    </a:lnTo>
                    <a:lnTo>
                      <a:pt x="6160" y="13683"/>
                    </a:lnTo>
                    <a:lnTo>
                      <a:pt x="6300" y="13874"/>
                    </a:lnTo>
                    <a:lnTo>
                      <a:pt x="5431" y="14493"/>
                    </a:lnTo>
                    <a:lnTo>
                      <a:pt x="4575" y="14875"/>
                    </a:lnTo>
                    <a:lnTo>
                      <a:pt x="3847" y="15292"/>
                    </a:lnTo>
                    <a:lnTo>
                      <a:pt x="2850" y="15852"/>
                    </a:lnTo>
                    <a:lnTo>
                      <a:pt x="2326" y="16162"/>
                    </a:lnTo>
                    <a:lnTo>
                      <a:pt x="1917" y="16460"/>
                    </a:lnTo>
                    <a:lnTo>
                      <a:pt x="1252" y="16770"/>
                    </a:lnTo>
                    <a:lnTo>
                      <a:pt x="1252" y="16603"/>
                    </a:lnTo>
                    <a:lnTo>
                      <a:pt x="920" y="16651"/>
                    </a:lnTo>
                    <a:lnTo>
                      <a:pt x="204" y="16841"/>
                    </a:lnTo>
                    <a:lnTo>
                      <a:pt x="268" y="16651"/>
                    </a:lnTo>
                    <a:lnTo>
                      <a:pt x="77" y="16770"/>
                    </a:lnTo>
                    <a:lnTo>
                      <a:pt x="0" y="16841"/>
                    </a:lnTo>
                    <a:lnTo>
                      <a:pt x="0" y="16651"/>
                    </a:lnTo>
                    <a:lnTo>
                      <a:pt x="0" y="16460"/>
                    </a:lnTo>
                    <a:lnTo>
                      <a:pt x="204" y="16281"/>
                    </a:lnTo>
                    <a:lnTo>
                      <a:pt x="792" y="16281"/>
                    </a:lnTo>
                    <a:lnTo>
                      <a:pt x="728" y="16341"/>
                    </a:lnTo>
                    <a:lnTo>
                      <a:pt x="792" y="16460"/>
                    </a:lnTo>
                    <a:lnTo>
                      <a:pt x="920" y="16341"/>
                    </a:lnTo>
                    <a:lnTo>
                      <a:pt x="1073" y="16460"/>
                    </a:lnTo>
                    <a:lnTo>
                      <a:pt x="1073" y="16162"/>
                    </a:lnTo>
                    <a:lnTo>
                      <a:pt x="1393" y="15852"/>
                    </a:lnTo>
                    <a:lnTo>
                      <a:pt x="2121" y="15483"/>
                    </a:lnTo>
                    <a:lnTo>
                      <a:pt x="2454" y="15542"/>
                    </a:lnTo>
                    <a:lnTo>
                      <a:pt x="2645" y="15173"/>
                    </a:lnTo>
                    <a:lnTo>
                      <a:pt x="3310" y="14875"/>
                    </a:lnTo>
                    <a:lnTo>
                      <a:pt x="3374" y="14875"/>
                    </a:lnTo>
                    <a:lnTo>
                      <a:pt x="3374" y="14803"/>
                    </a:lnTo>
                    <a:lnTo>
                      <a:pt x="3706" y="14195"/>
                    </a:lnTo>
                    <a:lnTo>
                      <a:pt x="3898" y="14005"/>
                    </a:lnTo>
                    <a:lnTo>
                      <a:pt x="4575" y="13385"/>
                    </a:lnTo>
                    <a:lnTo>
                      <a:pt x="3578" y="13564"/>
                    </a:lnTo>
                    <a:lnTo>
                      <a:pt x="3847" y="13075"/>
                    </a:lnTo>
                    <a:lnTo>
                      <a:pt x="3182" y="13754"/>
                    </a:lnTo>
                    <a:lnTo>
                      <a:pt x="3054" y="13194"/>
                    </a:lnTo>
                    <a:lnTo>
                      <a:pt x="2978" y="13266"/>
                    </a:lnTo>
                    <a:lnTo>
                      <a:pt x="2850" y="12956"/>
                    </a:lnTo>
                    <a:lnTo>
                      <a:pt x="2121" y="13266"/>
                    </a:lnTo>
                    <a:lnTo>
                      <a:pt x="1789" y="13194"/>
                    </a:lnTo>
                    <a:lnTo>
                      <a:pt x="1994" y="13075"/>
                    </a:lnTo>
                    <a:lnTo>
                      <a:pt x="2121" y="12706"/>
                    </a:lnTo>
                    <a:lnTo>
                      <a:pt x="2454" y="12396"/>
                    </a:lnTo>
                    <a:lnTo>
                      <a:pt x="2773" y="11287"/>
                    </a:lnTo>
                    <a:lnTo>
                      <a:pt x="2454" y="11776"/>
                    </a:lnTo>
                    <a:lnTo>
                      <a:pt x="1994" y="11776"/>
                    </a:lnTo>
                    <a:lnTo>
                      <a:pt x="1597" y="11657"/>
                    </a:lnTo>
                    <a:lnTo>
                      <a:pt x="1597" y="11168"/>
                    </a:lnTo>
                    <a:lnTo>
                      <a:pt x="1393" y="10787"/>
                    </a:lnTo>
                    <a:lnTo>
                      <a:pt x="1789" y="10489"/>
                    </a:lnTo>
                    <a:lnTo>
                      <a:pt x="2198" y="10787"/>
                    </a:lnTo>
                    <a:lnTo>
                      <a:pt x="2198" y="10977"/>
                    </a:lnTo>
                    <a:lnTo>
                      <a:pt x="2518" y="10667"/>
                    </a:lnTo>
                    <a:lnTo>
                      <a:pt x="2645" y="10179"/>
                    </a:lnTo>
                    <a:lnTo>
                      <a:pt x="2326" y="10369"/>
                    </a:lnTo>
                    <a:lnTo>
                      <a:pt x="2121" y="10489"/>
                    </a:lnTo>
                    <a:lnTo>
                      <a:pt x="1789" y="10298"/>
                    </a:lnTo>
                    <a:lnTo>
                      <a:pt x="1649" y="9809"/>
                    </a:lnTo>
                    <a:lnTo>
                      <a:pt x="1789" y="9499"/>
                    </a:lnTo>
                    <a:lnTo>
                      <a:pt x="1917" y="9321"/>
                    </a:lnTo>
                    <a:lnTo>
                      <a:pt x="2121" y="9321"/>
                    </a:lnTo>
                    <a:lnTo>
                      <a:pt x="2326" y="8880"/>
                    </a:lnTo>
                    <a:lnTo>
                      <a:pt x="2850" y="8510"/>
                    </a:lnTo>
                    <a:lnTo>
                      <a:pt x="3374" y="8331"/>
                    </a:lnTo>
                    <a:lnTo>
                      <a:pt x="3182" y="8331"/>
                    </a:lnTo>
                    <a:lnTo>
                      <a:pt x="3578" y="7890"/>
                    </a:lnTo>
                    <a:lnTo>
                      <a:pt x="4051" y="7771"/>
                    </a:lnTo>
                    <a:lnTo>
                      <a:pt x="3898" y="8081"/>
                    </a:lnTo>
                    <a:lnTo>
                      <a:pt x="4371" y="8081"/>
                    </a:lnTo>
                    <a:lnTo>
                      <a:pt x="4971" y="7712"/>
                    </a:lnTo>
                    <a:lnTo>
                      <a:pt x="5227" y="7771"/>
                    </a:lnTo>
                    <a:lnTo>
                      <a:pt x="5955" y="7521"/>
                    </a:lnTo>
                    <a:lnTo>
                      <a:pt x="6160" y="7032"/>
                    </a:lnTo>
                    <a:lnTo>
                      <a:pt x="6160" y="6722"/>
                    </a:lnTo>
                    <a:lnTo>
                      <a:pt x="6620" y="6472"/>
                    </a:lnTo>
                    <a:lnTo>
                      <a:pt x="6684" y="6234"/>
                    </a:lnTo>
                    <a:lnTo>
                      <a:pt x="6351" y="6281"/>
                    </a:lnTo>
                    <a:lnTo>
                      <a:pt x="5559" y="6603"/>
                    </a:lnTo>
                    <a:lnTo>
                      <a:pt x="5304" y="6424"/>
                    </a:lnTo>
                    <a:lnTo>
                      <a:pt x="5099" y="6234"/>
                    </a:lnTo>
                    <a:lnTo>
                      <a:pt x="4575" y="6234"/>
                    </a:lnTo>
                    <a:lnTo>
                      <a:pt x="4051" y="5793"/>
                    </a:lnTo>
                    <a:lnTo>
                      <a:pt x="4243" y="5423"/>
                    </a:lnTo>
                    <a:lnTo>
                      <a:pt x="4243" y="4934"/>
                    </a:lnTo>
                    <a:lnTo>
                      <a:pt x="4435" y="5113"/>
                    </a:lnTo>
                    <a:lnTo>
                      <a:pt x="4703" y="5304"/>
                    </a:lnTo>
                    <a:lnTo>
                      <a:pt x="4971" y="5185"/>
                    </a:lnTo>
                    <a:lnTo>
                      <a:pt x="4703" y="5113"/>
                    </a:lnTo>
                    <a:lnTo>
                      <a:pt x="4243" y="4696"/>
                    </a:lnTo>
                    <a:lnTo>
                      <a:pt x="4051" y="4505"/>
                    </a:lnTo>
                    <a:lnTo>
                      <a:pt x="4179" y="4184"/>
                    </a:lnTo>
                    <a:lnTo>
                      <a:pt x="4243" y="4184"/>
                    </a:lnTo>
                    <a:lnTo>
                      <a:pt x="5431" y="3886"/>
                    </a:lnTo>
                    <a:lnTo>
                      <a:pt x="5431" y="4017"/>
                    </a:lnTo>
                    <a:lnTo>
                      <a:pt x="5751" y="4017"/>
                    </a:lnTo>
                    <a:lnTo>
                      <a:pt x="5751" y="3886"/>
                    </a:lnTo>
                    <a:lnTo>
                      <a:pt x="6479" y="3635"/>
                    </a:lnTo>
                    <a:lnTo>
                      <a:pt x="6952" y="3695"/>
                    </a:lnTo>
                    <a:lnTo>
                      <a:pt x="6620" y="4017"/>
                    </a:lnTo>
                    <a:lnTo>
                      <a:pt x="6479" y="4315"/>
                    </a:lnTo>
                    <a:lnTo>
                      <a:pt x="7348" y="4696"/>
                    </a:lnTo>
                    <a:lnTo>
                      <a:pt x="7744" y="4505"/>
                    </a:lnTo>
                    <a:lnTo>
                      <a:pt x="7681" y="4815"/>
                    </a:lnTo>
                    <a:lnTo>
                      <a:pt x="7872" y="4505"/>
                    </a:lnTo>
                    <a:lnTo>
                      <a:pt x="7744" y="4315"/>
                    </a:lnTo>
                    <a:lnTo>
                      <a:pt x="7553" y="4315"/>
                    </a:lnTo>
                    <a:lnTo>
                      <a:pt x="7744" y="3635"/>
                    </a:lnTo>
                    <a:lnTo>
                      <a:pt x="7872" y="3635"/>
                    </a:lnTo>
                    <a:lnTo>
                      <a:pt x="7872" y="4136"/>
                    </a:lnTo>
                    <a:lnTo>
                      <a:pt x="8077" y="4374"/>
                    </a:lnTo>
                    <a:lnTo>
                      <a:pt x="8550" y="4505"/>
                    </a:lnTo>
                    <a:lnTo>
                      <a:pt x="8869" y="4184"/>
                    </a:lnTo>
                    <a:lnTo>
                      <a:pt x="8077" y="4017"/>
                    </a:lnTo>
                    <a:lnTo>
                      <a:pt x="8000" y="3886"/>
                    </a:lnTo>
                    <a:lnTo>
                      <a:pt x="8345" y="3635"/>
                    </a:lnTo>
                    <a:lnTo>
                      <a:pt x="7476" y="3206"/>
                    </a:lnTo>
                    <a:lnTo>
                      <a:pt x="7681" y="2527"/>
                    </a:lnTo>
                    <a:lnTo>
                      <a:pt x="7348" y="1538"/>
                    </a:lnTo>
                    <a:lnTo>
                      <a:pt x="7681" y="1538"/>
                    </a:lnTo>
                    <a:lnTo>
                      <a:pt x="8204" y="1049"/>
                    </a:lnTo>
                    <a:lnTo>
                      <a:pt x="8409" y="1240"/>
                    </a:lnTo>
                    <a:lnTo>
                      <a:pt x="9137" y="1287"/>
                    </a:lnTo>
                    <a:lnTo>
                      <a:pt x="9930" y="1108"/>
                    </a:lnTo>
                    <a:lnTo>
                      <a:pt x="10454" y="739"/>
                    </a:lnTo>
                    <a:lnTo>
                      <a:pt x="11527" y="310"/>
                    </a:lnTo>
                    <a:lnTo>
                      <a:pt x="12575" y="238"/>
                    </a:lnTo>
                    <a:lnTo>
                      <a:pt x="12383" y="608"/>
                    </a:lnTo>
                    <a:lnTo>
                      <a:pt x="12780" y="429"/>
                    </a:lnTo>
                    <a:lnTo>
                      <a:pt x="12780" y="238"/>
                    </a:lnTo>
                    <a:lnTo>
                      <a:pt x="13380" y="0"/>
                    </a:lnTo>
                    <a:lnTo>
                      <a:pt x="13955" y="310"/>
                    </a:lnTo>
                    <a:lnTo>
                      <a:pt x="15029" y="0"/>
                    </a:lnTo>
                    <a:lnTo>
                      <a:pt x="15157" y="310"/>
                    </a:lnTo>
                    <a:lnTo>
                      <a:pt x="14505" y="608"/>
                    </a:lnTo>
                    <a:lnTo>
                      <a:pt x="15361" y="489"/>
                    </a:lnTo>
                    <a:lnTo>
                      <a:pt x="15284" y="918"/>
                    </a:lnTo>
                    <a:lnTo>
                      <a:pt x="15553" y="799"/>
                    </a:lnTo>
                    <a:lnTo>
                      <a:pt x="15885" y="918"/>
                    </a:lnTo>
                    <a:lnTo>
                      <a:pt x="16204" y="1240"/>
                    </a:lnTo>
                    <a:lnTo>
                      <a:pt x="15885" y="1287"/>
                    </a:lnTo>
                    <a:lnTo>
                      <a:pt x="16153" y="1538"/>
                    </a:lnTo>
                    <a:lnTo>
                      <a:pt x="15885" y="1538"/>
                    </a:lnTo>
                    <a:lnTo>
                      <a:pt x="16358" y="1728"/>
                    </a:lnTo>
                    <a:lnTo>
                      <a:pt x="16013" y="2098"/>
                    </a:lnTo>
                    <a:lnTo>
                      <a:pt x="16882" y="1728"/>
                    </a:lnTo>
                    <a:lnTo>
                      <a:pt x="17214" y="1776"/>
                    </a:lnTo>
                    <a:lnTo>
                      <a:pt x="17406" y="1919"/>
                    </a:lnTo>
                    <a:lnTo>
                      <a:pt x="17610" y="2336"/>
                    </a:lnTo>
                    <a:lnTo>
                      <a:pt x="17610" y="2527"/>
                    </a:lnTo>
                    <a:lnTo>
                      <a:pt x="18134" y="2527"/>
                    </a:lnTo>
                    <a:lnTo>
                      <a:pt x="18466" y="2896"/>
                    </a:lnTo>
                    <a:lnTo>
                      <a:pt x="19182" y="3015"/>
                    </a:lnTo>
                    <a:lnTo>
                      <a:pt x="19987" y="382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2" name="Freeform 27"/>
              <p:cNvSpPr>
                <a:spLocks/>
              </p:cNvSpPr>
              <p:nvPr/>
            </p:nvSpPr>
            <p:spPr bwMode="auto">
              <a:xfrm>
                <a:off x="3463925" y="6083300"/>
                <a:ext cx="47625" cy="42863"/>
              </a:xfrm>
              <a:custGeom>
                <a:avLst/>
                <a:gdLst>
                  <a:gd name="T0" fmla="*/ 4324 w 20000"/>
                  <a:gd name="T1" fmla="*/ 19706 h 20000"/>
                  <a:gd name="T2" fmla="*/ 0 w 20000"/>
                  <a:gd name="T3" fmla="*/ 13529 h 20000"/>
                  <a:gd name="T4" fmla="*/ 4324 w 20000"/>
                  <a:gd name="T5" fmla="*/ 5882 h 20000"/>
                  <a:gd name="T6" fmla="*/ 7027 w 20000"/>
                  <a:gd name="T7" fmla="*/ 0 h 20000"/>
                  <a:gd name="T8" fmla="*/ 11081 w 20000"/>
                  <a:gd name="T9" fmla="*/ 0 h 20000"/>
                  <a:gd name="T10" fmla="*/ 15405 w 20000"/>
                  <a:gd name="T11" fmla="*/ 0 h 20000"/>
                  <a:gd name="T12" fmla="*/ 18378 w 20000"/>
                  <a:gd name="T13" fmla="*/ 4706 h 20000"/>
                  <a:gd name="T14" fmla="*/ 19730 w 20000"/>
                  <a:gd name="T15" fmla="*/ 5882 h 20000"/>
                  <a:gd name="T16" fmla="*/ 11081 w 20000"/>
                  <a:gd name="T17" fmla="*/ 12059 h 20000"/>
                  <a:gd name="T18" fmla="*/ 4324 w 20000"/>
                  <a:gd name="T19"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4324" y="19706"/>
                    </a:moveTo>
                    <a:lnTo>
                      <a:pt x="0" y="13529"/>
                    </a:lnTo>
                    <a:lnTo>
                      <a:pt x="4324" y="5882"/>
                    </a:lnTo>
                    <a:lnTo>
                      <a:pt x="7027" y="0"/>
                    </a:lnTo>
                    <a:lnTo>
                      <a:pt x="11081" y="0"/>
                    </a:lnTo>
                    <a:lnTo>
                      <a:pt x="15405" y="0"/>
                    </a:lnTo>
                    <a:lnTo>
                      <a:pt x="18378" y="4706"/>
                    </a:lnTo>
                    <a:lnTo>
                      <a:pt x="19730" y="5882"/>
                    </a:lnTo>
                    <a:lnTo>
                      <a:pt x="11081" y="12059"/>
                    </a:lnTo>
                    <a:lnTo>
                      <a:pt x="4324"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3" name="Freeform 26"/>
              <p:cNvSpPr>
                <a:spLocks/>
              </p:cNvSpPr>
              <p:nvPr/>
            </p:nvSpPr>
            <p:spPr bwMode="auto">
              <a:xfrm>
                <a:off x="3430588" y="6086475"/>
                <a:ext cx="36512" cy="34925"/>
              </a:xfrm>
              <a:custGeom>
                <a:avLst/>
                <a:gdLst>
                  <a:gd name="T0" fmla="*/ 5517 w 20000"/>
                  <a:gd name="T1" fmla="*/ 19630 h 20000"/>
                  <a:gd name="T2" fmla="*/ 0 w 20000"/>
                  <a:gd name="T3" fmla="*/ 15556 h 20000"/>
                  <a:gd name="T4" fmla="*/ 3448 w 20000"/>
                  <a:gd name="T5" fmla="*/ 0 h 20000"/>
                  <a:gd name="T6" fmla="*/ 19655 w 20000"/>
                  <a:gd name="T7" fmla="*/ 0 h 20000"/>
                  <a:gd name="T8" fmla="*/ 14138 w 20000"/>
                  <a:gd name="T9" fmla="*/ 13704 h 20000"/>
                  <a:gd name="T10" fmla="*/ 5517 w 20000"/>
                  <a:gd name="T11" fmla="*/ 19630 h 20000"/>
                </a:gdLst>
                <a:ahLst/>
                <a:cxnLst>
                  <a:cxn ang="0">
                    <a:pos x="T0" y="T1"/>
                  </a:cxn>
                  <a:cxn ang="0">
                    <a:pos x="T2" y="T3"/>
                  </a:cxn>
                  <a:cxn ang="0">
                    <a:pos x="T4" y="T5"/>
                  </a:cxn>
                  <a:cxn ang="0">
                    <a:pos x="T6" y="T7"/>
                  </a:cxn>
                  <a:cxn ang="0">
                    <a:pos x="T8" y="T9"/>
                  </a:cxn>
                  <a:cxn ang="0">
                    <a:pos x="T10" y="T11"/>
                  </a:cxn>
                </a:cxnLst>
                <a:rect l="0" t="0" r="r" b="b"/>
                <a:pathLst>
                  <a:path w="20000" h="20000">
                    <a:moveTo>
                      <a:pt x="5517" y="19630"/>
                    </a:moveTo>
                    <a:lnTo>
                      <a:pt x="0" y="15556"/>
                    </a:lnTo>
                    <a:lnTo>
                      <a:pt x="3448" y="0"/>
                    </a:lnTo>
                    <a:lnTo>
                      <a:pt x="19655" y="0"/>
                    </a:lnTo>
                    <a:lnTo>
                      <a:pt x="14138" y="13704"/>
                    </a:lnTo>
                    <a:lnTo>
                      <a:pt x="5517" y="196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4" name="Freeform 25"/>
              <p:cNvSpPr>
                <a:spLocks/>
              </p:cNvSpPr>
              <p:nvPr/>
            </p:nvSpPr>
            <p:spPr bwMode="auto">
              <a:xfrm>
                <a:off x="3448050" y="4276725"/>
                <a:ext cx="79375" cy="109538"/>
              </a:xfrm>
              <a:custGeom>
                <a:avLst/>
                <a:gdLst>
                  <a:gd name="T0" fmla="*/ 4960 w 20000"/>
                  <a:gd name="T1" fmla="*/ 0 h 20000"/>
                  <a:gd name="T2" fmla="*/ 11680 w 20000"/>
                  <a:gd name="T3" fmla="*/ 1850 h 20000"/>
                  <a:gd name="T4" fmla="*/ 18240 w 20000"/>
                  <a:gd name="T5" fmla="*/ 6012 h 20000"/>
                  <a:gd name="T6" fmla="*/ 19840 w 20000"/>
                  <a:gd name="T7" fmla="*/ 9017 h 20000"/>
                  <a:gd name="T8" fmla="*/ 17440 w 20000"/>
                  <a:gd name="T9" fmla="*/ 13757 h 20000"/>
                  <a:gd name="T10" fmla="*/ 13280 w 20000"/>
                  <a:gd name="T11" fmla="*/ 18613 h 20000"/>
                  <a:gd name="T12" fmla="*/ 4960 w 20000"/>
                  <a:gd name="T13" fmla="*/ 19884 h 20000"/>
                  <a:gd name="T14" fmla="*/ 0 w 20000"/>
                  <a:gd name="T15" fmla="*/ 17457 h 20000"/>
                  <a:gd name="T16" fmla="*/ 4160 w 20000"/>
                  <a:gd name="T17" fmla="*/ 12601 h 20000"/>
                  <a:gd name="T18" fmla="*/ 2560 w 20000"/>
                  <a:gd name="T19" fmla="*/ 9711 h 20000"/>
                  <a:gd name="T20" fmla="*/ 960 w 20000"/>
                  <a:gd name="T21" fmla="*/ 3121 h 20000"/>
                  <a:gd name="T22" fmla="*/ 4960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4960" y="0"/>
                    </a:moveTo>
                    <a:lnTo>
                      <a:pt x="11680" y="1850"/>
                    </a:lnTo>
                    <a:lnTo>
                      <a:pt x="18240" y="6012"/>
                    </a:lnTo>
                    <a:lnTo>
                      <a:pt x="19840" y="9017"/>
                    </a:lnTo>
                    <a:lnTo>
                      <a:pt x="17440" y="13757"/>
                    </a:lnTo>
                    <a:lnTo>
                      <a:pt x="13280" y="18613"/>
                    </a:lnTo>
                    <a:lnTo>
                      <a:pt x="4960" y="19884"/>
                    </a:lnTo>
                    <a:lnTo>
                      <a:pt x="0" y="17457"/>
                    </a:lnTo>
                    <a:lnTo>
                      <a:pt x="4160" y="12601"/>
                    </a:lnTo>
                    <a:lnTo>
                      <a:pt x="2560" y="9711"/>
                    </a:lnTo>
                    <a:lnTo>
                      <a:pt x="960" y="3121"/>
                    </a:lnTo>
                    <a:lnTo>
                      <a:pt x="496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5" name="Freeform 24"/>
              <p:cNvSpPr>
                <a:spLocks/>
              </p:cNvSpPr>
              <p:nvPr/>
            </p:nvSpPr>
            <p:spPr bwMode="auto">
              <a:xfrm>
                <a:off x="3105150" y="3902075"/>
                <a:ext cx="49213" cy="20638"/>
              </a:xfrm>
              <a:custGeom>
                <a:avLst/>
                <a:gdLst>
                  <a:gd name="T0" fmla="*/ 15897 w 20000"/>
                  <a:gd name="T1" fmla="*/ 19375 h 20000"/>
                  <a:gd name="T2" fmla="*/ 0 w 20000"/>
                  <a:gd name="T3" fmla="*/ 13125 h 20000"/>
                  <a:gd name="T4" fmla="*/ 2564 w 20000"/>
                  <a:gd name="T5" fmla="*/ 0 h 20000"/>
                  <a:gd name="T6" fmla="*/ 13077 w 20000"/>
                  <a:gd name="T7" fmla="*/ 3750 h 20000"/>
                  <a:gd name="T8" fmla="*/ 19744 w 20000"/>
                  <a:gd name="T9" fmla="*/ 9375 h 20000"/>
                  <a:gd name="T10" fmla="*/ 15897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15897" y="19375"/>
                    </a:moveTo>
                    <a:lnTo>
                      <a:pt x="0" y="13125"/>
                    </a:lnTo>
                    <a:lnTo>
                      <a:pt x="2564" y="0"/>
                    </a:lnTo>
                    <a:lnTo>
                      <a:pt x="13077" y="3750"/>
                    </a:lnTo>
                    <a:lnTo>
                      <a:pt x="19744" y="9375"/>
                    </a:lnTo>
                    <a:lnTo>
                      <a:pt x="15897"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6" name="Freeform 23"/>
              <p:cNvSpPr>
                <a:spLocks/>
              </p:cNvSpPr>
              <p:nvPr/>
            </p:nvSpPr>
            <p:spPr bwMode="auto">
              <a:xfrm>
                <a:off x="8132763" y="4786313"/>
                <a:ext cx="1122362" cy="1016000"/>
              </a:xfrm>
              <a:custGeom>
                <a:avLst/>
                <a:gdLst>
                  <a:gd name="T0" fmla="*/ 14420 w 20000"/>
                  <a:gd name="T1" fmla="*/ 19150 h 20000"/>
                  <a:gd name="T2" fmla="*/ 13956 w 20000"/>
                  <a:gd name="T3" fmla="*/ 19025 h 20000"/>
                  <a:gd name="T4" fmla="*/ 12779 w 20000"/>
                  <a:gd name="T5" fmla="*/ 19275 h 20000"/>
                  <a:gd name="T6" fmla="*/ 11964 w 20000"/>
                  <a:gd name="T7" fmla="*/ 18638 h 20000"/>
                  <a:gd name="T8" fmla="*/ 11851 w 20000"/>
                  <a:gd name="T9" fmla="*/ 16825 h 20000"/>
                  <a:gd name="T10" fmla="*/ 11545 w 20000"/>
                  <a:gd name="T11" fmla="*/ 16313 h 20000"/>
                  <a:gd name="T12" fmla="*/ 10730 w 20000"/>
                  <a:gd name="T13" fmla="*/ 16563 h 20000"/>
                  <a:gd name="T14" fmla="*/ 11500 w 20000"/>
                  <a:gd name="T15" fmla="*/ 15075 h 20000"/>
                  <a:gd name="T16" fmla="*/ 11081 w 20000"/>
                  <a:gd name="T17" fmla="*/ 15275 h 20000"/>
                  <a:gd name="T18" fmla="*/ 10141 w 20000"/>
                  <a:gd name="T19" fmla="*/ 16238 h 20000"/>
                  <a:gd name="T20" fmla="*/ 9859 w 20000"/>
                  <a:gd name="T21" fmla="*/ 14938 h 20000"/>
                  <a:gd name="T22" fmla="*/ 9677 w 20000"/>
                  <a:gd name="T23" fmla="*/ 14225 h 20000"/>
                  <a:gd name="T24" fmla="*/ 8444 w 20000"/>
                  <a:gd name="T25" fmla="*/ 13525 h 20000"/>
                  <a:gd name="T26" fmla="*/ 5048 w 20000"/>
                  <a:gd name="T27" fmla="*/ 14225 h 20000"/>
                  <a:gd name="T28" fmla="*/ 4097 w 20000"/>
                  <a:gd name="T29" fmla="*/ 15075 h 20000"/>
                  <a:gd name="T30" fmla="*/ 2637 w 20000"/>
                  <a:gd name="T31" fmla="*/ 14938 h 20000"/>
                  <a:gd name="T32" fmla="*/ 1177 w 20000"/>
                  <a:gd name="T33" fmla="*/ 15725 h 20000"/>
                  <a:gd name="T34" fmla="*/ 113 w 20000"/>
                  <a:gd name="T35" fmla="*/ 14688 h 20000"/>
                  <a:gd name="T36" fmla="*/ 770 w 20000"/>
                  <a:gd name="T37" fmla="*/ 13525 h 20000"/>
                  <a:gd name="T38" fmla="*/ 294 w 20000"/>
                  <a:gd name="T39" fmla="*/ 10875 h 20000"/>
                  <a:gd name="T40" fmla="*/ 181 w 20000"/>
                  <a:gd name="T41" fmla="*/ 9775 h 20000"/>
                  <a:gd name="T42" fmla="*/ 294 w 20000"/>
                  <a:gd name="T43" fmla="*/ 9450 h 20000"/>
                  <a:gd name="T44" fmla="*/ 294 w 20000"/>
                  <a:gd name="T45" fmla="*/ 8275 h 20000"/>
                  <a:gd name="T46" fmla="*/ 883 w 20000"/>
                  <a:gd name="T47" fmla="*/ 6613 h 20000"/>
                  <a:gd name="T48" fmla="*/ 1709 w 20000"/>
                  <a:gd name="T49" fmla="*/ 6275 h 20000"/>
                  <a:gd name="T50" fmla="*/ 3407 w 20000"/>
                  <a:gd name="T51" fmla="*/ 5700 h 20000"/>
                  <a:gd name="T52" fmla="*/ 5093 w 20000"/>
                  <a:gd name="T53" fmla="*/ 4338 h 20000"/>
                  <a:gd name="T54" fmla="*/ 5693 w 20000"/>
                  <a:gd name="T55" fmla="*/ 3550 h 20000"/>
                  <a:gd name="T56" fmla="*/ 5863 w 20000"/>
                  <a:gd name="T57" fmla="*/ 3238 h 20000"/>
                  <a:gd name="T58" fmla="*/ 6452 w 20000"/>
                  <a:gd name="T59" fmla="*/ 3363 h 20000"/>
                  <a:gd name="T60" fmla="*/ 6621 w 20000"/>
                  <a:gd name="T61" fmla="*/ 2838 h 20000"/>
                  <a:gd name="T62" fmla="*/ 7040 w 20000"/>
                  <a:gd name="T63" fmla="*/ 2138 h 20000"/>
                  <a:gd name="T64" fmla="*/ 7799 w 20000"/>
                  <a:gd name="T65" fmla="*/ 1688 h 20000"/>
                  <a:gd name="T66" fmla="*/ 8444 w 20000"/>
                  <a:gd name="T67" fmla="*/ 2450 h 20000"/>
                  <a:gd name="T68" fmla="*/ 9032 w 20000"/>
                  <a:gd name="T69" fmla="*/ 2525 h 20000"/>
                  <a:gd name="T70" fmla="*/ 9372 w 20000"/>
                  <a:gd name="T71" fmla="*/ 1613 h 20000"/>
                  <a:gd name="T72" fmla="*/ 9859 w 20000"/>
                  <a:gd name="T73" fmla="*/ 838 h 20000"/>
                  <a:gd name="T74" fmla="*/ 10323 w 20000"/>
                  <a:gd name="T75" fmla="*/ 263 h 20000"/>
                  <a:gd name="T76" fmla="*/ 11319 w 20000"/>
                  <a:gd name="T77" fmla="*/ 638 h 20000"/>
                  <a:gd name="T78" fmla="*/ 12315 w 20000"/>
                  <a:gd name="T79" fmla="*/ 838 h 20000"/>
                  <a:gd name="T80" fmla="*/ 12722 w 20000"/>
                  <a:gd name="T81" fmla="*/ 838 h 20000"/>
                  <a:gd name="T82" fmla="*/ 12541 w 20000"/>
                  <a:gd name="T83" fmla="*/ 1350 h 20000"/>
                  <a:gd name="T84" fmla="*/ 11964 w 20000"/>
                  <a:gd name="T85" fmla="*/ 2525 h 20000"/>
                  <a:gd name="T86" fmla="*/ 13073 w 20000"/>
                  <a:gd name="T87" fmla="*/ 3688 h 20000"/>
                  <a:gd name="T88" fmla="*/ 14488 w 20000"/>
                  <a:gd name="T89" fmla="*/ 4213 h 20000"/>
                  <a:gd name="T90" fmla="*/ 15065 w 20000"/>
                  <a:gd name="T91" fmla="*/ 1488 h 20000"/>
                  <a:gd name="T92" fmla="*/ 15484 w 20000"/>
                  <a:gd name="T93" fmla="*/ 263 h 20000"/>
                  <a:gd name="T94" fmla="*/ 15948 w 20000"/>
                  <a:gd name="T95" fmla="*/ 775 h 20000"/>
                  <a:gd name="T96" fmla="*/ 16129 w 20000"/>
                  <a:gd name="T97" fmla="*/ 1888 h 20000"/>
                  <a:gd name="T98" fmla="*/ 16887 w 20000"/>
                  <a:gd name="T99" fmla="*/ 2650 h 20000"/>
                  <a:gd name="T100" fmla="*/ 17170 w 20000"/>
                  <a:gd name="T101" fmla="*/ 4725 h 20000"/>
                  <a:gd name="T102" fmla="*/ 17816 w 20000"/>
                  <a:gd name="T103" fmla="*/ 5750 h 20000"/>
                  <a:gd name="T104" fmla="*/ 18166 w 20000"/>
                  <a:gd name="T105" fmla="*/ 6413 h 20000"/>
                  <a:gd name="T106" fmla="*/ 18766 w 20000"/>
                  <a:gd name="T107" fmla="*/ 7763 h 20000"/>
                  <a:gd name="T108" fmla="*/ 19162 w 20000"/>
                  <a:gd name="T109" fmla="*/ 8275 h 20000"/>
                  <a:gd name="T110" fmla="*/ 19638 w 20000"/>
                  <a:gd name="T111" fmla="*/ 9250 h 20000"/>
                  <a:gd name="T112" fmla="*/ 19808 w 20000"/>
                  <a:gd name="T113" fmla="*/ 11188 h 20000"/>
                  <a:gd name="T114" fmla="*/ 18879 w 20000"/>
                  <a:gd name="T115" fmla="*/ 14688 h 20000"/>
                  <a:gd name="T116" fmla="*/ 18121 w 20000"/>
                  <a:gd name="T117" fmla="*/ 16038 h 20000"/>
                  <a:gd name="T118" fmla="*/ 16299 w 20000"/>
                  <a:gd name="T119" fmla="*/ 19025 h 20000"/>
                  <a:gd name="T120" fmla="*/ 14714 w 20000"/>
                  <a:gd name="T121" fmla="*/ 1998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14714" y="19988"/>
                    </a:moveTo>
                    <a:lnTo>
                      <a:pt x="14488" y="19613"/>
                    </a:lnTo>
                    <a:lnTo>
                      <a:pt x="14420" y="19475"/>
                    </a:lnTo>
                    <a:lnTo>
                      <a:pt x="14420" y="19350"/>
                    </a:lnTo>
                    <a:lnTo>
                      <a:pt x="14420" y="19150"/>
                    </a:lnTo>
                    <a:lnTo>
                      <a:pt x="14137" y="19350"/>
                    </a:lnTo>
                    <a:lnTo>
                      <a:pt x="14024" y="19350"/>
                    </a:lnTo>
                    <a:lnTo>
                      <a:pt x="14250" y="19150"/>
                    </a:lnTo>
                    <a:lnTo>
                      <a:pt x="14250" y="18950"/>
                    </a:lnTo>
                    <a:lnTo>
                      <a:pt x="13956" y="19025"/>
                    </a:lnTo>
                    <a:lnTo>
                      <a:pt x="14024" y="19025"/>
                    </a:lnTo>
                    <a:lnTo>
                      <a:pt x="14024" y="19275"/>
                    </a:lnTo>
                    <a:lnTo>
                      <a:pt x="13367" y="19663"/>
                    </a:lnTo>
                    <a:lnTo>
                      <a:pt x="13073" y="19350"/>
                    </a:lnTo>
                    <a:lnTo>
                      <a:pt x="12779" y="19275"/>
                    </a:lnTo>
                    <a:lnTo>
                      <a:pt x="12609" y="19025"/>
                    </a:lnTo>
                    <a:lnTo>
                      <a:pt x="12541" y="19150"/>
                    </a:lnTo>
                    <a:lnTo>
                      <a:pt x="12247" y="18950"/>
                    </a:lnTo>
                    <a:lnTo>
                      <a:pt x="12020" y="18825"/>
                    </a:lnTo>
                    <a:lnTo>
                      <a:pt x="11964" y="18638"/>
                    </a:lnTo>
                    <a:lnTo>
                      <a:pt x="11783" y="18313"/>
                    </a:lnTo>
                    <a:lnTo>
                      <a:pt x="11783" y="17988"/>
                    </a:lnTo>
                    <a:lnTo>
                      <a:pt x="11964" y="17600"/>
                    </a:lnTo>
                    <a:lnTo>
                      <a:pt x="11669" y="16950"/>
                    </a:lnTo>
                    <a:lnTo>
                      <a:pt x="11851" y="16825"/>
                    </a:lnTo>
                    <a:lnTo>
                      <a:pt x="11851" y="16750"/>
                    </a:lnTo>
                    <a:lnTo>
                      <a:pt x="11545" y="16750"/>
                    </a:lnTo>
                    <a:lnTo>
                      <a:pt x="11319" y="16825"/>
                    </a:lnTo>
                    <a:lnTo>
                      <a:pt x="11500" y="16625"/>
                    </a:lnTo>
                    <a:lnTo>
                      <a:pt x="11545" y="16313"/>
                    </a:lnTo>
                    <a:lnTo>
                      <a:pt x="11500" y="15725"/>
                    </a:lnTo>
                    <a:lnTo>
                      <a:pt x="11319" y="15913"/>
                    </a:lnTo>
                    <a:lnTo>
                      <a:pt x="11081" y="16438"/>
                    </a:lnTo>
                    <a:lnTo>
                      <a:pt x="10900" y="16438"/>
                    </a:lnTo>
                    <a:lnTo>
                      <a:pt x="10730" y="16563"/>
                    </a:lnTo>
                    <a:lnTo>
                      <a:pt x="10787" y="16313"/>
                    </a:lnTo>
                    <a:lnTo>
                      <a:pt x="11024" y="16313"/>
                    </a:lnTo>
                    <a:lnTo>
                      <a:pt x="11081" y="15788"/>
                    </a:lnTo>
                    <a:lnTo>
                      <a:pt x="11364" y="15400"/>
                    </a:lnTo>
                    <a:lnTo>
                      <a:pt x="11500" y="15075"/>
                    </a:lnTo>
                    <a:lnTo>
                      <a:pt x="11545" y="14938"/>
                    </a:lnTo>
                    <a:lnTo>
                      <a:pt x="11545" y="14425"/>
                    </a:lnTo>
                    <a:lnTo>
                      <a:pt x="11500" y="14888"/>
                    </a:lnTo>
                    <a:lnTo>
                      <a:pt x="11364" y="14888"/>
                    </a:lnTo>
                    <a:lnTo>
                      <a:pt x="11081" y="15275"/>
                    </a:lnTo>
                    <a:lnTo>
                      <a:pt x="10787" y="15463"/>
                    </a:lnTo>
                    <a:lnTo>
                      <a:pt x="10436" y="15788"/>
                    </a:lnTo>
                    <a:lnTo>
                      <a:pt x="10255" y="16038"/>
                    </a:lnTo>
                    <a:lnTo>
                      <a:pt x="10323" y="16238"/>
                    </a:lnTo>
                    <a:lnTo>
                      <a:pt x="10141" y="16238"/>
                    </a:lnTo>
                    <a:lnTo>
                      <a:pt x="10085" y="16038"/>
                    </a:lnTo>
                    <a:lnTo>
                      <a:pt x="10085" y="15913"/>
                    </a:lnTo>
                    <a:lnTo>
                      <a:pt x="10085" y="15600"/>
                    </a:lnTo>
                    <a:lnTo>
                      <a:pt x="9972" y="15275"/>
                    </a:lnTo>
                    <a:lnTo>
                      <a:pt x="9859" y="14938"/>
                    </a:lnTo>
                    <a:lnTo>
                      <a:pt x="9677" y="14888"/>
                    </a:lnTo>
                    <a:lnTo>
                      <a:pt x="9677" y="14550"/>
                    </a:lnTo>
                    <a:lnTo>
                      <a:pt x="9791" y="14425"/>
                    </a:lnTo>
                    <a:lnTo>
                      <a:pt x="9553" y="14375"/>
                    </a:lnTo>
                    <a:lnTo>
                      <a:pt x="9677" y="14225"/>
                    </a:lnTo>
                    <a:lnTo>
                      <a:pt x="9496" y="14038"/>
                    </a:lnTo>
                    <a:lnTo>
                      <a:pt x="9327" y="14100"/>
                    </a:lnTo>
                    <a:lnTo>
                      <a:pt x="9089" y="13913"/>
                    </a:lnTo>
                    <a:lnTo>
                      <a:pt x="8908" y="13913"/>
                    </a:lnTo>
                    <a:lnTo>
                      <a:pt x="8444" y="13525"/>
                    </a:lnTo>
                    <a:lnTo>
                      <a:pt x="7980" y="13588"/>
                    </a:lnTo>
                    <a:lnTo>
                      <a:pt x="7097" y="13713"/>
                    </a:lnTo>
                    <a:lnTo>
                      <a:pt x="6271" y="14038"/>
                    </a:lnTo>
                    <a:lnTo>
                      <a:pt x="5806" y="13913"/>
                    </a:lnTo>
                    <a:lnTo>
                      <a:pt x="5048" y="14225"/>
                    </a:lnTo>
                    <a:lnTo>
                      <a:pt x="4743" y="14425"/>
                    </a:lnTo>
                    <a:lnTo>
                      <a:pt x="4584" y="14750"/>
                    </a:lnTo>
                    <a:lnTo>
                      <a:pt x="4460" y="14938"/>
                    </a:lnTo>
                    <a:lnTo>
                      <a:pt x="4165" y="15075"/>
                    </a:lnTo>
                    <a:lnTo>
                      <a:pt x="4097" y="15075"/>
                    </a:lnTo>
                    <a:lnTo>
                      <a:pt x="3814" y="15075"/>
                    </a:lnTo>
                    <a:lnTo>
                      <a:pt x="3633" y="15200"/>
                    </a:lnTo>
                    <a:lnTo>
                      <a:pt x="3520" y="14938"/>
                    </a:lnTo>
                    <a:lnTo>
                      <a:pt x="2932" y="14888"/>
                    </a:lnTo>
                    <a:lnTo>
                      <a:pt x="2637" y="14938"/>
                    </a:lnTo>
                    <a:lnTo>
                      <a:pt x="2173" y="15200"/>
                    </a:lnTo>
                    <a:lnTo>
                      <a:pt x="2105" y="15275"/>
                    </a:lnTo>
                    <a:lnTo>
                      <a:pt x="1822" y="15400"/>
                    </a:lnTo>
                    <a:lnTo>
                      <a:pt x="1415" y="15600"/>
                    </a:lnTo>
                    <a:lnTo>
                      <a:pt x="1177" y="15725"/>
                    </a:lnTo>
                    <a:lnTo>
                      <a:pt x="770" y="15725"/>
                    </a:lnTo>
                    <a:lnTo>
                      <a:pt x="464" y="15463"/>
                    </a:lnTo>
                    <a:lnTo>
                      <a:pt x="294" y="15200"/>
                    </a:lnTo>
                    <a:lnTo>
                      <a:pt x="0" y="15075"/>
                    </a:lnTo>
                    <a:lnTo>
                      <a:pt x="113" y="14688"/>
                    </a:lnTo>
                    <a:lnTo>
                      <a:pt x="181" y="14688"/>
                    </a:lnTo>
                    <a:lnTo>
                      <a:pt x="419" y="14550"/>
                    </a:lnTo>
                    <a:lnTo>
                      <a:pt x="464" y="14038"/>
                    </a:lnTo>
                    <a:lnTo>
                      <a:pt x="589" y="14038"/>
                    </a:lnTo>
                    <a:lnTo>
                      <a:pt x="770" y="13525"/>
                    </a:lnTo>
                    <a:lnTo>
                      <a:pt x="702" y="13075"/>
                    </a:lnTo>
                    <a:lnTo>
                      <a:pt x="464" y="12225"/>
                    </a:lnTo>
                    <a:lnTo>
                      <a:pt x="589" y="11513"/>
                    </a:lnTo>
                    <a:lnTo>
                      <a:pt x="464" y="11125"/>
                    </a:lnTo>
                    <a:lnTo>
                      <a:pt x="294" y="10875"/>
                    </a:lnTo>
                    <a:lnTo>
                      <a:pt x="419" y="10475"/>
                    </a:lnTo>
                    <a:lnTo>
                      <a:pt x="181" y="10038"/>
                    </a:lnTo>
                    <a:lnTo>
                      <a:pt x="0" y="9450"/>
                    </a:lnTo>
                    <a:lnTo>
                      <a:pt x="113" y="9450"/>
                    </a:lnTo>
                    <a:lnTo>
                      <a:pt x="181" y="9775"/>
                    </a:lnTo>
                    <a:lnTo>
                      <a:pt x="294" y="9775"/>
                    </a:lnTo>
                    <a:lnTo>
                      <a:pt x="181" y="9450"/>
                    </a:lnTo>
                    <a:lnTo>
                      <a:pt x="181" y="9125"/>
                    </a:lnTo>
                    <a:lnTo>
                      <a:pt x="294" y="9250"/>
                    </a:lnTo>
                    <a:lnTo>
                      <a:pt x="294" y="9450"/>
                    </a:lnTo>
                    <a:lnTo>
                      <a:pt x="419" y="9450"/>
                    </a:lnTo>
                    <a:lnTo>
                      <a:pt x="464" y="9650"/>
                    </a:lnTo>
                    <a:lnTo>
                      <a:pt x="464" y="9250"/>
                    </a:lnTo>
                    <a:lnTo>
                      <a:pt x="419" y="8988"/>
                    </a:lnTo>
                    <a:lnTo>
                      <a:pt x="294" y="8275"/>
                    </a:lnTo>
                    <a:lnTo>
                      <a:pt x="294" y="8088"/>
                    </a:lnTo>
                    <a:lnTo>
                      <a:pt x="464" y="7638"/>
                    </a:lnTo>
                    <a:lnTo>
                      <a:pt x="589" y="7250"/>
                    </a:lnTo>
                    <a:lnTo>
                      <a:pt x="702" y="6925"/>
                    </a:lnTo>
                    <a:lnTo>
                      <a:pt x="883" y="6613"/>
                    </a:lnTo>
                    <a:lnTo>
                      <a:pt x="770" y="7050"/>
                    </a:lnTo>
                    <a:lnTo>
                      <a:pt x="883" y="7050"/>
                    </a:lnTo>
                    <a:lnTo>
                      <a:pt x="1064" y="6613"/>
                    </a:lnTo>
                    <a:lnTo>
                      <a:pt x="1347" y="6538"/>
                    </a:lnTo>
                    <a:lnTo>
                      <a:pt x="1709" y="6275"/>
                    </a:lnTo>
                    <a:lnTo>
                      <a:pt x="2286" y="5950"/>
                    </a:lnTo>
                    <a:lnTo>
                      <a:pt x="2592" y="5950"/>
                    </a:lnTo>
                    <a:lnTo>
                      <a:pt x="2875" y="5750"/>
                    </a:lnTo>
                    <a:lnTo>
                      <a:pt x="3169" y="5750"/>
                    </a:lnTo>
                    <a:lnTo>
                      <a:pt x="3407" y="5700"/>
                    </a:lnTo>
                    <a:lnTo>
                      <a:pt x="3701" y="5563"/>
                    </a:lnTo>
                    <a:lnTo>
                      <a:pt x="4584" y="5175"/>
                    </a:lnTo>
                    <a:lnTo>
                      <a:pt x="4867" y="4600"/>
                    </a:lnTo>
                    <a:lnTo>
                      <a:pt x="5093" y="4525"/>
                    </a:lnTo>
                    <a:lnTo>
                      <a:pt x="5093" y="4338"/>
                    </a:lnTo>
                    <a:lnTo>
                      <a:pt x="5093" y="4013"/>
                    </a:lnTo>
                    <a:lnTo>
                      <a:pt x="5399" y="3550"/>
                    </a:lnTo>
                    <a:lnTo>
                      <a:pt x="5512" y="3363"/>
                    </a:lnTo>
                    <a:lnTo>
                      <a:pt x="5625" y="3363"/>
                    </a:lnTo>
                    <a:lnTo>
                      <a:pt x="5693" y="3550"/>
                    </a:lnTo>
                    <a:lnTo>
                      <a:pt x="5863" y="4013"/>
                    </a:lnTo>
                    <a:lnTo>
                      <a:pt x="5863" y="3688"/>
                    </a:lnTo>
                    <a:lnTo>
                      <a:pt x="6089" y="3825"/>
                    </a:lnTo>
                    <a:lnTo>
                      <a:pt x="5976" y="3550"/>
                    </a:lnTo>
                    <a:lnTo>
                      <a:pt x="5863" y="3238"/>
                    </a:lnTo>
                    <a:lnTo>
                      <a:pt x="5976" y="3163"/>
                    </a:lnTo>
                    <a:lnTo>
                      <a:pt x="6089" y="3363"/>
                    </a:lnTo>
                    <a:lnTo>
                      <a:pt x="6157" y="3238"/>
                    </a:lnTo>
                    <a:lnTo>
                      <a:pt x="6271" y="3363"/>
                    </a:lnTo>
                    <a:lnTo>
                      <a:pt x="6452" y="3363"/>
                    </a:lnTo>
                    <a:lnTo>
                      <a:pt x="6338" y="3363"/>
                    </a:lnTo>
                    <a:lnTo>
                      <a:pt x="6338" y="3163"/>
                    </a:lnTo>
                    <a:lnTo>
                      <a:pt x="6338" y="2988"/>
                    </a:lnTo>
                    <a:lnTo>
                      <a:pt x="6565" y="2713"/>
                    </a:lnTo>
                    <a:lnTo>
                      <a:pt x="6621" y="2838"/>
                    </a:lnTo>
                    <a:lnTo>
                      <a:pt x="6621" y="2650"/>
                    </a:lnTo>
                    <a:lnTo>
                      <a:pt x="6735" y="2525"/>
                    </a:lnTo>
                    <a:lnTo>
                      <a:pt x="6916" y="2650"/>
                    </a:lnTo>
                    <a:lnTo>
                      <a:pt x="6735" y="2325"/>
                    </a:lnTo>
                    <a:lnTo>
                      <a:pt x="7040" y="2138"/>
                    </a:lnTo>
                    <a:lnTo>
                      <a:pt x="7097" y="2325"/>
                    </a:lnTo>
                    <a:lnTo>
                      <a:pt x="7391" y="1888"/>
                    </a:lnTo>
                    <a:lnTo>
                      <a:pt x="7504" y="1813"/>
                    </a:lnTo>
                    <a:lnTo>
                      <a:pt x="7561" y="2013"/>
                    </a:lnTo>
                    <a:lnTo>
                      <a:pt x="7799" y="1688"/>
                    </a:lnTo>
                    <a:lnTo>
                      <a:pt x="7866" y="1888"/>
                    </a:lnTo>
                    <a:lnTo>
                      <a:pt x="8331" y="2325"/>
                    </a:lnTo>
                    <a:lnTo>
                      <a:pt x="8149" y="2525"/>
                    </a:lnTo>
                    <a:lnTo>
                      <a:pt x="8263" y="2713"/>
                    </a:lnTo>
                    <a:lnTo>
                      <a:pt x="8444" y="2450"/>
                    </a:lnTo>
                    <a:lnTo>
                      <a:pt x="8613" y="2525"/>
                    </a:lnTo>
                    <a:lnTo>
                      <a:pt x="8795" y="2650"/>
                    </a:lnTo>
                    <a:lnTo>
                      <a:pt x="8908" y="2525"/>
                    </a:lnTo>
                    <a:lnTo>
                      <a:pt x="9089" y="2713"/>
                    </a:lnTo>
                    <a:lnTo>
                      <a:pt x="9032" y="2525"/>
                    </a:lnTo>
                    <a:lnTo>
                      <a:pt x="9089" y="2525"/>
                    </a:lnTo>
                    <a:lnTo>
                      <a:pt x="8908" y="2138"/>
                    </a:lnTo>
                    <a:lnTo>
                      <a:pt x="9089" y="1888"/>
                    </a:lnTo>
                    <a:lnTo>
                      <a:pt x="9213" y="1613"/>
                    </a:lnTo>
                    <a:lnTo>
                      <a:pt x="9372" y="1613"/>
                    </a:lnTo>
                    <a:lnTo>
                      <a:pt x="9327" y="1300"/>
                    </a:lnTo>
                    <a:lnTo>
                      <a:pt x="9553" y="1100"/>
                    </a:lnTo>
                    <a:lnTo>
                      <a:pt x="9791" y="1100"/>
                    </a:lnTo>
                    <a:lnTo>
                      <a:pt x="9791" y="975"/>
                    </a:lnTo>
                    <a:lnTo>
                      <a:pt x="9859" y="838"/>
                    </a:lnTo>
                    <a:lnTo>
                      <a:pt x="10549" y="838"/>
                    </a:lnTo>
                    <a:lnTo>
                      <a:pt x="10617" y="838"/>
                    </a:lnTo>
                    <a:lnTo>
                      <a:pt x="10549" y="463"/>
                    </a:lnTo>
                    <a:lnTo>
                      <a:pt x="10436" y="463"/>
                    </a:lnTo>
                    <a:lnTo>
                      <a:pt x="10323" y="263"/>
                    </a:lnTo>
                    <a:lnTo>
                      <a:pt x="10549" y="263"/>
                    </a:lnTo>
                    <a:lnTo>
                      <a:pt x="10730" y="325"/>
                    </a:lnTo>
                    <a:lnTo>
                      <a:pt x="10787" y="325"/>
                    </a:lnTo>
                    <a:lnTo>
                      <a:pt x="10900" y="513"/>
                    </a:lnTo>
                    <a:lnTo>
                      <a:pt x="11319" y="638"/>
                    </a:lnTo>
                    <a:lnTo>
                      <a:pt x="11364" y="775"/>
                    </a:lnTo>
                    <a:lnTo>
                      <a:pt x="11669" y="775"/>
                    </a:lnTo>
                    <a:lnTo>
                      <a:pt x="11851" y="838"/>
                    </a:lnTo>
                    <a:lnTo>
                      <a:pt x="12134" y="775"/>
                    </a:lnTo>
                    <a:lnTo>
                      <a:pt x="12315" y="838"/>
                    </a:lnTo>
                    <a:lnTo>
                      <a:pt x="12428" y="975"/>
                    </a:lnTo>
                    <a:lnTo>
                      <a:pt x="12541" y="1100"/>
                    </a:lnTo>
                    <a:lnTo>
                      <a:pt x="12428" y="838"/>
                    </a:lnTo>
                    <a:lnTo>
                      <a:pt x="12609" y="775"/>
                    </a:lnTo>
                    <a:lnTo>
                      <a:pt x="12722" y="838"/>
                    </a:lnTo>
                    <a:lnTo>
                      <a:pt x="12779" y="975"/>
                    </a:lnTo>
                    <a:lnTo>
                      <a:pt x="12609" y="1175"/>
                    </a:lnTo>
                    <a:lnTo>
                      <a:pt x="12609" y="1300"/>
                    </a:lnTo>
                    <a:lnTo>
                      <a:pt x="12541" y="1488"/>
                    </a:lnTo>
                    <a:lnTo>
                      <a:pt x="12541" y="1350"/>
                    </a:lnTo>
                    <a:lnTo>
                      <a:pt x="12315" y="1488"/>
                    </a:lnTo>
                    <a:lnTo>
                      <a:pt x="12247" y="1688"/>
                    </a:lnTo>
                    <a:lnTo>
                      <a:pt x="12247" y="1813"/>
                    </a:lnTo>
                    <a:lnTo>
                      <a:pt x="12247" y="2013"/>
                    </a:lnTo>
                    <a:lnTo>
                      <a:pt x="11964" y="2525"/>
                    </a:lnTo>
                    <a:lnTo>
                      <a:pt x="12247" y="2838"/>
                    </a:lnTo>
                    <a:lnTo>
                      <a:pt x="12315" y="2988"/>
                    </a:lnTo>
                    <a:lnTo>
                      <a:pt x="12541" y="3038"/>
                    </a:lnTo>
                    <a:lnTo>
                      <a:pt x="12609" y="3238"/>
                    </a:lnTo>
                    <a:lnTo>
                      <a:pt x="13073" y="3688"/>
                    </a:lnTo>
                    <a:lnTo>
                      <a:pt x="13662" y="3825"/>
                    </a:lnTo>
                    <a:lnTo>
                      <a:pt x="13662" y="4075"/>
                    </a:lnTo>
                    <a:lnTo>
                      <a:pt x="14137" y="4338"/>
                    </a:lnTo>
                    <a:lnTo>
                      <a:pt x="14307" y="4338"/>
                    </a:lnTo>
                    <a:lnTo>
                      <a:pt x="14488" y="4213"/>
                    </a:lnTo>
                    <a:lnTo>
                      <a:pt x="14771" y="3550"/>
                    </a:lnTo>
                    <a:lnTo>
                      <a:pt x="15065" y="2450"/>
                    </a:lnTo>
                    <a:lnTo>
                      <a:pt x="15065" y="1888"/>
                    </a:lnTo>
                    <a:lnTo>
                      <a:pt x="15178" y="1688"/>
                    </a:lnTo>
                    <a:lnTo>
                      <a:pt x="15065" y="1488"/>
                    </a:lnTo>
                    <a:lnTo>
                      <a:pt x="15246" y="1175"/>
                    </a:lnTo>
                    <a:lnTo>
                      <a:pt x="15178" y="1100"/>
                    </a:lnTo>
                    <a:lnTo>
                      <a:pt x="15246" y="838"/>
                    </a:lnTo>
                    <a:lnTo>
                      <a:pt x="15359" y="838"/>
                    </a:lnTo>
                    <a:lnTo>
                      <a:pt x="15484" y="263"/>
                    </a:lnTo>
                    <a:lnTo>
                      <a:pt x="15710" y="0"/>
                    </a:lnTo>
                    <a:lnTo>
                      <a:pt x="15710" y="125"/>
                    </a:lnTo>
                    <a:lnTo>
                      <a:pt x="15835" y="325"/>
                    </a:lnTo>
                    <a:lnTo>
                      <a:pt x="15835" y="775"/>
                    </a:lnTo>
                    <a:lnTo>
                      <a:pt x="15948" y="775"/>
                    </a:lnTo>
                    <a:lnTo>
                      <a:pt x="15948" y="975"/>
                    </a:lnTo>
                    <a:lnTo>
                      <a:pt x="16005" y="1100"/>
                    </a:lnTo>
                    <a:lnTo>
                      <a:pt x="16005" y="1350"/>
                    </a:lnTo>
                    <a:lnTo>
                      <a:pt x="16129" y="1350"/>
                    </a:lnTo>
                    <a:lnTo>
                      <a:pt x="16129" y="1888"/>
                    </a:lnTo>
                    <a:lnTo>
                      <a:pt x="16242" y="2450"/>
                    </a:lnTo>
                    <a:lnTo>
                      <a:pt x="16299" y="2325"/>
                    </a:lnTo>
                    <a:lnTo>
                      <a:pt x="16480" y="2138"/>
                    </a:lnTo>
                    <a:lnTo>
                      <a:pt x="16593" y="2450"/>
                    </a:lnTo>
                    <a:lnTo>
                      <a:pt x="16887" y="2650"/>
                    </a:lnTo>
                    <a:lnTo>
                      <a:pt x="16887" y="3363"/>
                    </a:lnTo>
                    <a:lnTo>
                      <a:pt x="16887" y="3550"/>
                    </a:lnTo>
                    <a:lnTo>
                      <a:pt x="17057" y="3888"/>
                    </a:lnTo>
                    <a:lnTo>
                      <a:pt x="17170" y="4400"/>
                    </a:lnTo>
                    <a:lnTo>
                      <a:pt x="17170" y="4725"/>
                    </a:lnTo>
                    <a:lnTo>
                      <a:pt x="17170" y="4925"/>
                    </a:lnTo>
                    <a:lnTo>
                      <a:pt x="17238" y="5175"/>
                    </a:lnTo>
                    <a:lnTo>
                      <a:pt x="17476" y="5438"/>
                    </a:lnTo>
                    <a:lnTo>
                      <a:pt x="17702" y="5438"/>
                    </a:lnTo>
                    <a:lnTo>
                      <a:pt x="17816" y="5750"/>
                    </a:lnTo>
                    <a:lnTo>
                      <a:pt x="17940" y="5750"/>
                    </a:lnTo>
                    <a:lnTo>
                      <a:pt x="18166" y="5950"/>
                    </a:lnTo>
                    <a:lnTo>
                      <a:pt x="18291" y="6213"/>
                    </a:lnTo>
                    <a:lnTo>
                      <a:pt x="18415" y="6275"/>
                    </a:lnTo>
                    <a:lnTo>
                      <a:pt x="18166" y="6413"/>
                    </a:lnTo>
                    <a:lnTo>
                      <a:pt x="18291" y="6613"/>
                    </a:lnTo>
                    <a:lnTo>
                      <a:pt x="18472" y="6925"/>
                    </a:lnTo>
                    <a:lnTo>
                      <a:pt x="18472" y="7050"/>
                    </a:lnTo>
                    <a:lnTo>
                      <a:pt x="18698" y="7638"/>
                    </a:lnTo>
                    <a:lnTo>
                      <a:pt x="18766" y="7763"/>
                    </a:lnTo>
                    <a:lnTo>
                      <a:pt x="18766" y="7313"/>
                    </a:lnTo>
                    <a:lnTo>
                      <a:pt x="19049" y="7638"/>
                    </a:lnTo>
                    <a:lnTo>
                      <a:pt x="19049" y="7563"/>
                    </a:lnTo>
                    <a:lnTo>
                      <a:pt x="19162" y="7763"/>
                    </a:lnTo>
                    <a:lnTo>
                      <a:pt x="19162" y="8275"/>
                    </a:lnTo>
                    <a:lnTo>
                      <a:pt x="18936" y="8275"/>
                    </a:lnTo>
                    <a:lnTo>
                      <a:pt x="19049" y="8475"/>
                    </a:lnTo>
                    <a:lnTo>
                      <a:pt x="19344" y="8675"/>
                    </a:lnTo>
                    <a:lnTo>
                      <a:pt x="19525" y="8938"/>
                    </a:lnTo>
                    <a:lnTo>
                      <a:pt x="19638" y="9250"/>
                    </a:lnTo>
                    <a:lnTo>
                      <a:pt x="19808" y="9450"/>
                    </a:lnTo>
                    <a:lnTo>
                      <a:pt x="19932" y="9650"/>
                    </a:lnTo>
                    <a:lnTo>
                      <a:pt x="19808" y="9963"/>
                    </a:lnTo>
                    <a:lnTo>
                      <a:pt x="19989" y="10350"/>
                    </a:lnTo>
                    <a:lnTo>
                      <a:pt x="19808" y="11188"/>
                    </a:lnTo>
                    <a:lnTo>
                      <a:pt x="19932" y="11650"/>
                    </a:lnTo>
                    <a:lnTo>
                      <a:pt x="19808" y="12363"/>
                    </a:lnTo>
                    <a:lnTo>
                      <a:pt x="19525" y="13075"/>
                    </a:lnTo>
                    <a:lnTo>
                      <a:pt x="19344" y="13838"/>
                    </a:lnTo>
                    <a:lnTo>
                      <a:pt x="18879" y="14688"/>
                    </a:lnTo>
                    <a:lnTo>
                      <a:pt x="18879" y="14750"/>
                    </a:lnTo>
                    <a:lnTo>
                      <a:pt x="18879" y="14888"/>
                    </a:lnTo>
                    <a:lnTo>
                      <a:pt x="18291" y="15400"/>
                    </a:lnTo>
                    <a:lnTo>
                      <a:pt x="18166" y="15725"/>
                    </a:lnTo>
                    <a:lnTo>
                      <a:pt x="18121" y="16038"/>
                    </a:lnTo>
                    <a:lnTo>
                      <a:pt x="17702" y="16563"/>
                    </a:lnTo>
                    <a:lnTo>
                      <a:pt x="17521" y="16950"/>
                    </a:lnTo>
                    <a:lnTo>
                      <a:pt x="17057" y="17925"/>
                    </a:lnTo>
                    <a:lnTo>
                      <a:pt x="16774" y="18763"/>
                    </a:lnTo>
                    <a:lnTo>
                      <a:pt x="16299" y="19025"/>
                    </a:lnTo>
                    <a:lnTo>
                      <a:pt x="15529" y="19025"/>
                    </a:lnTo>
                    <a:lnTo>
                      <a:pt x="15246" y="19350"/>
                    </a:lnTo>
                    <a:lnTo>
                      <a:pt x="14714" y="19663"/>
                    </a:lnTo>
                    <a:lnTo>
                      <a:pt x="14771" y="19800"/>
                    </a:lnTo>
                    <a:lnTo>
                      <a:pt x="14714" y="1998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7" name="Freeform 22"/>
              <p:cNvSpPr>
                <a:spLocks/>
              </p:cNvSpPr>
              <p:nvPr/>
            </p:nvSpPr>
            <p:spPr bwMode="auto">
              <a:xfrm>
                <a:off x="9409113" y="5929313"/>
                <a:ext cx="244475" cy="285750"/>
              </a:xfrm>
              <a:custGeom>
                <a:avLst/>
                <a:gdLst>
                  <a:gd name="T0" fmla="*/ 4000 w 20000"/>
                  <a:gd name="T1" fmla="*/ 19512 h 20000"/>
                  <a:gd name="T2" fmla="*/ 2961 w 20000"/>
                  <a:gd name="T3" fmla="*/ 18581 h 20000"/>
                  <a:gd name="T4" fmla="*/ 1870 w 20000"/>
                  <a:gd name="T5" fmla="*/ 17694 h 20000"/>
                  <a:gd name="T6" fmla="*/ 0 w 20000"/>
                  <a:gd name="T7" fmla="*/ 17428 h 20000"/>
                  <a:gd name="T8" fmla="*/ 0 w 20000"/>
                  <a:gd name="T9" fmla="*/ 16541 h 20000"/>
                  <a:gd name="T10" fmla="*/ 831 w 20000"/>
                  <a:gd name="T11" fmla="*/ 16275 h 20000"/>
                  <a:gd name="T12" fmla="*/ 1351 w 20000"/>
                  <a:gd name="T13" fmla="*/ 14723 h 20000"/>
                  <a:gd name="T14" fmla="*/ 1870 w 20000"/>
                  <a:gd name="T15" fmla="*/ 14457 h 20000"/>
                  <a:gd name="T16" fmla="*/ 2130 w 20000"/>
                  <a:gd name="T17" fmla="*/ 14013 h 20000"/>
                  <a:gd name="T18" fmla="*/ 2961 w 20000"/>
                  <a:gd name="T19" fmla="*/ 13792 h 20000"/>
                  <a:gd name="T20" fmla="*/ 4312 w 20000"/>
                  <a:gd name="T21" fmla="*/ 12860 h 20000"/>
                  <a:gd name="T22" fmla="*/ 5091 w 20000"/>
                  <a:gd name="T23" fmla="*/ 12195 h 20000"/>
                  <a:gd name="T24" fmla="*/ 5610 w 20000"/>
                  <a:gd name="T25" fmla="*/ 11486 h 20000"/>
                  <a:gd name="T26" fmla="*/ 7792 w 20000"/>
                  <a:gd name="T27" fmla="*/ 10820 h 20000"/>
                  <a:gd name="T28" fmla="*/ 11844 w 20000"/>
                  <a:gd name="T29" fmla="*/ 8514 h 20000"/>
                  <a:gd name="T30" fmla="*/ 15377 w 20000"/>
                  <a:gd name="T31" fmla="*/ 4834 h 20000"/>
                  <a:gd name="T32" fmla="*/ 16104 w 20000"/>
                  <a:gd name="T33" fmla="*/ 3725 h 20000"/>
                  <a:gd name="T34" fmla="*/ 17506 w 20000"/>
                  <a:gd name="T35" fmla="*/ 1197 h 20000"/>
                  <a:gd name="T36" fmla="*/ 18857 w 20000"/>
                  <a:gd name="T37" fmla="*/ 266 h 20000"/>
                  <a:gd name="T38" fmla="*/ 18857 w 20000"/>
                  <a:gd name="T39" fmla="*/ 1375 h 20000"/>
                  <a:gd name="T40" fmla="*/ 18857 w 20000"/>
                  <a:gd name="T41" fmla="*/ 3016 h 20000"/>
                  <a:gd name="T42" fmla="*/ 19636 w 20000"/>
                  <a:gd name="T43" fmla="*/ 2084 h 20000"/>
                  <a:gd name="T44" fmla="*/ 19948 w 20000"/>
                  <a:gd name="T45" fmla="*/ 3016 h 20000"/>
                  <a:gd name="T46" fmla="*/ 19636 w 20000"/>
                  <a:gd name="T47" fmla="*/ 4390 h 20000"/>
                  <a:gd name="T48" fmla="*/ 18338 w 20000"/>
                  <a:gd name="T49" fmla="*/ 6918 h 20000"/>
                  <a:gd name="T50" fmla="*/ 16416 w 20000"/>
                  <a:gd name="T51" fmla="*/ 9180 h 20000"/>
                  <a:gd name="T52" fmla="*/ 16416 w 20000"/>
                  <a:gd name="T53" fmla="*/ 10998 h 20000"/>
                  <a:gd name="T54" fmla="*/ 15377 w 20000"/>
                  <a:gd name="T55" fmla="*/ 10998 h 20000"/>
                  <a:gd name="T56" fmla="*/ 14805 w 20000"/>
                  <a:gd name="T57" fmla="*/ 10998 h 20000"/>
                  <a:gd name="T58" fmla="*/ 12104 w 20000"/>
                  <a:gd name="T59" fmla="*/ 12860 h 20000"/>
                  <a:gd name="T60" fmla="*/ 10805 w 20000"/>
                  <a:gd name="T61" fmla="*/ 15166 h 20000"/>
                  <a:gd name="T62" fmla="*/ 9143 w 20000"/>
                  <a:gd name="T63" fmla="*/ 16984 h 20000"/>
                  <a:gd name="T64" fmla="*/ 9143 w 20000"/>
                  <a:gd name="T65" fmla="*/ 17428 h 20000"/>
                  <a:gd name="T66" fmla="*/ 7013 w 20000"/>
                  <a:gd name="T67" fmla="*/ 18803 h 20000"/>
                  <a:gd name="T68" fmla="*/ 4312 w 20000"/>
                  <a:gd name="T69" fmla="*/ 199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4312" y="19956"/>
                    </a:moveTo>
                    <a:lnTo>
                      <a:pt x="4000" y="19512"/>
                    </a:lnTo>
                    <a:lnTo>
                      <a:pt x="2961" y="19246"/>
                    </a:lnTo>
                    <a:lnTo>
                      <a:pt x="2961" y="18581"/>
                    </a:lnTo>
                    <a:lnTo>
                      <a:pt x="1870" y="18137"/>
                    </a:lnTo>
                    <a:lnTo>
                      <a:pt x="1870" y="17694"/>
                    </a:lnTo>
                    <a:lnTo>
                      <a:pt x="831" y="17694"/>
                    </a:lnTo>
                    <a:lnTo>
                      <a:pt x="0" y="17428"/>
                    </a:lnTo>
                    <a:lnTo>
                      <a:pt x="519" y="16541"/>
                    </a:lnTo>
                    <a:lnTo>
                      <a:pt x="0" y="16541"/>
                    </a:lnTo>
                    <a:lnTo>
                      <a:pt x="0" y="16275"/>
                    </a:lnTo>
                    <a:lnTo>
                      <a:pt x="831" y="16275"/>
                    </a:lnTo>
                    <a:lnTo>
                      <a:pt x="831" y="15610"/>
                    </a:lnTo>
                    <a:lnTo>
                      <a:pt x="1351" y="14723"/>
                    </a:lnTo>
                    <a:lnTo>
                      <a:pt x="2130" y="15166"/>
                    </a:lnTo>
                    <a:lnTo>
                      <a:pt x="1870" y="14457"/>
                    </a:lnTo>
                    <a:lnTo>
                      <a:pt x="2130" y="14457"/>
                    </a:lnTo>
                    <a:lnTo>
                      <a:pt x="2130" y="14013"/>
                    </a:lnTo>
                    <a:lnTo>
                      <a:pt x="2649" y="13792"/>
                    </a:lnTo>
                    <a:lnTo>
                      <a:pt x="2961" y="13792"/>
                    </a:lnTo>
                    <a:lnTo>
                      <a:pt x="2961" y="13348"/>
                    </a:lnTo>
                    <a:lnTo>
                      <a:pt x="4312" y="12860"/>
                    </a:lnTo>
                    <a:lnTo>
                      <a:pt x="5091" y="11707"/>
                    </a:lnTo>
                    <a:lnTo>
                      <a:pt x="5091" y="12195"/>
                    </a:lnTo>
                    <a:lnTo>
                      <a:pt x="5610" y="12195"/>
                    </a:lnTo>
                    <a:lnTo>
                      <a:pt x="5610" y="11486"/>
                    </a:lnTo>
                    <a:lnTo>
                      <a:pt x="6442" y="10820"/>
                    </a:lnTo>
                    <a:lnTo>
                      <a:pt x="7792" y="10820"/>
                    </a:lnTo>
                    <a:lnTo>
                      <a:pt x="9143" y="9889"/>
                    </a:lnTo>
                    <a:lnTo>
                      <a:pt x="11844" y="8514"/>
                    </a:lnTo>
                    <a:lnTo>
                      <a:pt x="13974" y="6918"/>
                    </a:lnTo>
                    <a:lnTo>
                      <a:pt x="15377" y="4834"/>
                    </a:lnTo>
                    <a:lnTo>
                      <a:pt x="15584" y="4169"/>
                    </a:lnTo>
                    <a:lnTo>
                      <a:pt x="16104" y="3725"/>
                    </a:lnTo>
                    <a:lnTo>
                      <a:pt x="16935" y="2572"/>
                    </a:lnTo>
                    <a:lnTo>
                      <a:pt x="17506" y="1197"/>
                    </a:lnTo>
                    <a:lnTo>
                      <a:pt x="18338" y="0"/>
                    </a:lnTo>
                    <a:lnTo>
                      <a:pt x="18857" y="266"/>
                    </a:lnTo>
                    <a:lnTo>
                      <a:pt x="18857" y="1197"/>
                    </a:lnTo>
                    <a:lnTo>
                      <a:pt x="18857" y="1375"/>
                    </a:lnTo>
                    <a:lnTo>
                      <a:pt x="18857" y="2084"/>
                    </a:lnTo>
                    <a:lnTo>
                      <a:pt x="18857" y="3016"/>
                    </a:lnTo>
                    <a:lnTo>
                      <a:pt x="18857" y="2572"/>
                    </a:lnTo>
                    <a:lnTo>
                      <a:pt x="19636" y="2084"/>
                    </a:lnTo>
                    <a:lnTo>
                      <a:pt x="19636" y="2572"/>
                    </a:lnTo>
                    <a:lnTo>
                      <a:pt x="19948" y="3016"/>
                    </a:lnTo>
                    <a:lnTo>
                      <a:pt x="19636" y="3193"/>
                    </a:lnTo>
                    <a:lnTo>
                      <a:pt x="19636" y="4390"/>
                    </a:lnTo>
                    <a:lnTo>
                      <a:pt x="19117" y="5543"/>
                    </a:lnTo>
                    <a:lnTo>
                      <a:pt x="18338" y="6918"/>
                    </a:lnTo>
                    <a:lnTo>
                      <a:pt x="17506" y="8071"/>
                    </a:lnTo>
                    <a:lnTo>
                      <a:pt x="16416" y="9180"/>
                    </a:lnTo>
                    <a:lnTo>
                      <a:pt x="16104" y="10333"/>
                    </a:lnTo>
                    <a:lnTo>
                      <a:pt x="16416" y="10998"/>
                    </a:lnTo>
                    <a:lnTo>
                      <a:pt x="15584" y="10820"/>
                    </a:lnTo>
                    <a:lnTo>
                      <a:pt x="15377" y="10998"/>
                    </a:lnTo>
                    <a:lnTo>
                      <a:pt x="14805" y="10820"/>
                    </a:lnTo>
                    <a:lnTo>
                      <a:pt x="14805" y="10998"/>
                    </a:lnTo>
                    <a:lnTo>
                      <a:pt x="13455" y="11707"/>
                    </a:lnTo>
                    <a:lnTo>
                      <a:pt x="12104" y="12860"/>
                    </a:lnTo>
                    <a:lnTo>
                      <a:pt x="11844" y="14457"/>
                    </a:lnTo>
                    <a:lnTo>
                      <a:pt x="10805" y="15166"/>
                    </a:lnTo>
                    <a:lnTo>
                      <a:pt x="9974" y="16275"/>
                    </a:lnTo>
                    <a:lnTo>
                      <a:pt x="9143" y="16984"/>
                    </a:lnTo>
                    <a:lnTo>
                      <a:pt x="9662" y="17428"/>
                    </a:lnTo>
                    <a:lnTo>
                      <a:pt x="9143" y="17428"/>
                    </a:lnTo>
                    <a:lnTo>
                      <a:pt x="8364" y="18137"/>
                    </a:lnTo>
                    <a:lnTo>
                      <a:pt x="7013" y="18803"/>
                    </a:lnTo>
                    <a:lnTo>
                      <a:pt x="6442" y="19512"/>
                    </a:lnTo>
                    <a:lnTo>
                      <a:pt x="4312" y="1995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8" name="Freeform 21"/>
              <p:cNvSpPr>
                <a:spLocks/>
              </p:cNvSpPr>
              <p:nvPr/>
            </p:nvSpPr>
            <p:spPr bwMode="auto">
              <a:xfrm>
                <a:off x="9658350" y="5662613"/>
                <a:ext cx="158750" cy="330200"/>
              </a:xfrm>
              <a:custGeom>
                <a:avLst/>
                <a:gdLst>
                  <a:gd name="T0" fmla="*/ 800 w 20000"/>
                  <a:gd name="T1" fmla="*/ 19961 h 20000"/>
                  <a:gd name="T2" fmla="*/ 800 w 20000"/>
                  <a:gd name="T3" fmla="*/ 18921 h 20000"/>
                  <a:gd name="T4" fmla="*/ 0 w 20000"/>
                  <a:gd name="T5" fmla="*/ 19345 h 20000"/>
                  <a:gd name="T6" fmla="*/ 0 w 20000"/>
                  <a:gd name="T7" fmla="*/ 18767 h 20000"/>
                  <a:gd name="T8" fmla="*/ 800 w 20000"/>
                  <a:gd name="T9" fmla="*/ 17958 h 20000"/>
                  <a:gd name="T10" fmla="*/ 2080 w 20000"/>
                  <a:gd name="T11" fmla="*/ 16339 h 20000"/>
                  <a:gd name="T12" fmla="*/ 2080 w 20000"/>
                  <a:gd name="T13" fmla="*/ 15145 h 20000"/>
                  <a:gd name="T14" fmla="*/ 1280 w 20000"/>
                  <a:gd name="T15" fmla="*/ 14566 h 20000"/>
                  <a:gd name="T16" fmla="*/ 800 w 20000"/>
                  <a:gd name="T17" fmla="*/ 13796 h 20000"/>
                  <a:gd name="T18" fmla="*/ 0 w 20000"/>
                  <a:gd name="T19" fmla="*/ 13179 h 20000"/>
                  <a:gd name="T20" fmla="*/ 800 w 20000"/>
                  <a:gd name="T21" fmla="*/ 12563 h 20000"/>
                  <a:gd name="T22" fmla="*/ 2080 w 20000"/>
                  <a:gd name="T23" fmla="*/ 12177 h 20000"/>
                  <a:gd name="T24" fmla="*/ 3280 w 20000"/>
                  <a:gd name="T25" fmla="*/ 10019 h 20000"/>
                  <a:gd name="T26" fmla="*/ 4080 w 20000"/>
                  <a:gd name="T27" fmla="*/ 10405 h 20000"/>
                  <a:gd name="T28" fmla="*/ 4080 w 20000"/>
                  <a:gd name="T29" fmla="*/ 8979 h 20000"/>
                  <a:gd name="T30" fmla="*/ 4080 w 20000"/>
                  <a:gd name="T31" fmla="*/ 7399 h 20000"/>
                  <a:gd name="T32" fmla="*/ 4560 w 20000"/>
                  <a:gd name="T33" fmla="*/ 7399 h 20000"/>
                  <a:gd name="T34" fmla="*/ 5360 w 20000"/>
                  <a:gd name="T35" fmla="*/ 6782 h 20000"/>
                  <a:gd name="T36" fmla="*/ 4080 w 20000"/>
                  <a:gd name="T37" fmla="*/ 6782 h 20000"/>
                  <a:gd name="T38" fmla="*/ 4080 w 20000"/>
                  <a:gd name="T39" fmla="*/ 5780 h 20000"/>
                  <a:gd name="T40" fmla="*/ 4080 w 20000"/>
                  <a:gd name="T41" fmla="*/ 5395 h 20000"/>
                  <a:gd name="T42" fmla="*/ 4560 w 20000"/>
                  <a:gd name="T43" fmla="*/ 5780 h 20000"/>
                  <a:gd name="T44" fmla="*/ 4560 w 20000"/>
                  <a:gd name="T45" fmla="*/ 5395 h 20000"/>
                  <a:gd name="T46" fmla="*/ 4560 w 20000"/>
                  <a:gd name="T47" fmla="*/ 4817 h 20000"/>
                  <a:gd name="T48" fmla="*/ 4080 w 20000"/>
                  <a:gd name="T49" fmla="*/ 4817 h 20000"/>
                  <a:gd name="T50" fmla="*/ 3280 w 20000"/>
                  <a:gd name="T51" fmla="*/ 5202 h 20000"/>
                  <a:gd name="T52" fmla="*/ 2480 w 20000"/>
                  <a:gd name="T53" fmla="*/ 1618 h 20000"/>
                  <a:gd name="T54" fmla="*/ 2080 w 20000"/>
                  <a:gd name="T55" fmla="*/ 0 h 20000"/>
                  <a:gd name="T56" fmla="*/ 2480 w 20000"/>
                  <a:gd name="T57" fmla="*/ 0 h 20000"/>
                  <a:gd name="T58" fmla="*/ 2480 w 20000"/>
                  <a:gd name="T59" fmla="*/ 424 h 20000"/>
                  <a:gd name="T60" fmla="*/ 2480 w 20000"/>
                  <a:gd name="T61" fmla="*/ 1040 h 20000"/>
                  <a:gd name="T62" fmla="*/ 3280 w 20000"/>
                  <a:gd name="T63" fmla="*/ 1195 h 20000"/>
                  <a:gd name="T64" fmla="*/ 4560 w 20000"/>
                  <a:gd name="T65" fmla="*/ 1618 h 20000"/>
                  <a:gd name="T66" fmla="*/ 5360 w 20000"/>
                  <a:gd name="T67" fmla="*/ 2235 h 20000"/>
                  <a:gd name="T68" fmla="*/ 6160 w 20000"/>
                  <a:gd name="T69" fmla="*/ 2235 h 20000"/>
                  <a:gd name="T70" fmla="*/ 6160 w 20000"/>
                  <a:gd name="T71" fmla="*/ 3622 h 20000"/>
                  <a:gd name="T72" fmla="*/ 5360 w 20000"/>
                  <a:gd name="T73" fmla="*/ 3815 h 20000"/>
                  <a:gd name="T74" fmla="*/ 6160 w 20000"/>
                  <a:gd name="T75" fmla="*/ 4586 h 20000"/>
                  <a:gd name="T76" fmla="*/ 6160 w 20000"/>
                  <a:gd name="T77" fmla="*/ 5395 h 20000"/>
                  <a:gd name="T78" fmla="*/ 6640 w 20000"/>
                  <a:gd name="T79" fmla="*/ 6397 h 20000"/>
                  <a:gd name="T80" fmla="*/ 7440 w 20000"/>
                  <a:gd name="T81" fmla="*/ 7399 h 20000"/>
                  <a:gd name="T82" fmla="*/ 8640 w 20000"/>
                  <a:gd name="T83" fmla="*/ 7399 h 20000"/>
                  <a:gd name="T84" fmla="*/ 9920 w 20000"/>
                  <a:gd name="T85" fmla="*/ 6166 h 20000"/>
                  <a:gd name="T86" fmla="*/ 9920 w 20000"/>
                  <a:gd name="T87" fmla="*/ 5780 h 20000"/>
                  <a:gd name="T88" fmla="*/ 9920 w 20000"/>
                  <a:gd name="T89" fmla="*/ 5202 h 20000"/>
                  <a:gd name="T90" fmla="*/ 12080 w 20000"/>
                  <a:gd name="T91" fmla="*/ 5202 h 20000"/>
                  <a:gd name="T92" fmla="*/ 12080 w 20000"/>
                  <a:gd name="T93" fmla="*/ 6166 h 20000"/>
                  <a:gd name="T94" fmla="*/ 14080 w 20000"/>
                  <a:gd name="T95" fmla="*/ 7206 h 20000"/>
                  <a:gd name="T96" fmla="*/ 16160 w 20000"/>
                  <a:gd name="T97" fmla="*/ 7206 h 20000"/>
                  <a:gd name="T98" fmla="*/ 18240 w 20000"/>
                  <a:gd name="T99" fmla="*/ 6166 h 20000"/>
                  <a:gd name="T100" fmla="*/ 19920 w 20000"/>
                  <a:gd name="T101" fmla="*/ 6166 h 20000"/>
                  <a:gd name="T102" fmla="*/ 19920 w 20000"/>
                  <a:gd name="T103" fmla="*/ 7206 h 20000"/>
                  <a:gd name="T104" fmla="*/ 18240 w 20000"/>
                  <a:gd name="T105" fmla="*/ 7977 h 20000"/>
                  <a:gd name="T106" fmla="*/ 12080 w 20000"/>
                  <a:gd name="T107" fmla="*/ 13796 h 20000"/>
                  <a:gd name="T108" fmla="*/ 7840 w 20000"/>
                  <a:gd name="T109" fmla="*/ 15761 h 20000"/>
                  <a:gd name="T110" fmla="*/ 5360 w 20000"/>
                  <a:gd name="T111" fmla="*/ 17148 h 20000"/>
                  <a:gd name="T112" fmla="*/ 3280 w 20000"/>
                  <a:gd name="T113" fmla="*/ 18382 h 20000"/>
                  <a:gd name="T114" fmla="*/ 800 w 20000"/>
                  <a:gd name="T115" fmla="*/ 1996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00" h="20000">
                    <a:moveTo>
                      <a:pt x="800" y="19961"/>
                    </a:moveTo>
                    <a:lnTo>
                      <a:pt x="800" y="18921"/>
                    </a:lnTo>
                    <a:lnTo>
                      <a:pt x="0" y="19345"/>
                    </a:lnTo>
                    <a:lnTo>
                      <a:pt x="0" y="18767"/>
                    </a:lnTo>
                    <a:lnTo>
                      <a:pt x="800" y="17958"/>
                    </a:lnTo>
                    <a:lnTo>
                      <a:pt x="2080" y="16339"/>
                    </a:lnTo>
                    <a:lnTo>
                      <a:pt x="2080" y="15145"/>
                    </a:lnTo>
                    <a:lnTo>
                      <a:pt x="1280" y="14566"/>
                    </a:lnTo>
                    <a:lnTo>
                      <a:pt x="800" y="13796"/>
                    </a:lnTo>
                    <a:lnTo>
                      <a:pt x="0" y="13179"/>
                    </a:lnTo>
                    <a:lnTo>
                      <a:pt x="800" y="12563"/>
                    </a:lnTo>
                    <a:lnTo>
                      <a:pt x="2080" y="12177"/>
                    </a:lnTo>
                    <a:lnTo>
                      <a:pt x="3280" y="10019"/>
                    </a:lnTo>
                    <a:lnTo>
                      <a:pt x="4080" y="10405"/>
                    </a:lnTo>
                    <a:lnTo>
                      <a:pt x="4080" y="8979"/>
                    </a:lnTo>
                    <a:lnTo>
                      <a:pt x="4080" y="7399"/>
                    </a:lnTo>
                    <a:lnTo>
                      <a:pt x="4560" y="7399"/>
                    </a:lnTo>
                    <a:lnTo>
                      <a:pt x="5360" y="6782"/>
                    </a:lnTo>
                    <a:lnTo>
                      <a:pt x="4080" y="6782"/>
                    </a:lnTo>
                    <a:lnTo>
                      <a:pt x="4080" y="5780"/>
                    </a:lnTo>
                    <a:lnTo>
                      <a:pt x="4080" y="5395"/>
                    </a:lnTo>
                    <a:lnTo>
                      <a:pt x="4560" y="5780"/>
                    </a:lnTo>
                    <a:lnTo>
                      <a:pt x="4560" y="5395"/>
                    </a:lnTo>
                    <a:lnTo>
                      <a:pt x="4560" y="4817"/>
                    </a:lnTo>
                    <a:lnTo>
                      <a:pt x="4080" y="4817"/>
                    </a:lnTo>
                    <a:lnTo>
                      <a:pt x="3280" y="5202"/>
                    </a:lnTo>
                    <a:lnTo>
                      <a:pt x="2480" y="1618"/>
                    </a:lnTo>
                    <a:lnTo>
                      <a:pt x="2080" y="0"/>
                    </a:lnTo>
                    <a:lnTo>
                      <a:pt x="2480" y="0"/>
                    </a:lnTo>
                    <a:lnTo>
                      <a:pt x="2480" y="424"/>
                    </a:lnTo>
                    <a:lnTo>
                      <a:pt x="2480" y="1040"/>
                    </a:lnTo>
                    <a:lnTo>
                      <a:pt x="3280" y="1195"/>
                    </a:lnTo>
                    <a:lnTo>
                      <a:pt x="4560" y="1618"/>
                    </a:lnTo>
                    <a:lnTo>
                      <a:pt x="5360" y="2235"/>
                    </a:lnTo>
                    <a:lnTo>
                      <a:pt x="6160" y="2235"/>
                    </a:lnTo>
                    <a:lnTo>
                      <a:pt x="6160" y="3622"/>
                    </a:lnTo>
                    <a:lnTo>
                      <a:pt x="5360" y="3815"/>
                    </a:lnTo>
                    <a:lnTo>
                      <a:pt x="6160" y="4586"/>
                    </a:lnTo>
                    <a:lnTo>
                      <a:pt x="6160" y="5395"/>
                    </a:lnTo>
                    <a:lnTo>
                      <a:pt x="6640" y="6397"/>
                    </a:lnTo>
                    <a:lnTo>
                      <a:pt x="7440" y="7399"/>
                    </a:lnTo>
                    <a:lnTo>
                      <a:pt x="8640" y="7399"/>
                    </a:lnTo>
                    <a:lnTo>
                      <a:pt x="9920" y="6166"/>
                    </a:lnTo>
                    <a:lnTo>
                      <a:pt x="9920" y="5780"/>
                    </a:lnTo>
                    <a:lnTo>
                      <a:pt x="9920" y="5202"/>
                    </a:lnTo>
                    <a:lnTo>
                      <a:pt x="12080" y="5202"/>
                    </a:lnTo>
                    <a:lnTo>
                      <a:pt x="12080" y="6166"/>
                    </a:lnTo>
                    <a:lnTo>
                      <a:pt x="14080" y="7206"/>
                    </a:lnTo>
                    <a:lnTo>
                      <a:pt x="16160" y="7206"/>
                    </a:lnTo>
                    <a:lnTo>
                      <a:pt x="18240" y="6166"/>
                    </a:lnTo>
                    <a:lnTo>
                      <a:pt x="19920" y="6166"/>
                    </a:lnTo>
                    <a:lnTo>
                      <a:pt x="19920" y="7206"/>
                    </a:lnTo>
                    <a:lnTo>
                      <a:pt x="18240" y="7977"/>
                    </a:lnTo>
                    <a:lnTo>
                      <a:pt x="12080" y="13796"/>
                    </a:lnTo>
                    <a:lnTo>
                      <a:pt x="7840" y="15761"/>
                    </a:lnTo>
                    <a:lnTo>
                      <a:pt x="5360" y="17148"/>
                    </a:lnTo>
                    <a:lnTo>
                      <a:pt x="3280" y="18382"/>
                    </a:lnTo>
                    <a:lnTo>
                      <a:pt x="800" y="1996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19" name="Freeform 20"/>
              <p:cNvSpPr>
                <a:spLocks/>
              </p:cNvSpPr>
              <p:nvPr/>
            </p:nvSpPr>
            <p:spPr bwMode="auto">
              <a:xfrm>
                <a:off x="8974138" y="4549775"/>
                <a:ext cx="269875" cy="236538"/>
              </a:xfrm>
              <a:custGeom>
                <a:avLst/>
                <a:gdLst>
                  <a:gd name="T0" fmla="*/ 0 w 20000"/>
                  <a:gd name="T1" fmla="*/ 16086 h 20000"/>
                  <a:gd name="T2" fmla="*/ 282 w 20000"/>
                  <a:gd name="T3" fmla="*/ 0 h 20000"/>
                  <a:gd name="T4" fmla="*/ 2207 w 20000"/>
                  <a:gd name="T5" fmla="*/ 858 h 20000"/>
                  <a:gd name="T6" fmla="*/ 5117 w 20000"/>
                  <a:gd name="T7" fmla="*/ 1662 h 20000"/>
                  <a:gd name="T8" fmla="*/ 6620 w 20000"/>
                  <a:gd name="T9" fmla="*/ 2520 h 20000"/>
                  <a:gd name="T10" fmla="*/ 7089 w 20000"/>
                  <a:gd name="T11" fmla="*/ 2520 h 20000"/>
                  <a:gd name="T12" fmla="*/ 8545 w 20000"/>
                  <a:gd name="T13" fmla="*/ 3861 h 20000"/>
                  <a:gd name="T14" fmla="*/ 9249 w 20000"/>
                  <a:gd name="T15" fmla="*/ 3861 h 20000"/>
                  <a:gd name="T16" fmla="*/ 10282 w 20000"/>
                  <a:gd name="T17" fmla="*/ 4718 h 20000"/>
                  <a:gd name="T18" fmla="*/ 10282 w 20000"/>
                  <a:gd name="T19" fmla="*/ 6649 h 20000"/>
                  <a:gd name="T20" fmla="*/ 13662 w 20000"/>
                  <a:gd name="T21" fmla="*/ 7989 h 20000"/>
                  <a:gd name="T22" fmla="*/ 14413 w 20000"/>
                  <a:gd name="T23" fmla="*/ 9651 h 20000"/>
                  <a:gd name="T24" fmla="*/ 12394 w 20000"/>
                  <a:gd name="T25" fmla="*/ 10295 h 20000"/>
                  <a:gd name="T26" fmla="*/ 13146 w 20000"/>
                  <a:gd name="T27" fmla="*/ 11903 h 20000"/>
                  <a:gd name="T28" fmla="*/ 14883 w 20000"/>
                  <a:gd name="T29" fmla="*/ 13298 h 20000"/>
                  <a:gd name="T30" fmla="*/ 15352 w 20000"/>
                  <a:gd name="T31" fmla="*/ 13834 h 20000"/>
                  <a:gd name="T32" fmla="*/ 15587 w 20000"/>
                  <a:gd name="T33" fmla="*/ 14692 h 20000"/>
                  <a:gd name="T34" fmla="*/ 15587 w 20000"/>
                  <a:gd name="T35" fmla="*/ 16086 h 20000"/>
                  <a:gd name="T36" fmla="*/ 17277 w 20000"/>
                  <a:gd name="T37" fmla="*/ 16086 h 20000"/>
                  <a:gd name="T38" fmla="*/ 17559 w 20000"/>
                  <a:gd name="T39" fmla="*/ 16354 h 20000"/>
                  <a:gd name="T40" fmla="*/ 17277 w 20000"/>
                  <a:gd name="T41" fmla="*/ 16890 h 20000"/>
                  <a:gd name="T42" fmla="*/ 18732 w 20000"/>
                  <a:gd name="T43" fmla="*/ 17426 h 20000"/>
                  <a:gd name="T44" fmla="*/ 18263 w 20000"/>
                  <a:gd name="T45" fmla="*/ 18284 h 20000"/>
                  <a:gd name="T46" fmla="*/ 19202 w 20000"/>
                  <a:gd name="T47" fmla="*/ 18820 h 20000"/>
                  <a:gd name="T48" fmla="*/ 19953 w 20000"/>
                  <a:gd name="T49" fmla="*/ 19088 h 20000"/>
                  <a:gd name="T50" fmla="*/ 19202 w 20000"/>
                  <a:gd name="T51" fmla="*/ 19625 h 20000"/>
                  <a:gd name="T52" fmla="*/ 19953 w 20000"/>
                  <a:gd name="T53" fmla="*/ 19625 h 20000"/>
                  <a:gd name="T54" fmla="*/ 19953 w 20000"/>
                  <a:gd name="T55" fmla="*/ 19946 h 20000"/>
                  <a:gd name="T56" fmla="*/ 18732 w 20000"/>
                  <a:gd name="T57" fmla="*/ 19946 h 20000"/>
                  <a:gd name="T58" fmla="*/ 18732 w 20000"/>
                  <a:gd name="T59" fmla="*/ 19625 h 20000"/>
                  <a:gd name="T60" fmla="*/ 15352 w 20000"/>
                  <a:gd name="T61" fmla="*/ 18820 h 20000"/>
                  <a:gd name="T62" fmla="*/ 14413 w 20000"/>
                  <a:gd name="T63" fmla="*/ 18820 h 20000"/>
                  <a:gd name="T64" fmla="*/ 12394 w 20000"/>
                  <a:gd name="T65" fmla="*/ 16890 h 20000"/>
                  <a:gd name="T66" fmla="*/ 12207 w 20000"/>
                  <a:gd name="T67" fmla="*/ 16086 h 20000"/>
                  <a:gd name="T68" fmla="*/ 11690 w 20000"/>
                  <a:gd name="T69" fmla="*/ 16086 h 20000"/>
                  <a:gd name="T70" fmla="*/ 11221 w 20000"/>
                  <a:gd name="T71" fmla="*/ 15228 h 20000"/>
                  <a:gd name="T72" fmla="*/ 10282 w 20000"/>
                  <a:gd name="T73" fmla="*/ 13029 h 20000"/>
                  <a:gd name="T74" fmla="*/ 9718 w 20000"/>
                  <a:gd name="T75" fmla="*/ 13029 h 20000"/>
                  <a:gd name="T76" fmla="*/ 9249 w 20000"/>
                  <a:gd name="T77" fmla="*/ 13029 h 20000"/>
                  <a:gd name="T78" fmla="*/ 8075 w 20000"/>
                  <a:gd name="T79" fmla="*/ 13029 h 20000"/>
                  <a:gd name="T80" fmla="*/ 7793 w 20000"/>
                  <a:gd name="T81" fmla="*/ 11903 h 20000"/>
                  <a:gd name="T82" fmla="*/ 7324 w 20000"/>
                  <a:gd name="T83" fmla="*/ 11903 h 20000"/>
                  <a:gd name="T84" fmla="*/ 7089 w 20000"/>
                  <a:gd name="T85" fmla="*/ 12493 h 20000"/>
                  <a:gd name="T86" fmla="*/ 6620 w 20000"/>
                  <a:gd name="T87" fmla="*/ 12493 h 20000"/>
                  <a:gd name="T88" fmla="*/ 5869 w 20000"/>
                  <a:gd name="T89" fmla="*/ 11903 h 20000"/>
                  <a:gd name="T90" fmla="*/ 6103 w 20000"/>
                  <a:gd name="T91" fmla="*/ 13298 h 20000"/>
                  <a:gd name="T92" fmla="*/ 5399 w 20000"/>
                  <a:gd name="T93" fmla="*/ 13298 h 20000"/>
                  <a:gd name="T94" fmla="*/ 5399 w 20000"/>
                  <a:gd name="T95" fmla="*/ 13834 h 20000"/>
                  <a:gd name="T96" fmla="*/ 3474 w 20000"/>
                  <a:gd name="T97" fmla="*/ 13834 h 20000"/>
                  <a:gd name="T98" fmla="*/ 4131 w 20000"/>
                  <a:gd name="T99" fmla="*/ 14155 h 20000"/>
                  <a:gd name="T100" fmla="*/ 5117 w 20000"/>
                  <a:gd name="T101" fmla="*/ 15496 h 20000"/>
                  <a:gd name="T102" fmla="*/ 3474 w 20000"/>
                  <a:gd name="T103" fmla="*/ 16354 h 20000"/>
                  <a:gd name="T104" fmla="*/ 0 w 20000"/>
                  <a:gd name="T105" fmla="*/ 1608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0" y="16086"/>
                    </a:moveTo>
                    <a:lnTo>
                      <a:pt x="282" y="0"/>
                    </a:lnTo>
                    <a:lnTo>
                      <a:pt x="2207" y="858"/>
                    </a:lnTo>
                    <a:lnTo>
                      <a:pt x="5117" y="1662"/>
                    </a:lnTo>
                    <a:lnTo>
                      <a:pt x="6620" y="2520"/>
                    </a:lnTo>
                    <a:lnTo>
                      <a:pt x="7089" y="2520"/>
                    </a:lnTo>
                    <a:lnTo>
                      <a:pt x="8545" y="3861"/>
                    </a:lnTo>
                    <a:lnTo>
                      <a:pt x="9249" y="3861"/>
                    </a:lnTo>
                    <a:lnTo>
                      <a:pt x="10282" y="4718"/>
                    </a:lnTo>
                    <a:lnTo>
                      <a:pt x="10282" y="6649"/>
                    </a:lnTo>
                    <a:lnTo>
                      <a:pt x="13662" y="7989"/>
                    </a:lnTo>
                    <a:lnTo>
                      <a:pt x="14413" y="9651"/>
                    </a:lnTo>
                    <a:lnTo>
                      <a:pt x="12394" y="10295"/>
                    </a:lnTo>
                    <a:lnTo>
                      <a:pt x="13146" y="11903"/>
                    </a:lnTo>
                    <a:lnTo>
                      <a:pt x="14883" y="13298"/>
                    </a:lnTo>
                    <a:lnTo>
                      <a:pt x="15352" y="13834"/>
                    </a:lnTo>
                    <a:lnTo>
                      <a:pt x="15587" y="14692"/>
                    </a:lnTo>
                    <a:lnTo>
                      <a:pt x="15587" y="16086"/>
                    </a:lnTo>
                    <a:lnTo>
                      <a:pt x="17277" y="16086"/>
                    </a:lnTo>
                    <a:lnTo>
                      <a:pt x="17559" y="16354"/>
                    </a:lnTo>
                    <a:lnTo>
                      <a:pt x="17277" y="16890"/>
                    </a:lnTo>
                    <a:lnTo>
                      <a:pt x="18732" y="17426"/>
                    </a:lnTo>
                    <a:lnTo>
                      <a:pt x="18263" y="18284"/>
                    </a:lnTo>
                    <a:lnTo>
                      <a:pt x="19202" y="18820"/>
                    </a:lnTo>
                    <a:lnTo>
                      <a:pt x="19953" y="19088"/>
                    </a:lnTo>
                    <a:lnTo>
                      <a:pt x="19202" y="19625"/>
                    </a:lnTo>
                    <a:lnTo>
                      <a:pt x="19953" y="19625"/>
                    </a:lnTo>
                    <a:lnTo>
                      <a:pt x="19953" y="19946"/>
                    </a:lnTo>
                    <a:lnTo>
                      <a:pt x="18732" y="19946"/>
                    </a:lnTo>
                    <a:lnTo>
                      <a:pt x="18732" y="19625"/>
                    </a:lnTo>
                    <a:lnTo>
                      <a:pt x="15352" y="18820"/>
                    </a:lnTo>
                    <a:lnTo>
                      <a:pt x="14413" y="18820"/>
                    </a:lnTo>
                    <a:lnTo>
                      <a:pt x="12394" y="16890"/>
                    </a:lnTo>
                    <a:lnTo>
                      <a:pt x="12207" y="16086"/>
                    </a:lnTo>
                    <a:lnTo>
                      <a:pt x="11690" y="16086"/>
                    </a:lnTo>
                    <a:lnTo>
                      <a:pt x="11221" y="15228"/>
                    </a:lnTo>
                    <a:lnTo>
                      <a:pt x="10282" y="13029"/>
                    </a:lnTo>
                    <a:lnTo>
                      <a:pt x="9718" y="13029"/>
                    </a:lnTo>
                    <a:lnTo>
                      <a:pt x="9249" y="13029"/>
                    </a:lnTo>
                    <a:lnTo>
                      <a:pt x="8075" y="13029"/>
                    </a:lnTo>
                    <a:lnTo>
                      <a:pt x="7793" y="11903"/>
                    </a:lnTo>
                    <a:lnTo>
                      <a:pt x="7324" y="11903"/>
                    </a:lnTo>
                    <a:lnTo>
                      <a:pt x="7089" y="12493"/>
                    </a:lnTo>
                    <a:lnTo>
                      <a:pt x="6620" y="12493"/>
                    </a:lnTo>
                    <a:lnTo>
                      <a:pt x="5869" y="11903"/>
                    </a:lnTo>
                    <a:lnTo>
                      <a:pt x="6103" y="13298"/>
                    </a:lnTo>
                    <a:lnTo>
                      <a:pt x="5399" y="13298"/>
                    </a:lnTo>
                    <a:lnTo>
                      <a:pt x="5399" y="13834"/>
                    </a:lnTo>
                    <a:lnTo>
                      <a:pt x="3474" y="13834"/>
                    </a:lnTo>
                    <a:lnTo>
                      <a:pt x="4131" y="14155"/>
                    </a:lnTo>
                    <a:lnTo>
                      <a:pt x="5117" y="15496"/>
                    </a:lnTo>
                    <a:lnTo>
                      <a:pt x="3474" y="16354"/>
                    </a:lnTo>
                    <a:lnTo>
                      <a:pt x="0" y="160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0" name="Freeform 19"/>
              <p:cNvSpPr>
                <a:spLocks/>
              </p:cNvSpPr>
              <p:nvPr/>
            </p:nvSpPr>
            <p:spPr bwMode="auto">
              <a:xfrm>
                <a:off x="9185275" y="4592638"/>
                <a:ext cx="119063" cy="63500"/>
              </a:xfrm>
              <a:custGeom>
                <a:avLst/>
                <a:gdLst>
                  <a:gd name="T0" fmla="*/ 9840 w 20000"/>
                  <a:gd name="T1" fmla="*/ 19798 h 20000"/>
                  <a:gd name="T2" fmla="*/ 6096 w 20000"/>
                  <a:gd name="T3" fmla="*/ 19798 h 20000"/>
                  <a:gd name="T4" fmla="*/ 5455 w 20000"/>
                  <a:gd name="T5" fmla="*/ 17778 h 20000"/>
                  <a:gd name="T6" fmla="*/ 3850 w 20000"/>
                  <a:gd name="T7" fmla="*/ 17778 h 20000"/>
                  <a:gd name="T8" fmla="*/ 1711 w 20000"/>
                  <a:gd name="T9" fmla="*/ 16566 h 20000"/>
                  <a:gd name="T10" fmla="*/ 0 w 20000"/>
                  <a:gd name="T11" fmla="*/ 14545 h 20000"/>
                  <a:gd name="T12" fmla="*/ 0 w 20000"/>
                  <a:gd name="T13" fmla="*/ 11515 h 20000"/>
                  <a:gd name="T14" fmla="*/ 1070 w 20000"/>
                  <a:gd name="T15" fmla="*/ 12525 h 20000"/>
                  <a:gd name="T16" fmla="*/ 2781 w 20000"/>
                  <a:gd name="T17" fmla="*/ 11515 h 20000"/>
                  <a:gd name="T18" fmla="*/ 4385 w 20000"/>
                  <a:gd name="T19" fmla="*/ 12525 h 20000"/>
                  <a:gd name="T20" fmla="*/ 7166 w 20000"/>
                  <a:gd name="T21" fmla="*/ 11515 h 20000"/>
                  <a:gd name="T22" fmla="*/ 8235 w 20000"/>
                  <a:gd name="T23" fmla="*/ 8283 h 20000"/>
                  <a:gd name="T24" fmla="*/ 8770 w 20000"/>
                  <a:gd name="T25" fmla="*/ 12525 h 20000"/>
                  <a:gd name="T26" fmla="*/ 9840 w 20000"/>
                  <a:gd name="T27" fmla="*/ 11515 h 20000"/>
                  <a:gd name="T28" fmla="*/ 11123 w 20000"/>
                  <a:gd name="T29" fmla="*/ 12525 h 20000"/>
                  <a:gd name="T30" fmla="*/ 12727 w 20000"/>
                  <a:gd name="T31" fmla="*/ 11515 h 20000"/>
                  <a:gd name="T32" fmla="*/ 13262 w 20000"/>
                  <a:gd name="T33" fmla="*/ 8283 h 20000"/>
                  <a:gd name="T34" fmla="*/ 15508 w 20000"/>
                  <a:gd name="T35" fmla="*/ 8283 h 20000"/>
                  <a:gd name="T36" fmla="*/ 16043 w 20000"/>
                  <a:gd name="T37" fmla="*/ 6263 h 20000"/>
                  <a:gd name="T38" fmla="*/ 15508 w 20000"/>
                  <a:gd name="T39" fmla="*/ 1212 h 20000"/>
                  <a:gd name="T40" fmla="*/ 18824 w 20000"/>
                  <a:gd name="T41" fmla="*/ 0 h 20000"/>
                  <a:gd name="T42" fmla="*/ 19893 w 20000"/>
                  <a:gd name="T43" fmla="*/ 1212 h 20000"/>
                  <a:gd name="T44" fmla="*/ 19893 w 20000"/>
                  <a:gd name="T45" fmla="*/ 6263 h 20000"/>
                  <a:gd name="T46" fmla="*/ 18182 w 20000"/>
                  <a:gd name="T47" fmla="*/ 8283 h 20000"/>
                  <a:gd name="T48" fmla="*/ 18182 w 20000"/>
                  <a:gd name="T49" fmla="*/ 11515 h 20000"/>
                  <a:gd name="T50" fmla="*/ 16043 w 20000"/>
                  <a:gd name="T51" fmla="*/ 12525 h 20000"/>
                  <a:gd name="T52" fmla="*/ 15508 w 20000"/>
                  <a:gd name="T53" fmla="*/ 12525 h 20000"/>
                  <a:gd name="T54" fmla="*/ 14439 w 20000"/>
                  <a:gd name="T55" fmla="*/ 14545 h 20000"/>
                  <a:gd name="T56" fmla="*/ 9840 w 20000"/>
                  <a:gd name="T57" fmla="*/ 197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9840" y="19798"/>
                    </a:moveTo>
                    <a:lnTo>
                      <a:pt x="6096" y="19798"/>
                    </a:lnTo>
                    <a:lnTo>
                      <a:pt x="5455" y="17778"/>
                    </a:lnTo>
                    <a:lnTo>
                      <a:pt x="3850" y="17778"/>
                    </a:lnTo>
                    <a:lnTo>
                      <a:pt x="1711" y="16566"/>
                    </a:lnTo>
                    <a:lnTo>
                      <a:pt x="0" y="14545"/>
                    </a:lnTo>
                    <a:lnTo>
                      <a:pt x="0" y="11515"/>
                    </a:lnTo>
                    <a:lnTo>
                      <a:pt x="1070" y="12525"/>
                    </a:lnTo>
                    <a:lnTo>
                      <a:pt x="2781" y="11515"/>
                    </a:lnTo>
                    <a:lnTo>
                      <a:pt x="4385" y="12525"/>
                    </a:lnTo>
                    <a:lnTo>
                      <a:pt x="7166" y="11515"/>
                    </a:lnTo>
                    <a:lnTo>
                      <a:pt x="8235" y="8283"/>
                    </a:lnTo>
                    <a:lnTo>
                      <a:pt x="8770" y="12525"/>
                    </a:lnTo>
                    <a:lnTo>
                      <a:pt x="9840" y="11515"/>
                    </a:lnTo>
                    <a:lnTo>
                      <a:pt x="11123" y="12525"/>
                    </a:lnTo>
                    <a:lnTo>
                      <a:pt x="12727" y="11515"/>
                    </a:lnTo>
                    <a:lnTo>
                      <a:pt x="13262" y="8283"/>
                    </a:lnTo>
                    <a:lnTo>
                      <a:pt x="15508" y="8283"/>
                    </a:lnTo>
                    <a:lnTo>
                      <a:pt x="16043" y="6263"/>
                    </a:lnTo>
                    <a:lnTo>
                      <a:pt x="15508" y="1212"/>
                    </a:lnTo>
                    <a:lnTo>
                      <a:pt x="18824" y="0"/>
                    </a:lnTo>
                    <a:lnTo>
                      <a:pt x="19893" y="1212"/>
                    </a:lnTo>
                    <a:lnTo>
                      <a:pt x="19893" y="6263"/>
                    </a:lnTo>
                    <a:lnTo>
                      <a:pt x="18182" y="8283"/>
                    </a:lnTo>
                    <a:lnTo>
                      <a:pt x="18182" y="11515"/>
                    </a:lnTo>
                    <a:lnTo>
                      <a:pt x="16043" y="12525"/>
                    </a:lnTo>
                    <a:lnTo>
                      <a:pt x="15508" y="12525"/>
                    </a:lnTo>
                    <a:lnTo>
                      <a:pt x="14439" y="14545"/>
                    </a:lnTo>
                    <a:lnTo>
                      <a:pt x="9840" y="1979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1" name="Freeform 18"/>
              <p:cNvSpPr>
                <a:spLocks/>
              </p:cNvSpPr>
              <p:nvPr/>
            </p:nvSpPr>
            <p:spPr bwMode="auto">
              <a:xfrm>
                <a:off x="9255125" y="4543425"/>
                <a:ext cx="66675" cy="69850"/>
              </a:xfrm>
              <a:custGeom>
                <a:avLst/>
                <a:gdLst>
                  <a:gd name="T0" fmla="*/ 17905 w 20000"/>
                  <a:gd name="T1" fmla="*/ 19818 h 20000"/>
                  <a:gd name="T2" fmla="*/ 17905 w 20000"/>
                  <a:gd name="T3" fmla="*/ 16909 h 20000"/>
                  <a:gd name="T4" fmla="*/ 16000 w 20000"/>
                  <a:gd name="T5" fmla="*/ 12364 h 20000"/>
                  <a:gd name="T6" fmla="*/ 12000 w 20000"/>
                  <a:gd name="T7" fmla="*/ 7636 h 20000"/>
                  <a:gd name="T8" fmla="*/ 3048 w 20000"/>
                  <a:gd name="T9" fmla="*/ 2909 h 20000"/>
                  <a:gd name="T10" fmla="*/ 0 w 20000"/>
                  <a:gd name="T11" fmla="*/ 2000 h 20000"/>
                  <a:gd name="T12" fmla="*/ 0 w 20000"/>
                  <a:gd name="T13" fmla="*/ 0 h 20000"/>
                  <a:gd name="T14" fmla="*/ 12952 w 20000"/>
                  <a:gd name="T15" fmla="*/ 5636 h 20000"/>
                  <a:gd name="T16" fmla="*/ 17905 w 20000"/>
                  <a:gd name="T17" fmla="*/ 10545 h 20000"/>
                  <a:gd name="T18" fmla="*/ 17905 w 20000"/>
                  <a:gd name="T19" fmla="*/ 12364 h 20000"/>
                  <a:gd name="T20" fmla="*/ 19810 w 20000"/>
                  <a:gd name="T21" fmla="*/ 16909 h 20000"/>
                  <a:gd name="T22" fmla="*/ 17905 w 20000"/>
                  <a:gd name="T23" fmla="*/ 198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7905" y="19818"/>
                    </a:moveTo>
                    <a:lnTo>
                      <a:pt x="17905" y="16909"/>
                    </a:lnTo>
                    <a:lnTo>
                      <a:pt x="16000" y="12364"/>
                    </a:lnTo>
                    <a:lnTo>
                      <a:pt x="12000" y="7636"/>
                    </a:lnTo>
                    <a:lnTo>
                      <a:pt x="3048" y="2909"/>
                    </a:lnTo>
                    <a:lnTo>
                      <a:pt x="0" y="2000"/>
                    </a:lnTo>
                    <a:lnTo>
                      <a:pt x="0" y="0"/>
                    </a:lnTo>
                    <a:lnTo>
                      <a:pt x="12952" y="5636"/>
                    </a:lnTo>
                    <a:lnTo>
                      <a:pt x="17905" y="10545"/>
                    </a:lnTo>
                    <a:lnTo>
                      <a:pt x="17905" y="12364"/>
                    </a:lnTo>
                    <a:lnTo>
                      <a:pt x="19810" y="16909"/>
                    </a:lnTo>
                    <a:lnTo>
                      <a:pt x="17905" y="1981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2" name="Freeform 17"/>
              <p:cNvSpPr>
                <a:spLocks/>
              </p:cNvSpPr>
              <p:nvPr/>
            </p:nvSpPr>
            <p:spPr bwMode="auto">
              <a:xfrm>
                <a:off x="9363075" y="4618038"/>
                <a:ext cx="36513" cy="53975"/>
              </a:xfrm>
              <a:custGeom>
                <a:avLst/>
                <a:gdLst>
                  <a:gd name="T0" fmla="*/ 19655 w 20000"/>
                  <a:gd name="T1" fmla="*/ 19765 h 20000"/>
                  <a:gd name="T2" fmla="*/ 10690 w 20000"/>
                  <a:gd name="T3" fmla="*/ 19765 h 20000"/>
                  <a:gd name="T4" fmla="*/ 6897 w 20000"/>
                  <a:gd name="T5" fmla="*/ 13412 h 20000"/>
                  <a:gd name="T6" fmla="*/ 1379 w 20000"/>
                  <a:gd name="T7" fmla="*/ 11059 h 20000"/>
                  <a:gd name="T8" fmla="*/ 1379 w 20000"/>
                  <a:gd name="T9" fmla="*/ 4941 h 20000"/>
                  <a:gd name="T10" fmla="*/ 0 w 20000"/>
                  <a:gd name="T11" fmla="*/ 3765 h 20000"/>
                  <a:gd name="T12" fmla="*/ 0 w 20000"/>
                  <a:gd name="T13" fmla="*/ 0 h 20000"/>
                  <a:gd name="T14" fmla="*/ 1379 w 20000"/>
                  <a:gd name="T15" fmla="*/ 3765 h 20000"/>
                  <a:gd name="T16" fmla="*/ 5517 w 20000"/>
                  <a:gd name="T17" fmla="*/ 4941 h 20000"/>
                  <a:gd name="T18" fmla="*/ 10690 w 20000"/>
                  <a:gd name="T19" fmla="*/ 7294 h 20000"/>
                  <a:gd name="T20" fmla="*/ 14138 w 20000"/>
                  <a:gd name="T21" fmla="*/ 11059 h 20000"/>
                  <a:gd name="T22" fmla="*/ 15862 w 20000"/>
                  <a:gd name="T23" fmla="*/ 13412 h 20000"/>
                  <a:gd name="T24" fmla="*/ 19655 w 20000"/>
                  <a:gd name="T25" fmla="*/ 17176 h 20000"/>
                  <a:gd name="T26" fmla="*/ 19655 w 20000"/>
                  <a:gd name="T27" fmla="*/ 19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19655" y="19765"/>
                    </a:moveTo>
                    <a:lnTo>
                      <a:pt x="10690" y="19765"/>
                    </a:lnTo>
                    <a:lnTo>
                      <a:pt x="6897" y="13412"/>
                    </a:lnTo>
                    <a:lnTo>
                      <a:pt x="1379" y="11059"/>
                    </a:lnTo>
                    <a:lnTo>
                      <a:pt x="1379" y="4941"/>
                    </a:lnTo>
                    <a:lnTo>
                      <a:pt x="0" y="3765"/>
                    </a:lnTo>
                    <a:lnTo>
                      <a:pt x="0" y="0"/>
                    </a:lnTo>
                    <a:lnTo>
                      <a:pt x="1379" y="3765"/>
                    </a:lnTo>
                    <a:lnTo>
                      <a:pt x="5517" y="4941"/>
                    </a:lnTo>
                    <a:lnTo>
                      <a:pt x="10690" y="7294"/>
                    </a:lnTo>
                    <a:lnTo>
                      <a:pt x="14138" y="11059"/>
                    </a:lnTo>
                    <a:lnTo>
                      <a:pt x="15862" y="13412"/>
                    </a:lnTo>
                    <a:lnTo>
                      <a:pt x="19655" y="17176"/>
                    </a:lnTo>
                    <a:lnTo>
                      <a:pt x="19655" y="19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3" name="Freeform 16"/>
              <p:cNvSpPr>
                <a:spLocks/>
              </p:cNvSpPr>
              <p:nvPr/>
            </p:nvSpPr>
            <p:spPr bwMode="auto">
              <a:xfrm>
                <a:off x="9531350" y="4718050"/>
                <a:ext cx="23813" cy="49213"/>
              </a:xfrm>
              <a:custGeom>
                <a:avLst/>
                <a:gdLst>
                  <a:gd name="T0" fmla="*/ 19459 w 20000"/>
                  <a:gd name="T1" fmla="*/ 19744 h 20000"/>
                  <a:gd name="T2" fmla="*/ 14054 w 20000"/>
                  <a:gd name="T3" fmla="*/ 13077 h 20000"/>
                  <a:gd name="T4" fmla="*/ 0 w 20000"/>
                  <a:gd name="T5" fmla="*/ 9231 h 20000"/>
                  <a:gd name="T6" fmla="*/ 0 w 20000"/>
                  <a:gd name="T7" fmla="*/ 0 h 20000"/>
                  <a:gd name="T8" fmla="*/ 5405 w 20000"/>
                  <a:gd name="T9" fmla="*/ 0 h 20000"/>
                  <a:gd name="T10" fmla="*/ 8649 w 20000"/>
                  <a:gd name="T11" fmla="*/ 5128 h 20000"/>
                  <a:gd name="T12" fmla="*/ 14054 w 20000"/>
                  <a:gd name="T13" fmla="*/ 6667 h 20000"/>
                  <a:gd name="T14" fmla="*/ 19459 w 20000"/>
                  <a:gd name="T15" fmla="*/ 13077 h 20000"/>
                  <a:gd name="T16" fmla="*/ 19459 w 20000"/>
                  <a:gd name="T17" fmla="*/ 1974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9459" y="19744"/>
                    </a:moveTo>
                    <a:lnTo>
                      <a:pt x="14054" y="13077"/>
                    </a:lnTo>
                    <a:lnTo>
                      <a:pt x="0" y="9231"/>
                    </a:lnTo>
                    <a:lnTo>
                      <a:pt x="0" y="0"/>
                    </a:lnTo>
                    <a:lnTo>
                      <a:pt x="5405" y="0"/>
                    </a:lnTo>
                    <a:lnTo>
                      <a:pt x="8649" y="5128"/>
                    </a:lnTo>
                    <a:lnTo>
                      <a:pt x="14054" y="6667"/>
                    </a:lnTo>
                    <a:lnTo>
                      <a:pt x="19459" y="13077"/>
                    </a:lnTo>
                    <a:lnTo>
                      <a:pt x="19459" y="1974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4" name="Freeform 15"/>
              <p:cNvSpPr>
                <a:spLocks/>
              </p:cNvSpPr>
              <p:nvPr/>
            </p:nvSpPr>
            <p:spPr bwMode="auto">
              <a:xfrm>
                <a:off x="9471025" y="4697413"/>
                <a:ext cx="41275" cy="26987"/>
              </a:xfrm>
              <a:custGeom>
                <a:avLst/>
                <a:gdLst>
                  <a:gd name="T0" fmla="*/ 19688 w 20000"/>
                  <a:gd name="T1" fmla="*/ 19524 h 20000"/>
                  <a:gd name="T2" fmla="*/ 14688 w 20000"/>
                  <a:gd name="T3" fmla="*/ 14762 h 20000"/>
                  <a:gd name="T4" fmla="*/ 6563 w 20000"/>
                  <a:gd name="T5" fmla="*/ 7143 h 20000"/>
                  <a:gd name="T6" fmla="*/ 0 w 20000"/>
                  <a:gd name="T7" fmla="*/ 0 h 20000"/>
                  <a:gd name="T8" fmla="*/ 3125 w 20000"/>
                  <a:gd name="T9" fmla="*/ 0 h 20000"/>
                  <a:gd name="T10" fmla="*/ 8125 w 20000"/>
                  <a:gd name="T11" fmla="*/ 4762 h 20000"/>
                  <a:gd name="T12" fmla="*/ 14688 w 20000"/>
                  <a:gd name="T13" fmla="*/ 4762 h 20000"/>
                  <a:gd name="T14" fmla="*/ 19688 w 20000"/>
                  <a:gd name="T15" fmla="*/ 19524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688" y="19524"/>
                    </a:moveTo>
                    <a:lnTo>
                      <a:pt x="14688" y="14762"/>
                    </a:lnTo>
                    <a:lnTo>
                      <a:pt x="6563" y="7143"/>
                    </a:lnTo>
                    <a:lnTo>
                      <a:pt x="0" y="0"/>
                    </a:lnTo>
                    <a:lnTo>
                      <a:pt x="3125" y="0"/>
                    </a:lnTo>
                    <a:lnTo>
                      <a:pt x="8125" y="4762"/>
                    </a:lnTo>
                    <a:lnTo>
                      <a:pt x="14688" y="4762"/>
                    </a:lnTo>
                    <a:lnTo>
                      <a:pt x="19688"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5" name="Freeform 14"/>
              <p:cNvSpPr>
                <a:spLocks/>
              </p:cNvSpPr>
              <p:nvPr/>
            </p:nvSpPr>
            <p:spPr bwMode="auto">
              <a:xfrm>
                <a:off x="9501188" y="4749800"/>
                <a:ext cx="30162" cy="11113"/>
              </a:xfrm>
              <a:custGeom>
                <a:avLst/>
                <a:gdLst>
                  <a:gd name="T0" fmla="*/ 19583 w 20000"/>
                  <a:gd name="T1" fmla="*/ 18824 h 20000"/>
                  <a:gd name="T2" fmla="*/ 12917 w 20000"/>
                  <a:gd name="T3" fmla="*/ 18824 h 20000"/>
                  <a:gd name="T4" fmla="*/ 1667 w 20000"/>
                  <a:gd name="T5" fmla="*/ 18824 h 20000"/>
                  <a:gd name="T6" fmla="*/ 0 w 20000"/>
                  <a:gd name="T7" fmla="*/ 0 h 20000"/>
                  <a:gd name="T8" fmla="*/ 17083 w 20000"/>
                  <a:gd name="T9" fmla="*/ 0 h 20000"/>
                  <a:gd name="T10" fmla="*/ 19583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9583" y="18824"/>
                    </a:moveTo>
                    <a:lnTo>
                      <a:pt x="12917" y="18824"/>
                    </a:lnTo>
                    <a:lnTo>
                      <a:pt x="1667" y="18824"/>
                    </a:lnTo>
                    <a:lnTo>
                      <a:pt x="0" y="0"/>
                    </a:lnTo>
                    <a:lnTo>
                      <a:pt x="17083" y="0"/>
                    </a:lnTo>
                    <a:lnTo>
                      <a:pt x="1958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6" name="Freeform 13"/>
              <p:cNvSpPr>
                <a:spLocks/>
              </p:cNvSpPr>
              <p:nvPr/>
            </p:nvSpPr>
            <p:spPr bwMode="auto">
              <a:xfrm>
                <a:off x="9415463" y="4664075"/>
                <a:ext cx="26987" cy="23813"/>
              </a:xfrm>
              <a:custGeom>
                <a:avLst/>
                <a:gdLst>
                  <a:gd name="T0" fmla="*/ 11905 w 20000"/>
                  <a:gd name="T1" fmla="*/ 19474 h 20000"/>
                  <a:gd name="T2" fmla="*/ 2857 w 20000"/>
                  <a:gd name="T3" fmla="*/ 8421 h 20000"/>
                  <a:gd name="T4" fmla="*/ 0 w 20000"/>
                  <a:gd name="T5" fmla="*/ 0 h 20000"/>
                  <a:gd name="T6" fmla="*/ 7143 w 20000"/>
                  <a:gd name="T7" fmla="*/ 5789 h 20000"/>
                  <a:gd name="T8" fmla="*/ 11905 w 20000"/>
                  <a:gd name="T9" fmla="*/ 8421 h 20000"/>
                  <a:gd name="T10" fmla="*/ 19524 w 20000"/>
                  <a:gd name="T11" fmla="*/ 19474 h 20000"/>
                  <a:gd name="T12" fmla="*/ 11905 w 20000"/>
                  <a:gd name="T13" fmla="*/ 1947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905" y="19474"/>
                    </a:moveTo>
                    <a:lnTo>
                      <a:pt x="2857" y="8421"/>
                    </a:lnTo>
                    <a:lnTo>
                      <a:pt x="0" y="0"/>
                    </a:lnTo>
                    <a:lnTo>
                      <a:pt x="7143" y="5789"/>
                    </a:lnTo>
                    <a:lnTo>
                      <a:pt x="11905" y="8421"/>
                    </a:lnTo>
                    <a:lnTo>
                      <a:pt x="19524" y="19474"/>
                    </a:lnTo>
                    <a:lnTo>
                      <a:pt x="11905" y="1947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7" name="Freeform 12"/>
              <p:cNvSpPr>
                <a:spLocks/>
              </p:cNvSpPr>
              <p:nvPr/>
            </p:nvSpPr>
            <p:spPr bwMode="auto">
              <a:xfrm>
                <a:off x="3638550" y="1198563"/>
                <a:ext cx="1155700" cy="1276350"/>
              </a:xfrm>
              <a:custGeom>
                <a:avLst/>
                <a:gdLst>
                  <a:gd name="T0" fmla="*/ 3705 w 20000"/>
                  <a:gd name="T1" fmla="*/ 19214 h 20000"/>
                  <a:gd name="T2" fmla="*/ 2397 w 20000"/>
                  <a:gd name="T3" fmla="*/ 14425 h 20000"/>
                  <a:gd name="T4" fmla="*/ 4046 w 20000"/>
                  <a:gd name="T5" fmla="*/ 12424 h 20000"/>
                  <a:gd name="T6" fmla="*/ 3024 w 20000"/>
                  <a:gd name="T7" fmla="*/ 11180 h 20000"/>
                  <a:gd name="T8" fmla="*/ 3310 w 20000"/>
                  <a:gd name="T9" fmla="*/ 7417 h 20000"/>
                  <a:gd name="T10" fmla="*/ 1198 w 20000"/>
                  <a:gd name="T11" fmla="*/ 6650 h 20000"/>
                  <a:gd name="T12" fmla="*/ 121 w 20000"/>
                  <a:gd name="T13" fmla="*/ 6341 h 20000"/>
                  <a:gd name="T14" fmla="*/ 176 w 20000"/>
                  <a:gd name="T15" fmla="*/ 5973 h 20000"/>
                  <a:gd name="T16" fmla="*/ 121 w 20000"/>
                  <a:gd name="T17" fmla="*/ 5515 h 20000"/>
                  <a:gd name="T18" fmla="*/ 1539 w 20000"/>
                  <a:gd name="T19" fmla="*/ 5406 h 20000"/>
                  <a:gd name="T20" fmla="*/ 572 w 20000"/>
                  <a:gd name="T21" fmla="*/ 5097 h 20000"/>
                  <a:gd name="T22" fmla="*/ 748 w 20000"/>
                  <a:gd name="T23" fmla="*/ 4072 h 20000"/>
                  <a:gd name="T24" fmla="*/ 2276 w 20000"/>
                  <a:gd name="T25" fmla="*/ 3803 h 20000"/>
                  <a:gd name="T26" fmla="*/ 3595 w 20000"/>
                  <a:gd name="T27" fmla="*/ 3355 h 20000"/>
                  <a:gd name="T28" fmla="*/ 4167 w 20000"/>
                  <a:gd name="T29" fmla="*/ 2927 h 20000"/>
                  <a:gd name="T30" fmla="*/ 3024 w 20000"/>
                  <a:gd name="T31" fmla="*/ 2927 h 20000"/>
                  <a:gd name="T32" fmla="*/ 4453 w 20000"/>
                  <a:gd name="T33" fmla="*/ 2011 h 20000"/>
                  <a:gd name="T34" fmla="*/ 5069 w 20000"/>
                  <a:gd name="T35" fmla="*/ 1752 h 20000"/>
                  <a:gd name="T36" fmla="*/ 6267 w 20000"/>
                  <a:gd name="T37" fmla="*/ 1185 h 20000"/>
                  <a:gd name="T38" fmla="*/ 7180 w 20000"/>
                  <a:gd name="T39" fmla="*/ 2051 h 20000"/>
                  <a:gd name="T40" fmla="*/ 9291 w 20000"/>
                  <a:gd name="T41" fmla="*/ 1752 h 20000"/>
                  <a:gd name="T42" fmla="*/ 10192 w 20000"/>
                  <a:gd name="T43" fmla="*/ 1483 h 20000"/>
                  <a:gd name="T44" fmla="*/ 11226 w 20000"/>
                  <a:gd name="T45" fmla="*/ 1444 h 20000"/>
                  <a:gd name="T46" fmla="*/ 11963 w 20000"/>
                  <a:gd name="T47" fmla="*/ 976 h 20000"/>
                  <a:gd name="T48" fmla="*/ 11402 w 20000"/>
                  <a:gd name="T49" fmla="*/ 567 h 20000"/>
                  <a:gd name="T50" fmla="*/ 14458 w 20000"/>
                  <a:gd name="T51" fmla="*/ 0 h 20000"/>
                  <a:gd name="T52" fmla="*/ 15547 w 20000"/>
                  <a:gd name="T53" fmla="*/ 767 h 20000"/>
                  <a:gd name="T54" fmla="*/ 14524 w 20000"/>
                  <a:gd name="T55" fmla="*/ 976 h 20000"/>
                  <a:gd name="T56" fmla="*/ 17020 w 20000"/>
                  <a:gd name="T57" fmla="*/ 1444 h 20000"/>
                  <a:gd name="T58" fmla="*/ 16745 w 20000"/>
                  <a:gd name="T59" fmla="*/ 2011 h 20000"/>
                  <a:gd name="T60" fmla="*/ 13612 w 20000"/>
                  <a:gd name="T61" fmla="*/ 2519 h 20000"/>
                  <a:gd name="T62" fmla="*/ 16284 w 20000"/>
                  <a:gd name="T63" fmla="*/ 2578 h 20000"/>
                  <a:gd name="T64" fmla="*/ 16570 w 20000"/>
                  <a:gd name="T65" fmla="*/ 2419 h 20000"/>
                  <a:gd name="T66" fmla="*/ 16174 w 20000"/>
                  <a:gd name="T67" fmla="*/ 4072 h 20000"/>
                  <a:gd name="T68" fmla="*/ 17768 w 20000"/>
                  <a:gd name="T69" fmla="*/ 2827 h 20000"/>
                  <a:gd name="T70" fmla="*/ 19296 w 20000"/>
                  <a:gd name="T71" fmla="*/ 2678 h 20000"/>
                  <a:gd name="T72" fmla="*/ 19296 w 20000"/>
                  <a:gd name="T73" fmla="*/ 3803 h 20000"/>
                  <a:gd name="T74" fmla="*/ 18329 w 20000"/>
                  <a:gd name="T75" fmla="*/ 4171 h 20000"/>
                  <a:gd name="T76" fmla="*/ 17317 w 20000"/>
                  <a:gd name="T77" fmla="*/ 4898 h 20000"/>
                  <a:gd name="T78" fmla="*/ 17603 w 20000"/>
                  <a:gd name="T79" fmla="*/ 5515 h 20000"/>
                  <a:gd name="T80" fmla="*/ 17020 w 20000"/>
                  <a:gd name="T81" fmla="*/ 7257 h 20000"/>
                  <a:gd name="T82" fmla="*/ 16394 w 20000"/>
                  <a:gd name="T83" fmla="*/ 8094 h 20000"/>
                  <a:gd name="T84" fmla="*/ 16394 w 20000"/>
                  <a:gd name="T85" fmla="*/ 10662 h 20000"/>
                  <a:gd name="T86" fmla="*/ 14634 w 20000"/>
                  <a:gd name="T87" fmla="*/ 11180 h 20000"/>
                  <a:gd name="T88" fmla="*/ 14975 w 20000"/>
                  <a:gd name="T89" fmla="*/ 12932 h 20000"/>
                  <a:gd name="T90" fmla="*/ 14239 w 20000"/>
                  <a:gd name="T91" fmla="*/ 12265 h 20000"/>
                  <a:gd name="T92" fmla="*/ 13612 w 20000"/>
                  <a:gd name="T93" fmla="*/ 12056 h 20000"/>
                  <a:gd name="T94" fmla="*/ 12864 w 20000"/>
                  <a:gd name="T95" fmla="*/ 12832 h 20000"/>
                  <a:gd name="T96" fmla="*/ 15206 w 20000"/>
                  <a:gd name="T97" fmla="*/ 13141 h 20000"/>
                  <a:gd name="T98" fmla="*/ 11402 w 20000"/>
                  <a:gd name="T99" fmla="*/ 14316 h 20000"/>
                  <a:gd name="T100" fmla="*/ 10027 w 20000"/>
                  <a:gd name="T101" fmla="*/ 15152 h 20000"/>
                  <a:gd name="T102" fmla="*/ 8543 w 20000"/>
                  <a:gd name="T103" fmla="*/ 15301 h 20000"/>
                  <a:gd name="T104" fmla="*/ 7290 w 20000"/>
                  <a:gd name="T105" fmla="*/ 16595 h 20000"/>
                  <a:gd name="T106" fmla="*/ 5245 w 20000"/>
                  <a:gd name="T107" fmla="*/ 199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5245" y="19990"/>
                    </a:moveTo>
                    <a:lnTo>
                      <a:pt x="4904" y="19890"/>
                    </a:lnTo>
                    <a:lnTo>
                      <a:pt x="4321" y="19214"/>
                    </a:lnTo>
                    <a:lnTo>
                      <a:pt x="3705" y="19214"/>
                    </a:lnTo>
                    <a:lnTo>
                      <a:pt x="3244" y="18646"/>
                    </a:lnTo>
                    <a:lnTo>
                      <a:pt x="2683" y="17262"/>
                    </a:lnTo>
                    <a:lnTo>
                      <a:pt x="2507" y="15660"/>
                    </a:lnTo>
                    <a:lnTo>
                      <a:pt x="2397" y="14425"/>
                    </a:lnTo>
                    <a:lnTo>
                      <a:pt x="2859" y="13499"/>
                    </a:lnTo>
                    <a:lnTo>
                      <a:pt x="3485" y="13400"/>
                    </a:lnTo>
                    <a:lnTo>
                      <a:pt x="3991" y="13141"/>
                    </a:lnTo>
                    <a:lnTo>
                      <a:pt x="4046" y="12424"/>
                    </a:lnTo>
                    <a:lnTo>
                      <a:pt x="3244" y="11747"/>
                    </a:lnTo>
                    <a:lnTo>
                      <a:pt x="4321" y="12155"/>
                    </a:lnTo>
                    <a:lnTo>
                      <a:pt x="3760" y="11329"/>
                    </a:lnTo>
                    <a:lnTo>
                      <a:pt x="3024" y="11180"/>
                    </a:lnTo>
                    <a:lnTo>
                      <a:pt x="3244" y="10662"/>
                    </a:lnTo>
                    <a:lnTo>
                      <a:pt x="3760" y="10304"/>
                    </a:lnTo>
                    <a:lnTo>
                      <a:pt x="3595" y="8133"/>
                    </a:lnTo>
                    <a:lnTo>
                      <a:pt x="3310" y="7417"/>
                    </a:lnTo>
                    <a:lnTo>
                      <a:pt x="2562" y="6999"/>
                    </a:lnTo>
                    <a:lnTo>
                      <a:pt x="1935" y="6750"/>
                    </a:lnTo>
                    <a:lnTo>
                      <a:pt x="1374" y="6899"/>
                    </a:lnTo>
                    <a:lnTo>
                      <a:pt x="1198" y="6650"/>
                    </a:lnTo>
                    <a:lnTo>
                      <a:pt x="858" y="6590"/>
                    </a:lnTo>
                    <a:lnTo>
                      <a:pt x="924" y="6999"/>
                    </a:lnTo>
                    <a:lnTo>
                      <a:pt x="341" y="6750"/>
                    </a:lnTo>
                    <a:lnTo>
                      <a:pt x="121" y="6341"/>
                    </a:lnTo>
                    <a:lnTo>
                      <a:pt x="462" y="6222"/>
                    </a:lnTo>
                    <a:lnTo>
                      <a:pt x="858" y="6083"/>
                    </a:lnTo>
                    <a:lnTo>
                      <a:pt x="572" y="6083"/>
                    </a:lnTo>
                    <a:lnTo>
                      <a:pt x="176" y="5973"/>
                    </a:lnTo>
                    <a:lnTo>
                      <a:pt x="572" y="5774"/>
                    </a:lnTo>
                    <a:lnTo>
                      <a:pt x="462" y="5665"/>
                    </a:lnTo>
                    <a:lnTo>
                      <a:pt x="0" y="5814"/>
                    </a:lnTo>
                    <a:lnTo>
                      <a:pt x="121" y="5515"/>
                    </a:lnTo>
                    <a:lnTo>
                      <a:pt x="858" y="5515"/>
                    </a:lnTo>
                    <a:lnTo>
                      <a:pt x="1649" y="5774"/>
                    </a:lnTo>
                    <a:lnTo>
                      <a:pt x="1935" y="5306"/>
                    </a:lnTo>
                    <a:lnTo>
                      <a:pt x="1539" y="5406"/>
                    </a:lnTo>
                    <a:lnTo>
                      <a:pt x="1089" y="5406"/>
                    </a:lnTo>
                    <a:lnTo>
                      <a:pt x="638" y="5246"/>
                    </a:lnTo>
                    <a:lnTo>
                      <a:pt x="924" y="5147"/>
                    </a:lnTo>
                    <a:lnTo>
                      <a:pt x="572" y="5097"/>
                    </a:lnTo>
                    <a:lnTo>
                      <a:pt x="176" y="4838"/>
                    </a:lnTo>
                    <a:lnTo>
                      <a:pt x="0" y="4579"/>
                    </a:lnTo>
                    <a:lnTo>
                      <a:pt x="176" y="4171"/>
                    </a:lnTo>
                    <a:lnTo>
                      <a:pt x="748" y="4072"/>
                    </a:lnTo>
                    <a:lnTo>
                      <a:pt x="1198" y="4072"/>
                    </a:lnTo>
                    <a:lnTo>
                      <a:pt x="1770" y="4022"/>
                    </a:lnTo>
                    <a:lnTo>
                      <a:pt x="1770" y="3922"/>
                    </a:lnTo>
                    <a:lnTo>
                      <a:pt x="2276" y="3803"/>
                    </a:lnTo>
                    <a:lnTo>
                      <a:pt x="2683" y="3803"/>
                    </a:lnTo>
                    <a:lnTo>
                      <a:pt x="2859" y="3922"/>
                    </a:lnTo>
                    <a:lnTo>
                      <a:pt x="3485" y="3604"/>
                    </a:lnTo>
                    <a:lnTo>
                      <a:pt x="3595" y="3355"/>
                    </a:lnTo>
                    <a:lnTo>
                      <a:pt x="3991" y="3245"/>
                    </a:lnTo>
                    <a:lnTo>
                      <a:pt x="3705" y="3086"/>
                    </a:lnTo>
                    <a:lnTo>
                      <a:pt x="4167" y="2987"/>
                    </a:lnTo>
                    <a:lnTo>
                      <a:pt x="4167" y="2927"/>
                    </a:lnTo>
                    <a:lnTo>
                      <a:pt x="3991" y="2987"/>
                    </a:lnTo>
                    <a:lnTo>
                      <a:pt x="3419" y="3086"/>
                    </a:lnTo>
                    <a:lnTo>
                      <a:pt x="3310" y="2927"/>
                    </a:lnTo>
                    <a:lnTo>
                      <a:pt x="3024" y="2927"/>
                    </a:lnTo>
                    <a:lnTo>
                      <a:pt x="3134" y="2728"/>
                    </a:lnTo>
                    <a:lnTo>
                      <a:pt x="3419" y="2578"/>
                    </a:lnTo>
                    <a:lnTo>
                      <a:pt x="4046" y="2260"/>
                    </a:lnTo>
                    <a:lnTo>
                      <a:pt x="4453" y="2011"/>
                    </a:lnTo>
                    <a:lnTo>
                      <a:pt x="4904" y="1911"/>
                    </a:lnTo>
                    <a:lnTo>
                      <a:pt x="4959" y="2260"/>
                    </a:lnTo>
                    <a:lnTo>
                      <a:pt x="5069" y="2260"/>
                    </a:lnTo>
                    <a:lnTo>
                      <a:pt x="5069" y="1752"/>
                    </a:lnTo>
                    <a:lnTo>
                      <a:pt x="5355" y="1752"/>
                    </a:lnTo>
                    <a:lnTo>
                      <a:pt x="5531" y="2011"/>
                    </a:lnTo>
                    <a:lnTo>
                      <a:pt x="5805" y="1911"/>
                    </a:lnTo>
                    <a:lnTo>
                      <a:pt x="6267" y="1185"/>
                    </a:lnTo>
                    <a:lnTo>
                      <a:pt x="6608" y="1234"/>
                    </a:lnTo>
                    <a:lnTo>
                      <a:pt x="6608" y="1603"/>
                    </a:lnTo>
                    <a:lnTo>
                      <a:pt x="7059" y="2051"/>
                    </a:lnTo>
                    <a:lnTo>
                      <a:pt x="7180" y="2051"/>
                    </a:lnTo>
                    <a:lnTo>
                      <a:pt x="6839" y="1075"/>
                    </a:lnTo>
                    <a:lnTo>
                      <a:pt x="8488" y="926"/>
                    </a:lnTo>
                    <a:lnTo>
                      <a:pt x="8543" y="1483"/>
                    </a:lnTo>
                    <a:lnTo>
                      <a:pt x="9291" y="1752"/>
                    </a:lnTo>
                    <a:lnTo>
                      <a:pt x="9401" y="1643"/>
                    </a:lnTo>
                    <a:lnTo>
                      <a:pt x="9291" y="1234"/>
                    </a:lnTo>
                    <a:lnTo>
                      <a:pt x="9456" y="926"/>
                    </a:lnTo>
                    <a:lnTo>
                      <a:pt x="10192" y="1483"/>
                    </a:lnTo>
                    <a:lnTo>
                      <a:pt x="10654" y="2160"/>
                    </a:lnTo>
                    <a:lnTo>
                      <a:pt x="10885" y="2011"/>
                    </a:lnTo>
                    <a:lnTo>
                      <a:pt x="10764" y="1643"/>
                    </a:lnTo>
                    <a:lnTo>
                      <a:pt x="11226" y="1444"/>
                    </a:lnTo>
                    <a:lnTo>
                      <a:pt x="11512" y="1603"/>
                    </a:lnTo>
                    <a:lnTo>
                      <a:pt x="11622" y="1603"/>
                    </a:lnTo>
                    <a:lnTo>
                      <a:pt x="11050" y="767"/>
                    </a:lnTo>
                    <a:lnTo>
                      <a:pt x="11963" y="976"/>
                    </a:lnTo>
                    <a:lnTo>
                      <a:pt x="12413" y="1444"/>
                    </a:lnTo>
                    <a:lnTo>
                      <a:pt x="12413" y="1075"/>
                    </a:lnTo>
                    <a:lnTo>
                      <a:pt x="12128" y="767"/>
                    </a:lnTo>
                    <a:lnTo>
                      <a:pt x="11402" y="567"/>
                    </a:lnTo>
                    <a:lnTo>
                      <a:pt x="11226" y="159"/>
                    </a:lnTo>
                    <a:lnTo>
                      <a:pt x="11512" y="159"/>
                    </a:lnTo>
                    <a:lnTo>
                      <a:pt x="13161" y="159"/>
                    </a:lnTo>
                    <a:lnTo>
                      <a:pt x="14458" y="0"/>
                    </a:lnTo>
                    <a:lnTo>
                      <a:pt x="15833" y="259"/>
                    </a:lnTo>
                    <a:lnTo>
                      <a:pt x="16570" y="567"/>
                    </a:lnTo>
                    <a:lnTo>
                      <a:pt x="16284" y="767"/>
                    </a:lnTo>
                    <a:lnTo>
                      <a:pt x="15547" y="767"/>
                    </a:lnTo>
                    <a:lnTo>
                      <a:pt x="14634" y="826"/>
                    </a:lnTo>
                    <a:lnTo>
                      <a:pt x="14008" y="926"/>
                    </a:lnTo>
                    <a:lnTo>
                      <a:pt x="13612" y="1185"/>
                    </a:lnTo>
                    <a:lnTo>
                      <a:pt x="14524" y="976"/>
                    </a:lnTo>
                    <a:lnTo>
                      <a:pt x="15723" y="976"/>
                    </a:lnTo>
                    <a:lnTo>
                      <a:pt x="16745" y="926"/>
                    </a:lnTo>
                    <a:lnTo>
                      <a:pt x="16745" y="1334"/>
                    </a:lnTo>
                    <a:lnTo>
                      <a:pt x="17020" y="1444"/>
                    </a:lnTo>
                    <a:lnTo>
                      <a:pt x="17768" y="1643"/>
                    </a:lnTo>
                    <a:lnTo>
                      <a:pt x="17317" y="1911"/>
                    </a:lnTo>
                    <a:lnTo>
                      <a:pt x="17141" y="2011"/>
                    </a:lnTo>
                    <a:lnTo>
                      <a:pt x="16745" y="2011"/>
                    </a:lnTo>
                    <a:lnTo>
                      <a:pt x="16460" y="2160"/>
                    </a:lnTo>
                    <a:lnTo>
                      <a:pt x="15943" y="2051"/>
                    </a:lnTo>
                    <a:lnTo>
                      <a:pt x="14975" y="2051"/>
                    </a:lnTo>
                    <a:lnTo>
                      <a:pt x="13612" y="2519"/>
                    </a:lnTo>
                    <a:lnTo>
                      <a:pt x="13722" y="2578"/>
                    </a:lnTo>
                    <a:lnTo>
                      <a:pt x="14975" y="2320"/>
                    </a:lnTo>
                    <a:lnTo>
                      <a:pt x="16174" y="2320"/>
                    </a:lnTo>
                    <a:lnTo>
                      <a:pt x="16284" y="2578"/>
                    </a:lnTo>
                    <a:lnTo>
                      <a:pt x="15547" y="2927"/>
                    </a:lnTo>
                    <a:lnTo>
                      <a:pt x="15723" y="3086"/>
                    </a:lnTo>
                    <a:lnTo>
                      <a:pt x="16460" y="2827"/>
                    </a:lnTo>
                    <a:lnTo>
                      <a:pt x="16570" y="2419"/>
                    </a:lnTo>
                    <a:lnTo>
                      <a:pt x="17196" y="2320"/>
                    </a:lnTo>
                    <a:lnTo>
                      <a:pt x="17196" y="2578"/>
                    </a:lnTo>
                    <a:lnTo>
                      <a:pt x="16910" y="3355"/>
                    </a:lnTo>
                    <a:lnTo>
                      <a:pt x="16174" y="4072"/>
                    </a:lnTo>
                    <a:lnTo>
                      <a:pt x="16690" y="3763"/>
                    </a:lnTo>
                    <a:lnTo>
                      <a:pt x="17317" y="3355"/>
                    </a:lnTo>
                    <a:lnTo>
                      <a:pt x="17603" y="2927"/>
                    </a:lnTo>
                    <a:lnTo>
                      <a:pt x="17768" y="2827"/>
                    </a:lnTo>
                    <a:lnTo>
                      <a:pt x="17768" y="3146"/>
                    </a:lnTo>
                    <a:lnTo>
                      <a:pt x="18329" y="3146"/>
                    </a:lnTo>
                    <a:lnTo>
                      <a:pt x="18571" y="2827"/>
                    </a:lnTo>
                    <a:lnTo>
                      <a:pt x="19296" y="2678"/>
                    </a:lnTo>
                    <a:lnTo>
                      <a:pt x="19989" y="2987"/>
                    </a:lnTo>
                    <a:lnTo>
                      <a:pt x="19879" y="3355"/>
                    </a:lnTo>
                    <a:lnTo>
                      <a:pt x="19252" y="3654"/>
                    </a:lnTo>
                    <a:lnTo>
                      <a:pt x="19296" y="3803"/>
                    </a:lnTo>
                    <a:lnTo>
                      <a:pt x="18802" y="4022"/>
                    </a:lnTo>
                    <a:lnTo>
                      <a:pt x="18109" y="4072"/>
                    </a:lnTo>
                    <a:lnTo>
                      <a:pt x="17603" y="4072"/>
                    </a:lnTo>
                    <a:lnTo>
                      <a:pt x="18329" y="4171"/>
                    </a:lnTo>
                    <a:lnTo>
                      <a:pt x="18802" y="4171"/>
                    </a:lnTo>
                    <a:lnTo>
                      <a:pt x="18505" y="4579"/>
                    </a:lnTo>
                    <a:lnTo>
                      <a:pt x="17603" y="4430"/>
                    </a:lnTo>
                    <a:lnTo>
                      <a:pt x="17317" y="4898"/>
                    </a:lnTo>
                    <a:lnTo>
                      <a:pt x="17317" y="4998"/>
                    </a:lnTo>
                    <a:lnTo>
                      <a:pt x="17658" y="4739"/>
                    </a:lnTo>
                    <a:lnTo>
                      <a:pt x="18329" y="4739"/>
                    </a:lnTo>
                    <a:lnTo>
                      <a:pt x="17603" y="5515"/>
                    </a:lnTo>
                    <a:lnTo>
                      <a:pt x="16910" y="6083"/>
                    </a:lnTo>
                    <a:lnTo>
                      <a:pt x="16866" y="6750"/>
                    </a:lnTo>
                    <a:lnTo>
                      <a:pt x="17317" y="7158"/>
                    </a:lnTo>
                    <a:lnTo>
                      <a:pt x="17020" y="7257"/>
                    </a:lnTo>
                    <a:lnTo>
                      <a:pt x="17361" y="7317"/>
                    </a:lnTo>
                    <a:lnTo>
                      <a:pt x="17493" y="7934"/>
                    </a:lnTo>
                    <a:lnTo>
                      <a:pt x="16690" y="7725"/>
                    </a:lnTo>
                    <a:lnTo>
                      <a:pt x="16394" y="8094"/>
                    </a:lnTo>
                    <a:lnTo>
                      <a:pt x="16866" y="8243"/>
                    </a:lnTo>
                    <a:lnTo>
                      <a:pt x="16910" y="9169"/>
                    </a:lnTo>
                    <a:lnTo>
                      <a:pt x="16866" y="9985"/>
                    </a:lnTo>
                    <a:lnTo>
                      <a:pt x="16394" y="10662"/>
                    </a:lnTo>
                    <a:lnTo>
                      <a:pt x="15657" y="10821"/>
                    </a:lnTo>
                    <a:lnTo>
                      <a:pt x="15096" y="10553"/>
                    </a:lnTo>
                    <a:lnTo>
                      <a:pt x="14458" y="10762"/>
                    </a:lnTo>
                    <a:lnTo>
                      <a:pt x="14634" y="11180"/>
                    </a:lnTo>
                    <a:lnTo>
                      <a:pt x="15206" y="11847"/>
                    </a:lnTo>
                    <a:lnTo>
                      <a:pt x="15492" y="12155"/>
                    </a:lnTo>
                    <a:lnTo>
                      <a:pt x="15492" y="12832"/>
                    </a:lnTo>
                    <a:lnTo>
                      <a:pt x="14975" y="12932"/>
                    </a:lnTo>
                    <a:lnTo>
                      <a:pt x="14931" y="12932"/>
                    </a:lnTo>
                    <a:lnTo>
                      <a:pt x="14524" y="12723"/>
                    </a:lnTo>
                    <a:lnTo>
                      <a:pt x="14524" y="12464"/>
                    </a:lnTo>
                    <a:lnTo>
                      <a:pt x="14239" y="12265"/>
                    </a:lnTo>
                    <a:lnTo>
                      <a:pt x="13788" y="11996"/>
                    </a:lnTo>
                    <a:lnTo>
                      <a:pt x="13161" y="11588"/>
                    </a:lnTo>
                    <a:lnTo>
                      <a:pt x="13040" y="11747"/>
                    </a:lnTo>
                    <a:lnTo>
                      <a:pt x="13612" y="12056"/>
                    </a:lnTo>
                    <a:lnTo>
                      <a:pt x="14074" y="12305"/>
                    </a:lnTo>
                    <a:lnTo>
                      <a:pt x="13271" y="12424"/>
                    </a:lnTo>
                    <a:lnTo>
                      <a:pt x="12985" y="12673"/>
                    </a:lnTo>
                    <a:lnTo>
                      <a:pt x="12864" y="12832"/>
                    </a:lnTo>
                    <a:lnTo>
                      <a:pt x="13612" y="12832"/>
                    </a:lnTo>
                    <a:lnTo>
                      <a:pt x="12699" y="12982"/>
                    </a:lnTo>
                    <a:lnTo>
                      <a:pt x="14008" y="12932"/>
                    </a:lnTo>
                    <a:lnTo>
                      <a:pt x="15206" y="13141"/>
                    </a:lnTo>
                    <a:lnTo>
                      <a:pt x="14755" y="13400"/>
                    </a:lnTo>
                    <a:lnTo>
                      <a:pt x="13557" y="14007"/>
                    </a:lnTo>
                    <a:lnTo>
                      <a:pt x="12413" y="14166"/>
                    </a:lnTo>
                    <a:lnTo>
                      <a:pt x="11402" y="14316"/>
                    </a:lnTo>
                    <a:lnTo>
                      <a:pt x="11050" y="14007"/>
                    </a:lnTo>
                    <a:lnTo>
                      <a:pt x="11160" y="14425"/>
                    </a:lnTo>
                    <a:lnTo>
                      <a:pt x="10764" y="14584"/>
                    </a:lnTo>
                    <a:lnTo>
                      <a:pt x="10027" y="15152"/>
                    </a:lnTo>
                    <a:lnTo>
                      <a:pt x="9115" y="15719"/>
                    </a:lnTo>
                    <a:lnTo>
                      <a:pt x="8664" y="15719"/>
                    </a:lnTo>
                    <a:lnTo>
                      <a:pt x="8840" y="15301"/>
                    </a:lnTo>
                    <a:lnTo>
                      <a:pt x="8543" y="15301"/>
                    </a:lnTo>
                    <a:lnTo>
                      <a:pt x="8488" y="15819"/>
                    </a:lnTo>
                    <a:lnTo>
                      <a:pt x="7916" y="15918"/>
                    </a:lnTo>
                    <a:lnTo>
                      <a:pt x="7631" y="16068"/>
                    </a:lnTo>
                    <a:lnTo>
                      <a:pt x="7290" y="16595"/>
                    </a:lnTo>
                    <a:lnTo>
                      <a:pt x="7059" y="17003"/>
                    </a:lnTo>
                    <a:lnTo>
                      <a:pt x="6608" y="17670"/>
                    </a:lnTo>
                    <a:lnTo>
                      <a:pt x="6267" y="18547"/>
                    </a:lnTo>
                    <a:lnTo>
                      <a:pt x="5245" y="199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8" name="Freeform 11"/>
              <p:cNvSpPr>
                <a:spLocks/>
              </p:cNvSpPr>
              <p:nvPr/>
            </p:nvSpPr>
            <p:spPr bwMode="auto">
              <a:xfrm>
                <a:off x="3243263" y="4135438"/>
                <a:ext cx="30162" cy="12700"/>
              </a:xfrm>
              <a:custGeom>
                <a:avLst/>
                <a:gdLst>
                  <a:gd name="T0" fmla="*/ 15000 w 20000"/>
                  <a:gd name="T1" fmla="*/ 19048 h 20000"/>
                  <a:gd name="T2" fmla="*/ 0 w 20000"/>
                  <a:gd name="T3" fmla="*/ 19048 h 20000"/>
                  <a:gd name="T4" fmla="*/ 8750 w 20000"/>
                  <a:gd name="T5" fmla="*/ 14286 h 20000"/>
                  <a:gd name="T6" fmla="*/ 8750 w 20000"/>
                  <a:gd name="T7" fmla="*/ 0 h 20000"/>
                  <a:gd name="T8" fmla="*/ 19583 w 20000"/>
                  <a:gd name="T9" fmla="*/ 0 h 20000"/>
                  <a:gd name="T10" fmla="*/ 15000 w 20000"/>
                  <a:gd name="T11" fmla="*/ 19048 h 20000"/>
                </a:gdLst>
                <a:ahLst/>
                <a:cxnLst>
                  <a:cxn ang="0">
                    <a:pos x="T0" y="T1"/>
                  </a:cxn>
                  <a:cxn ang="0">
                    <a:pos x="T2" y="T3"/>
                  </a:cxn>
                  <a:cxn ang="0">
                    <a:pos x="T4" y="T5"/>
                  </a:cxn>
                  <a:cxn ang="0">
                    <a:pos x="T6" y="T7"/>
                  </a:cxn>
                  <a:cxn ang="0">
                    <a:pos x="T8" y="T9"/>
                  </a:cxn>
                  <a:cxn ang="0">
                    <a:pos x="T10" y="T11"/>
                  </a:cxn>
                </a:cxnLst>
                <a:rect l="0" t="0" r="r" b="b"/>
                <a:pathLst>
                  <a:path w="20000" h="20000">
                    <a:moveTo>
                      <a:pt x="15000" y="19048"/>
                    </a:moveTo>
                    <a:lnTo>
                      <a:pt x="0" y="19048"/>
                    </a:lnTo>
                    <a:lnTo>
                      <a:pt x="8750" y="14286"/>
                    </a:lnTo>
                    <a:lnTo>
                      <a:pt x="8750" y="0"/>
                    </a:lnTo>
                    <a:lnTo>
                      <a:pt x="19583" y="0"/>
                    </a:lnTo>
                    <a:lnTo>
                      <a:pt x="15000" y="190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29" name="Freeform 10"/>
              <p:cNvSpPr>
                <a:spLocks/>
              </p:cNvSpPr>
              <p:nvPr/>
            </p:nvSpPr>
            <p:spPr bwMode="auto">
              <a:xfrm>
                <a:off x="8883650" y="5864225"/>
                <a:ext cx="103188" cy="128588"/>
              </a:xfrm>
              <a:custGeom>
                <a:avLst/>
                <a:gdLst>
                  <a:gd name="T0" fmla="*/ 5185 w 20000"/>
                  <a:gd name="T1" fmla="*/ 19901 h 20000"/>
                  <a:gd name="T2" fmla="*/ 3333 w 20000"/>
                  <a:gd name="T3" fmla="*/ 19310 h 20000"/>
                  <a:gd name="T4" fmla="*/ 1975 w 20000"/>
                  <a:gd name="T5" fmla="*/ 18325 h 20000"/>
                  <a:gd name="T6" fmla="*/ 3333 w 20000"/>
                  <a:gd name="T7" fmla="*/ 18325 h 20000"/>
                  <a:gd name="T8" fmla="*/ 3333 w 20000"/>
                  <a:gd name="T9" fmla="*/ 17241 h 20000"/>
                  <a:gd name="T10" fmla="*/ 1358 w 20000"/>
                  <a:gd name="T11" fmla="*/ 16847 h 20000"/>
                  <a:gd name="T12" fmla="*/ 0 w 20000"/>
                  <a:gd name="T13" fmla="*/ 14286 h 20000"/>
                  <a:gd name="T14" fmla="*/ 1358 w 20000"/>
                  <a:gd name="T15" fmla="*/ 10640 h 20000"/>
                  <a:gd name="T16" fmla="*/ 1975 w 20000"/>
                  <a:gd name="T17" fmla="*/ 11626 h 20000"/>
                  <a:gd name="T18" fmla="*/ 1975 w 20000"/>
                  <a:gd name="T19" fmla="*/ 10640 h 20000"/>
                  <a:gd name="T20" fmla="*/ 1358 w 20000"/>
                  <a:gd name="T21" fmla="*/ 1970 h 20000"/>
                  <a:gd name="T22" fmla="*/ 1975 w 20000"/>
                  <a:gd name="T23" fmla="*/ 0 h 20000"/>
                  <a:gd name="T24" fmla="*/ 3333 w 20000"/>
                  <a:gd name="T25" fmla="*/ 0 h 20000"/>
                  <a:gd name="T26" fmla="*/ 4568 w 20000"/>
                  <a:gd name="T27" fmla="*/ 985 h 20000"/>
                  <a:gd name="T28" fmla="*/ 7160 w 20000"/>
                  <a:gd name="T29" fmla="*/ 2562 h 20000"/>
                  <a:gd name="T30" fmla="*/ 12222 w 20000"/>
                  <a:gd name="T31" fmla="*/ 3547 h 20000"/>
                  <a:gd name="T32" fmla="*/ 15432 w 20000"/>
                  <a:gd name="T33" fmla="*/ 2562 h 20000"/>
                  <a:gd name="T34" fmla="*/ 16667 w 20000"/>
                  <a:gd name="T35" fmla="*/ 2562 h 20000"/>
                  <a:gd name="T36" fmla="*/ 19877 w 20000"/>
                  <a:gd name="T37" fmla="*/ 1970 h 20000"/>
                  <a:gd name="T38" fmla="*/ 19877 w 20000"/>
                  <a:gd name="T39" fmla="*/ 2562 h 20000"/>
                  <a:gd name="T40" fmla="*/ 17901 w 20000"/>
                  <a:gd name="T41" fmla="*/ 11626 h 20000"/>
                  <a:gd name="T42" fmla="*/ 16667 w 20000"/>
                  <a:gd name="T43" fmla="*/ 11626 h 20000"/>
                  <a:gd name="T44" fmla="*/ 16667 w 20000"/>
                  <a:gd name="T45" fmla="*/ 10640 h 20000"/>
                  <a:gd name="T46" fmla="*/ 15432 w 20000"/>
                  <a:gd name="T47" fmla="*/ 11626 h 20000"/>
                  <a:gd name="T48" fmla="*/ 15432 w 20000"/>
                  <a:gd name="T49" fmla="*/ 13202 h 20000"/>
                  <a:gd name="T50" fmla="*/ 14815 w 20000"/>
                  <a:gd name="T51" fmla="*/ 14680 h 20000"/>
                  <a:gd name="T52" fmla="*/ 13457 w 20000"/>
                  <a:gd name="T53" fmla="*/ 17241 h 20000"/>
                  <a:gd name="T54" fmla="*/ 11605 w 20000"/>
                  <a:gd name="T55" fmla="*/ 18325 h 20000"/>
                  <a:gd name="T56" fmla="*/ 11605 w 20000"/>
                  <a:gd name="T57" fmla="*/ 16847 h 20000"/>
                  <a:gd name="T58" fmla="*/ 12222 w 20000"/>
                  <a:gd name="T59" fmla="*/ 16847 h 20000"/>
                  <a:gd name="T60" fmla="*/ 12222 w 20000"/>
                  <a:gd name="T61" fmla="*/ 14680 h 20000"/>
                  <a:gd name="T62" fmla="*/ 11605 w 20000"/>
                  <a:gd name="T63" fmla="*/ 14680 h 20000"/>
                  <a:gd name="T64" fmla="*/ 9630 w 20000"/>
                  <a:gd name="T65" fmla="*/ 17241 h 20000"/>
                  <a:gd name="T66" fmla="*/ 8395 w 20000"/>
                  <a:gd name="T67" fmla="*/ 17241 h 20000"/>
                  <a:gd name="T68" fmla="*/ 7160 w 20000"/>
                  <a:gd name="T69" fmla="*/ 19901 h 20000"/>
                  <a:gd name="T70" fmla="*/ 5185 w 20000"/>
                  <a:gd name="T71" fmla="*/ 19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5185" y="19901"/>
                    </a:moveTo>
                    <a:lnTo>
                      <a:pt x="3333" y="19310"/>
                    </a:lnTo>
                    <a:lnTo>
                      <a:pt x="1975" y="18325"/>
                    </a:lnTo>
                    <a:lnTo>
                      <a:pt x="3333" y="18325"/>
                    </a:lnTo>
                    <a:lnTo>
                      <a:pt x="3333" y="17241"/>
                    </a:lnTo>
                    <a:lnTo>
                      <a:pt x="1358" y="16847"/>
                    </a:lnTo>
                    <a:lnTo>
                      <a:pt x="0" y="14286"/>
                    </a:lnTo>
                    <a:lnTo>
                      <a:pt x="1358" y="10640"/>
                    </a:lnTo>
                    <a:lnTo>
                      <a:pt x="1975" y="11626"/>
                    </a:lnTo>
                    <a:lnTo>
                      <a:pt x="1975" y="10640"/>
                    </a:lnTo>
                    <a:lnTo>
                      <a:pt x="1358" y="1970"/>
                    </a:lnTo>
                    <a:lnTo>
                      <a:pt x="1975" y="0"/>
                    </a:lnTo>
                    <a:lnTo>
                      <a:pt x="3333" y="0"/>
                    </a:lnTo>
                    <a:lnTo>
                      <a:pt x="4568" y="985"/>
                    </a:lnTo>
                    <a:lnTo>
                      <a:pt x="7160" y="2562"/>
                    </a:lnTo>
                    <a:lnTo>
                      <a:pt x="12222" y="3547"/>
                    </a:lnTo>
                    <a:lnTo>
                      <a:pt x="15432" y="2562"/>
                    </a:lnTo>
                    <a:lnTo>
                      <a:pt x="16667" y="2562"/>
                    </a:lnTo>
                    <a:lnTo>
                      <a:pt x="19877" y="1970"/>
                    </a:lnTo>
                    <a:lnTo>
                      <a:pt x="19877" y="2562"/>
                    </a:lnTo>
                    <a:lnTo>
                      <a:pt x="17901" y="11626"/>
                    </a:lnTo>
                    <a:lnTo>
                      <a:pt x="16667" y="11626"/>
                    </a:lnTo>
                    <a:lnTo>
                      <a:pt x="16667" y="10640"/>
                    </a:lnTo>
                    <a:lnTo>
                      <a:pt x="15432" y="11626"/>
                    </a:lnTo>
                    <a:lnTo>
                      <a:pt x="15432" y="13202"/>
                    </a:lnTo>
                    <a:lnTo>
                      <a:pt x="14815" y="14680"/>
                    </a:lnTo>
                    <a:lnTo>
                      <a:pt x="13457" y="17241"/>
                    </a:lnTo>
                    <a:lnTo>
                      <a:pt x="11605" y="18325"/>
                    </a:lnTo>
                    <a:lnTo>
                      <a:pt x="11605" y="16847"/>
                    </a:lnTo>
                    <a:lnTo>
                      <a:pt x="12222" y="16847"/>
                    </a:lnTo>
                    <a:lnTo>
                      <a:pt x="12222" y="14680"/>
                    </a:lnTo>
                    <a:lnTo>
                      <a:pt x="11605" y="14680"/>
                    </a:lnTo>
                    <a:lnTo>
                      <a:pt x="9630" y="17241"/>
                    </a:lnTo>
                    <a:lnTo>
                      <a:pt x="8395" y="17241"/>
                    </a:lnTo>
                    <a:lnTo>
                      <a:pt x="7160" y="19901"/>
                    </a:lnTo>
                    <a:lnTo>
                      <a:pt x="5185" y="1990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0" name="Freeform 9"/>
              <p:cNvSpPr>
                <a:spLocks/>
              </p:cNvSpPr>
              <p:nvPr/>
            </p:nvSpPr>
            <p:spPr bwMode="auto">
              <a:xfrm>
                <a:off x="6527800" y="5062538"/>
                <a:ext cx="17463" cy="17462"/>
              </a:xfrm>
              <a:custGeom>
                <a:avLst/>
                <a:gdLst>
                  <a:gd name="T0" fmla="*/ 11852 w 20000"/>
                  <a:gd name="T1" fmla="*/ 19259 h 20000"/>
                  <a:gd name="T2" fmla="*/ 0 w 20000"/>
                  <a:gd name="T3" fmla="*/ 15556 h 20000"/>
                  <a:gd name="T4" fmla="*/ 7407 w 20000"/>
                  <a:gd name="T5" fmla="*/ 0 h 20000"/>
                  <a:gd name="T6" fmla="*/ 19259 w 20000"/>
                  <a:gd name="T7" fmla="*/ 15556 h 20000"/>
                  <a:gd name="T8" fmla="*/ 11852 w 20000"/>
                  <a:gd name="T9" fmla="*/ 19259 h 20000"/>
                </a:gdLst>
                <a:ahLst/>
                <a:cxnLst>
                  <a:cxn ang="0">
                    <a:pos x="T0" y="T1"/>
                  </a:cxn>
                  <a:cxn ang="0">
                    <a:pos x="T2" y="T3"/>
                  </a:cxn>
                  <a:cxn ang="0">
                    <a:pos x="T4" y="T5"/>
                  </a:cxn>
                  <a:cxn ang="0">
                    <a:pos x="T6" y="T7"/>
                  </a:cxn>
                  <a:cxn ang="0">
                    <a:pos x="T8" y="T9"/>
                  </a:cxn>
                </a:cxnLst>
                <a:rect l="0" t="0" r="r" b="b"/>
                <a:pathLst>
                  <a:path w="20000" h="20000">
                    <a:moveTo>
                      <a:pt x="11852" y="19259"/>
                    </a:moveTo>
                    <a:lnTo>
                      <a:pt x="0" y="15556"/>
                    </a:lnTo>
                    <a:lnTo>
                      <a:pt x="7407" y="0"/>
                    </a:lnTo>
                    <a:lnTo>
                      <a:pt x="19259" y="15556"/>
                    </a:lnTo>
                    <a:lnTo>
                      <a:pt x="11852"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1" name="Freeform 8"/>
              <p:cNvSpPr>
                <a:spLocks/>
              </p:cNvSpPr>
              <p:nvPr/>
            </p:nvSpPr>
            <p:spPr bwMode="auto">
              <a:xfrm>
                <a:off x="9590088" y="5102225"/>
                <a:ext cx="50800" cy="85725"/>
              </a:xfrm>
              <a:custGeom>
                <a:avLst/>
                <a:gdLst>
                  <a:gd name="T0" fmla="*/ 19747 w 20000"/>
                  <a:gd name="T1" fmla="*/ 19852 h 20000"/>
                  <a:gd name="T2" fmla="*/ 14430 w 20000"/>
                  <a:gd name="T3" fmla="*/ 18370 h 20000"/>
                  <a:gd name="T4" fmla="*/ 14430 w 20000"/>
                  <a:gd name="T5" fmla="*/ 16000 h 20000"/>
                  <a:gd name="T6" fmla="*/ 7848 w 20000"/>
                  <a:gd name="T7" fmla="*/ 13037 h 20000"/>
                  <a:gd name="T8" fmla="*/ 2785 w 20000"/>
                  <a:gd name="T9" fmla="*/ 6074 h 20000"/>
                  <a:gd name="T10" fmla="*/ 0 w 20000"/>
                  <a:gd name="T11" fmla="*/ 0 h 20000"/>
                  <a:gd name="T12" fmla="*/ 2785 w 20000"/>
                  <a:gd name="T13" fmla="*/ 593 h 20000"/>
                  <a:gd name="T14" fmla="*/ 7848 w 20000"/>
                  <a:gd name="T15" fmla="*/ 6074 h 20000"/>
                  <a:gd name="T16" fmla="*/ 10380 w 20000"/>
                  <a:gd name="T17" fmla="*/ 6815 h 20000"/>
                  <a:gd name="T18" fmla="*/ 10380 w 20000"/>
                  <a:gd name="T19" fmla="*/ 9926 h 20000"/>
                  <a:gd name="T20" fmla="*/ 14430 w 20000"/>
                  <a:gd name="T21" fmla="*/ 12296 h 20000"/>
                  <a:gd name="T22" fmla="*/ 19747 w 20000"/>
                  <a:gd name="T23" fmla="*/ 16889 h 20000"/>
                  <a:gd name="T24" fmla="*/ 19747 w 20000"/>
                  <a:gd name="T25" fmla="*/ 198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9747" y="19852"/>
                    </a:moveTo>
                    <a:lnTo>
                      <a:pt x="14430" y="18370"/>
                    </a:lnTo>
                    <a:lnTo>
                      <a:pt x="14430" y="16000"/>
                    </a:lnTo>
                    <a:lnTo>
                      <a:pt x="7848" y="13037"/>
                    </a:lnTo>
                    <a:lnTo>
                      <a:pt x="2785" y="6074"/>
                    </a:lnTo>
                    <a:lnTo>
                      <a:pt x="0" y="0"/>
                    </a:lnTo>
                    <a:lnTo>
                      <a:pt x="2785" y="593"/>
                    </a:lnTo>
                    <a:lnTo>
                      <a:pt x="7848" y="6074"/>
                    </a:lnTo>
                    <a:lnTo>
                      <a:pt x="10380" y="6815"/>
                    </a:lnTo>
                    <a:lnTo>
                      <a:pt x="10380" y="9926"/>
                    </a:lnTo>
                    <a:lnTo>
                      <a:pt x="14430" y="12296"/>
                    </a:lnTo>
                    <a:lnTo>
                      <a:pt x="19747" y="16889"/>
                    </a:lnTo>
                    <a:lnTo>
                      <a:pt x="19747" y="1985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2" name="Freeform 7"/>
              <p:cNvSpPr>
                <a:spLocks/>
              </p:cNvSpPr>
              <p:nvPr/>
            </p:nvSpPr>
            <p:spPr bwMode="auto">
              <a:xfrm>
                <a:off x="3267075" y="4010025"/>
                <a:ext cx="11113" cy="17463"/>
              </a:xfrm>
              <a:custGeom>
                <a:avLst/>
                <a:gdLst>
                  <a:gd name="T0" fmla="*/ 18824 w 20000"/>
                  <a:gd name="T1" fmla="*/ 19286 h 20000"/>
                  <a:gd name="T2" fmla="*/ 12941 w 20000"/>
                  <a:gd name="T3" fmla="*/ 19286 h 20000"/>
                  <a:gd name="T4" fmla="*/ 0 w 20000"/>
                  <a:gd name="T5" fmla="*/ 0 h 20000"/>
                  <a:gd name="T6" fmla="*/ 18824 w 20000"/>
                  <a:gd name="T7" fmla="*/ 7857 h 20000"/>
                  <a:gd name="T8" fmla="*/ 18824 w 20000"/>
                  <a:gd name="T9" fmla="*/ 19286 h 20000"/>
                </a:gdLst>
                <a:ahLst/>
                <a:cxnLst>
                  <a:cxn ang="0">
                    <a:pos x="T0" y="T1"/>
                  </a:cxn>
                  <a:cxn ang="0">
                    <a:pos x="T2" y="T3"/>
                  </a:cxn>
                  <a:cxn ang="0">
                    <a:pos x="T4" y="T5"/>
                  </a:cxn>
                  <a:cxn ang="0">
                    <a:pos x="T6" y="T7"/>
                  </a:cxn>
                  <a:cxn ang="0">
                    <a:pos x="T8" y="T9"/>
                  </a:cxn>
                </a:cxnLst>
                <a:rect l="0" t="0" r="r" b="b"/>
                <a:pathLst>
                  <a:path w="20000" h="20000">
                    <a:moveTo>
                      <a:pt x="18824" y="19286"/>
                    </a:moveTo>
                    <a:lnTo>
                      <a:pt x="12941" y="19286"/>
                    </a:lnTo>
                    <a:lnTo>
                      <a:pt x="0" y="0"/>
                    </a:lnTo>
                    <a:lnTo>
                      <a:pt x="18824" y="7857"/>
                    </a:lnTo>
                    <a:lnTo>
                      <a:pt x="18824"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3" name="Freeform 6"/>
              <p:cNvSpPr>
                <a:spLocks/>
              </p:cNvSpPr>
              <p:nvPr/>
            </p:nvSpPr>
            <p:spPr bwMode="auto">
              <a:xfrm>
                <a:off x="4516438" y="3484563"/>
                <a:ext cx="17462" cy="6350"/>
              </a:xfrm>
              <a:custGeom>
                <a:avLst/>
                <a:gdLst>
                  <a:gd name="T0" fmla="*/ 11852 w 20000"/>
                  <a:gd name="T1" fmla="*/ 18182 h 20000"/>
                  <a:gd name="T2" fmla="*/ 0 w 20000"/>
                  <a:gd name="T3" fmla="*/ 0 h 20000"/>
                  <a:gd name="T4" fmla="*/ 3704 w 20000"/>
                  <a:gd name="T5" fmla="*/ 0 h 20000"/>
                  <a:gd name="T6" fmla="*/ 19259 w 20000"/>
                  <a:gd name="T7" fmla="*/ 18182 h 20000"/>
                  <a:gd name="T8" fmla="*/ 11852 w 20000"/>
                  <a:gd name="T9" fmla="*/ 18182 h 20000"/>
                </a:gdLst>
                <a:ahLst/>
                <a:cxnLst>
                  <a:cxn ang="0">
                    <a:pos x="T0" y="T1"/>
                  </a:cxn>
                  <a:cxn ang="0">
                    <a:pos x="T2" y="T3"/>
                  </a:cxn>
                  <a:cxn ang="0">
                    <a:pos x="T4" y="T5"/>
                  </a:cxn>
                  <a:cxn ang="0">
                    <a:pos x="T6" y="T7"/>
                  </a:cxn>
                  <a:cxn ang="0">
                    <a:pos x="T8" y="T9"/>
                  </a:cxn>
                </a:cxnLst>
                <a:rect l="0" t="0" r="r" b="b"/>
                <a:pathLst>
                  <a:path w="20000" h="20000">
                    <a:moveTo>
                      <a:pt x="11852" y="18182"/>
                    </a:moveTo>
                    <a:lnTo>
                      <a:pt x="0" y="0"/>
                    </a:lnTo>
                    <a:lnTo>
                      <a:pt x="3704" y="0"/>
                    </a:lnTo>
                    <a:lnTo>
                      <a:pt x="19259" y="18182"/>
                    </a:lnTo>
                    <a:lnTo>
                      <a:pt x="11852" y="181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4" name="Freeform 5"/>
              <p:cNvSpPr>
                <a:spLocks/>
              </p:cNvSpPr>
              <p:nvPr/>
            </p:nvSpPr>
            <p:spPr bwMode="auto">
              <a:xfrm>
                <a:off x="4519613" y="3619500"/>
                <a:ext cx="17462" cy="17463"/>
              </a:xfrm>
              <a:custGeom>
                <a:avLst/>
                <a:gdLst>
                  <a:gd name="T0" fmla="*/ 7857 w 20000"/>
                  <a:gd name="T1" fmla="*/ 19259 h 20000"/>
                  <a:gd name="T2" fmla="*/ 0 w 20000"/>
                  <a:gd name="T3" fmla="*/ 4444 h 20000"/>
                  <a:gd name="T4" fmla="*/ 19286 w 20000"/>
                  <a:gd name="T5" fmla="*/ 0 h 20000"/>
                  <a:gd name="T6" fmla="*/ 15000 w 20000"/>
                  <a:gd name="T7" fmla="*/ 11852 h 20000"/>
                  <a:gd name="T8" fmla="*/ 7857 w 20000"/>
                  <a:gd name="T9" fmla="*/ 19259 h 20000"/>
                </a:gdLst>
                <a:ahLst/>
                <a:cxnLst>
                  <a:cxn ang="0">
                    <a:pos x="T0" y="T1"/>
                  </a:cxn>
                  <a:cxn ang="0">
                    <a:pos x="T2" y="T3"/>
                  </a:cxn>
                  <a:cxn ang="0">
                    <a:pos x="T4" y="T5"/>
                  </a:cxn>
                  <a:cxn ang="0">
                    <a:pos x="T6" y="T7"/>
                  </a:cxn>
                  <a:cxn ang="0">
                    <a:pos x="T8" y="T9"/>
                  </a:cxn>
                </a:cxnLst>
                <a:rect l="0" t="0" r="r" b="b"/>
                <a:pathLst>
                  <a:path w="20000" h="20000">
                    <a:moveTo>
                      <a:pt x="7857" y="19259"/>
                    </a:moveTo>
                    <a:lnTo>
                      <a:pt x="0" y="4444"/>
                    </a:lnTo>
                    <a:lnTo>
                      <a:pt x="19286" y="0"/>
                    </a:lnTo>
                    <a:lnTo>
                      <a:pt x="15000" y="11852"/>
                    </a:lnTo>
                    <a:lnTo>
                      <a:pt x="7857"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5" name="Freeform 4"/>
              <p:cNvSpPr>
                <a:spLocks/>
              </p:cNvSpPr>
              <p:nvPr/>
            </p:nvSpPr>
            <p:spPr bwMode="auto">
              <a:xfrm>
                <a:off x="4552950" y="3622675"/>
                <a:ext cx="11113" cy="17463"/>
              </a:xfrm>
              <a:custGeom>
                <a:avLst/>
                <a:gdLst>
                  <a:gd name="T0" fmla="*/ 11765 w 20000"/>
                  <a:gd name="T1" fmla="*/ 19259 h 20000"/>
                  <a:gd name="T2" fmla="*/ 0 w 20000"/>
                  <a:gd name="T3" fmla="*/ 14815 h 20000"/>
                  <a:gd name="T4" fmla="*/ 18824 w 20000"/>
                  <a:gd name="T5" fmla="*/ 0 h 20000"/>
                  <a:gd name="T6" fmla="*/ 11765 w 20000"/>
                  <a:gd name="T7" fmla="*/ 19259 h 20000"/>
                </a:gdLst>
                <a:ahLst/>
                <a:cxnLst>
                  <a:cxn ang="0">
                    <a:pos x="T0" y="T1"/>
                  </a:cxn>
                  <a:cxn ang="0">
                    <a:pos x="T2" y="T3"/>
                  </a:cxn>
                  <a:cxn ang="0">
                    <a:pos x="T4" y="T5"/>
                  </a:cxn>
                  <a:cxn ang="0">
                    <a:pos x="T6" y="T7"/>
                  </a:cxn>
                </a:cxnLst>
                <a:rect l="0" t="0" r="r" b="b"/>
                <a:pathLst>
                  <a:path w="20000" h="20000">
                    <a:moveTo>
                      <a:pt x="11765" y="19259"/>
                    </a:moveTo>
                    <a:lnTo>
                      <a:pt x="0" y="14815"/>
                    </a:lnTo>
                    <a:lnTo>
                      <a:pt x="18824" y="0"/>
                    </a:lnTo>
                    <a:lnTo>
                      <a:pt x="11765"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6" name="Freeform 3"/>
              <p:cNvSpPr>
                <a:spLocks/>
              </p:cNvSpPr>
              <p:nvPr/>
            </p:nvSpPr>
            <p:spPr bwMode="auto">
              <a:xfrm>
                <a:off x="3257550" y="3963988"/>
                <a:ext cx="17463" cy="11112"/>
              </a:xfrm>
              <a:custGeom>
                <a:avLst/>
                <a:gdLst>
                  <a:gd name="T0" fmla="*/ 3704 w 20000"/>
                  <a:gd name="T1" fmla="*/ 18824 h 20000"/>
                  <a:gd name="T2" fmla="*/ 0 w 20000"/>
                  <a:gd name="T3" fmla="*/ 18824 h 20000"/>
                  <a:gd name="T4" fmla="*/ 0 w 20000"/>
                  <a:gd name="T5" fmla="*/ 12941 h 20000"/>
                  <a:gd name="T6" fmla="*/ 11111 w 20000"/>
                  <a:gd name="T7" fmla="*/ 0 h 20000"/>
                  <a:gd name="T8" fmla="*/ 19259 w 20000"/>
                  <a:gd name="T9" fmla="*/ 12941 h 20000"/>
                  <a:gd name="T10" fmla="*/ 3704 w 20000"/>
                  <a:gd name="T11" fmla="*/ 12941 h 20000"/>
                  <a:gd name="T12" fmla="*/ 3704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3704" y="18824"/>
                    </a:moveTo>
                    <a:lnTo>
                      <a:pt x="0" y="18824"/>
                    </a:lnTo>
                    <a:lnTo>
                      <a:pt x="0" y="12941"/>
                    </a:lnTo>
                    <a:lnTo>
                      <a:pt x="11111" y="0"/>
                    </a:lnTo>
                    <a:lnTo>
                      <a:pt x="19259" y="12941"/>
                    </a:lnTo>
                    <a:lnTo>
                      <a:pt x="3704" y="12941"/>
                    </a:lnTo>
                    <a:lnTo>
                      <a:pt x="3704"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7" name="Freeform 2"/>
              <p:cNvSpPr>
                <a:spLocks/>
              </p:cNvSpPr>
              <p:nvPr/>
            </p:nvSpPr>
            <p:spPr bwMode="auto">
              <a:xfrm>
                <a:off x="8070850" y="4352925"/>
                <a:ext cx="285750" cy="234950"/>
              </a:xfrm>
              <a:custGeom>
                <a:avLst/>
                <a:gdLst>
                  <a:gd name="T0" fmla="*/ 2262 w 20000"/>
                  <a:gd name="T1" fmla="*/ 6775 h 20000"/>
                  <a:gd name="T2" fmla="*/ 5499 w 20000"/>
                  <a:gd name="T3" fmla="*/ 7588 h 20000"/>
                  <a:gd name="T4" fmla="*/ 9889 w 20000"/>
                  <a:gd name="T5" fmla="*/ 7317 h 20000"/>
                  <a:gd name="T6" fmla="*/ 12151 w 20000"/>
                  <a:gd name="T7" fmla="*/ 3089 h 20000"/>
                  <a:gd name="T8" fmla="*/ 13969 w 20000"/>
                  <a:gd name="T9" fmla="*/ 0 h 20000"/>
                  <a:gd name="T10" fmla="*/ 17428 w 20000"/>
                  <a:gd name="T11" fmla="*/ 867 h 20000"/>
                  <a:gd name="T12" fmla="*/ 16984 w 20000"/>
                  <a:gd name="T13" fmla="*/ 1680 h 20000"/>
                  <a:gd name="T14" fmla="*/ 16763 w 20000"/>
                  <a:gd name="T15" fmla="*/ 2222 h 20000"/>
                  <a:gd name="T16" fmla="*/ 17694 w 20000"/>
                  <a:gd name="T17" fmla="*/ 3686 h 20000"/>
                  <a:gd name="T18" fmla="*/ 17428 w 20000"/>
                  <a:gd name="T19" fmla="*/ 5095 h 20000"/>
                  <a:gd name="T20" fmla="*/ 19246 w 20000"/>
                  <a:gd name="T21" fmla="*/ 6775 h 20000"/>
                  <a:gd name="T22" fmla="*/ 19512 w 20000"/>
                  <a:gd name="T23" fmla="*/ 7588 h 20000"/>
                  <a:gd name="T24" fmla="*/ 16984 w 20000"/>
                  <a:gd name="T25" fmla="*/ 8726 h 20000"/>
                  <a:gd name="T26" fmla="*/ 16984 w 20000"/>
                  <a:gd name="T27" fmla="*/ 11762 h 20000"/>
                  <a:gd name="T28" fmla="*/ 14457 w 20000"/>
                  <a:gd name="T29" fmla="*/ 14038 h 20000"/>
                  <a:gd name="T30" fmla="*/ 14457 w 20000"/>
                  <a:gd name="T31" fmla="*/ 16856 h 20000"/>
                  <a:gd name="T32" fmla="*/ 10998 w 20000"/>
                  <a:gd name="T33" fmla="*/ 19946 h 20000"/>
                  <a:gd name="T34" fmla="*/ 9889 w 20000"/>
                  <a:gd name="T35" fmla="*/ 17940 h 20000"/>
                  <a:gd name="T36" fmla="*/ 9180 w 20000"/>
                  <a:gd name="T37" fmla="*/ 17073 h 20000"/>
                  <a:gd name="T38" fmla="*/ 7982 w 20000"/>
                  <a:gd name="T39" fmla="*/ 17073 h 20000"/>
                  <a:gd name="T40" fmla="*/ 7095 w 20000"/>
                  <a:gd name="T41" fmla="*/ 17940 h 20000"/>
                  <a:gd name="T42" fmla="*/ 5987 w 20000"/>
                  <a:gd name="T43" fmla="*/ 18537 h 20000"/>
                  <a:gd name="T44" fmla="*/ 4789 w 20000"/>
                  <a:gd name="T45" fmla="*/ 16856 h 20000"/>
                  <a:gd name="T46" fmla="*/ 3193 w 20000"/>
                  <a:gd name="T47" fmla="*/ 16856 h 20000"/>
                  <a:gd name="T48" fmla="*/ 2528 w 20000"/>
                  <a:gd name="T49" fmla="*/ 15447 h 20000"/>
                  <a:gd name="T50" fmla="*/ 2262 w 20000"/>
                  <a:gd name="T51" fmla="*/ 12629 h 20000"/>
                  <a:gd name="T52" fmla="*/ 710 w 20000"/>
                  <a:gd name="T53" fmla="*/ 11762 h 20000"/>
                  <a:gd name="T54" fmla="*/ 266 w 20000"/>
                  <a:gd name="T55" fmla="*/ 10949 h 20000"/>
                  <a:gd name="T56" fmla="*/ 0 w 20000"/>
                  <a:gd name="T57" fmla="*/ 8997 h 20000"/>
                  <a:gd name="T58" fmla="*/ 266 w 20000"/>
                  <a:gd name="T59" fmla="*/ 6179 h 20000"/>
                  <a:gd name="T60" fmla="*/ 1153 w 20000"/>
                  <a:gd name="T61" fmla="*/ 5095 h 20000"/>
                  <a:gd name="T62" fmla="*/ 1818 w 20000"/>
                  <a:gd name="T63" fmla="*/ 531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818" y="5312"/>
                    </a:moveTo>
                    <a:lnTo>
                      <a:pt x="2262" y="6775"/>
                    </a:lnTo>
                    <a:lnTo>
                      <a:pt x="4346" y="7588"/>
                    </a:lnTo>
                    <a:lnTo>
                      <a:pt x="5499" y="7588"/>
                    </a:lnTo>
                    <a:lnTo>
                      <a:pt x="7982" y="8130"/>
                    </a:lnTo>
                    <a:lnTo>
                      <a:pt x="9889" y="7317"/>
                    </a:lnTo>
                    <a:lnTo>
                      <a:pt x="11885" y="5908"/>
                    </a:lnTo>
                    <a:lnTo>
                      <a:pt x="12151" y="3089"/>
                    </a:lnTo>
                    <a:lnTo>
                      <a:pt x="13304" y="2818"/>
                    </a:lnTo>
                    <a:lnTo>
                      <a:pt x="13969" y="0"/>
                    </a:lnTo>
                    <a:lnTo>
                      <a:pt x="17428" y="325"/>
                    </a:lnTo>
                    <a:lnTo>
                      <a:pt x="17428" y="867"/>
                    </a:lnTo>
                    <a:lnTo>
                      <a:pt x="16984" y="1409"/>
                    </a:lnTo>
                    <a:lnTo>
                      <a:pt x="16984" y="1680"/>
                    </a:lnTo>
                    <a:lnTo>
                      <a:pt x="16763" y="1680"/>
                    </a:lnTo>
                    <a:lnTo>
                      <a:pt x="16763" y="2222"/>
                    </a:lnTo>
                    <a:lnTo>
                      <a:pt x="17428" y="2818"/>
                    </a:lnTo>
                    <a:lnTo>
                      <a:pt x="17694" y="3686"/>
                    </a:lnTo>
                    <a:lnTo>
                      <a:pt x="17694" y="3902"/>
                    </a:lnTo>
                    <a:lnTo>
                      <a:pt x="17428" y="5095"/>
                    </a:lnTo>
                    <a:lnTo>
                      <a:pt x="18137" y="5312"/>
                    </a:lnTo>
                    <a:lnTo>
                      <a:pt x="19246" y="6775"/>
                    </a:lnTo>
                    <a:lnTo>
                      <a:pt x="19956" y="7317"/>
                    </a:lnTo>
                    <a:lnTo>
                      <a:pt x="19512" y="7588"/>
                    </a:lnTo>
                    <a:lnTo>
                      <a:pt x="17694" y="8130"/>
                    </a:lnTo>
                    <a:lnTo>
                      <a:pt x="16984" y="8726"/>
                    </a:lnTo>
                    <a:lnTo>
                      <a:pt x="16763" y="10407"/>
                    </a:lnTo>
                    <a:lnTo>
                      <a:pt x="16984" y="11762"/>
                    </a:lnTo>
                    <a:lnTo>
                      <a:pt x="15610" y="13171"/>
                    </a:lnTo>
                    <a:lnTo>
                      <a:pt x="14457" y="14038"/>
                    </a:lnTo>
                    <a:lnTo>
                      <a:pt x="14678" y="14634"/>
                    </a:lnTo>
                    <a:lnTo>
                      <a:pt x="14457" y="16856"/>
                    </a:lnTo>
                    <a:lnTo>
                      <a:pt x="13792" y="18537"/>
                    </a:lnTo>
                    <a:lnTo>
                      <a:pt x="10998" y="19946"/>
                    </a:lnTo>
                    <a:lnTo>
                      <a:pt x="10776" y="17940"/>
                    </a:lnTo>
                    <a:lnTo>
                      <a:pt x="9889" y="17940"/>
                    </a:lnTo>
                    <a:lnTo>
                      <a:pt x="9180" y="18537"/>
                    </a:lnTo>
                    <a:lnTo>
                      <a:pt x="9180" y="17073"/>
                    </a:lnTo>
                    <a:lnTo>
                      <a:pt x="8958" y="17724"/>
                    </a:lnTo>
                    <a:lnTo>
                      <a:pt x="7982" y="17073"/>
                    </a:lnTo>
                    <a:lnTo>
                      <a:pt x="7805" y="17724"/>
                    </a:lnTo>
                    <a:lnTo>
                      <a:pt x="7095" y="17940"/>
                    </a:lnTo>
                    <a:lnTo>
                      <a:pt x="6652" y="17724"/>
                    </a:lnTo>
                    <a:lnTo>
                      <a:pt x="5987" y="18537"/>
                    </a:lnTo>
                    <a:lnTo>
                      <a:pt x="5499" y="17073"/>
                    </a:lnTo>
                    <a:lnTo>
                      <a:pt x="4789" y="16856"/>
                    </a:lnTo>
                    <a:lnTo>
                      <a:pt x="3636" y="17073"/>
                    </a:lnTo>
                    <a:lnTo>
                      <a:pt x="3193" y="16856"/>
                    </a:lnTo>
                    <a:lnTo>
                      <a:pt x="2528" y="17073"/>
                    </a:lnTo>
                    <a:lnTo>
                      <a:pt x="2528" y="15447"/>
                    </a:lnTo>
                    <a:lnTo>
                      <a:pt x="2528" y="14634"/>
                    </a:lnTo>
                    <a:lnTo>
                      <a:pt x="2262" y="12629"/>
                    </a:lnTo>
                    <a:lnTo>
                      <a:pt x="1375" y="11762"/>
                    </a:lnTo>
                    <a:lnTo>
                      <a:pt x="710" y="11762"/>
                    </a:lnTo>
                    <a:lnTo>
                      <a:pt x="1153" y="11220"/>
                    </a:lnTo>
                    <a:lnTo>
                      <a:pt x="266" y="10949"/>
                    </a:lnTo>
                    <a:lnTo>
                      <a:pt x="710" y="9864"/>
                    </a:lnTo>
                    <a:lnTo>
                      <a:pt x="0" y="8997"/>
                    </a:lnTo>
                    <a:lnTo>
                      <a:pt x="0" y="7588"/>
                    </a:lnTo>
                    <a:lnTo>
                      <a:pt x="266" y="6179"/>
                    </a:lnTo>
                    <a:lnTo>
                      <a:pt x="710" y="5312"/>
                    </a:lnTo>
                    <a:lnTo>
                      <a:pt x="1153" y="5095"/>
                    </a:lnTo>
                    <a:lnTo>
                      <a:pt x="1375" y="5095"/>
                    </a:lnTo>
                    <a:lnTo>
                      <a:pt x="1818" y="531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38" name="Freeform 1"/>
              <p:cNvSpPr>
                <a:spLocks/>
              </p:cNvSpPr>
              <p:nvPr/>
            </p:nvSpPr>
            <p:spPr bwMode="auto">
              <a:xfrm>
                <a:off x="5251450" y="4378325"/>
                <a:ext cx="60325" cy="44450"/>
              </a:xfrm>
              <a:custGeom>
                <a:avLst/>
                <a:gdLst>
                  <a:gd name="T0" fmla="*/ 4421 w 20000"/>
                  <a:gd name="T1" fmla="*/ 0 h 20000"/>
                  <a:gd name="T2" fmla="*/ 7789 w 20000"/>
                  <a:gd name="T3" fmla="*/ 3188 h 20000"/>
                  <a:gd name="T4" fmla="*/ 19789 w 20000"/>
                  <a:gd name="T5" fmla="*/ 4638 h 20000"/>
                  <a:gd name="T6" fmla="*/ 19789 w 20000"/>
                  <a:gd name="T7" fmla="*/ 19710 h 20000"/>
                  <a:gd name="T8" fmla="*/ 14316 w 20000"/>
                  <a:gd name="T9" fmla="*/ 19710 h 20000"/>
                  <a:gd name="T10" fmla="*/ 8842 w 20000"/>
                  <a:gd name="T11" fmla="*/ 19710 h 20000"/>
                  <a:gd name="T12" fmla="*/ 2316 w 20000"/>
                  <a:gd name="T13" fmla="*/ 19710 h 20000"/>
                  <a:gd name="T14" fmla="*/ 0 w 20000"/>
                  <a:gd name="T15" fmla="*/ 16522 h 20000"/>
                  <a:gd name="T16" fmla="*/ 4421 w 20000"/>
                  <a:gd name="T17" fmla="*/ 7826 h 20000"/>
                  <a:gd name="T18" fmla="*/ 4421 w 20000"/>
                  <a:gd name="T1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4421" y="0"/>
                    </a:moveTo>
                    <a:lnTo>
                      <a:pt x="7789" y="3188"/>
                    </a:lnTo>
                    <a:lnTo>
                      <a:pt x="19789" y="4638"/>
                    </a:lnTo>
                    <a:lnTo>
                      <a:pt x="19789" y="19710"/>
                    </a:lnTo>
                    <a:lnTo>
                      <a:pt x="14316" y="19710"/>
                    </a:lnTo>
                    <a:lnTo>
                      <a:pt x="8842" y="19710"/>
                    </a:lnTo>
                    <a:lnTo>
                      <a:pt x="2316" y="19710"/>
                    </a:lnTo>
                    <a:lnTo>
                      <a:pt x="0" y="16522"/>
                    </a:lnTo>
                    <a:lnTo>
                      <a:pt x="4421" y="7826"/>
                    </a:lnTo>
                    <a:lnTo>
                      <a:pt x="442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grpSp>
        <p:sp>
          <p:nvSpPr>
            <p:cNvPr id="641" name="Étoile à 5 branches 3372"/>
            <p:cNvSpPr/>
            <p:nvPr/>
          </p:nvSpPr>
          <p:spPr>
            <a:xfrm>
              <a:off x="8365553" y="2828673"/>
              <a:ext cx="241610" cy="202684"/>
            </a:xfrm>
            <a:prstGeom prst="star5">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sz="975">
                <a:solidFill>
                  <a:srgbClr val="FFFFFF"/>
                </a:solidFill>
              </a:endParaRPr>
            </a:p>
          </p:txBody>
        </p:sp>
        <p:sp>
          <p:nvSpPr>
            <p:cNvPr id="1243" name="Étoile à 5 branches 3372"/>
            <p:cNvSpPr/>
            <p:nvPr/>
          </p:nvSpPr>
          <p:spPr>
            <a:xfrm>
              <a:off x="7695825" y="3028592"/>
              <a:ext cx="241610" cy="202684"/>
            </a:xfrm>
            <a:prstGeom prst="star5">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sz="975">
                <a:solidFill>
                  <a:srgbClr val="FFFFFF"/>
                </a:solidFill>
              </a:endParaRPr>
            </a:p>
          </p:txBody>
        </p:sp>
      </p:grpSp>
      <p:pic>
        <p:nvPicPr>
          <p:cNvPr id="939" name="Picture 26"/>
          <p:cNvPicPr>
            <a:picLocks noChangeAspect="1"/>
          </p:cNvPicPr>
          <p:nvPr/>
        </p:nvPicPr>
        <p:blipFill rotWithShape="1">
          <a:blip r:embed="rId5" cstate="print">
            <a:extLst>
              <a:ext uri="{28A0092B-C50C-407E-A947-70E740481C1C}">
                <a14:useLocalDpi xmlns:a14="http://schemas.microsoft.com/office/drawing/2010/main" val="0"/>
              </a:ext>
            </a:extLst>
          </a:blip>
          <a:srcRect l="6253" t="16232" r="5789" b="14870"/>
          <a:stretch/>
        </p:blipFill>
        <p:spPr>
          <a:xfrm>
            <a:off x="3179234" y="2329387"/>
            <a:ext cx="1054331" cy="550085"/>
          </a:xfrm>
          <a:prstGeom prst="rect">
            <a:avLst/>
          </a:prstGeom>
        </p:spPr>
      </p:pic>
      <p:pic>
        <p:nvPicPr>
          <p:cNvPr id="940" name="Picture 10"/>
          <p:cNvPicPr>
            <a:picLocks noChangeAspect="1"/>
          </p:cNvPicPr>
          <p:nvPr/>
        </p:nvPicPr>
        <p:blipFill rotWithShape="1">
          <a:blip r:embed="rId6" cstate="print">
            <a:extLst>
              <a:ext uri="{28A0092B-C50C-407E-A947-70E740481C1C}">
                <a14:useLocalDpi xmlns:a14="http://schemas.microsoft.com/office/drawing/2010/main" val="0"/>
              </a:ext>
            </a:extLst>
          </a:blip>
          <a:srcRect l="29824" t="31062" r="6994" b="17563"/>
          <a:stretch/>
        </p:blipFill>
        <p:spPr>
          <a:xfrm>
            <a:off x="3176857" y="1632485"/>
            <a:ext cx="1059085" cy="564423"/>
          </a:xfrm>
          <a:prstGeom prst="rect">
            <a:avLst/>
          </a:prstGeom>
        </p:spPr>
      </p:pic>
      <p:sp>
        <p:nvSpPr>
          <p:cNvPr id="3" name="Triangle isocèle 2"/>
          <p:cNvSpPr/>
          <p:nvPr/>
        </p:nvSpPr>
        <p:spPr>
          <a:xfrm>
            <a:off x="591541" y="2893370"/>
            <a:ext cx="350442" cy="187585"/>
          </a:xfrm>
          <a:prstGeom prst="triangle">
            <a:avLst/>
          </a:prstGeom>
          <a:solidFill>
            <a:srgbClr val="E5A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42" name="Triangle isocèle 941"/>
          <p:cNvSpPr/>
          <p:nvPr/>
        </p:nvSpPr>
        <p:spPr>
          <a:xfrm>
            <a:off x="2839244" y="4869547"/>
            <a:ext cx="350442" cy="187585"/>
          </a:xfrm>
          <a:prstGeom prst="triangle">
            <a:avLst/>
          </a:prstGeom>
          <a:solidFill>
            <a:srgbClr val="E5A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44" name="Image 94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41817" y="1640356"/>
            <a:ext cx="1091427" cy="613381"/>
          </a:xfrm>
          <a:prstGeom prst="rect">
            <a:avLst/>
          </a:prstGeom>
        </p:spPr>
      </p:pic>
      <p:sp>
        <p:nvSpPr>
          <p:cNvPr id="945" name="Rectangle 944"/>
          <p:cNvSpPr/>
          <p:nvPr/>
        </p:nvSpPr>
        <p:spPr>
          <a:xfrm>
            <a:off x="5165380" y="1932686"/>
            <a:ext cx="3614232" cy="51659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lnSpc>
                <a:spcPct val="150000"/>
              </a:lnSpc>
              <a:tabLst>
                <a:tab pos="1752600" algn="r"/>
                <a:tab pos="2620566" algn="r"/>
              </a:tabLst>
            </a:pPr>
            <a:r>
              <a:rPr lang="fr-FR" sz="1100" dirty="0">
                <a:solidFill>
                  <a:schemeClr val="tx1">
                    <a:lumMod val="65000"/>
                    <a:lumOff val="35000"/>
                  </a:schemeClr>
                </a:solidFill>
              </a:rPr>
              <a:t>7.     KADJAR	</a:t>
            </a:r>
          </a:p>
          <a:p>
            <a:pPr defTabSz="685800">
              <a:lnSpc>
                <a:spcPct val="150000"/>
              </a:lnSpc>
              <a:tabLst>
                <a:tab pos="2620566" algn="r"/>
              </a:tabLst>
            </a:pPr>
            <a:r>
              <a:rPr lang="fr-FR" sz="1100" dirty="0">
                <a:solidFill>
                  <a:schemeClr val="tx1">
                    <a:lumMod val="65000"/>
                    <a:lumOff val="35000"/>
                  </a:schemeClr>
                </a:solidFill>
              </a:rPr>
              <a:t>8.     KOLEOS</a:t>
            </a:r>
          </a:p>
        </p:txBody>
      </p:sp>
      <p:sp>
        <p:nvSpPr>
          <p:cNvPr id="946" name="Rectangle 945"/>
          <p:cNvSpPr/>
          <p:nvPr/>
        </p:nvSpPr>
        <p:spPr>
          <a:xfrm>
            <a:off x="7607277" y="2476704"/>
            <a:ext cx="1160506" cy="5706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srgbClr val="FFFFFF"/>
              </a:solidFill>
            </a:endParaRPr>
          </a:p>
        </p:txBody>
      </p:sp>
      <p:pic>
        <p:nvPicPr>
          <p:cNvPr id="947" name="Image 946"/>
          <p:cNvPicPr>
            <a:picLocks noChangeAspect="1"/>
          </p:cNvPicPr>
          <p:nvPr/>
        </p:nvPicPr>
        <p:blipFill rotWithShape="1">
          <a:blip r:embed="rId8"/>
          <a:srcRect l="4645" t="3610" b="17151"/>
          <a:stretch/>
        </p:blipFill>
        <p:spPr>
          <a:xfrm>
            <a:off x="7730525" y="2345835"/>
            <a:ext cx="890489" cy="477492"/>
          </a:xfrm>
          <a:prstGeom prst="rect">
            <a:avLst/>
          </a:prstGeom>
        </p:spPr>
      </p:pic>
      <p:sp>
        <p:nvSpPr>
          <p:cNvPr id="948" name="Rectangle 947"/>
          <p:cNvSpPr/>
          <p:nvPr/>
        </p:nvSpPr>
        <p:spPr>
          <a:xfrm>
            <a:off x="4841611" y="3083833"/>
            <a:ext cx="3938000" cy="646331"/>
          </a:xfrm>
          <a:prstGeom prst="rect">
            <a:avLst/>
          </a:prstGeom>
          <a:solidFill>
            <a:schemeClr val="accent1">
              <a:lumMod val="75000"/>
            </a:schemeClr>
          </a:solidFill>
          <a:ln w="28575">
            <a:solidFill>
              <a:srgbClr val="E6AA00"/>
            </a:solidFill>
          </a:ln>
        </p:spPr>
        <p:txBody>
          <a:bodyPr wrap="square">
            <a:spAutoFit/>
          </a:bodyPr>
          <a:lstStyle/>
          <a:p>
            <a:pPr defTabSz="685800"/>
            <a:r>
              <a:rPr lang="en-US" dirty="0">
                <a:solidFill>
                  <a:schemeClr val="bg1"/>
                </a:solidFill>
              </a:rPr>
              <a:t>OFFENSIVE PRODUITS EN CHINE</a:t>
            </a:r>
            <a:br>
              <a:rPr lang="en-US" dirty="0">
                <a:solidFill>
                  <a:schemeClr val="bg1"/>
                </a:solidFill>
              </a:rPr>
            </a:br>
            <a:r>
              <a:rPr lang="en-US" dirty="0">
                <a:solidFill>
                  <a:schemeClr val="bg1"/>
                </a:solidFill>
              </a:rPr>
              <a:t>AVEC UNE PRODUCTION LOCALE</a:t>
            </a:r>
          </a:p>
        </p:txBody>
      </p:sp>
      <p:grpSp>
        <p:nvGrpSpPr>
          <p:cNvPr id="949" name="Groupe 2162"/>
          <p:cNvGrpSpPr>
            <a:grpSpLocks noChangeAspect="1"/>
          </p:cNvGrpSpPr>
          <p:nvPr/>
        </p:nvGrpSpPr>
        <p:grpSpPr bwMode="auto">
          <a:xfrm>
            <a:off x="7917609" y="3139277"/>
            <a:ext cx="771383" cy="396745"/>
            <a:chOff x="7640754" y="2784671"/>
            <a:chExt cx="1162081" cy="668062"/>
          </a:xfrm>
          <a:solidFill>
            <a:srgbClr val="FFF5D6"/>
          </a:solidFill>
        </p:grpSpPr>
        <p:grpSp>
          <p:nvGrpSpPr>
            <p:cNvPr id="950" name="Groupe 3371"/>
            <p:cNvGrpSpPr/>
            <p:nvPr/>
          </p:nvGrpSpPr>
          <p:grpSpPr>
            <a:xfrm>
              <a:off x="7640754" y="2784671"/>
              <a:ext cx="1162081" cy="668062"/>
              <a:chOff x="892175" y="1119188"/>
              <a:chExt cx="8924925" cy="5130800"/>
            </a:xfrm>
            <a:grpFill/>
          </p:grpSpPr>
          <p:sp>
            <p:nvSpPr>
              <p:cNvPr id="953" name="Freeform 296"/>
              <p:cNvSpPr>
                <a:spLocks/>
              </p:cNvSpPr>
              <p:nvPr/>
            </p:nvSpPr>
            <p:spPr bwMode="auto">
              <a:xfrm>
                <a:off x="5499100" y="3162300"/>
                <a:ext cx="53975" cy="104775"/>
              </a:xfrm>
              <a:custGeom>
                <a:avLst/>
                <a:gdLst>
                  <a:gd name="T0" fmla="*/ 0 w 20000"/>
                  <a:gd name="T1" fmla="*/ 4940 h 20000"/>
                  <a:gd name="T2" fmla="*/ 3810 w 20000"/>
                  <a:gd name="T3" fmla="*/ 1928 h 20000"/>
                  <a:gd name="T4" fmla="*/ 7381 w 20000"/>
                  <a:gd name="T5" fmla="*/ 0 h 20000"/>
                  <a:gd name="T6" fmla="*/ 15952 w 20000"/>
                  <a:gd name="T7" fmla="*/ 3133 h 20000"/>
                  <a:gd name="T8" fmla="*/ 15952 w 20000"/>
                  <a:gd name="T9" fmla="*/ 4940 h 20000"/>
                  <a:gd name="T10" fmla="*/ 15952 w 20000"/>
                  <a:gd name="T11" fmla="*/ 6145 h 20000"/>
                  <a:gd name="T12" fmla="*/ 15952 w 20000"/>
                  <a:gd name="T13" fmla="*/ 8072 h 20000"/>
                  <a:gd name="T14" fmla="*/ 17381 w 20000"/>
                  <a:gd name="T15" fmla="*/ 9880 h 20000"/>
                  <a:gd name="T16" fmla="*/ 19762 w 20000"/>
                  <a:gd name="T17" fmla="*/ 13012 h 20000"/>
                  <a:gd name="T18" fmla="*/ 15952 w 20000"/>
                  <a:gd name="T19" fmla="*/ 17952 h 20000"/>
                  <a:gd name="T20" fmla="*/ 11190 w 20000"/>
                  <a:gd name="T21" fmla="*/ 19880 h 20000"/>
                  <a:gd name="T22" fmla="*/ 11190 w 20000"/>
                  <a:gd name="T23" fmla="*/ 19277 h 20000"/>
                  <a:gd name="T24" fmla="*/ 7381 w 20000"/>
                  <a:gd name="T25" fmla="*/ 16747 h 20000"/>
                  <a:gd name="T26" fmla="*/ 1429 w 20000"/>
                  <a:gd name="T27" fmla="*/ 14940 h 20000"/>
                  <a:gd name="T28" fmla="*/ 3810 w 20000"/>
                  <a:gd name="T29" fmla="*/ 14940 h 20000"/>
                  <a:gd name="T30" fmla="*/ 3810 w 20000"/>
                  <a:gd name="T31" fmla="*/ 11807 h 20000"/>
                  <a:gd name="T32" fmla="*/ 4762 w 20000"/>
                  <a:gd name="T33" fmla="*/ 11084 h 20000"/>
                  <a:gd name="T34" fmla="*/ 3810 w 20000"/>
                  <a:gd name="T35" fmla="*/ 9880 h 20000"/>
                  <a:gd name="T36" fmla="*/ 3810 w 20000"/>
                  <a:gd name="T37" fmla="*/ 6867 h 20000"/>
                  <a:gd name="T38" fmla="*/ 0 w 20000"/>
                  <a:gd name="T39" fmla="*/ 494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0" y="4940"/>
                    </a:moveTo>
                    <a:lnTo>
                      <a:pt x="3810" y="1928"/>
                    </a:lnTo>
                    <a:lnTo>
                      <a:pt x="7381" y="0"/>
                    </a:lnTo>
                    <a:lnTo>
                      <a:pt x="15952" y="3133"/>
                    </a:lnTo>
                    <a:lnTo>
                      <a:pt x="15952" y="4940"/>
                    </a:lnTo>
                    <a:lnTo>
                      <a:pt x="15952" y="6145"/>
                    </a:lnTo>
                    <a:lnTo>
                      <a:pt x="15952" y="8072"/>
                    </a:lnTo>
                    <a:lnTo>
                      <a:pt x="17381" y="9880"/>
                    </a:lnTo>
                    <a:lnTo>
                      <a:pt x="19762" y="13012"/>
                    </a:lnTo>
                    <a:lnTo>
                      <a:pt x="15952" y="17952"/>
                    </a:lnTo>
                    <a:lnTo>
                      <a:pt x="11190" y="19880"/>
                    </a:lnTo>
                    <a:lnTo>
                      <a:pt x="11190" y="19277"/>
                    </a:lnTo>
                    <a:lnTo>
                      <a:pt x="7381" y="16747"/>
                    </a:lnTo>
                    <a:lnTo>
                      <a:pt x="1429" y="14940"/>
                    </a:lnTo>
                    <a:lnTo>
                      <a:pt x="3810" y="14940"/>
                    </a:lnTo>
                    <a:lnTo>
                      <a:pt x="3810" y="11807"/>
                    </a:lnTo>
                    <a:lnTo>
                      <a:pt x="4762" y="11084"/>
                    </a:lnTo>
                    <a:lnTo>
                      <a:pt x="3810" y="9880"/>
                    </a:lnTo>
                    <a:lnTo>
                      <a:pt x="3810" y="6867"/>
                    </a:lnTo>
                    <a:lnTo>
                      <a:pt x="0" y="494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54" name="Freeform 295"/>
              <p:cNvSpPr>
                <a:spLocks/>
              </p:cNvSpPr>
              <p:nvPr/>
            </p:nvSpPr>
            <p:spPr bwMode="auto">
              <a:xfrm>
                <a:off x="5062538" y="2851150"/>
                <a:ext cx="96837" cy="69850"/>
              </a:xfrm>
              <a:custGeom>
                <a:avLst/>
                <a:gdLst>
                  <a:gd name="T0" fmla="*/ 0 w 20000"/>
                  <a:gd name="T1" fmla="*/ 3670 h 20000"/>
                  <a:gd name="T2" fmla="*/ 3421 w 20000"/>
                  <a:gd name="T3" fmla="*/ 734 h 20000"/>
                  <a:gd name="T4" fmla="*/ 4868 w 20000"/>
                  <a:gd name="T5" fmla="*/ 734 h 20000"/>
                  <a:gd name="T6" fmla="*/ 5395 w 20000"/>
                  <a:gd name="T7" fmla="*/ 2936 h 20000"/>
                  <a:gd name="T8" fmla="*/ 6711 w 20000"/>
                  <a:gd name="T9" fmla="*/ 734 h 20000"/>
                  <a:gd name="T10" fmla="*/ 8816 w 20000"/>
                  <a:gd name="T11" fmla="*/ 0 h 20000"/>
                  <a:gd name="T12" fmla="*/ 10921 w 20000"/>
                  <a:gd name="T13" fmla="*/ 0 h 20000"/>
                  <a:gd name="T14" fmla="*/ 13684 w 20000"/>
                  <a:gd name="T15" fmla="*/ 734 h 20000"/>
                  <a:gd name="T16" fmla="*/ 16447 w 20000"/>
                  <a:gd name="T17" fmla="*/ 2936 h 20000"/>
                  <a:gd name="T18" fmla="*/ 15789 w 20000"/>
                  <a:gd name="T19" fmla="*/ 5688 h 20000"/>
                  <a:gd name="T20" fmla="*/ 19079 w 20000"/>
                  <a:gd name="T21" fmla="*/ 7523 h 20000"/>
                  <a:gd name="T22" fmla="*/ 19868 w 20000"/>
                  <a:gd name="T23" fmla="*/ 12294 h 20000"/>
                  <a:gd name="T24" fmla="*/ 17763 w 20000"/>
                  <a:gd name="T25" fmla="*/ 13211 h 20000"/>
                  <a:gd name="T26" fmla="*/ 16447 w 20000"/>
                  <a:gd name="T27" fmla="*/ 15046 h 20000"/>
                  <a:gd name="T28" fmla="*/ 16447 w 20000"/>
                  <a:gd name="T29" fmla="*/ 19817 h 20000"/>
                  <a:gd name="T30" fmla="*/ 15789 w 20000"/>
                  <a:gd name="T31" fmla="*/ 19817 h 20000"/>
                  <a:gd name="T32" fmla="*/ 12368 w 20000"/>
                  <a:gd name="T33" fmla="*/ 17982 h 20000"/>
                  <a:gd name="T34" fmla="*/ 10921 w 20000"/>
                  <a:gd name="T35" fmla="*/ 13211 h 20000"/>
                  <a:gd name="T36" fmla="*/ 10263 w 20000"/>
                  <a:gd name="T37" fmla="*/ 16147 h 20000"/>
                  <a:gd name="T38" fmla="*/ 5395 w 20000"/>
                  <a:gd name="T39" fmla="*/ 10459 h 20000"/>
                  <a:gd name="T40" fmla="*/ 4868 w 20000"/>
                  <a:gd name="T41" fmla="*/ 8624 h 20000"/>
                  <a:gd name="T42" fmla="*/ 3421 w 20000"/>
                  <a:gd name="T43" fmla="*/ 5688 h 20000"/>
                  <a:gd name="T44" fmla="*/ 2105 w 20000"/>
                  <a:gd name="T45" fmla="*/ 7523 h 20000"/>
                  <a:gd name="T46" fmla="*/ 0 w 20000"/>
                  <a:gd name="T47" fmla="*/ 5688 h 20000"/>
                  <a:gd name="T48" fmla="*/ 0 w 20000"/>
                  <a:gd name="T49" fmla="*/ 367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0" y="3670"/>
                    </a:moveTo>
                    <a:lnTo>
                      <a:pt x="3421" y="734"/>
                    </a:lnTo>
                    <a:lnTo>
                      <a:pt x="4868" y="734"/>
                    </a:lnTo>
                    <a:lnTo>
                      <a:pt x="5395" y="2936"/>
                    </a:lnTo>
                    <a:lnTo>
                      <a:pt x="6711" y="734"/>
                    </a:lnTo>
                    <a:lnTo>
                      <a:pt x="8816" y="0"/>
                    </a:lnTo>
                    <a:lnTo>
                      <a:pt x="10921" y="0"/>
                    </a:lnTo>
                    <a:lnTo>
                      <a:pt x="13684" y="734"/>
                    </a:lnTo>
                    <a:lnTo>
                      <a:pt x="16447" y="2936"/>
                    </a:lnTo>
                    <a:lnTo>
                      <a:pt x="15789" y="5688"/>
                    </a:lnTo>
                    <a:lnTo>
                      <a:pt x="19079" y="7523"/>
                    </a:lnTo>
                    <a:lnTo>
                      <a:pt x="19868" y="12294"/>
                    </a:lnTo>
                    <a:lnTo>
                      <a:pt x="17763" y="13211"/>
                    </a:lnTo>
                    <a:lnTo>
                      <a:pt x="16447" y="15046"/>
                    </a:lnTo>
                    <a:lnTo>
                      <a:pt x="16447" y="19817"/>
                    </a:lnTo>
                    <a:lnTo>
                      <a:pt x="15789" y="19817"/>
                    </a:lnTo>
                    <a:lnTo>
                      <a:pt x="12368" y="17982"/>
                    </a:lnTo>
                    <a:lnTo>
                      <a:pt x="10921" y="13211"/>
                    </a:lnTo>
                    <a:lnTo>
                      <a:pt x="10263" y="16147"/>
                    </a:lnTo>
                    <a:lnTo>
                      <a:pt x="5395" y="10459"/>
                    </a:lnTo>
                    <a:lnTo>
                      <a:pt x="4868" y="8624"/>
                    </a:lnTo>
                    <a:lnTo>
                      <a:pt x="3421" y="5688"/>
                    </a:lnTo>
                    <a:lnTo>
                      <a:pt x="2105" y="7523"/>
                    </a:lnTo>
                    <a:lnTo>
                      <a:pt x="0" y="5688"/>
                    </a:lnTo>
                    <a:lnTo>
                      <a:pt x="0" y="367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55" name="Freeform 294"/>
              <p:cNvSpPr>
                <a:spLocks/>
              </p:cNvSpPr>
              <p:nvPr/>
            </p:nvSpPr>
            <p:spPr bwMode="auto">
              <a:xfrm>
                <a:off x="5588000" y="3111500"/>
                <a:ext cx="155575" cy="98425"/>
              </a:xfrm>
              <a:custGeom>
                <a:avLst/>
                <a:gdLst>
                  <a:gd name="T0" fmla="*/ 0 w 20000"/>
                  <a:gd name="T1" fmla="*/ 0 h 20000"/>
                  <a:gd name="T2" fmla="*/ 1306 w 20000"/>
                  <a:gd name="T3" fmla="*/ 513 h 20000"/>
                  <a:gd name="T4" fmla="*/ 898 w 20000"/>
                  <a:gd name="T5" fmla="*/ 1795 h 20000"/>
                  <a:gd name="T6" fmla="*/ 898 w 20000"/>
                  <a:gd name="T7" fmla="*/ 3333 h 20000"/>
                  <a:gd name="T8" fmla="*/ 3020 w 20000"/>
                  <a:gd name="T9" fmla="*/ 1795 h 20000"/>
                  <a:gd name="T10" fmla="*/ 4653 w 20000"/>
                  <a:gd name="T11" fmla="*/ 3333 h 20000"/>
                  <a:gd name="T12" fmla="*/ 5551 w 20000"/>
                  <a:gd name="T13" fmla="*/ 3333 h 20000"/>
                  <a:gd name="T14" fmla="*/ 7673 w 20000"/>
                  <a:gd name="T15" fmla="*/ 3333 h 20000"/>
                  <a:gd name="T16" fmla="*/ 9714 w 20000"/>
                  <a:gd name="T17" fmla="*/ 3846 h 20000"/>
                  <a:gd name="T18" fmla="*/ 10204 w 20000"/>
                  <a:gd name="T19" fmla="*/ 3333 h 20000"/>
                  <a:gd name="T20" fmla="*/ 11837 w 20000"/>
                  <a:gd name="T21" fmla="*/ 1795 h 20000"/>
                  <a:gd name="T22" fmla="*/ 15265 w 20000"/>
                  <a:gd name="T23" fmla="*/ 0 h 20000"/>
                  <a:gd name="T24" fmla="*/ 15673 w 20000"/>
                  <a:gd name="T25" fmla="*/ 513 h 20000"/>
                  <a:gd name="T26" fmla="*/ 18612 w 20000"/>
                  <a:gd name="T27" fmla="*/ 513 h 20000"/>
                  <a:gd name="T28" fmla="*/ 19020 w 20000"/>
                  <a:gd name="T29" fmla="*/ 1795 h 20000"/>
                  <a:gd name="T30" fmla="*/ 19918 w 20000"/>
                  <a:gd name="T31" fmla="*/ 1795 h 20000"/>
                  <a:gd name="T32" fmla="*/ 19918 w 20000"/>
                  <a:gd name="T33" fmla="*/ 5256 h 20000"/>
                  <a:gd name="T34" fmla="*/ 19020 w 20000"/>
                  <a:gd name="T35" fmla="*/ 5256 h 20000"/>
                  <a:gd name="T36" fmla="*/ 17714 w 20000"/>
                  <a:gd name="T37" fmla="*/ 7308 h 20000"/>
                  <a:gd name="T38" fmla="*/ 18612 w 20000"/>
                  <a:gd name="T39" fmla="*/ 10513 h 20000"/>
                  <a:gd name="T40" fmla="*/ 17388 w 20000"/>
                  <a:gd name="T41" fmla="*/ 11795 h 20000"/>
                  <a:gd name="T42" fmla="*/ 19020 w 20000"/>
                  <a:gd name="T43" fmla="*/ 14615 h 20000"/>
                  <a:gd name="T44" fmla="*/ 17714 w 20000"/>
                  <a:gd name="T45" fmla="*/ 14615 h 20000"/>
                  <a:gd name="T46" fmla="*/ 16571 w 20000"/>
                  <a:gd name="T47" fmla="*/ 13846 h 20000"/>
                  <a:gd name="T48" fmla="*/ 13551 w 20000"/>
                  <a:gd name="T49" fmla="*/ 15897 h 20000"/>
                  <a:gd name="T50" fmla="*/ 13061 w 20000"/>
                  <a:gd name="T51" fmla="*/ 15897 h 20000"/>
                  <a:gd name="T52" fmla="*/ 13061 w 20000"/>
                  <a:gd name="T53" fmla="*/ 19103 h 20000"/>
                  <a:gd name="T54" fmla="*/ 11020 w 20000"/>
                  <a:gd name="T55" fmla="*/ 19872 h 20000"/>
                  <a:gd name="T56" fmla="*/ 9714 w 20000"/>
                  <a:gd name="T57" fmla="*/ 19103 h 20000"/>
                  <a:gd name="T58" fmla="*/ 8490 w 20000"/>
                  <a:gd name="T59" fmla="*/ 19103 h 20000"/>
                  <a:gd name="T60" fmla="*/ 7673 w 20000"/>
                  <a:gd name="T61" fmla="*/ 17821 h 20000"/>
                  <a:gd name="T62" fmla="*/ 2204 w 20000"/>
                  <a:gd name="T63" fmla="*/ 19103 h 20000"/>
                  <a:gd name="T64" fmla="*/ 2204 w 20000"/>
                  <a:gd name="T65" fmla="*/ 15897 h 20000"/>
                  <a:gd name="T66" fmla="*/ 0 w 20000"/>
                  <a:gd name="T67" fmla="*/ 12564 h 20000"/>
                  <a:gd name="T68" fmla="*/ 898 w 20000"/>
                  <a:gd name="T69" fmla="*/ 11795 h 20000"/>
                  <a:gd name="T70" fmla="*/ 0 w 20000"/>
                  <a:gd name="T71" fmla="*/ 10513 h 20000"/>
                  <a:gd name="T72" fmla="*/ 0 w 20000"/>
                  <a:gd name="T73" fmla="*/ 9231 h 20000"/>
                  <a:gd name="T74" fmla="*/ 898 w 20000"/>
                  <a:gd name="T75" fmla="*/ 8590 h 20000"/>
                  <a:gd name="T76" fmla="*/ 1306 w 20000"/>
                  <a:gd name="T77" fmla="*/ 7308 h 20000"/>
                  <a:gd name="T78" fmla="*/ 898 w 20000"/>
                  <a:gd name="T79" fmla="*/ 5897 h 20000"/>
                  <a:gd name="T80" fmla="*/ 0 w 20000"/>
                  <a:gd name="T81" fmla="*/ 3846 h 20000"/>
                  <a:gd name="T82" fmla="*/ 0 w 20000"/>
                  <a:gd name="T8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0" y="0"/>
                    </a:moveTo>
                    <a:lnTo>
                      <a:pt x="1306" y="513"/>
                    </a:lnTo>
                    <a:lnTo>
                      <a:pt x="898" y="1795"/>
                    </a:lnTo>
                    <a:lnTo>
                      <a:pt x="898" y="3333"/>
                    </a:lnTo>
                    <a:lnTo>
                      <a:pt x="3020" y="1795"/>
                    </a:lnTo>
                    <a:lnTo>
                      <a:pt x="4653" y="3333"/>
                    </a:lnTo>
                    <a:lnTo>
                      <a:pt x="5551" y="3333"/>
                    </a:lnTo>
                    <a:lnTo>
                      <a:pt x="7673" y="3333"/>
                    </a:lnTo>
                    <a:lnTo>
                      <a:pt x="9714" y="3846"/>
                    </a:lnTo>
                    <a:lnTo>
                      <a:pt x="10204" y="3333"/>
                    </a:lnTo>
                    <a:lnTo>
                      <a:pt x="11837" y="1795"/>
                    </a:lnTo>
                    <a:lnTo>
                      <a:pt x="15265" y="0"/>
                    </a:lnTo>
                    <a:lnTo>
                      <a:pt x="15673" y="513"/>
                    </a:lnTo>
                    <a:lnTo>
                      <a:pt x="18612" y="513"/>
                    </a:lnTo>
                    <a:lnTo>
                      <a:pt x="19020" y="1795"/>
                    </a:lnTo>
                    <a:lnTo>
                      <a:pt x="19918" y="1795"/>
                    </a:lnTo>
                    <a:lnTo>
                      <a:pt x="19918" y="5256"/>
                    </a:lnTo>
                    <a:lnTo>
                      <a:pt x="19020" y="5256"/>
                    </a:lnTo>
                    <a:lnTo>
                      <a:pt x="17714" y="7308"/>
                    </a:lnTo>
                    <a:lnTo>
                      <a:pt x="18612" y="10513"/>
                    </a:lnTo>
                    <a:lnTo>
                      <a:pt x="17388" y="11795"/>
                    </a:lnTo>
                    <a:lnTo>
                      <a:pt x="19020" y="14615"/>
                    </a:lnTo>
                    <a:lnTo>
                      <a:pt x="17714" y="14615"/>
                    </a:lnTo>
                    <a:lnTo>
                      <a:pt x="16571" y="13846"/>
                    </a:lnTo>
                    <a:lnTo>
                      <a:pt x="13551" y="15897"/>
                    </a:lnTo>
                    <a:lnTo>
                      <a:pt x="13061" y="15897"/>
                    </a:lnTo>
                    <a:lnTo>
                      <a:pt x="13061" y="19103"/>
                    </a:lnTo>
                    <a:lnTo>
                      <a:pt x="11020" y="19872"/>
                    </a:lnTo>
                    <a:lnTo>
                      <a:pt x="9714" y="19103"/>
                    </a:lnTo>
                    <a:lnTo>
                      <a:pt x="8490" y="19103"/>
                    </a:lnTo>
                    <a:lnTo>
                      <a:pt x="7673" y="17821"/>
                    </a:lnTo>
                    <a:lnTo>
                      <a:pt x="2204" y="19103"/>
                    </a:lnTo>
                    <a:lnTo>
                      <a:pt x="2204" y="15897"/>
                    </a:lnTo>
                    <a:lnTo>
                      <a:pt x="0" y="12564"/>
                    </a:lnTo>
                    <a:lnTo>
                      <a:pt x="898" y="11795"/>
                    </a:lnTo>
                    <a:lnTo>
                      <a:pt x="0" y="10513"/>
                    </a:lnTo>
                    <a:lnTo>
                      <a:pt x="0" y="9231"/>
                    </a:lnTo>
                    <a:lnTo>
                      <a:pt x="898" y="8590"/>
                    </a:lnTo>
                    <a:lnTo>
                      <a:pt x="1306" y="7308"/>
                    </a:lnTo>
                    <a:lnTo>
                      <a:pt x="898" y="5897"/>
                    </a:lnTo>
                    <a:lnTo>
                      <a:pt x="0" y="3846"/>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56" name="Freeform 293"/>
              <p:cNvSpPr>
                <a:spLocks/>
              </p:cNvSpPr>
              <p:nvPr/>
            </p:nvSpPr>
            <p:spPr bwMode="auto">
              <a:xfrm>
                <a:off x="5197475" y="2630488"/>
                <a:ext cx="69850" cy="85725"/>
              </a:xfrm>
              <a:custGeom>
                <a:avLst/>
                <a:gdLst>
                  <a:gd name="T0" fmla="*/ 2569 w 20000"/>
                  <a:gd name="T1" fmla="*/ 19111 h 20000"/>
                  <a:gd name="T2" fmla="*/ 2569 w 20000"/>
                  <a:gd name="T3" fmla="*/ 13778 h 20000"/>
                  <a:gd name="T4" fmla="*/ 734 w 20000"/>
                  <a:gd name="T5" fmla="*/ 12296 h 20000"/>
                  <a:gd name="T6" fmla="*/ 0 w 20000"/>
                  <a:gd name="T7" fmla="*/ 13778 h 20000"/>
                  <a:gd name="T8" fmla="*/ 0 w 20000"/>
                  <a:gd name="T9" fmla="*/ 7556 h 20000"/>
                  <a:gd name="T10" fmla="*/ 0 w 20000"/>
                  <a:gd name="T11" fmla="*/ 3852 h 20000"/>
                  <a:gd name="T12" fmla="*/ 2569 w 20000"/>
                  <a:gd name="T13" fmla="*/ 5333 h 20000"/>
                  <a:gd name="T14" fmla="*/ 3670 w 20000"/>
                  <a:gd name="T15" fmla="*/ 1481 h 20000"/>
                  <a:gd name="T16" fmla="*/ 7523 w 20000"/>
                  <a:gd name="T17" fmla="*/ 2963 h 20000"/>
                  <a:gd name="T18" fmla="*/ 7523 w 20000"/>
                  <a:gd name="T19" fmla="*/ 0 h 20000"/>
                  <a:gd name="T20" fmla="*/ 13211 w 20000"/>
                  <a:gd name="T21" fmla="*/ 0 h 20000"/>
                  <a:gd name="T22" fmla="*/ 15963 w 20000"/>
                  <a:gd name="T23" fmla="*/ 3852 h 20000"/>
                  <a:gd name="T24" fmla="*/ 19817 w 20000"/>
                  <a:gd name="T25" fmla="*/ 5333 h 20000"/>
                  <a:gd name="T26" fmla="*/ 17982 w 20000"/>
                  <a:gd name="T27" fmla="*/ 7556 h 20000"/>
                  <a:gd name="T28" fmla="*/ 15046 w 20000"/>
                  <a:gd name="T29" fmla="*/ 7556 h 20000"/>
                  <a:gd name="T30" fmla="*/ 15046 w 20000"/>
                  <a:gd name="T31" fmla="*/ 9037 h 20000"/>
                  <a:gd name="T32" fmla="*/ 15046 w 20000"/>
                  <a:gd name="T33" fmla="*/ 9926 h 20000"/>
                  <a:gd name="T34" fmla="*/ 13211 w 20000"/>
                  <a:gd name="T35" fmla="*/ 12296 h 20000"/>
                  <a:gd name="T36" fmla="*/ 10459 w 20000"/>
                  <a:gd name="T37" fmla="*/ 13778 h 20000"/>
                  <a:gd name="T38" fmla="*/ 10459 w 20000"/>
                  <a:gd name="T39" fmla="*/ 17630 h 20000"/>
                  <a:gd name="T40" fmla="*/ 10459 w 20000"/>
                  <a:gd name="T41" fmla="*/ 19852 h 20000"/>
                  <a:gd name="T42" fmla="*/ 7523 w 20000"/>
                  <a:gd name="T43" fmla="*/ 19852 h 20000"/>
                  <a:gd name="T44" fmla="*/ 2569 w 20000"/>
                  <a:gd name="T45" fmla="*/ 1911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00" h="20000">
                    <a:moveTo>
                      <a:pt x="2569" y="19111"/>
                    </a:moveTo>
                    <a:lnTo>
                      <a:pt x="2569" y="13778"/>
                    </a:lnTo>
                    <a:lnTo>
                      <a:pt x="734" y="12296"/>
                    </a:lnTo>
                    <a:lnTo>
                      <a:pt x="0" y="13778"/>
                    </a:lnTo>
                    <a:lnTo>
                      <a:pt x="0" y="7556"/>
                    </a:lnTo>
                    <a:lnTo>
                      <a:pt x="0" y="3852"/>
                    </a:lnTo>
                    <a:lnTo>
                      <a:pt x="2569" y="5333"/>
                    </a:lnTo>
                    <a:lnTo>
                      <a:pt x="3670" y="1481"/>
                    </a:lnTo>
                    <a:lnTo>
                      <a:pt x="7523" y="2963"/>
                    </a:lnTo>
                    <a:lnTo>
                      <a:pt x="7523" y="0"/>
                    </a:lnTo>
                    <a:lnTo>
                      <a:pt x="13211" y="0"/>
                    </a:lnTo>
                    <a:lnTo>
                      <a:pt x="15963" y="3852"/>
                    </a:lnTo>
                    <a:lnTo>
                      <a:pt x="19817" y="5333"/>
                    </a:lnTo>
                    <a:lnTo>
                      <a:pt x="17982" y="7556"/>
                    </a:lnTo>
                    <a:lnTo>
                      <a:pt x="15046" y="7556"/>
                    </a:lnTo>
                    <a:lnTo>
                      <a:pt x="15046" y="9037"/>
                    </a:lnTo>
                    <a:lnTo>
                      <a:pt x="15046" y="9926"/>
                    </a:lnTo>
                    <a:lnTo>
                      <a:pt x="13211" y="12296"/>
                    </a:lnTo>
                    <a:lnTo>
                      <a:pt x="10459" y="13778"/>
                    </a:lnTo>
                    <a:lnTo>
                      <a:pt x="10459" y="17630"/>
                    </a:lnTo>
                    <a:lnTo>
                      <a:pt x="10459" y="19852"/>
                    </a:lnTo>
                    <a:lnTo>
                      <a:pt x="7523" y="19852"/>
                    </a:lnTo>
                    <a:lnTo>
                      <a:pt x="2569" y="1911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57" name="Freeform 292"/>
              <p:cNvSpPr>
                <a:spLocks/>
              </p:cNvSpPr>
              <p:nvPr/>
            </p:nvSpPr>
            <p:spPr bwMode="auto">
              <a:xfrm>
                <a:off x="5268913" y="2670175"/>
                <a:ext cx="36512" cy="44450"/>
              </a:xfrm>
              <a:custGeom>
                <a:avLst/>
                <a:gdLst>
                  <a:gd name="T0" fmla="*/ 14138 w 20000"/>
                  <a:gd name="T1" fmla="*/ 19710 h 20000"/>
                  <a:gd name="T2" fmla="*/ 12414 w 20000"/>
                  <a:gd name="T3" fmla="*/ 19710 h 20000"/>
                  <a:gd name="T4" fmla="*/ 8966 w 20000"/>
                  <a:gd name="T5" fmla="*/ 13623 h 20000"/>
                  <a:gd name="T6" fmla="*/ 0 w 20000"/>
                  <a:gd name="T7" fmla="*/ 4638 h 20000"/>
                  <a:gd name="T8" fmla="*/ 3448 w 20000"/>
                  <a:gd name="T9" fmla="*/ 4638 h 20000"/>
                  <a:gd name="T10" fmla="*/ 5517 w 20000"/>
                  <a:gd name="T11" fmla="*/ 1739 h 20000"/>
                  <a:gd name="T12" fmla="*/ 8966 w 20000"/>
                  <a:gd name="T13" fmla="*/ 4638 h 20000"/>
                  <a:gd name="T14" fmla="*/ 12414 w 20000"/>
                  <a:gd name="T15" fmla="*/ 1739 h 20000"/>
                  <a:gd name="T16" fmla="*/ 14138 w 20000"/>
                  <a:gd name="T17" fmla="*/ 0 h 20000"/>
                  <a:gd name="T18" fmla="*/ 17586 w 20000"/>
                  <a:gd name="T19" fmla="*/ 0 h 20000"/>
                  <a:gd name="T20" fmla="*/ 19655 w 20000"/>
                  <a:gd name="T21" fmla="*/ 6087 h 20000"/>
                  <a:gd name="T22" fmla="*/ 14138 w 20000"/>
                  <a:gd name="T23" fmla="*/ 8986 h 20000"/>
                  <a:gd name="T24" fmla="*/ 17586 w 20000"/>
                  <a:gd name="T25" fmla="*/ 12174 h 20000"/>
                  <a:gd name="T26" fmla="*/ 14138 w 20000"/>
                  <a:gd name="T27" fmla="*/ 13623 h 20000"/>
                  <a:gd name="T28" fmla="*/ 14138 w 20000"/>
                  <a:gd name="T29" fmla="*/ 1971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4138" y="19710"/>
                    </a:moveTo>
                    <a:lnTo>
                      <a:pt x="12414" y="19710"/>
                    </a:lnTo>
                    <a:lnTo>
                      <a:pt x="8966" y="13623"/>
                    </a:lnTo>
                    <a:lnTo>
                      <a:pt x="0" y="4638"/>
                    </a:lnTo>
                    <a:lnTo>
                      <a:pt x="3448" y="4638"/>
                    </a:lnTo>
                    <a:lnTo>
                      <a:pt x="5517" y="1739"/>
                    </a:lnTo>
                    <a:lnTo>
                      <a:pt x="8966" y="4638"/>
                    </a:lnTo>
                    <a:lnTo>
                      <a:pt x="12414" y="1739"/>
                    </a:lnTo>
                    <a:lnTo>
                      <a:pt x="14138" y="0"/>
                    </a:lnTo>
                    <a:lnTo>
                      <a:pt x="17586" y="0"/>
                    </a:lnTo>
                    <a:lnTo>
                      <a:pt x="19655" y="6087"/>
                    </a:lnTo>
                    <a:lnTo>
                      <a:pt x="14138" y="8986"/>
                    </a:lnTo>
                    <a:lnTo>
                      <a:pt x="17586" y="12174"/>
                    </a:lnTo>
                    <a:lnTo>
                      <a:pt x="14138" y="13623"/>
                    </a:lnTo>
                    <a:lnTo>
                      <a:pt x="14138" y="197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58" name="Freeform 291"/>
              <p:cNvSpPr>
                <a:spLocks/>
              </p:cNvSpPr>
              <p:nvPr/>
            </p:nvSpPr>
            <p:spPr bwMode="auto">
              <a:xfrm>
                <a:off x="5235575" y="2689225"/>
                <a:ext cx="23813" cy="17463"/>
              </a:xfrm>
              <a:custGeom>
                <a:avLst/>
                <a:gdLst>
                  <a:gd name="T0" fmla="*/ 19474 w 20000"/>
                  <a:gd name="T1" fmla="*/ 19286 h 20000"/>
                  <a:gd name="T2" fmla="*/ 11053 w 20000"/>
                  <a:gd name="T3" fmla="*/ 19286 h 20000"/>
                  <a:gd name="T4" fmla="*/ 5789 w 20000"/>
                  <a:gd name="T5" fmla="*/ 11429 h 20000"/>
                  <a:gd name="T6" fmla="*/ 0 w 20000"/>
                  <a:gd name="T7" fmla="*/ 7857 h 20000"/>
                  <a:gd name="T8" fmla="*/ 13684 w 20000"/>
                  <a:gd name="T9" fmla="*/ 0 h 20000"/>
                  <a:gd name="T10" fmla="*/ 19474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19474" y="19286"/>
                    </a:moveTo>
                    <a:lnTo>
                      <a:pt x="11053" y="19286"/>
                    </a:lnTo>
                    <a:lnTo>
                      <a:pt x="5789" y="11429"/>
                    </a:lnTo>
                    <a:lnTo>
                      <a:pt x="0" y="7857"/>
                    </a:lnTo>
                    <a:lnTo>
                      <a:pt x="13684" y="0"/>
                    </a:lnTo>
                    <a:lnTo>
                      <a:pt x="19474"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59" name="Freeform 290"/>
              <p:cNvSpPr>
                <a:spLocks/>
              </p:cNvSpPr>
              <p:nvPr/>
            </p:nvSpPr>
            <p:spPr bwMode="auto">
              <a:xfrm>
                <a:off x="5268913" y="2713038"/>
                <a:ext cx="17462" cy="11112"/>
              </a:xfrm>
              <a:custGeom>
                <a:avLst/>
                <a:gdLst>
                  <a:gd name="T0" fmla="*/ 11852 w 20000"/>
                  <a:gd name="T1" fmla="*/ 18824 h 20000"/>
                  <a:gd name="T2" fmla="*/ 0 w 20000"/>
                  <a:gd name="T3" fmla="*/ 18824 h 20000"/>
                  <a:gd name="T4" fmla="*/ 7407 w 20000"/>
                  <a:gd name="T5" fmla="*/ 0 h 20000"/>
                  <a:gd name="T6" fmla="*/ 11852 w 20000"/>
                  <a:gd name="T7" fmla="*/ 5882 h 20000"/>
                  <a:gd name="T8" fmla="*/ 19259 w 20000"/>
                  <a:gd name="T9" fmla="*/ 5882 h 20000"/>
                  <a:gd name="T10" fmla="*/ 19259 w 20000"/>
                  <a:gd name="T11" fmla="*/ 18824 h 20000"/>
                  <a:gd name="T12" fmla="*/ 11852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852" y="18824"/>
                    </a:moveTo>
                    <a:lnTo>
                      <a:pt x="0" y="18824"/>
                    </a:lnTo>
                    <a:lnTo>
                      <a:pt x="7407" y="0"/>
                    </a:lnTo>
                    <a:lnTo>
                      <a:pt x="11852" y="5882"/>
                    </a:lnTo>
                    <a:lnTo>
                      <a:pt x="19259" y="5882"/>
                    </a:lnTo>
                    <a:lnTo>
                      <a:pt x="19259" y="18824"/>
                    </a:lnTo>
                    <a:lnTo>
                      <a:pt x="11852"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0" name="Freeform 289"/>
              <p:cNvSpPr>
                <a:spLocks/>
              </p:cNvSpPr>
              <p:nvPr/>
            </p:nvSpPr>
            <p:spPr bwMode="auto">
              <a:xfrm>
                <a:off x="5146675" y="2713038"/>
                <a:ext cx="234950" cy="285750"/>
              </a:xfrm>
              <a:custGeom>
                <a:avLst/>
                <a:gdLst>
                  <a:gd name="T0" fmla="*/ 6450 w 20000"/>
                  <a:gd name="T1" fmla="*/ 177 h 20000"/>
                  <a:gd name="T2" fmla="*/ 8130 w 20000"/>
                  <a:gd name="T3" fmla="*/ 710 h 20000"/>
                  <a:gd name="T4" fmla="*/ 8130 w 20000"/>
                  <a:gd name="T5" fmla="*/ 1375 h 20000"/>
                  <a:gd name="T6" fmla="*/ 9539 w 20000"/>
                  <a:gd name="T7" fmla="*/ 1818 h 20000"/>
                  <a:gd name="T8" fmla="*/ 10081 w 20000"/>
                  <a:gd name="T9" fmla="*/ 2971 h 20000"/>
                  <a:gd name="T10" fmla="*/ 11762 w 20000"/>
                  <a:gd name="T11" fmla="*/ 2084 h 20000"/>
                  <a:gd name="T12" fmla="*/ 14038 w 20000"/>
                  <a:gd name="T13" fmla="*/ 1818 h 20000"/>
                  <a:gd name="T14" fmla="*/ 16260 w 20000"/>
                  <a:gd name="T15" fmla="*/ 2971 h 20000"/>
                  <a:gd name="T16" fmla="*/ 18266 w 20000"/>
                  <a:gd name="T17" fmla="*/ 4789 h 20000"/>
                  <a:gd name="T18" fmla="*/ 17073 w 20000"/>
                  <a:gd name="T19" fmla="*/ 5721 h 20000"/>
                  <a:gd name="T20" fmla="*/ 18266 w 20000"/>
                  <a:gd name="T21" fmla="*/ 6874 h 20000"/>
                  <a:gd name="T22" fmla="*/ 19079 w 20000"/>
                  <a:gd name="T23" fmla="*/ 7982 h 20000"/>
                  <a:gd name="T24" fmla="*/ 19350 w 20000"/>
                  <a:gd name="T25" fmla="*/ 9623 h 20000"/>
                  <a:gd name="T26" fmla="*/ 19350 w 20000"/>
                  <a:gd name="T27" fmla="*/ 10510 h 20000"/>
                  <a:gd name="T28" fmla="*/ 18266 w 20000"/>
                  <a:gd name="T29" fmla="*/ 10998 h 20000"/>
                  <a:gd name="T30" fmla="*/ 13496 w 20000"/>
                  <a:gd name="T31" fmla="*/ 12151 h 20000"/>
                  <a:gd name="T32" fmla="*/ 13496 w 20000"/>
                  <a:gd name="T33" fmla="*/ 13304 h 20000"/>
                  <a:gd name="T34" fmla="*/ 14580 w 20000"/>
                  <a:gd name="T35" fmla="*/ 14412 h 20000"/>
                  <a:gd name="T36" fmla="*/ 16260 w 20000"/>
                  <a:gd name="T37" fmla="*/ 15344 h 20000"/>
                  <a:gd name="T38" fmla="*/ 17073 w 20000"/>
                  <a:gd name="T39" fmla="*/ 16497 h 20000"/>
                  <a:gd name="T40" fmla="*/ 15393 w 20000"/>
                  <a:gd name="T41" fmla="*/ 17650 h 20000"/>
                  <a:gd name="T42" fmla="*/ 15989 w 20000"/>
                  <a:gd name="T43" fmla="*/ 19468 h 20000"/>
                  <a:gd name="T44" fmla="*/ 14038 w 20000"/>
                  <a:gd name="T45" fmla="*/ 19246 h 20000"/>
                  <a:gd name="T46" fmla="*/ 12629 w 20000"/>
                  <a:gd name="T47" fmla="*/ 19468 h 20000"/>
                  <a:gd name="T48" fmla="*/ 10949 w 20000"/>
                  <a:gd name="T49" fmla="*/ 19468 h 20000"/>
                  <a:gd name="T50" fmla="*/ 10081 w 20000"/>
                  <a:gd name="T51" fmla="*/ 19956 h 20000"/>
                  <a:gd name="T52" fmla="*/ 8130 w 20000"/>
                  <a:gd name="T53" fmla="*/ 19246 h 20000"/>
                  <a:gd name="T54" fmla="*/ 7317 w 20000"/>
                  <a:gd name="T55" fmla="*/ 19246 h 20000"/>
                  <a:gd name="T56" fmla="*/ 6721 w 20000"/>
                  <a:gd name="T57" fmla="*/ 18758 h 20000"/>
                  <a:gd name="T58" fmla="*/ 5854 w 20000"/>
                  <a:gd name="T59" fmla="*/ 18758 h 20000"/>
                  <a:gd name="T60" fmla="*/ 5312 w 20000"/>
                  <a:gd name="T61" fmla="*/ 19468 h 20000"/>
                  <a:gd name="T62" fmla="*/ 4444 w 20000"/>
                  <a:gd name="T63" fmla="*/ 19468 h 20000"/>
                  <a:gd name="T64" fmla="*/ 3631 w 20000"/>
                  <a:gd name="T65" fmla="*/ 19468 h 20000"/>
                  <a:gd name="T66" fmla="*/ 3089 w 20000"/>
                  <a:gd name="T67" fmla="*/ 18315 h 20000"/>
                  <a:gd name="T68" fmla="*/ 5041 w 20000"/>
                  <a:gd name="T69" fmla="*/ 15787 h 20000"/>
                  <a:gd name="T70" fmla="*/ 1409 w 20000"/>
                  <a:gd name="T71" fmla="*/ 14412 h 20000"/>
                  <a:gd name="T72" fmla="*/ 542 w 20000"/>
                  <a:gd name="T73" fmla="*/ 13304 h 20000"/>
                  <a:gd name="T74" fmla="*/ 542 w 20000"/>
                  <a:gd name="T75" fmla="*/ 11441 h 20000"/>
                  <a:gd name="T76" fmla="*/ 867 w 20000"/>
                  <a:gd name="T77" fmla="*/ 9623 h 20000"/>
                  <a:gd name="T78" fmla="*/ 867 w 20000"/>
                  <a:gd name="T79" fmla="*/ 7982 h 20000"/>
                  <a:gd name="T80" fmla="*/ 1409 w 20000"/>
                  <a:gd name="T81" fmla="*/ 6164 h 20000"/>
                  <a:gd name="T82" fmla="*/ 2764 w 20000"/>
                  <a:gd name="T83" fmla="*/ 5055 h 20000"/>
                  <a:gd name="T84" fmla="*/ 4228 w 20000"/>
                  <a:gd name="T85" fmla="*/ 3636 h 20000"/>
                  <a:gd name="T86" fmla="*/ 5041 w 20000"/>
                  <a:gd name="T87" fmla="*/ 3193 h 20000"/>
                  <a:gd name="T88" fmla="*/ 5312 w 20000"/>
                  <a:gd name="T89" fmla="*/ 2971 h 20000"/>
                  <a:gd name="T90" fmla="*/ 5312 w 20000"/>
                  <a:gd name="T91" fmla="*/ 2084 h 20000"/>
                  <a:gd name="T92" fmla="*/ 5312 w 20000"/>
                  <a:gd name="T93" fmla="*/ 887 h 20000"/>
                  <a:gd name="T94" fmla="*/ 4228 w 20000"/>
                  <a:gd name="T95" fmla="*/ 177 h 20000"/>
                  <a:gd name="T96" fmla="*/ 5041 w 20000"/>
                  <a:gd name="T9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5041" y="0"/>
                    </a:moveTo>
                    <a:lnTo>
                      <a:pt x="6450" y="177"/>
                    </a:lnTo>
                    <a:lnTo>
                      <a:pt x="7317" y="177"/>
                    </a:lnTo>
                    <a:lnTo>
                      <a:pt x="8130" y="710"/>
                    </a:lnTo>
                    <a:lnTo>
                      <a:pt x="8130" y="887"/>
                    </a:lnTo>
                    <a:lnTo>
                      <a:pt x="8130" y="1375"/>
                    </a:lnTo>
                    <a:lnTo>
                      <a:pt x="8726" y="1818"/>
                    </a:lnTo>
                    <a:lnTo>
                      <a:pt x="9539" y="1818"/>
                    </a:lnTo>
                    <a:lnTo>
                      <a:pt x="10407" y="1818"/>
                    </a:lnTo>
                    <a:lnTo>
                      <a:pt x="10081" y="2971"/>
                    </a:lnTo>
                    <a:lnTo>
                      <a:pt x="11220" y="2971"/>
                    </a:lnTo>
                    <a:lnTo>
                      <a:pt x="11762" y="2084"/>
                    </a:lnTo>
                    <a:lnTo>
                      <a:pt x="13496" y="887"/>
                    </a:lnTo>
                    <a:lnTo>
                      <a:pt x="14038" y="1818"/>
                    </a:lnTo>
                    <a:lnTo>
                      <a:pt x="15989" y="2528"/>
                    </a:lnTo>
                    <a:lnTo>
                      <a:pt x="16260" y="2971"/>
                    </a:lnTo>
                    <a:lnTo>
                      <a:pt x="17724" y="3636"/>
                    </a:lnTo>
                    <a:lnTo>
                      <a:pt x="18266" y="4789"/>
                    </a:lnTo>
                    <a:lnTo>
                      <a:pt x="17073" y="5499"/>
                    </a:lnTo>
                    <a:lnTo>
                      <a:pt x="17073" y="5721"/>
                    </a:lnTo>
                    <a:lnTo>
                      <a:pt x="18482" y="6608"/>
                    </a:lnTo>
                    <a:lnTo>
                      <a:pt x="18266" y="6874"/>
                    </a:lnTo>
                    <a:lnTo>
                      <a:pt x="18482" y="7982"/>
                    </a:lnTo>
                    <a:lnTo>
                      <a:pt x="19079" y="7982"/>
                    </a:lnTo>
                    <a:lnTo>
                      <a:pt x="19079" y="8514"/>
                    </a:lnTo>
                    <a:lnTo>
                      <a:pt x="19350" y="9623"/>
                    </a:lnTo>
                    <a:lnTo>
                      <a:pt x="19946" y="9845"/>
                    </a:lnTo>
                    <a:lnTo>
                      <a:pt x="19350" y="10510"/>
                    </a:lnTo>
                    <a:lnTo>
                      <a:pt x="18482" y="10510"/>
                    </a:lnTo>
                    <a:lnTo>
                      <a:pt x="18266" y="10998"/>
                    </a:lnTo>
                    <a:lnTo>
                      <a:pt x="14038" y="12594"/>
                    </a:lnTo>
                    <a:lnTo>
                      <a:pt x="13496" y="12151"/>
                    </a:lnTo>
                    <a:lnTo>
                      <a:pt x="13496" y="12594"/>
                    </a:lnTo>
                    <a:lnTo>
                      <a:pt x="13496" y="13304"/>
                    </a:lnTo>
                    <a:lnTo>
                      <a:pt x="14580" y="13525"/>
                    </a:lnTo>
                    <a:lnTo>
                      <a:pt x="14580" y="14412"/>
                    </a:lnTo>
                    <a:lnTo>
                      <a:pt x="15989" y="15122"/>
                    </a:lnTo>
                    <a:lnTo>
                      <a:pt x="16260" y="15344"/>
                    </a:lnTo>
                    <a:lnTo>
                      <a:pt x="17073" y="16231"/>
                    </a:lnTo>
                    <a:lnTo>
                      <a:pt x="17073" y="16497"/>
                    </a:lnTo>
                    <a:lnTo>
                      <a:pt x="17073" y="17428"/>
                    </a:lnTo>
                    <a:lnTo>
                      <a:pt x="15393" y="17650"/>
                    </a:lnTo>
                    <a:lnTo>
                      <a:pt x="15393" y="18758"/>
                    </a:lnTo>
                    <a:lnTo>
                      <a:pt x="15989" y="19468"/>
                    </a:lnTo>
                    <a:lnTo>
                      <a:pt x="15393" y="19246"/>
                    </a:lnTo>
                    <a:lnTo>
                      <a:pt x="14038" y="19246"/>
                    </a:lnTo>
                    <a:lnTo>
                      <a:pt x="13496" y="19468"/>
                    </a:lnTo>
                    <a:lnTo>
                      <a:pt x="12629" y="19468"/>
                    </a:lnTo>
                    <a:lnTo>
                      <a:pt x="11220" y="19956"/>
                    </a:lnTo>
                    <a:lnTo>
                      <a:pt x="10949" y="19468"/>
                    </a:lnTo>
                    <a:lnTo>
                      <a:pt x="10081" y="19468"/>
                    </a:lnTo>
                    <a:lnTo>
                      <a:pt x="10081" y="19956"/>
                    </a:lnTo>
                    <a:lnTo>
                      <a:pt x="8726" y="19468"/>
                    </a:lnTo>
                    <a:lnTo>
                      <a:pt x="8130" y="19246"/>
                    </a:lnTo>
                    <a:lnTo>
                      <a:pt x="7534" y="19246"/>
                    </a:lnTo>
                    <a:lnTo>
                      <a:pt x="7317" y="19246"/>
                    </a:lnTo>
                    <a:lnTo>
                      <a:pt x="6721" y="19246"/>
                    </a:lnTo>
                    <a:lnTo>
                      <a:pt x="6721" y="18758"/>
                    </a:lnTo>
                    <a:lnTo>
                      <a:pt x="6450" y="18758"/>
                    </a:lnTo>
                    <a:lnTo>
                      <a:pt x="5854" y="18758"/>
                    </a:lnTo>
                    <a:lnTo>
                      <a:pt x="5312" y="19246"/>
                    </a:lnTo>
                    <a:lnTo>
                      <a:pt x="5312" y="19468"/>
                    </a:lnTo>
                    <a:lnTo>
                      <a:pt x="5041" y="19468"/>
                    </a:lnTo>
                    <a:lnTo>
                      <a:pt x="4444" y="19468"/>
                    </a:lnTo>
                    <a:lnTo>
                      <a:pt x="4228" y="19468"/>
                    </a:lnTo>
                    <a:lnTo>
                      <a:pt x="3631" y="19468"/>
                    </a:lnTo>
                    <a:lnTo>
                      <a:pt x="3089" y="19468"/>
                    </a:lnTo>
                    <a:lnTo>
                      <a:pt x="3089" y="18315"/>
                    </a:lnTo>
                    <a:lnTo>
                      <a:pt x="4228" y="16940"/>
                    </a:lnTo>
                    <a:lnTo>
                      <a:pt x="5041" y="15787"/>
                    </a:lnTo>
                    <a:lnTo>
                      <a:pt x="3631" y="15344"/>
                    </a:lnTo>
                    <a:lnTo>
                      <a:pt x="1409" y="14412"/>
                    </a:lnTo>
                    <a:lnTo>
                      <a:pt x="1409" y="13525"/>
                    </a:lnTo>
                    <a:lnTo>
                      <a:pt x="542" y="13304"/>
                    </a:lnTo>
                    <a:lnTo>
                      <a:pt x="867" y="12594"/>
                    </a:lnTo>
                    <a:lnTo>
                      <a:pt x="542" y="11441"/>
                    </a:lnTo>
                    <a:lnTo>
                      <a:pt x="542" y="10510"/>
                    </a:lnTo>
                    <a:lnTo>
                      <a:pt x="867" y="9623"/>
                    </a:lnTo>
                    <a:lnTo>
                      <a:pt x="0" y="8514"/>
                    </a:lnTo>
                    <a:lnTo>
                      <a:pt x="867" y="7982"/>
                    </a:lnTo>
                    <a:lnTo>
                      <a:pt x="1680" y="7982"/>
                    </a:lnTo>
                    <a:lnTo>
                      <a:pt x="1409" y="6164"/>
                    </a:lnTo>
                    <a:lnTo>
                      <a:pt x="2222" y="6164"/>
                    </a:lnTo>
                    <a:lnTo>
                      <a:pt x="2764" y="5055"/>
                    </a:lnTo>
                    <a:lnTo>
                      <a:pt x="2222" y="3636"/>
                    </a:lnTo>
                    <a:lnTo>
                      <a:pt x="4228" y="3636"/>
                    </a:lnTo>
                    <a:lnTo>
                      <a:pt x="4444" y="4346"/>
                    </a:lnTo>
                    <a:lnTo>
                      <a:pt x="5041" y="3193"/>
                    </a:lnTo>
                    <a:lnTo>
                      <a:pt x="5854" y="3193"/>
                    </a:lnTo>
                    <a:lnTo>
                      <a:pt x="5312" y="2971"/>
                    </a:lnTo>
                    <a:lnTo>
                      <a:pt x="5854" y="2084"/>
                    </a:lnTo>
                    <a:lnTo>
                      <a:pt x="5312" y="2084"/>
                    </a:lnTo>
                    <a:lnTo>
                      <a:pt x="5312" y="1818"/>
                    </a:lnTo>
                    <a:lnTo>
                      <a:pt x="5312" y="887"/>
                    </a:lnTo>
                    <a:lnTo>
                      <a:pt x="5041" y="177"/>
                    </a:lnTo>
                    <a:lnTo>
                      <a:pt x="4228" y="177"/>
                    </a:lnTo>
                    <a:lnTo>
                      <a:pt x="4444" y="0"/>
                    </a:lnTo>
                    <a:lnTo>
                      <a:pt x="504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1" name="Freeform 288"/>
              <p:cNvSpPr>
                <a:spLocks/>
              </p:cNvSpPr>
              <p:nvPr/>
            </p:nvSpPr>
            <p:spPr bwMode="auto">
              <a:xfrm>
                <a:off x="5457825" y="2036763"/>
                <a:ext cx="292100" cy="469900"/>
              </a:xfrm>
              <a:custGeom>
                <a:avLst/>
                <a:gdLst>
                  <a:gd name="T0" fmla="*/ 12321 w 20000"/>
                  <a:gd name="T1" fmla="*/ 2514 h 20000"/>
                  <a:gd name="T2" fmla="*/ 13666 w 20000"/>
                  <a:gd name="T3" fmla="*/ 3622 h 20000"/>
                  <a:gd name="T4" fmla="*/ 13666 w 20000"/>
                  <a:gd name="T5" fmla="*/ 5297 h 20000"/>
                  <a:gd name="T6" fmla="*/ 15445 w 20000"/>
                  <a:gd name="T7" fmla="*/ 9054 h 20000"/>
                  <a:gd name="T8" fmla="*/ 15445 w 20000"/>
                  <a:gd name="T9" fmla="*/ 9757 h 20000"/>
                  <a:gd name="T10" fmla="*/ 16139 w 20000"/>
                  <a:gd name="T11" fmla="*/ 10189 h 20000"/>
                  <a:gd name="T12" fmla="*/ 17050 w 20000"/>
                  <a:gd name="T13" fmla="*/ 10892 h 20000"/>
                  <a:gd name="T14" fmla="*/ 18178 w 20000"/>
                  <a:gd name="T15" fmla="*/ 12703 h 20000"/>
                  <a:gd name="T16" fmla="*/ 19957 w 20000"/>
                  <a:gd name="T17" fmla="*/ 13405 h 20000"/>
                  <a:gd name="T18" fmla="*/ 14100 w 20000"/>
                  <a:gd name="T19" fmla="*/ 18324 h 20000"/>
                  <a:gd name="T20" fmla="*/ 11410 w 20000"/>
                  <a:gd name="T21" fmla="*/ 18595 h 20000"/>
                  <a:gd name="T22" fmla="*/ 8503 w 20000"/>
                  <a:gd name="T23" fmla="*/ 19270 h 20000"/>
                  <a:gd name="T24" fmla="*/ 5380 w 20000"/>
                  <a:gd name="T25" fmla="*/ 19432 h 20000"/>
                  <a:gd name="T26" fmla="*/ 6030 w 20000"/>
                  <a:gd name="T27" fmla="*/ 19270 h 20000"/>
                  <a:gd name="T28" fmla="*/ 5813 w 20000"/>
                  <a:gd name="T29" fmla="*/ 19270 h 20000"/>
                  <a:gd name="T30" fmla="*/ 5380 w 20000"/>
                  <a:gd name="T31" fmla="*/ 18730 h 20000"/>
                  <a:gd name="T32" fmla="*/ 3774 w 20000"/>
                  <a:gd name="T33" fmla="*/ 18595 h 20000"/>
                  <a:gd name="T34" fmla="*/ 3124 w 20000"/>
                  <a:gd name="T35" fmla="*/ 17595 h 20000"/>
                  <a:gd name="T36" fmla="*/ 3124 w 20000"/>
                  <a:gd name="T37" fmla="*/ 16784 h 20000"/>
                  <a:gd name="T38" fmla="*/ 2907 w 20000"/>
                  <a:gd name="T39" fmla="*/ 15784 h 20000"/>
                  <a:gd name="T40" fmla="*/ 2473 w 20000"/>
                  <a:gd name="T41" fmla="*/ 14243 h 20000"/>
                  <a:gd name="T42" fmla="*/ 3124 w 20000"/>
                  <a:gd name="T43" fmla="*/ 13405 h 20000"/>
                  <a:gd name="T44" fmla="*/ 4252 w 20000"/>
                  <a:gd name="T45" fmla="*/ 13135 h 20000"/>
                  <a:gd name="T46" fmla="*/ 4685 w 20000"/>
                  <a:gd name="T47" fmla="*/ 12703 h 20000"/>
                  <a:gd name="T48" fmla="*/ 5380 w 20000"/>
                  <a:gd name="T49" fmla="*/ 12297 h 20000"/>
                  <a:gd name="T50" fmla="*/ 6725 w 20000"/>
                  <a:gd name="T51" fmla="*/ 10595 h 20000"/>
                  <a:gd name="T52" fmla="*/ 7809 w 20000"/>
                  <a:gd name="T53" fmla="*/ 9757 h 20000"/>
                  <a:gd name="T54" fmla="*/ 8243 w 20000"/>
                  <a:gd name="T55" fmla="*/ 9378 h 20000"/>
                  <a:gd name="T56" fmla="*/ 7158 w 20000"/>
                  <a:gd name="T57" fmla="*/ 8216 h 20000"/>
                  <a:gd name="T58" fmla="*/ 6030 w 20000"/>
                  <a:gd name="T59" fmla="*/ 7946 h 20000"/>
                  <a:gd name="T60" fmla="*/ 5380 w 20000"/>
                  <a:gd name="T61" fmla="*/ 7000 h 20000"/>
                  <a:gd name="T62" fmla="*/ 4946 w 20000"/>
                  <a:gd name="T63" fmla="*/ 5459 h 20000"/>
                  <a:gd name="T64" fmla="*/ 5380 w 20000"/>
                  <a:gd name="T65" fmla="*/ 5027 h 20000"/>
                  <a:gd name="T66" fmla="*/ 4685 w 20000"/>
                  <a:gd name="T67" fmla="*/ 3919 h 20000"/>
                  <a:gd name="T68" fmla="*/ 2473 w 20000"/>
                  <a:gd name="T69" fmla="*/ 3189 h 20000"/>
                  <a:gd name="T70" fmla="*/ 0 w 20000"/>
                  <a:gd name="T71" fmla="*/ 2081 h 20000"/>
                  <a:gd name="T72" fmla="*/ 607 w 20000"/>
                  <a:gd name="T73" fmla="*/ 2081 h 20000"/>
                  <a:gd name="T74" fmla="*/ 607 w 20000"/>
                  <a:gd name="T75" fmla="*/ 1649 h 20000"/>
                  <a:gd name="T76" fmla="*/ 2907 w 20000"/>
                  <a:gd name="T77" fmla="*/ 2514 h 20000"/>
                  <a:gd name="T78" fmla="*/ 4685 w 20000"/>
                  <a:gd name="T79" fmla="*/ 2514 h 20000"/>
                  <a:gd name="T80" fmla="*/ 5813 w 20000"/>
                  <a:gd name="T81" fmla="*/ 2514 h 20000"/>
                  <a:gd name="T82" fmla="*/ 6725 w 20000"/>
                  <a:gd name="T83" fmla="*/ 2784 h 20000"/>
                  <a:gd name="T84" fmla="*/ 7592 w 20000"/>
                  <a:gd name="T85" fmla="*/ 2351 h 20000"/>
                  <a:gd name="T86" fmla="*/ 7592 w 20000"/>
                  <a:gd name="T87" fmla="*/ 973 h 20000"/>
                  <a:gd name="T88" fmla="*/ 8937 w 20000"/>
                  <a:gd name="T89" fmla="*/ 270 h 20000"/>
                  <a:gd name="T90" fmla="*/ 10542 w 20000"/>
                  <a:gd name="T91" fmla="*/ 0 h 20000"/>
                  <a:gd name="T92" fmla="*/ 11887 w 20000"/>
                  <a:gd name="T93" fmla="*/ 541 h 20000"/>
                  <a:gd name="T94" fmla="*/ 12321 w 20000"/>
                  <a:gd name="T95" fmla="*/ 13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1887" y="2081"/>
                    </a:moveTo>
                    <a:lnTo>
                      <a:pt x="12321" y="2514"/>
                    </a:lnTo>
                    <a:lnTo>
                      <a:pt x="12581" y="3189"/>
                    </a:lnTo>
                    <a:lnTo>
                      <a:pt x="13666" y="3622"/>
                    </a:lnTo>
                    <a:lnTo>
                      <a:pt x="14360" y="4027"/>
                    </a:lnTo>
                    <a:lnTo>
                      <a:pt x="13666" y="5297"/>
                    </a:lnTo>
                    <a:lnTo>
                      <a:pt x="15879" y="7676"/>
                    </a:lnTo>
                    <a:lnTo>
                      <a:pt x="15445" y="9054"/>
                    </a:lnTo>
                    <a:lnTo>
                      <a:pt x="15445" y="9378"/>
                    </a:lnTo>
                    <a:lnTo>
                      <a:pt x="15445" y="9757"/>
                    </a:lnTo>
                    <a:lnTo>
                      <a:pt x="16139" y="9757"/>
                    </a:lnTo>
                    <a:lnTo>
                      <a:pt x="16139" y="10189"/>
                    </a:lnTo>
                    <a:lnTo>
                      <a:pt x="16139" y="10595"/>
                    </a:lnTo>
                    <a:lnTo>
                      <a:pt x="17050" y="10892"/>
                    </a:lnTo>
                    <a:lnTo>
                      <a:pt x="16573" y="12027"/>
                    </a:lnTo>
                    <a:lnTo>
                      <a:pt x="18178" y="12703"/>
                    </a:lnTo>
                    <a:lnTo>
                      <a:pt x="18829" y="12865"/>
                    </a:lnTo>
                    <a:lnTo>
                      <a:pt x="19957" y="13405"/>
                    </a:lnTo>
                    <a:lnTo>
                      <a:pt x="17744" y="15622"/>
                    </a:lnTo>
                    <a:lnTo>
                      <a:pt x="14100" y="18324"/>
                    </a:lnTo>
                    <a:lnTo>
                      <a:pt x="13449" y="18595"/>
                    </a:lnTo>
                    <a:lnTo>
                      <a:pt x="11410" y="18595"/>
                    </a:lnTo>
                    <a:lnTo>
                      <a:pt x="10108" y="19000"/>
                    </a:lnTo>
                    <a:lnTo>
                      <a:pt x="8503" y="19270"/>
                    </a:lnTo>
                    <a:lnTo>
                      <a:pt x="6464" y="19973"/>
                    </a:lnTo>
                    <a:lnTo>
                      <a:pt x="5380" y="19432"/>
                    </a:lnTo>
                    <a:lnTo>
                      <a:pt x="5380" y="19270"/>
                    </a:lnTo>
                    <a:lnTo>
                      <a:pt x="6030" y="19270"/>
                    </a:lnTo>
                    <a:lnTo>
                      <a:pt x="6030" y="18730"/>
                    </a:lnTo>
                    <a:lnTo>
                      <a:pt x="5813" y="19270"/>
                    </a:lnTo>
                    <a:lnTo>
                      <a:pt x="5380" y="19000"/>
                    </a:lnTo>
                    <a:lnTo>
                      <a:pt x="5380" y="18730"/>
                    </a:lnTo>
                    <a:lnTo>
                      <a:pt x="4685" y="18595"/>
                    </a:lnTo>
                    <a:lnTo>
                      <a:pt x="3774" y="18595"/>
                    </a:lnTo>
                    <a:lnTo>
                      <a:pt x="3557" y="18324"/>
                    </a:lnTo>
                    <a:lnTo>
                      <a:pt x="3124" y="17595"/>
                    </a:lnTo>
                    <a:lnTo>
                      <a:pt x="3557" y="17459"/>
                    </a:lnTo>
                    <a:lnTo>
                      <a:pt x="3124" y="16784"/>
                    </a:lnTo>
                    <a:lnTo>
                      <a:pt x="3557" y="16784"/>
                    </a:lnTo>
                    <a:lnTo>
                      <a:pt x="2907" y="15784"/>
                    </a:lnTo>
                    <a:lnTo>
                      <a:pt x="2473" y="14514"/>
                    </a:lnTo>
                    <a:lnTo>
                      <a:pt x="2473" y="14243"/>
                    </a:lnTo>
                    <a:lnTo>
                      <a:pt x="3124" y="13838"/>
                    </a:lnTo>
                    <a:lnTo>
                      <a:pt x="3124" y="13405"/>
                    </a:lnTo>
                    <a:lnTo>
                      <a:pt x="3557" y="13405"/>
                    </a:lnTo>
                    <a:lnTo>
                      <a:pt x="4252" y="13135"/>
                    </a:lnTo>
                    <a:lnTo>
                      <a:pt x="3774" y="12865"/>
                    </a:lnTo>
                    <a:lnTo>
                      <a:pt x="4685" y="12703"/>
                    </a:lnTo>
                    <a:lnTo>
                      <a:pt x="4685" y="12432"/>
                    </a:lnTo>
                    <a:lnTo>
                      <a:pt x="5380" y="12297"/>
                    </a:lnTo>
                    <a:lnTo>
                      <a:pt x="5813" y="11595"/>
                    </a:lnTo>
                    <a:lnTo>
                      <a:pt x="6725" y="10595"/>
                    </a:lnTo>
                    <a:lnTo>
                      <a:pt x="7158" y="10189"/>
                    </a:lnTo>
                    <a:lnTo>
                      <a:pt x="7809" y="9757"/>
                    </a:lnTo>
                    <a:lnTo>
                      <a:pt x="8503" y="9757"/>
                    </a:lnTo>
                    <a:lnTo>
                      <a:pt x="8243" y="9378"/>
                    </a:lnTo>
                    <a:lnTo>
                      <a:pt x="8243" y="8649"/>
                    </a:lnTo>
                    <a:lnTo>
                      <a:pt x="7158" y="8216"/>
                    </a:lnTo>
                    <a:lnTo>
                      <a:pt x="6725" y="7946"/>
                    </a:lnTo>
                    <a:lnTo>
                      <a:pt x="6030" y="7946"/>
                    </a:lnTo>
                    <a:lnTo>
                      <a:pt x="5813" y="7541"/>
                    </a:lnTo>
                    <a:lnTo>
                      <a:pt x="5380" y="7000"/>
                    </a:lnTo>
                    <a:lnTo>
                      <a:pt x="5813" y="5865"/>
                    </a:lnTo>
                    <a:lnTo>
                      <a:pt x="4946" y="5459"/>
                    </a:lnTo>
                    <a:lnTo>
                      <a:pt x="4946" y="5297"/>
                    </a:lnTo>
                    <a:lnTo>
                      <a:pt x="5380" y="5027"/>
                    </a:lnTo>
                    <a:lnTo>
                      <a:pt x="4685" y="4730"/>
                    </a:lnTo>
                    <a:lnTo>
                      <a:pt x="4685" y="3919"/>
                    </a:lnTo>
                    <a:lnTo>
                      <a:pt x="3557" y="3189"/>
                    </a:lnTo>
                    <a:lnTo>
                      <a:pt x="2473" y="3189"/>
                    </a:lnTo>
                    <a:lnTo>
                      <a:pt x="1128" y="2784"/>
                    </a:lnTo>
                    <a:lnTo>
                      <a:pt x="0" y="2081"/>
                    </a:lnTo>
                    <a:lnTo>
                      <a:pt x="0" y="1811"/>
                    </a:lnTo>
                    <a:lnTo>
                      <a:pt x="607" y="2081"/>
                    </a:lnTo>
                    <a:lnTo>
                      <a:pt x="174" y="1649"/>
                    </a:lnTo>
                    <a:lnTo>
                      <a:pt x="607" y="1649"/>
                    </a:lnTo>
                    <a:lnTo>
                      <a:pt x="1779" y="1811"/>
                    </a:lnTo>
                    <a:lnTo>
                      <a:pt x="2907" y="2514"/>
                    </a:lnTo>
                    <a:lnTo>
                      <a:pt x="3774" y="2514"/>
                    </a:lnTo>
                    <a:lnTo>
                      <a:pt x="4685" y="2514"/>
                    </a:lnTo>
                    <a:lnTo>
                      <a:pt x="4946" y="2351"/>
                    </a:lnTo>
                    <a:lnTo>
                      <a:pt x="5813" y="2514"/>
                    </a:lnTo>
                    <a:lnTo>
                      <a:pt x="6464" y="2784"/>
                    </a:lnTo>
                    <a:lnTo>
                      <a:pt x="6725" y="2784"/>
                    </a:lnTo>
                    <a:lnTo>
                      <a:pt x="6725" y="2351"/>
                    </a:lnTo>
                    <a:lnTo>
                      <a:pt x="7592" y="2351"/>
                    </a:lnTo>
                    <a:lnTo>
                      <a:pt x="7592" y="1649"/>
                    </a:lnTo>
                    <a:lnTo>
                      <a:pt x="7592" y="973"/>
                    </a:lnTo>
                    <a:lnTo>
                      <a:pt x="8243" y="270"/>
                    </a:lnTo>
                    <a:lnTo>
                      <a:pt x="8937" y="270"/>
                    </a:lnTo>
                    <a:lnTo>
                      <a:pt x="9414" y="270"/>
                    </a:lnTo>
                    <a:lnTo>
                      <a:pt x="10542" y="0"/>
                    </a:lnTo>
                    <a:lnTo>
                      <a:pt x="10759" y="270"/>
                    </a:lnTo>
                    <a:lnTo>
                      <a:pt x="11887" y="541"/>
                    </a:lnTo>
                    <a:lnTo>
                      <a:pt x="12581" y="973"/>
                    </a:lnTo>
                    <a:lnTo>
                      <a:pt x="12321" y="1378"/>
                    </a:lnTo>
                    <a:lnTo>
                      <a:pt x="11887" y="20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2" name="Freeform 287"/>
              <p:cNvSpPr>
                <a:spLocks/>
              </p:cNvSpPr>
              <p:nvPr/>
            </p:nvSpPr>
            <p:spPr bwMode="auto">
              <a:xfrm>
                <a:off x="4864100" y="2863850"/>
                <a:ext cx="342900" cy="309563"/>
              </a:xfrm>
              <a:custGeom>
                <a:avLst/>
                <a:gdLst>
                  <a:gd name="T0" fmla="*/ 11519 w 20000"/>
                  <a:gd name="T1" fmla="*/ 451 h 20000"/>
                  <a:gd name="T2" fmla="*/ 12481 w 20000"/>
                  <a:gd name="T3" fmla="*/ 451 h 20000"/>
                  <a:gd name="T4" fmla="*/ 13074 w 20000"/>
                  <a:gd name="T5" fmla="*/ 1516 h 20000"/>
                  <a:gd name="T6" fmla="*/ 14593 w 20000"/>
                  <a:gd name="T7" fmla="*/ 2131 h 20000"/>
                  <a:gd name="T8" fmla="*/ 15963 w 20000"/>
                  <a:gd name="T9" fmla="*/ 3607 h 20000"/>
                  <a:gd name="T10" fmla="*/ 16889 w 20000"/>
                  <a:gd name="T11" fmla="*/ 3607 h 20000"/>
                  <a:gd name="T12" fmla="*/ 19000 w 20000"/>
                  <a:gd name="T13" fmla="*/ 4467 h 20000"/>
                  <a:gd name="T14" fmla="*/ 19407 w 20000"/>
                  <a:gd name="T15" fmla="*/ 5943 h 20000"/>
                  <a:gd name="T16" fmla="*/ 18630 w 20000"/>
                  <a:gd name="T17" fmla="*/ 8279 h 20000"/>
                  <a:gd name="T18" fmla="*/ 18074 w 20000"/>
                  <a:gd name="T19" fmla="*/ 8893 h 20000"/>
                  <a:gd name="T20" fmla="*/ 16889 w 20000"/>
                  <a:gd name="T21" fmla="*/ 10820 h 20000"/>
                  <a:gd name="T22" fmla="*/ 17481 w 20000"/>
                  <a:gd name="T23" fmla="*/ 10820 h 20000"/>
                  <a:gd name="T24" fmla="*/ 18444 w 20000"/>
                  <a:gd name="T25" fmla="*/ 12090 h 20000"/>
                  <a:gd name="T26" fmla="*/ 18444 w 20000"/>
                  <a:gd name="T27" fmla="*/ 13770 h 20000"/>
                  <a:gd name="T28" fmla="*/ 18074 w 20000"/>
                  <a:gd name="T29" fmla="*/ 14221 h 20000"/>
                  <a:gd name="T30" fmla="*/ 19000 w 20000"/>
                  <a:gd name="T31" fmla="*/ 16107 h 20000"/>
                  <a:gd name="T32" fmla="*/ 19407 w 20000"/>
                  <a:gd name="T33" fmla="*/ 16516 h 20000"/>
                  <a:gd name="T34" fmla="*/ 19000 w 20000"/>
                  <a:gd name="T35" fmla="*/ 17172 h 20000"/>
                  <a:gd name="T36" fmla="*/ 18630 w 20000"/>
                  <a:gd name="T37" fmla="*/ 17172 h 20000"/>
                  <a:gd name="T38" fmla="*/ 18074 w 20000"/>
                  <a:gd name="T39" fmla="*/ 17623 h 20000"/>
                  <a:gd name="T40" fmla="*/ 17481 w 20000"/>
                  <a:gd name="T41" fmla="*/ 18689 h 20000"/>
                  <a:gd name="T42" fmla="*/ 15593 w 20000"/>
                  <a:gd name="T43" fmla="*/ 18279 h 20000"/>
                  <a:gd name="T44" fmla="*/ 15000 w 20000"/>
                  <a:gd name="T45" fmla="*/ 17828 h 20000"/>
                  <a:gd name="T46" fmla="*/ 14407 w 20000"/>
                  <a:gd name="T47" fmla="*/ 17623 h 20000"/>
                  <a:gd name="T48" fmla="*/ 13444 w 20000"/>
                  <a:gd name="T49" fmla="*/ 17623 h 20000"/>
                  <a:gd name="T50" fmla="*/ 12111 w 20000"/>
                  <a:gd name="T51" fmla="*/ 18689 h 20000"/>
                  <a:gd name="T52" fmla="*/ 11519 w 20000"/>
                  <a:gd name="T53" fmla="*/ 19959 h 20000"/>
                  <a:gd name="T54" fmla="*/ 9407 w 20000"/>
                  <a:gd name="T55" fmla="*/ 19303 h 20000"/>
                  <a:gd name="T56" fmla="*/ 8481 w 20000"/>
                  <a:gd name="T57" fmla="*/ 19303 h 20000"/>
                  <a:gd name="T58" fmla="*/ 5370 w 20000"/>
                  <a:gd name="T59" fmla="*/ 18689 h 20000"/>
                  <a:gd name="T60" fmla="*/ 5370 w 20000"/>
                  <a:gd name="T61" fmla="*/ 15287 h 20000"/>
                  <a:gd name="T62" fmla="*/ 5370 w 20000"/>
                  <a:gd name="T63" fmla="*/ 14426 h 20000"/>
                  <a:gd name="T64" fmla="*/ 6370 w 20000"/>
                  <a:gd name="T65" fmla="*/ 13770 h 20000"/>
                  <a:gd name="T66" fmla="*/ 5370 w 20000"/>
                  <a:gd name="T67" fmla="*/ 12500 h 20000"/>
                  <a:gd name="T68" fmla="*/ 4037 w 20000"/>
                  <a:gd name="T69" fmla="*/ 10000 h 20000"/>
                  <a:gd name="T70" fmla="*/ 3481 w 20000"/>
                  <a:gd name="T71" fmla="*/ 8730 h 20000"/>
                  <a:gd name="T72" fmla="*/ 778 w 20000"/>
                  <a:gd name="T73" fmla="*/ 7623 h 20000"/>
                  <a:gd name="T74" fmla="*/ 778 w 20000"/>
                  <a:gd name="T75" fmla="*/ 7049 h 20000"/>
                  <a:gd name="T76" fmla="*/ 1000 w 20000"/>
                  <a:gd name="T77" fmla="*/ 6557 h 20000"/>
                  <a:gd name="T78" fmla="*/ 0 w 20000"/>
                  <a:gd name="T79" fmla="*/ 6393 h 20000"/>
                  <a:gd name="T80" fmla="*/ 1370 w 20000"/>
                  <a:gd name="T81" fmla="*/ 5533 h 20000"/>
                  <a:gd name="T82" fmla="*/ 2519 w 20000"/>
                  <a:gd name="T83" fmla="*/ 5533 h 20000"/>
                  <a:gd name="T84" fmla="*/ 3852 w 20000"/>
                  <a:gd name="T85" fmla="*/ 5943 h 20000"/>
                  <a:gd name="T86" fmla="*/ 5000 w 20000"/>
                  <a:gd name="T87" fmla="*/ 5943 h 20000"/>
                  <a:gd name="T88" fmla="*/ 4407 w 20000"/>
                  <a:gd name="T89" fmla="*/ 3197 h 20000"/>
                  <a:gd name="T90" fmla="*/ 5593 w 20000"/>
                  <a:gd name="T91" fmla="*/ 3197 h 20000"/>
                  <a:gd name="T92" fmla="*/ 6370 w 20000"/>
                  <a:gd name="T93" fmla="*/ 4262 h 20000"/>
                  <a:gd name="T94" fmla="*/ 7481 w 20000"/>
                  <a:gd name="T95" fmla="*/ 3607 h 20000"/>
                  <a:gd name="T96" fmla="*/ 9407 w 20000"/>
                  <a:gd name="T97" fmla="*/ 2787 h 20000"/>
                  <a:gd name="T98" fmla="*/ 9630 w 20000"/>
                  <a:gd name="T99" fmla="*/ 45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3" name="Freeform 286"/>
              <p:cNvSpPr>
                <a:spLocks/>
              </p:cNvSpPr>
              <p:nvPr/>
            </p:nvSpPr>
            <p:spPr bwMode="auto">
              <a:xfrm>
                <a:off x="5216525" y="3152775"/>
                <a:ext cx="34925" cy="57150"/>
              </a:xfrm>
              <a:custGeom>
                <a:avLst/>
                <a:gdLst>
                  <a:gd name="T0" fmla="*/ 11852 w 20000"/>
                  <a:gd name="T1" fmla="*/ 0 h 20000"/>
                  <a:gd name="T2" fmla="*/ 15926 w 20000"/>
                  <a:gd name="T3" fmla="*/ 0 h 20000"/>
                  <a:gd name="T4" fmla="*/ 15926 w 20000"/>
                  <a:gd name="T5" fmla="*/ 1348 h 20000"/>
                  <a:gd name="T6" fmla="*/ 15926 w 20000"/>
                  <a:gd name="T7" fmla="*/ 3596 h 20000"/>
                  <a:gd name="T8" fmla="*/ 19630 w 20000"/>
                  <a:gd name="T9" fmla="*/ 5843 h 20000"/>
                  <a:gd name="T10" fmla="*/ 19630 w 20000"/>
                  <a:gd name="T11" fmla="*/ 9213 h 20000"/>
                  <a:gd name="T12" fmla="*/ 19630 w 20000"/>
                  <a:gd name="T13" fmla="*/ 10562 h 20000"/>
                  <a:gd name="T14" fmla="*/ 15926 w 20000"/>
                  <a:gd name="T15" fmla="*/ 12809 h 20000"/>
                  <a:gd name="T16" fmla="*/ 15926 w 20000"/>
                  <a:gd name="T17" fmla="*/ 15056 h 20000"/>
                  <a:gd name="T18" fmla="*/ 15926 w 20000"/>
                  <a:gd name="T19" fmla="*/ 16180 h 20000"/>
                  <a:gd name="T20" fmla="*/ 11852 w 20000"/>
                  <a:gd name="T21" fmla="*/ 18427 h 20000"/>
                  <a:gd name="T22" fmla="*/ 11852 w 20000"/>
                  <a:gd name="T23" fmla="*/ 19775 h 20000"/>
                  <a:gd name="T24" fmla="*/ 10000 w 20000"/>
                  <a:gd name="T25" fmla="*/ 19775 h 20000"/>
                  <a:gd name="T26" fmla="*/ 5926 w 20000"/>
                  <a:gd name="T27" fmla="*/ 19775 h 20000"/>
                  <a:gd name="T28" fmla="*/ 4074 w 20000"/>
                  <a:gd name="T29" fmla="*/ 18427 h 20000"/>
                  <a:gd name="T30" fmla="*/ 5926 w 20000"/>
                  <a:gd name="T31" fmla="*/ 18427 h 20000"/>
                  <a:gd name="T32" fmla="*/ 5926 w 20000"/>
                  <a:gd name="T33" fmla="*/ 16180 h 20000"/>
                  <a:gd name="T34" fmla="*/ 4074 w 20000"/>
                  <a:gd name="T35" fmla="*/ 16180 h 20000"/>
                  <a:gd name="T36" fmla="*/ 4074 w 20000"/>
                  <a:gd name="T37" fmla="*/ 15056 h 20000"/>
                  <a:gd name="T38" fmla="*/ 0 w 20000"/>
                  <a:gd name="T39" fmla="*/ 15056 h 20000"/>
                  <a:gd name="T40" fmla="*/ 4074 w 20000"/>
                  <a:gd name="T41" fmla="*/ 12809 h 20000"/>
                  <a:gd name="T42" fmla="*/ 4074 w 20000"/>
                  <a:gd name="T43" fmla="*/ 10562 h 20000"/>
                  <a:gd name="T44" fmla="*/ 0 w 20000"/>
                  <a:gd name="T45" fmla="*/ 10562 h 20000"/>
                  <a:gd name="T46" fmla="*/ 0 w 20000"/>
                  <a:gd name="T47" fmla="*/ 9213 h 20000"/>
                  <a:gd name="T48" fmla="*/ 4074 w 20000"/>
                  <a:gd name="T49" fmla="*/ 9213 h 20000"/>
                  <a:gd name="T50" fmla="*/ 0 w 20000"/>
                  <a:gd name="T51" fmla="*/ 6966 h 20000"/>
                  <a:gd name="T52" fmla="*/ 4074 w 20000"/>
                  <a:gd name="T53" fmla="*/ 6966 h 20000"/>
                  <a:gd name="T54" fmla="*/ 4074 w 20000"/>
                  <a:gd name="T55" fmla="*/ 5843 h 20000"/>
                  <a:gd name="T56" fmla="*/ 5926 w 20000"/>
                  <a:gd name="T57" fmla="*/ 3596 h 20000"/>
                  <a:gd name="T58" fmla="*/ 10000 w 20000"/>
                  <a:gd name="T59" fmla="*/ 3596 h 20000"/>
                  <a:gd name="T60" fmla="*/ 11852 w 20000"/>
                  <a:gd name="T61" fmla="*/ 3596 h 20000"/>
                  <a:gd name="T62" fmla="*/ 11852 w 20000"/>
                  <a:gd name="T63" fmla="*/ 1348 h 20000"/>
                  <a:gd name="T64" fmla="*/ 11852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1852" y="0"/>
                    </a:moveTo>
                    <a:lnTo>
                      <a:pt x="15926" y="0"/>
                    </a:lnTo>
                    <a:lnTo>
                      <a:pt x="15926" y="1348"/>
                    </a:lnTo>
                    <a:lnTo>
                      <a:pt x="15926" y="3596"/>
                    </a:lnTo>
                    <a:lnTo>
                      <a:pt x="19630" y="5843"/>
                    </a:lnTo>
                    <a:lnTo>
                      <a:pt x="19630" y="9213"/>
                    </a:lnTo>
                    <a:lnTo>
                      <a:pt x="19630" y="10562"/>
                    </a:lnTo>
                    <a:lnTo>
                      <a:pt x="15926" y="12809"/>
                    </a:lnTo>
                    <a:lnTo>
                      <a:pt x="15926" y="15056"/>
                    </a:lnTo>
                    <a:lnTo>
                      <a:pt x="15926" y="16180"/>
                    </a:lnTo>
                    <a:lnTo>
                      <a:pt x="11852" y="18427"/>
                    </a:lnTo>
                    <a:lnTo>
                      <a:pt x="11852" y="19775"/>
                    </a:lnTo>
                    <a:lnTo>
                      <a:pt x="10000" y="19775"/>
                    </a:lnTo>
                    <a:lnTo>
                      <a:pt x="5926" y="19775"/>
                    </a:lnTo>
                    <a:lnTo>
                      <a:pt x="4074" y="18427"/>
                    </a:lnTo>
                    <a:lnTo>
                      <a:pt x="5926" y="18427"/>
                    </a:lnTo>
                    <a:lnTo>
                      <a:pt x="5926" y="16180"/>
                    </a:lnTo>
                    <a:lnTo>
                      <a:pt x="4074" y="16180"/>
                    </a:lnTo>
                    <a:lnTo>
                      <a:pt x="4074" y="15056"/>
                    </a:lnTo>
                    <a:lnTo>
                      <a:pt x="0" y="15056"/>
                    </a:lnTo>
                    <a:lnTo>
                      <a:pt x="4074" y="12809"/>
                    </a:lnTo>
                    <a:lnTo>
                      <a:pt x="4074" y="10562"/>
                    </a:lnTo>
                    <a:lnTo>
                      <a:pt x="0" y="10562"/>
                    </a:lnTo>
                    <a:lnTo>
                      <a:pt x="0" y="9213"/>
                    </a:lnTo>
                    <a:lnTo>
                      <a:pt x="4074" y="9213"/>
                    </a:lnTo>
                    <a:lnTo>
                      <a:pt x="0" y="6966"/>
                    </a:lnTo>
                    <a:lnTo>
                      <a:pt x="4074" y="6966"/>
                    </a:lnTo>
                    <a:lnTo>
                      <a:pt x="4074" y="5843"/>
                    </a:lnTo>
                    <a:lnTo>
                      <a:pt x="5926" y="3596"/>
                    </a:lnTo>
                    <a:lnTo>
                      <a:pt x="10000" y="3596"/>
                    </a:lnTo>
                    <a:lnTo>
                      <a:pt x="11852" y="3596"/>
                    </a:lnTo>
                    <a:lnTo>
                      <a:pt x="11852" y="1348"/>
                    </a:lnTo>
                    <a:lnTo>
                      <a:pt x="1185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4" name="Freeform 285"/>
              <p:cNvSpPr>
                <a:spLocks/>
              </p:cNvSpPr>
              <p:nvPr/>
            </p:nvSpPr>
            <p:spPr bwMode="auto">
              <a:xfrm>
                <a:off x="4838700" y="2559050"/>
                <a:ext cx="198438" cy="346075"/>
              </a:xfrm>
              <a:custGeom>
                <a:avLst/>
                <a:gdLst>
                  <a:gd name="T0" fmla="*/ 641 w 20000"/>
                  <a:gd name="T1" fmla="*/ 19596 h 20000"/>
                  <a:gd name="T2" fmla="*/ 3974 w 20000"/>
                  <a:gd name="T3" fmla="*/ 17647 h 20000"/>
                  <a:gd name="T4" fmla="*/ 6987 w 20000"/>
                  <a:gd name="T5" fmla="*/ 17500 h 20000"/>
                  <a:gd name="T6" fmla="*/ 6667 w 20000"/>
                  <a:gd name="T7" fmla="*/ 16912 h 20000"/>
                  <a:gd name="T8" fmla="*/ 3974 w 20000"/>
                  <a:gd name="T9" fmla="*/ 16140 h 20000"/>
                  <a:gd name="T10" fmla="*/ 2372 w 20000"/>
                  <a:gd name="T11" fmla="*/ 15993 h 20000"/>
                  <a:gd name="T12" fmla="*/ 5000 w 20000"/>
                  <a:gd name="T13" fmla="*/ 13676 h 20000"/>
                  <a:gd name="T14" fmla="*/ 3333 w 20000"/>
                  <a:gd name="T15" fmla="*/ 13676 h 20000"/>
                  <a:gd name="T16" fmla="*/ 6026 w 20000"/>
                  <a:gd name="T17" fmla="*/ 12904 h 20000"/>
                  <a:gd name="T18" fmla="*/ 7628 w 20000"/>
                  <a:gd name="T19" fmla="*/ 12169 h 20000"/>
                  <a:gd name="T20" fmla="*/ 7628 w 20000"/>
                  <a:gd name="T21" fmla="*/ 11029 h 20000"/>
                  <a:gd name="T22" fmla="*/ 6667 w 20000"/>
                  <a:gd name="T23" fmla="*/ 9669 h 20000"/>
                  <a:gd name="T24" fmla="*/ 7628 w 20000"/>
                  <a:gd name="T25" fmla="*/ 8934 h 20000"/>
                  <a:gd name="T26" fmla="*/ 5000 w 20000"/>
                  <a:gd name="T27" fmla="*/ 9081 h 20000"/>
                  <a:gd name="T28" fmla="*/ 2372 w 20000"/>
                  <a:gd name="T29" fmla="*/ 9081 h 20000"/>
                  <a:gd name="T30" fmla="*/ 3333 w 20000"/>
                  <a:gd name="T31" fmla="*/ 7206 h 20000"/>
                  <a:gd name="T32" fmla="*/ 1667 w 20000"/>
                  <a:gd name="T33" fmla="*/ 6654 h 20000"/>
                  <a:gd name="T34" fmla="*/ 1026 w 20000"/>
                  <a:gd name="T35" fmla="*/ 7022 h 20000"/>
                  <a:gd name="T36" fmla="*/ 2372 w 20000"/>
                  <a:gd name="T37" fmla="*/ 4926 h 20000"/>
                  <a:gd name="T38" fmla="*/ 0 w 20000"/>
                  <a:gd name="T39" fmla="*/ 4559 h 20000"/>
                  <a:gd name="T40" fmla="*/ 1667 w 20000"/>
                  <a:gd name="T41" fmla="*/ 3235 h 20000"/>
                  <a:gd name="T42" fmla="*/ 1026 w 20000"/>
                  <a:gd name="T43" fmla="*/ 2096 h 20000"/>
                  <a:gd name="T44" fmla="*/ 2372 w 20000"/>
                  <a:gd name="T45" fmla="*/ 1103 h 20000"/>
                  <a:gd name="T46" fmla="*/ 3333 w 20000"/>
                  <a:gd name="T47" fmla="*/ 0 h 20000"/>
                  <a:gd name="T48" fmla="*/ 7628 w 20000"/>
                  <a:gd name="T49" fmla="*/ 0 h 20000"/>
                  <a:gd name="T50" fmla="*/ 5256 w 20000"/>
                  <a:gd name="T51" fmla="*/ 1691 h 20000"/>
                  <a:gd name="T52" fmla="*/ 5000 w 20000"/>
                  <a:gd name="T53" fmla="*/ 2647 h 20000"/>
                  <a:gd name="T54" fmla="*/ 10256 w 20000"/>
                  <a:gd name="T55" fmla="*/ 2463 h 20000"/>
                  <a:gd name="T56" fmla="*/ 9615 w 20000"/>
                  <a:gd name="T57" fmla="*/ 3971 h 20000"/>
                  <a:gd name="T58" fmla="*/ 8654 w 20000"/>
                  <a:gd name="T59" fmla="*/ 5699 h 20000"/>
                  <a:gd name="T60" fmla="*/ 6667 w 20000"/>
                  <a:gd name="T61" fmla="*/ 6434 h 20000"/>
                  <a:gd name="T62" fmla="*/ 11282 w 20000"/>
                  <a:gd name="T63" fmla="*/ 7978 h 20000"/>
                  <a:gd name="T64" fmla="*/ 14936 w 20000"/>
                  <a:gd name="T65" fmla="*/ 10662 h 20000"/>
                  <a:gd name="T66" fmla="*/ 14936 w 20000"/>
                  <a:gd name="T67" fmla="*/ 11985 h 20000"/>
                  <a:gd name="T68" fmla="*/ 15577 w 20000"/>
                  <a:gd name="T69" fmla="*/ 13493 h 20000"/>
                  <a:gd name="T70" fmla="*/ 16603 w 20000"/>
                  <a:gd name="T71" fmla="*/ 13676 h 20000"/>
                  <a:gd name="T72" fmla="*/ 19936 w 20000"/>
                  <a:gd name="T73" fmla="*/ 14412 h 20000"/>
                  <a:gd name="T74" fmla="*/ 17949 w 20000"/>
                  <a:gd name="T75" fmla="*/ 16140 h 20000"/>
                  <a:gd name="T76" fmla="*/ 16603 w 20000"/>
                  <a:gd name="T77" fmla="*/ 16912 h 20000"/>
                  <a:gd name="T78" fmla="*/ 17949 w 20000"/>
                  <a:gd name="T79" fmla="*/ 18088 h 20000"/>
                  <a:gd name="T80" fmla="*/ 13910 w 20000"/>
                  <a:gd name="T81" fmla="*/ 18088 h 20000"/>
                  <a:gd name="T82" fmla="*/ 10256 w 20000"/>
                  <a:gd name="T83" fmla="*/ 18456 h 20000"/>
                  <a:gd name="T84" fmla="*/ 6667 w 20000"/>
                  <a:gd name="T85" fmla="*/ 18640 h 20000"/>
                  <a:gd name="T86" fmla="*/ 4359 w 20000"/>
                  <a:gd name="T87"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1667" y="19963"/>
                    </a:moveTo>
                    <a:lnTo>
                      <a:pt x="641" y="19596"/>
                    </a:lnTo>
                    <a:lnTo>
                      <a:pt x="2372" y="19007"/>
                    </a:lnTo>
                    <a:lnTo>
                      <a:pt x="3974" y="17647"/>
                    </a:lnTo>
                    <a:lnTo>
                      <a:pt x="5000" y="17500"/>
                    </a:lnTo>
                    <a:lnTo>
                      <a:pt x="6987" y="17500"/>
                    </a:lnTo>
                    <a:lnTo>
                      <a:pt x="8013" y="16544"/>
                    </a:lnTo>
                    <a:lnTo>
                      <a:pt x="6667" y="16912"/>
                    </a:lnTo>
                    <a:lnTo>
                      <a:pt x="4359" y="16544"/>
                    </a:lnTo>
                    <a:lnTo>
                      <a:pt x="3974" y="16140"/>
                    </a:lnTo>
                    <a:lnTo>
                      <a:pt x="2628" y="16544"/>
                    </a:lnTo>
                    <a:lnTo>
                      <a:pt x="2372" y="15993"/>
                    </a:lnTo>
                    <a:lnTo>
                      <a:pt x="5000" y="14632"/>
                    </a:lnTo>
                    <a:lnTo>
                      <a:pt x="5000" y="13676"/>
                    </a:lnTo>
                    <a:lnTo>
                      <a:pt x="3974" y="13676"/>
                    </a:lnTo>
                    <a:lnTo>
                      <a:pt x="3333" y="13676"/>
                    </a:lnTo>
                    <a:lnTo>
                      <a:pt x="3974" y="13493"/>
                    </a:lnTo>
                    <a:lnTo>
                      <a:pt x="6026" y="12904"/>
                    </a:lnTo>
                    <a:lnTo>
                      <a:pt x="8013" y="12904"/>
                    </a:lnTo>
                    <a:lnTo>
                      <a:pt x="7628" y="12169"/>
                    </a:lnTo>
                    <a:lnTo>
                      <a:pt x="7628" y="11397"/>
                    </a:lnTo>
                    <a:lnTo>
                      <a:pt x="7628" y="11029"/>
                    </a:lnTo>
                    <a:lnTo>
                      <a:pt x="6987" y="11029"/>
                    </a:lnTo>
                    <a:lnTo>
                      <a:pt x="6667" y="9669"/>
                    </a:lnTo>
                    <a:lnTo>
                      <a:pt x="6667" y="9522"/>
                    </a:lnTo>
                    <a:lnTo>
                      <a:pt x="7628" y="8934"/>
                    </a:lnTo>
                    <a:lnTo>
                      <a:pt x="6667" y="8934"/>
                    </a:lnTo>
                    <a:lnTo>
                      <a:pt x="5000" y="9081"/>
                    </a:lnTo>
                    <a:lnTo>
                      <a:pt x="3333" y="9522"/>
                    </a:lnTo>
                    <a:lnTo>
                      <a:pt x="2372" y="9081"/>
                    </a:lnTo>
                    <a:lnTo>
                      <a:pt x="3333" y="7574"/>
                    </a:lnTo>
                    <a:lnTo>
                      <a:pt x="3333" y="7206"/>
                    </a:lnTo>
                    <a:lnTo>
                      <a:pt x="3333" y="6654"/>
                    </a:lnTo>
                    <a:lnTo>
                      <a:pt x="1667" y="6654"/>
                    </a:lnTo>
                    <a:lnTo>
                      <a:pt x="1026" y="7978"/>
                    </a:lnTo>
                    <a:lnTo>
                      <a:pt x="1026" y="7022"/>
                    </a:lnTo>
                    <a:lnTo>
                      <a:pt x="1026" y="5699"/>
                    </a:lnTo>
                    <a:lnTo>
                      <a:pt x="2372" y="4926"/>
                    </a:lnTo>
                    <a:lnTo>
                      <a:pt x="1026" y="5110"/>
                    </a:lnTo>
                    <a:lnTo>
                      <a:pt x="0" y="4559"/>
                    </a:lnTo>
                    <a:lnTo>
                      <a:pt x="1026" y="3971"/>
                    </a:lnTo>
                    <a:lnTo>
                      <a:pt x="1667" y="3235"/>
                    </a:lnTo>
                    <a:lnTo>
                      <a:pt x="641" y="3015"/>
                    </a:lnTo>
                    <a:lnTo>
                      <a:pt x="1026" y="2096"/>
                    </a:lnTo>
                    <a:lnTo>
                      <a:pt x="2372" y="1691"/>
                    </a:lnTo>
                    <a:lnTo>
                      <a:pt x="2372" y="1103"/>
                    </a:lnTo>
                    <a:lnTo>
                      <a:pt x="2628" y="1103"/>
                    </a:lnTo>
                    <a:lnTo>
                      <a:pt x="3333" y="0"/>
                    </a:lnTo>
                    <a:lnTo>
                      <a:pt x="5256" y="147"/>
                    </a:lnTo>
                    <a:lnTo>
                      <a:pt x="7628" y="0"/>
                    </a:lnTo>
                    <a:lnTo>
                      <a:pt x="7628" y="956"/>
                    </a:lnTo>
                    <a:lnTo>
                      <a:pt x="5256" y="1691"/>
                    </a:lnTo>
                    <a:lnTo>
                      <a:pt x="5256" y="2096"/>
                    </a:lnTo>
                    <a:lnTo>
                      <a:pt x="5000" y="2647"/>
                    </a:lnTo>
                    <a:lnTo>
                      <a:pt x="6667" y="2463"/>
                    </a:lnTo>
                    <a:lnTo>
                      <a:pt x="10256" y="2463"/>
                    </a:lnTo>
                    <a:lnTo>
                      <a:pt x="10897" y="3015"/>
                    </a:lnTo>
                    <a:lnTo>
                      <a:pt x="9615" y="3971"/>
                    </a:lnTo>
                    <a:lnTo>
                      <a:pt x="8013" y="5478"/>
                    </a:lnTo>
                    <a:lnTo>
                      <a:pt x="8654" y="5699"/>
                    </a:lnTo>
                    <a:lnTo>
                      <a:pt x="7628" y="6066"/>
                    </a:lnTo>
                    <a:lnTo>
                      <a:pt x="6667" y="6434"/>
                    </a:lnTo>
                    <a:lnTo>
                      <a:pt x="8654" y="6434"/>
                    </a:lnTo>
                    <a:lnTo>
                      <a:pt x="11282" y="7978"/>
                    </a:lnTo>
                    <a:lnTo>
                      <a:pt x="12949" y="9669"/>
                    </a:lnTo>
                    <a:lnTo>
                      <a:pt x="14936" y="10662"/>
                    </a:lnTo>
                    <a:lnTo>
                      <a:pt x="15577" y="11985"/>
                    </a:lnTo>
                    <a:lnTo>
                      <a:pt x="14936" y="11985"/>
                    </a:lnTo>
                    <a:lnTo>
                      <a:pt x="16282" y="13125"/>
                    </a:lnTo>
                    <a:lnTo>
                      <a:pt x="15577" y="13493"/>
                    </a:lnTo>
                    <a:lnTo>
                      <a:pt x="16282" y="14044"/>
                    </a:lnTo>
                    <a:lnTo>
                      <a:pt x="16603" y="13676"/>
                    </a:lnTo>
                    <a:lnTo>
                      <a:pt x="17949" y="13493"/>
                    </a:lnTo>
                    <a:lnTo>
                      <a:pt x="19936" y="14412"/>
                    </a:lnTo>
                    <a:lnTo>
                      <a:pt x="18910" y="15993"/>
                    </a:lnTo>
                    <a:lnTo>
                      <a:pt x="17949" y="16140"/>
                    </a:lnTo>
                    <a:lnTo>
                      <a:pt x="17308" y="16544"/>
                    </a:lnTo>
                    <a:lnTo>
                      <a:pt x="16603" y="16912"/>
                    </a:lnTo>
                    <a:lnTo>
                      <a:pt x="18910" y="17096"/>
                    </a:lnTo>
                    <a:lnTo>
                      <a:pt x="17949" y="18088"/>
                    </a:lnTo>
                    <a:lnTo>
                      <a:pt x="16282" y="18456"/>
                    </a:lnTo>
                    <a:lnTo>
                      <a:pt x="13910" y="18088"/>
                    </a:lnTo>
                    <a:lnTo>
                      <a:pt x="12949" y="18088"/>
                    </a:lnTo>
                    <a:lnTo>
                      <a:pt x="10256" y="18456"/>
                    </a:lnTo>
                    <a:lnTo>
                      <a:pt x="8013" y="18456"/>
                    </a:lnTo>
                    <a:lnTo>
                      <a:pt x="6667" y="18640"/>
                    </a:lnTo>
                    <a:lnTo>
                      <a:pt x="5256" y="19375"/>
                    </a:lnTo>
                    <a:lnTo>
                      <a:pt x="4359" y="19375"/>
                    </a:lnTo>
                    <a:lnTo>
                      <a:pt x="1667" y="1996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5" name="Freeform 284"/>
              <p:cNvSpPr>
                <a:spLocks/>
              </p:cNvSpPr>
              <p:nvPr/>
            </p:nvSpPr>
            <p:spPr bwMode="auto">
              <a:xfrm>
                <a:off x="4792663" y="2698750"/>
                <a:ext cx="63500" cy="50800"/>
              </a:xfrm>
              <a:custGeom>
                <a:avLst/>
                <a:gdLst>
                  <a:gd name="T0" fmla="*/ 5253 w 20000"/>
                  <a:gd name="T1" fmla="*/ 5316 h 20000"/>
                  <a:gd name="T2" fmla="*/ 8283 w 20000"/>
                  <a:gd name="T3" fmla="*/ 2785 h 20000"/>
                  <a:gd name="T4" fmla="*/ 13535 w 20000"/>
                  <a:gd name="T5" fmla="*/ 0 h 20000"/>
                  <a:gd name="T6" fmla="*/ 14545 w 20000"/>
                  <a:gd name="T7" fmla="*/ 0 h 20000"/>
                  <a:gd name="T8" fmla="*/ 17778 w 20000"/>
                  <a:gd name="T9" fmla="*/ 6582 h 20000"/>
                  <a:gd name="T10" fmla="*/ 16566 w 20000"/>
                  <a:gd name="T11" fmla="*/ 9367 h 20000"/>
                  <a:gd name="T12" fmla="*/ 17778 w 20000"/>
                  <a:gd name="T13" fmla="*/ 9367 h 20000"/>
                  <a:gd name="T14" fmla="*/ 19798 w 20000"/>
                  <a:gd name="T15" fmla="*/ 15696 h 20000"/>
                  <a:gd name="T16" fmla="*/ 14545 w 20000"/>
                  <a:gd name="T17" fmla="*/ 19747 h 20000"/>
                  <a:gd name="T18" fmla="*/ 13535 w 20000"/>
                  <a:gd name="T19" fmla="*/ 17215 h 20000"/>
                  <a:gd name="T20" fmla="*/ 11515 w 20000"/>
                  <a:gd name="T21" fmla="*/ 17215 h 20000"/>
                  <a:gd name="T22" fmla="*/ 6263 w 20000"/>
                  <a:gd name="T23" fmla="*/ 10380 h 20000"/>
                  <a:gd name="T24" fmla="*/ 6263 w 20000"/>
                  <a:gd name="T25" fmla="*/ 13165 h 20000"/>
                  <a:gd name="T26" fmla="*/ 6263 w 20000"/>
                  <a:gd name="T27" fmla="*/ 15696 h 20000"/>
                  <a:gd name="T28" fmla="*/ 5253 w 20000"/>
                  <a:gd name="T29" fmla="*/ 17215 h 20000"/>
                  <a:gd name="T30" fmla="*/ 1212 w 20000"/>
                  <a:gd name="T31" fmla="*/ 15696 h 20000"/>
                  <a:gd name="T32" fmla="*/ 0 w 20000"/>
                  <a:gd name="T33" fmla="*/ 10380 h 20000"/>
                  <a:gd name="T34" fmla="*/ 1212 w 20000"/>
                  <a:gd name="T35" fmla="*/ 9367 h 20000"/>
                  <a:gd name="T36" fmla="*/ 1212 w 20000"/>
                  <a:gd name="T37" fmla="*/ 6582 h 20000"/>
                  <a:gd name="T38" fmla="*/ 5253 w 20000"/>
                  <a:gd name="T39" fmla="*/ 531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5253" y="5316"/>
                    </a:moveTo>
                    <a:lnTo>
                      <a:pt x="8283" y="2785"/>
                    </a:lnTo>
                    <a:lnTo>
                      <a:pt x="13535" y="0"/>
                    </a:lnTo>
                    <a:lnTo>
                      <a:pt x="14545" y="0"/>
                    </a:lnTo>
                    <a:lnTo>
                      <a:pt x="17778" y="6582"/>
                    </a:lnTo>
                    <a:lnTo>
                      <a:pt x="16566" y="9367"/>
                    </a:lnTo>
                    <a:lnTo>
                      <a:pt x="17778" y="9367"/>
                    </a:lnTo>
                    <a:lnTo>
                      <a:pt x="19798" y="15696"/>
                    </a:lnTo>
                    <a:lnTo>
                      <a:pt x="14545" y="19747"/>
                    </a:lnTo>
                    <a:lnTo>
                      <a:pt x="13535" y="17215"/>
                    </a:lnTo>
                    <a:lnTo>
                      <a:pt x="11515" y="17215"/>
                    </a:lnTo>
                    <a:lnTo>
                      <a:pt x="6263" y="10380"/>
                    </a:lnTo>
                    <a:lnTo>
                      <a:pt x="6263" y="13165"/>
                    </a:lnTo>
                    <a:lnTo>
                      <a:pt x="6263" y="15696"/>
                    </a:lnTo>
                    <a:lnTo>
                      <a:pt x="5253" y="17215"/>
                    </a:lnTo>
                    <a:lnTo>
                      <a:pt x="1212" y="15696"/>
                    </a:lnTo>
                    <a:lnTo>
                      <a:pt x="0" y="10380"/>
                    </a:lnTo>
                    <a:lnTo>
                      <a:pt x="1212" y="9367"/>
                    </a:lnTo>
                    <a:lnTo>
                      <a:pt x="1212" y="6582"/>
                    </a:lnTo>
                    <a:lnTo>
                      <a:pt x="5253" y="531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6" name="Freeform 283"/>
              <p:cNvSpPr>
                <a:spLocks/>
              </p:cNvSpPr>
              <p:nvPr/>
            </p:nvSpPr>
            <p:spPr bwMode="auto">
              <a:xfrm>
                <a:off x="4818063" y="2568575"/>
                <a:ext cx="17462" cy="26988"/>
              </a:xfrm>
              <a:custGeom>
                <a:avLst/>
                <a:gdLst>
                  <a:gd name="T0" fmla="*/ 0 w 20000"/>
                  <a:gd name="T1" fmla="*/ 19524 h 20000"/>
                  <a:gd name="T2" fmla="*/ 0 w 20000"/>
                  <a:gd name="T3" fmla="*/ 14286 h 20000"/>
                  <a:gd name="T4" fmla="*/ 0 w 20000"/>
                  <a:gd name="T5" fmla="*/ 11905 h 20000"/>
                  <a:gd name="T6" fmla="*/ 0 w 20000"/>
                  <a:gd name="T7" fmla="*/ 6667 h 20000"/>
                  <a:gd name="T8" fmla="*/ 4444 w 20000"/>
                  <a:gd name="T9" fmla="*/ 6667 h 20000"/>
                  <a:gd name="T10" fmla="*/ 4444 w 20000"/>
                  <a:gd name="T11" fmla="*/ 4762 h 20000"/>
                  <a:gd name="T12" fmla="*/ 19259 w 20000"/>
                  <a:gd name="T13" fmla="*/ 0 h 20000"/>
                  <a:gd name="T14" fmla="*/ 19259 w 20000"/>
                  <a:gd name="T15" fmla="*/ 4762 h 20000"/>
                  <a:gd name="T16" fmla="*/ 11852 w 20000"/>
                  <a:gd name="T17" fmla="*/ 11905 h 20000"/>
                  <a:gd name="T18" fmla="*/ 19259 w 20000"/>
                  <a:gd name="T19" fmla="*/ 11905 h 20000"/>
                  <a:gd name="T20" fmla="*/ 11852 w 20000"/>
                  <a:gd name="T21" fmla="*/ 14286 h 20000"/>
                  <a:gd name="T22" fmla="*/ 0 w 20000"/>
                  <a:gd name="T23"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0" y="19524"/>
                    </a:moveTo>
                    <a:lnTo>
                      <a:pt x="0" y="14286"/>
                    </a:lnTo>
                    <a:lnTo>
                      <a:pt x="0" y="11905"/>
                    </a:lnTo>
                    <a:lnTo>
                      <a:pt x="0" y="6667"/>
                    </a:lnTo>
                    <a:lnTo>
                      <a:pt x="4444" y="6667"/>
                    </a:lnTo>
                    <a:lnTo>
                      <a:pt x="4444" y="4762"/>
                    </a:lnTo>
                    <a:lnTo>
                      <a:pt x="19259" y="0"/>
                    </a:lnTo>
                    <a:lnTo>
                      <a:pt x="19259" y="4762"/>
                    </a:lnTo>
                    <a:lnTo>
                      <a:pt x="11852" y="11905"/>
                    </a:lnTo>
                    <a:lnTo>
                      <a:pt x="19259" y="11905"/>
                    </a:lnTo>
                    <a:lnTo>
                      <a:pt x="11852" y="14286"/>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7" name="Freeform 282"/>
              <p:cNvSpPr>
                <a:spLocks/>
              </p:cNvSpPr>
              <p:nvPr/>
            </p:nvSpPr>
            <p:spPr bwMode="auto">
              <a:xfrm>
                <a:off x="4822825" y="2600325"/>
                <a:ext cx="26988" cy="20638"/>
              </a:xfrm>
              <a:custGeom>
                <a:avLst/>
                <a:gdLst>
                  <a:gd name="T0" fmla="*/ 16667 w 20000"/>
                  <a:gd name="T1" fmla="*/ 19375 h 20000"/>
                  <a:gd name="T2" fmla="*/ 11905 w 20000"/>
                  <a:gd name="T3" fmla="*/ 19375 h 20000"/>
                  <a:gd name="T4" fmla="*/ 16667 w 20000"/>
                  <a:gd name="T5" fmla="*/ 19375 h 20000"/>
                  <a:gd name="T6" fmla="*/ 9524 w 20000"/>
                  <a:gd name="T7" fmla="*/ 19375 h 20000"/>
                  <a:gd name="T8" fmla="*/ 4762 w 20000"/>
                  <a:gd name="T9" fmla="*/ 9375 h 20000"/>
                  <a:gd name="T10" fmla="*/ 0 w 20000"/>
                  <a:gd name="T11" fmla="*/ 9375 h 20000"/>
                  <a:gd name="T12" fmla="*/ 4762 w 20000"/>
                  <a:gd name="T13" fmla="*/ 0 h 20000"/>
                  <a:gd name="T14" fmla="*/ 9524 w 20000"/>
                  <a:gd name="T15" fmla="*/ 3750 h 20000"/>
                  <a:gd name="T16" fmla="*/ 9524 w 20000"/>
                  <a:gd name="T17" fmla="*/ 0 h 20000"/>
                  <a:gd name="T18" fmla="*/ 11905 w 20000"/>
                  <a:gd name="T19" fmla="*/ 0 h 20000"/>
                  <a:gd name="T20" fmla="*/ 11905 w 20000"/>
                  <a:gd name="T21" fmla="*/ 13125 h 20000"/>
                  <a:gd name="T22" fmla="*/ 19524 w 20000"/>
                  <a:gd name="T23" fmla="*/ 13125 h 20000"/>
                  <a:gd name="T24" fmla="*/ 16667 w 20000"/>
                  <a:gd name="T25"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6667" y="19375"/>
                    </a:moveTo>
                    <a:lnTo>
                      <a:pt x="11905" y="19375"/>
                    </a:lnTo>
                    <a:lnTo>
                      <a:pt x="16667" y="19375"/>
                    </a:lnTo>
                    <a:lnTo>
                      <a:pt x="9524" y="19375"/>
                    </a:lnTo>
                    <a:lnTo>
                      <a:pt x="4762" y="9375"/>
                    </a:lnTo>
                    <a:lnTo>
                      <a:pt x="0" y="9375"/>
                    </a:lnTo>
                    <a:lnTo>
                      <a:pt x="4762" y="0"/>
                    </a:lnTo>
                    <a:lnTo>
                      <a:pt x="9524" y="3750"/>
                    </a:lnTo>
                    <a:lnTo>
                      <a:pt x="9524" y="0"/>
                    </a:lnTo>
                    <a:lnTo>
                      <a:pt x="11905" y="0"/>
                    </a:lnTo>
                    <a:lnTo>
                      <a:pt x="11905" y="13125"/>
                    </a:lnTo>
                    <a:lnTo>
                      <a:pt x="19524" y="13125"/>
                    </a:lnTo>
                    <a:lnTo>
                      <a:pt x="16667"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8" name="Freeform 281"/>
              <p:cNvSpPr>
                <a:spLocks/>
              </p:cNvSpPr>
              <p:nvPr/>
            </p:nvSpPr>
            <p:spPr bwMode="auto">
              <a:xfrm>
                <a:off x="4949825" y="2473325"/>
                <a:ext cx="17463" cy="33338"/>
              </a:xfrm>
              <a:custGeom>
                <a:avLst/>
                <a:gdLst>
                  <a:gd name="T0" fmla="*/ 7407 w 20000"/>
                  <a:gd name="T1" fmla="*/ 19615 h 20000"/>
                  <a:gd name="T2" fmla="*/ 7407 w 20000"/>
                  <a:gd name="T3" fmla="*/ 11923 h 20000"/>
                  <a:gd name="T4" fmla="*/ 0 w 20000"/>
                  <a:gd name="T5" fmla="*/ 9615 h 20000"/>
                  <a:gd name="T6" fmla="*/ 7407 w 20000"/>
                  <a:gd name="T7" fmla="*/ 9615 h 20000"/>
                  <a:gd name="T8" fmla="*/ 0 w 20000"/>
                  <a:gd name="T9" fmla="*/ 2308 h 20000"/>
                  <a:gd name="T10" fmla="*/ 11852 w 20000"/>
                  <a:gd name="T11" fmla="*/ 0 h 20000"/>
                  <a:gd name="T12" fmla="*/ 11852 w 20000"/>
                  <a:gd name="T13" fmla="*/ 5769 h 20000"/>
                  <a:gd name="T14" fmla="*/ 19259 w 20000"/>
                  <a:gd name="T15" fmla="*/ 11923 h 20000"/>
                  <a:gd name="T16" fmla="*/ 7407 w 20000"/>
                  <a:gd name="T17" fmla="*/ 19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7407" y="19615"/>
                    </a:moveTo>
                    <a:lnTo>
                      <a:pt x="7407" y="11923"/>
                    </a:lnTo>
                    <a:lnTo>
                      <a:pt x="0" y="9615"/>
                    </a:lnTo>
                    <a:lnTo>
                      <a:pt x="7407" y="9615"/>
                    </a:lnTo>
                    <a:lnTo>
                      <a:pt x="0" y="2308"/>
                    </a:lnTo>
                    <a:lnTo>
                      <a:pt x="11852" y="0"/>
                    </a:lnTo>
                    <a:lnTo>
                      <a:pt x="11852" y="5769"/>
                    </a:lnTo>
                    <a:lnTo>
                      <a:pt x="19259" y="11923"/>
                    </a:lnTo>
                    <a:lnTo>
                      <a:pt x="7407"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69" name="Freeform 280"/>
              <p:cNvSpPr>
                <a:spLocks/>
              </p:cNvSpPr>
              <p:nvPr/>
            </p:nvSpPr>
            <p:spPr bwMode="auto">
              <a:xfrm>
                <a:off x="4818063" y="2397125"/>
                <a:ext cx="17462" cy="17463"/>
              </a:xfrm>
              <a:custGeom>
                <a:avLst/>
                <a:gdLst>
                  <a:gd name="T0" fmla="*/ 11852 w 20000"/>
                  <a:gd name="T1" fmla="*/ 19259 h 20000"/>
                  <a:gd name="T2" fmla="*/ 0 w 20000"/>
                  <a:gd name="T3" fmla="*/ 7407 h 20000"/>
                  <a:gd name="T4" fmla="*/ 4444 w 20000"/>
                  <a:gd name="T5" fmla="*/ 0 h 20000"/>
                  <a:gd name="T6" fmla="*/ 19259 w 20000"/>
                  <a:gd name="T7" fmla="*/ 11852 h 20000"/>
                  <a:gd name="T8" fmla="*/ 11852 w 20000"/>
                  <a:gd name="T9" fmla="*/ 19259 h 20000"/>
                </a:gdLst>
                <a:ahLst/>
                <a:cxnLst>
                  <a:cxn ang="0">
                    <a:pos x="T0" y="T1"/>
                  </a:cxn>
                  <a:cxn ang="0">
                    <a:pos x="T2" y="T3"/>
                  </a:cxn>
                  <a:cxn ang="0">
                    <a:pos x="T4" y="T5"/>
                  </a:cxn>
                  <a:cxn ang="0">
                    <a:pos x="T6" y="T7"/>
                  </a:cxn>
                  <a:cxn ang="0">
                    <a:pos x="T8" y="T9"/>
                  </a:cxn>
                </a:cxnLst>
                <a:rect l="0" t="0" r="r" b="b"/>
                <a:pathLst>
                  <a:path w="20000" h="20000">
                    <a:moveTo>
                      <a:pt x="11852" y="19259"/>
                    </a:moveTo>
                    <a:lnTo>
                      <a:pt x="0" y="7407"/>
                    </a:lnTo>
                    <a:lnTo>
                      <a:pt x="4444" y="0"/>
                    </a:lnTo>
                    <a:lnTo>
                      <a:pt x="19259" y="11852"/>
                    </a:lnTo>
                    <a:lnTo>
                      <a:pt x="11852"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0" name="Freeform 279"/>
              <p:cNvSpPr>
                <a:spLocks/>
              </p:cNvSpPr>
              <p:nvPr/>
            </p:nvSpPr>
            <p:spPr bwMode="auto">
              <a:xfrm>
                <a:off x="4908550" y="2535238"/>
                <a:ext cx="17463" cy="11112"/>
              </a:xfrm>
              <a:custGeom>
                <a:avLst/>
                <a:gdLst>
                  <a:gd name="T0" fmla="*/ 19259 w 20000"/>
                  <a:gd name="T1" fmla="*/ 18824 h 20000"/>
                  <a:gd name="T2" fmla="*/ 0 w 20000"/>
                  <a:gd name="T3" fmla="*/ 18824 h 20000"/>
                  <a:gd name="T4" fmla="*/ 0 w 20000"/>
                  <a:gd name="T5" fmla="*/ 0 h 20000"/>
                  <a:gd name="T6" fmla="*/ 7407 w 20000"/>
                  <a:gd name="T7" fmla="*/ 11765 h 20000"/>
                  <a:gd name="T8" fmla="*/ 19259 w 20000"/>
                  <a:gd name="T9" fmla="*/ 11765 h 20000"/>
                  <a:gd name="T10" fmla="*/ 19259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9259" y="18824"/>
                    </a:moveTo>
                    <a:lnTo>
                      <a:pt x="0" y="18824"/>
                    </a:lnTo>
                    <a:lnTo>
                      <a:pt x="0" y="0"/>
                    </a:lnTo>
                    <a:lnTo>
                      <a:pt x="7407" y="11765"/>
                    </a:lnTo>
                    <a:lnTo>
                      <a:pt x="19259" y="11765"/>
                    </a:lnTo>
                    <a:lnTo>
                      <a:pt x="19259"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1" name="Freeform 278"/>
              <p:cNvSpPr>
                <a:spLocks/>
              </p:cNvSpPr>
              <p:nvPr/>
            </p:nvSpPr>
            <p:spPr bwMode="auto">
              <a:xfrm>
                <a:off x="4808538" y="2611438"/>
                <a:ext cx="4762" cy="11112"/>
              </a:xfrm>
              <a:custGeom>
                <a:avLst/>
                <a:gdLst>
                  <a:gd name="T0" fmla="*/ 17143 w 20000"/>
                  <a:gd name="T1" fmla="*/ 18824 h 20000"/>
                  <a:gd name="T2" fmla="*/ 0 w 20000"/>
                  <a:gd name="T3" fmla="*/ 18824 h 20000"/>
                  <a:gd name="T4" fmla="*/ 0 w 20000"/>
                  <a:gd name="T5" fmla="*/ 0 h 20000"/>
                  <a:gd name="T6" fmla="*/ 17143 w 20000"/>
                  <a:gd name="T7" fmla="*/ 7059 h 20000"/>
                  <a:gd name="T8" fmla="*/ 17143 w 20000"/>
                  <a:gd name="T9" fmla="*/ 18824 h 20000"/>
                </a:gdLst>
                <a:ahLst/>
                <a:cxnLst>
                  <a:cxn ang="0">
                    <a:pos x="T0" y="T1"/>
                  </a:cxn>
                  <a:cxn ang="0">
                    <a:pos x="T2" y="T3"/>
                  </a:cxn>
                  <a:cxn ang="0">
                    <a:pos x="T4" y="T5"/>
                  </a:cxn>
                  <a:cxn ang="0">
                    <a:pos x="T6" y="T7"/>
                  </a:cxn>
                  <a:cxn ang="0">
                    <a:pos x="T8" y="T9"/>
                  </a:cxn>
                </a:cxnLst>
                <a:rect l="0" t="0" r="r" b="b"/>
                <a:pathLst>
                  <a:path w="20000" h="20000">
                    <a:moveTo>
                      <a:pt x="17143" y="18824"/>
                    </a:moveTo>
                    <a:lnTo>
                      <a:pt x="0" y="18824"/>
                    </a:lnTo>
                    <a:lnTo>
                      <a:pt x="0" y="0"/>
                    </a:lnTo>
                    <a:lnTo>
                      <a:pt x="17143" y="7059"/>
                    </a:lnTo>
                    <a:lnTo>
                      <a:pt x="1714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2" name="Freeform 277"/>
              <p:cNvSpPr>
                <a:spLocks/>
              </p:cNvSpPr>
              <p:nvPr/>
            </p:nvSpPr>
            <p:spPr bwMode="auto">
              <a:xfrm>
                <a:off x="4802188" y="2600325"/>
                <a:ext cx="11112" cy="4763"/>
              </a:xfrm>
              <a:custGeom>
                <a:avLst/>
                <a:gdLst>
                  <a:gd name="T0" fmla="*/ 18824 w 20000"/>
                  <a:gd name="T1" fmla="*/ 17143 h 20000"/>
                  <a:gd name="T2" fmla="*/ 0 w 20000"/>
                  <a:gd name="T3" fmla="*/ 0 h 20000"/>
                  <a:gd name="T4" fmla="*/ 18824 w 20000"/>
                  <a:gd name="T5" fmla="*/ 0 h 20000"/>
                  <a:gd name="T6" fmla="*/ 18824 w 20000"/>
                  <a:gd name="T7" fmla="*/ 17143 h 20000"/>
                </a:gdLst>
                <a:ahLst/>
                <a:cxnLst>
                  <a:cxn ang="0">
                    <a:pos x="T0" y="T1"/>
                  </a:cxn>
                  <a:cxn ang="0">
                    <a:pos x="T2" y="T3"/>
                  </a:cxn>
                  <a:cxn ang="0">
                    <a:pos x="T4" y="T5"/>
                  </a:cxn>
                  <a:cxn ang="0">
                    <a:pos x="T6" y="T7"/>
                  </a:cxn>
                </a:cxnLst>
                <a:rect l="0" t="0" r="r" b="b"/>
                <a:pathLst>
                  <a:path w="20000" h="20000">
                    <a:moveTo>
                      <a:pt x="18824" y="17143"/>
                    </a:moveTo>
                    <a:lnTo>
                      <a:pt x="0" y="0"/>
                    </a:lnTo>
                    <a:lnTo>
                      <a:pt x="18824" y="0"/>
                    </a:lnTo>
                    <a:lnTo>
                      <a:pt x="18824" y="1714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3" name="Freeform 276"/>
              <p:cNvSpPr>
                <a:spLocks/>
              </p:cNvSpPr>
              <p:nvPr/>
            </p:nvSpPr>
            <p:spPr bwMode="auto">
              <a:xfrm>
                <a:off x="4724400" y="2697163"/>
                <a:ext cx="115888" cy="149225"/>
              </a:xfrm>
              <a:custGeom>
                <a:avLst/>
                <a:gdLst>
                  <a:gd name="T0" fmla="*/ 12527 w 20000"/>
                  <a:gd name="T1" fmla="*/ 2564 h 20000"/>
                  <a:gd name="T2" fmla="*/ 11868 w 20000"/>
                  <a:gd name="T3" fmla="*/ 3932 h 20000"/>
                  <a:gd name="T4" fmla="*/ 14725 w 20000"/>
                  <a:gd name="T5" fmla="*/ 6154 h 20000"/>
                  <a:gd name="T6" fmla="*/ 15385 w 20000"/>
                  <a:gd name="T7" fmla="*/ 4872 h 20000"/>
                  <a:gd name="T8" fmla="*/ 18132 w 20000"/>
                  <a:gd name="T9" fmla="*/ 6154 h 20000"/>
                  <a:gd name="T10" fmla="*/ 19890 w 20000"/>
                  <a:gd name="T11" fmla="*/ 7009 h 20000"/>
                  <a:gd name="T12" fmla="*/ 18132 w 20000"/>
                  <a:gd name="T13" fmla="*/ 7009 h 20000"/>
                  <a:gd name="T14" fmla="*/ 19231 w 20000"/>
                  <a:gd name="T15" fmla="*/ 10598 h 20000"/>
                  <a:gd name="T16" fmla="*/ 19231 w 20000"/>
                  <a:gd name="T17" fmla="*/ 13248 h 20000"/>
                  <a:gd name="T18" fmla="*/ 18132 w 20000"/>
                  <a:gd name="T19" fmla="*/ 14957 h 20000"/>
                  <a:gd name="T20" fmla="*/ 15385 w 20000"/>
                  <a:gd name="T21" fmla="*/ 17265 h 20000"/>
                  <a:gd name="T22" fmla="*/ 9560 w 20000"/>
                  <a:gd name="T23" fmla="*/ 18974 h 20000"/>
                  <a:gd name="T24" fmla="*/ 8022 w 20000"/>
                  <a:gd name="T25" fmla="*/ 18974 h 20000"/>
                  <a:gd name="T26" fmla="*/ 3297 w 20000"/>
                  <a:gd name="T27" fmla="*/ 19915 h 20000"/>
                  <a:gd name="T28" fmla="*/ 3297 w 20000"/>
                  <a:gd name="T29" fmla="*/ 18547 h 20000"/>
                  <a:gd name="T30" fmla="*/ 440 w 20000"/>
                  <a:gd name="T31" fmla="*/ 17607 h 20000"/>
                  <a:gd name="T32" fmla="*/ 0 w 20000"/>
                  <a:gd name="T33" fmla="*/ 17265 h 20000"/>
                  <a:gd name="T34" fmla="*/ 2857 w 20000"/>
                  <a:gd name="T35" fmla="*/ 16325 h 20000"/>
                  <a:gd name="T36" fmla="*/ 3297 w 20000"/>
                  <a:gd name="T37" fmla="*/ 14957 h 20000"/>
                  <a:gd name="T38" fmla="*/ 7363 w 20000"/>
                  <a:gd name="T39" fmla="*/ 14103 h 20000"/>
                  <a:gd name="T40" fmla="*/ 5055 w 20000"/>
                  <a:gd name="T41" fmla="*/ 14103 h 20000"/>
                  <a:gd name="T42" fmla="*/ 4505 w 20000"/>
                  <a:gd name="T43" fmla="*/ 13248 h 20000"/>
                  <a:gd name="T44" fmla="*/ 6264 w 20000"/>
                  <a:gd name="T45" fmla="*/ 11453 h 20000"/>
                  <a:gd name="T46" fmla="*/ 1648 w 20000"/>
                  <a:gd name="T47" fmla="*/ 9231 h 20000"/>
                  <a:gd name="T48" fmla="*/ 4505 w 20000"/>
                  <a:gd name="T49" fmla="*/ 8376 h 20000"/>
                  <a:gd name="T50" fmla="*/ 2857 w 20000"/>
                  <a:gd name="T51" fmla="*/ 6154 h 20000"/>
                  <a:gd name="T52" fmla="*/ 2857 w 20000"/>
                  <a:gd name="T53" fmla="*/ 5726 h 20000"/>
                  <a:gd name="T54" fmla="*/ 6264 w 20000"/>
                  <a:gd name="T55" fmla="*/ 6154 h 20000"/>
                  <a:gd name="T56" fmla="*/ 9121 w 20000"/>
                  <a:gd name="T57" fmla="*/ 5726 h 20000"/>
                  <a:gd name="T58" fmla="*/ 10769 w 20000"/>
                  <a:gd name="T59" fmla="*/ 3932 h 20000"/>
                  <a:gd name="T60" fmla="*/ 8022 w 20000"/>
                  <a:gd name="T61" fmla="*/ 3504 h 20000"/>
                  <a:gd name="T62" fmla="*/ 9560 w 20000"/>
                  <a:gd name="T63" fmla="*/ 2222 h 20000"/>
                  <a:gd name="T64" fmla="*/ 14725 w 20000"/>
                  <a:gd name="T65" fmla="*/ 0 h 20000"/>
                  <a:gd name="T66" fmla="*/ 14725 w 20000"/>
                  <a:gd name="T67" fmla="*/ 222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4725" y="2222"/>
                    </a:moveTo>
                    <a:lnTo>
                      <a:pt x="12527" y="2564"/>
                    </a:lnTo>
                    <a:lnTo>
                      <a:pt x="12527" y="3504"/>
                    </a:lnTo>
                    <a:lnTo>
                      <a:pt x="11868" y="3932"/>
                    </a:lnTo>
                    <a:lnTo>
                      <a:pt x="12527" y="5726"/>
                    </a:lnTo>
                    <a:lnTo>
                      <a:pt x="14725" y="6154"/>
                    </a:lnTo>
                    <a:lnTo>
                      <a:pt x="15385" y="5726"/>
                    </a:lnTo>
                    <a:lnTo>
                      <a:pt x="15385" y="4872"/>
                    </a:lnTo>
                    <a:lnTo>
                      <a:pt x="15385" y="3932"/>
                    </a:lnTo>
                    <a:lnTo>
                      <a:pt x="18132" y="6154"/>
                    </a:lnTo>
                    <a:lnTo>
                      <a:pt x="19231" y="6154"/>
                    </a:lnTo>
                    <a:lnTo>
                      <a:pt x="19890" y="7009"/>
                    </a:lnTo>
                    <a:lnTo>
                      <a:pt x="19231" y="7863"/>
                    </a:lnTo>
                    <a:lnTo>
                      <a:pt x="18132" y="7009"/>
                    </a:lnTo>
                    <a:lnTo>
                      <a:pt x="19231" y="9231"/>
                    </a:lnTo>
                    <a:lnTo>
                      <a:pt x="19231" y="10598"/>
                    </a:lnTo>
                    <a:lnTo>
                      <a:pt x="19231" y="11453"/>
                    </a:lnTo>
                    <a:lnTo>
                      <a:pt x="19231" y="13248"/>
                    </a:lnTo>
                    <a:lnTo>
                      <a:pt x="18132" y="14103"/>
                    </a:lnTo>
                    <a:lnTo>
                      <a:pt x="18132" y="14957"/>
                    </a:lnTo>
                    <a:lnTo>
                      <a:pt x="18132" y="17265"/>
                    </a:lnTo>
                    <a:lnTo>
                      <a:pt x="15385" y="17265"/>
                    </a:lnTo>
                    <a:lnTo>
                      <a:pt x="11868" y="17607"/>
                    </a:lnTo>
                    <a:lnTo>
                      <a:pt x="9560" y="18974"/>
                    </a:lnTo>
                    <a:lnTo>
                      <a:pt x="9560" y="18547"/>
                    </a:lnTo>
                    <a:lnTo>
                      <a:pt x="8022" y="18974"/>
                    </a:lnTo>
                    <a:lnTo>
                      <a:pt x="5055" y="19915"/>
                    </a:lnTo>
                    <a:lnTo>
                      <a:pt x="3297" y="19915"/>
                    </a:lnTo>
                    <a:lnTo>
                      <a:pt x="1648" y="19915"/>
                    </a:lnTo>
                    <a:lnTo>
                      <a:pt x="3297" y="18547"/>
                    </a:lnTo>
                    <a:lnTo>
                      <a:pt x="440" y="18547"/>
                    </a:lnTo>
                    <a:lnTo>
                      <a:pt x="440" y="17607"/>
                    </a:lnTo>
                    <a:lnTo>
                      <a:pt x="2857" y="17265"/>
                    </a:lnTo>
                    <a:lnTo>
                      <a:pt x="0" y="17265"/>
                    </a:lnTo>
                    <a:lnTo>
                      <a:pt x="440" y="16325"/>
                    </a:lnTo>
                    <a:lnTo>
                      <a:pt x="2857" y="16325"/>
                    </a:lnTo>
                    <a:lnTo>
                      <a:pt x="2857" y="15470"/>
                    </a:lnTo>
                    <a:lnTo>
                      <a:pt x="3297" y="14957"/>
                    </a:lnTo>
                    <a:lnTo>
                      <a:pt x="6264" y="14103"/>
                    </a:lnTo>
                    <a:lnTo>
                      <a:pt x="7363" y="14103"/>
                    </a:lnTo>
                    <a:lnTo>
                      <a:pt x="6264" y="13248"/>
                    </a:lnTo>
                    <a:lnTo>
                      <a:pt x="5055" y="14103"/>
                    </a:lnTo>
                    <a:lnTo>
                      <a:pt x="3297" y="14103"/>
                    </a:lnTo>
                    <a:lnTo>
                      <a:pt x="4505" y="13248"/>
                    </a:lnTo>
                    <a:lnTo>
                      <a:pt x="5055" y="11880"/>
                    </a:lnTo>
                    <a:lnTo>
                      <a:pt x="6264" y="11453"/>
                    </a:lnTo>
                    <a:lnTo>
                      <a:pt x="3297" y="10598"/>
                    </a:lnTo>
                    <a:lnTo>
                      <a:pt x="1648" y="9231"/>
                    </a:lnTo>
                    <a:lnTo>
                      <a:pt x="3297" y="8376"/>
                    </a:lnTo>
                    <a:lnTo>
                      <a:pt x="4505" y="8376"/>
                    </a:lnTo>
                    <a:lnTo>
                      <a:pt x="3297" y="7863"/>
                    </a:lnTo>
                    <a:lnTo>
                      <a:pt x="2857" y="6154"/>
                    </a:lnTo>
                    <a:lnTo>
                      <a:pt x="1648" y="7009"/>
                    </a:lnTo>
                    <a:lnTo>
                      <a:pt x="2857" y="5726"/>
                    </a:lnTo>
                    <a:lnTo>
                      <a:pt x="4505" y="5726"/>
                    </a:lnTo>
                    <a:lnTo>
                      <a:pt x="6264" y="6154"/>
                    </a:lnTo>
                    <a:lnTo>
                      <a:pt x="8022" y="5726"/>
                    </a:lnTo>
                    <a:lnTo>
                      <a:pt x="9121" y="5726"/>
                    </a:lnTo>
                    <a:lnTo>
                      <a:pt x="9560" y="4872"/>
                    </a:lnTo>
                    <a:lnTo>
                      <a:pt x="10769" y="3932"/>
                    </a:lnTo>
                    <a:lnTo>
                      <a:pt x="10769" y="3504"/>
                    </a:lnTo>
                    <a:lnTo>
                      <a:pt x="8022" y="3504"/>
                    </a:lnTo>
                    <a:lnTo>
                      <a:pt x="9121" y="2564"/>
                    </a:lnTo>
                    <a:lnTo>
                      <a:pt x="9560" y="2222"/>
                    </a:lnTo>
                    <a:lnTo>
                      <a:pt x="12527" y="342"/>
                    </a:lnTo>
                    <a:lnTo>
                      <a:pt x="14725" y="0"/>
                    </a:lnTo>
                    <a:lnTo>
                      <a:pt x="16484" y="342"/>
                    </a:lnTo>
                    <a:lnTo>
                      <a:pt x="14725" y="222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4" name="Freeform 275"/>
              <p:cNvSpPr>
                <a:spLocks/>
              </p:cNvSpPr>
              <p:nvPr/>
            </p:nvSpPr>
            <p:spPr bwMode="auto">
              <a:xfrm>
                <a:off x="4433888" y="2187575"/>
                <a:ext cx="250825" cy="152400"/>
              </a:xfrm>
              <a:custGeom>
                <a:avLst/>
                <a:gdLst>
                  <a:gd name="T0" fmla="*/ 7342 w 20000"/>
                  <a:gd name="T1" fmla="*/ 18583 h 20000"/>
                  <a:gd name="T2" fmla="*/ 2582 w 20000"/>
                  <a:gd name="T3" fmla="*/ 17333 h 20000"/>
                  <a:gd name="T4" fmla="*/ 3089 w 20000"/>
                  <a:gd name="T5" fmla="*/ 16000 h 20000"/>
                  <a:gd name="T6" fmla="*/ 3392 w 20000"/>
                  <a:gd name="T7" fmla="*/ 12917 h 20000"/>
                  <a:gd name="T8" fmla="*/ 1013 w 20000"/>
                  <a:gd name="T9" fmla="*/ 10750 h 20000"/>
                  <a:gd name="T10" fmla="*/ 2582 w 20000"/>
                  <a:gd name="T11" fmla="*/ 9500 h 20000"/>
                  <a:gd name="T12" fmla="*/ 5266 w 20000"/>
                  <a:gd name="T13" fmla="*/ 9083 h 20000"/>
                  <a:gd name="T14" fmla="*/ 3899 w 20000"/>
                  <a:gd name="T15" fmla="*/ 8167 h 20000"/>
                  <a:gd name="T16" fmla="*/ 3089 w 20000"/>
                  <a:gd name="T17" fmla="*/ 5583 h 20000"/>
                  <a:gd name="T18" fmla="*/ 0 w 20000"/>
                  <a:gd name="T19" fmla="*/ 6083 h 20000"/>
                  <a:gd name="T20" fmla="*/ 1823 w 20000"/>
                  <a:gd name="T21" fmla="*/ 5583 h 20000"/>
                  <a:gd name="T22" fmla="*/ 1316 w 20000"/>
                  <a:gd name="T23" fmla="*/ 3917 h 20000"/>
                  <a:gd name="T24" fmla="*/ 2076 w 20000"/>
                  <a:gd name="T25" fmla="*/ 1750 h 20000"/>
                  <a:gd name="T26" fmla="*/ 3899 w 20000"/>
                  <a:gd name="T27" fmla="*/ 3417 h 20000"/>
                  <a:gd name="T28" fmla="*/ 4456 w 20000"/>
                  <a:gd name="T29" fmla="*/ 0 h 20000"/>
                  <a:gd name="T30" fmla="*/ 5468 w 20000"/>
                  <a:gd name="T31" fmla="*/ 5583 h 20000"/>
                  <a:gd name="T32" fmla="*/ 6785 w 20000"/>
                  <a:gd name="T33" fmla="*/ 5583 h 20000"/>
                  <a:gd name="T34" fmla="*/ 7848 w 20000"/>
                  <a:gd name="T35" fmla="*/ 6083 h 20000"/>
                  <a:gd name="T36" fmla="*/ 8152 w 20000"/>
                  <a:gd name="T37" fmla="*/ 2583 h 20000"/>
                  <a:gd name="T38" fmla="*/ 9418 w 20000"/>
                  <a:gd name="T39" fmla="*/ 4750 h 20000"/>
                  <a:gd name="T40" fmla="*/ 10228 w 20000"/>
                  <a:gd name="T41" fmla="*/ 2583 h 20000"/>
                  <a:gd name="T42" fmla="*/ 12051 w 20000"/>
                  <a:gd name="T43" fmla="*/ 4750 h 20000"/>
                  <a:gd name="T44" fmla="*/ 12810 w 20000"/>
                  <a:gd name="T45" fmla="*/ 3917 h 20000"/>
                  <a:gd name="T46" fmla="*/ 14430 w 20000"/>
                  <a:gd name="T47" fmla="*/ 3417 h 20000"/>
                  <a:gd name="T48" fmla="*/ 14937 w 20000"/>
                  <a:gd name="T49" fmla="*/ 1333 h 20000"/>
                  <a:gd name="T50" fmla="*/ 16253 w 20000"/>
                  <a:gd name="T51" fmla="*/ 2583 h 20000"/>
                  <a:gd name="T52" fmla="*/ 17570 w 20000"/>
                  <a:gd name="T53" fmla="*/ 3417 h 20000"/>
                  <a:gd name="T54" fmla="*/ 17873 w 20000"/>
                  <a:gd name="T55" fmla="*/ 5583 h 20000"/>
                  <a:gd name="T56" fmla="*/ 19949 w 20000"/>
                  <a:gd name="T57" fmla="*/ 8167 h 20000"/>
                  <a:gd name="T58" fmla="*/ 19646 w 20000"/>
                  <a:gd name="T59" fmla="*/ 10333 h 20000"/>
                  <a:gd name="T60" fmla="*/ 18380 w 20000"/>
                  <a:gd name="T61" fmla="*/ 12917 h 20000"/>
                  <a:gd name="T62" fmla="*/ 16253 w 20000"/>
                  <a:gd name="T63" fmla="*/ 15167 h 20000"/>
                  <a:gd name="T64" fmla="*/ 13367 w 20000"/>
                  <a:gd name="T65" fmla="*/ 18167 h 20000"/>
                  <a:gd name="T66" fmla="*/ 9924 w 20000"/>
                  <a:gd name="T67" fmla="*/ 199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9924" y="19917"/>
                    </a:moveTo>
                    <a:lnTo>
                      <a:pt x="7342" y="18583"/>
                    </a:lnTo>
                    <a:lnTo>
                      <a:pt x="6025" y="17333"/>
                    </a:lnTo>
                    <a:lnTo>
                      <a:pt x="2582" y="17333"/>
                    </a:lnTo>
                    <a:lnTo>
                      <a:pt x="2582" y="16000"/>
                    </a:lnTo>
                    <a:lnTo>
                      <a:pt x="3089" y="16000"/>
                    </a:lnTo>
                    <a:lnTo>
                      <a:pt x="4456" y="14667"/>
                    </a:lnTo>
                    <a:lnTo>
                      <a:pt x="3392" y="12917"/>
                    </a:lnTo>
                    <a:lnTo>
                      <a:pt x="3392" y="10750"/>
                    </a:lnTo>
                    <a:lnTo>
                      <a:pt x="1013" y="10750"/>
                    </a:lnTo>
                    <a:lnTo>
                      <a:pt x="506" y="10333"/>
                    </a:lnTo>
                    <a:lnTo>
                      <a:pt x="2582" y="9500"/>
                    </a:lnTo>
                    <a:lnTo>
                      <a:pt x="4709" y="9500"/>
                    </a:lnTo>
                    <a:lnTo>
                      <a:pt x="5266" y="9083"/>
                    </a:lnTo>
                    <a:lnTo>
                      <a:pt x="4709" y="9083"/>
                    </a:lnTo>
                    <a:lnTo>
                      <a:pt x="3899" y="8167"/>
                    </a:lnTo>
                    <a:lnTo>
                      <a:pt x="4709" y="6917"/>
                    </a:lnTo>
                    <a:lnTo>
                      <a:pt x="3089" y="5583"/>
                    </a:lnTo>
                    <a:lnTo>
                      <a:pt x="1316" y="6917"/>
                    </a:lnTo>
                    <a:lnTo>
                      <a:pt x="0" y="6083"/>
                    </a:lnTo>
                    <a:lnTo>
                      <a:pt x="1013" y="4750"/>
                    </a:lnTo>
                    <a:lnTo>
                      <a:pt x="1823" y="5583"/>
                    </a:lnTo>
                    <a:lnTo>
                      <a:pt x="2076" y="4750"/>
                    </a:lnTo>
                    <a:lnTo>
                      <a:pt x="1316" y="3917"/>
                    </a:lnTo>
                    <a:lnTo>
                      <a:pt x="1823" y="3417"/>
                    </a:lnTo>
                    <a:lnTo>
                      <a:pt x="2076" y="1750"/>
                    </a:lnTo>
                    <a:lnTo>
                      <a:pt x="3089" y="3417"/>
                    </a:lnTo>
                    <a:lnTo>
                      <a:pt x="3899" y="3417"/>
                    </a:lnTo>
                    <a:lnTo>
                      <a:pt x="3089" y="1333"/>
                    </a:lnTo>
                    <a:lnTo>
                      <a:pt x="4456" y="0"/>
                    </a:lnTo>
                    <a:lnTo>
                      <a:pt x="6025" y="2583"/>
                    </a:lnTo>
                    <a:lnTo>
                      <a:pt x="5468" y="5583"/>
                    </a:lnTo>
                    <a:lnTo>
                      <a:pt x="6025" y="7333"/>
                    </a:lnTo>
                    <a:lnTo>
                      <a:pt x="6785" y="5583"/>
                    </a:lnTo>
                    <a:lnTo>
                      <a:pt x="7342" y="6083"/>
                    </a:lnTo>
                    <a:lnTo>
                      <a:pt x="7848" y="6083"/>
                    </a:lnTo>
                    <a:lnTo>
                      <a:pt x="7848" y="3417"/>
                    </a:lnTo>
                    <a:lnTo>
                      <a:pt x="8152" y="2583"/>
                    </a:lnTo>
                    <a:lnTo>
                      <a:pt x="8911" y="5583"/>
                    </a:lnTo>
                    <a:lnTo>
                      <a:pt x="9418" y="4750"/>
                    </a:lnTo>
                    <a:lnTo>
                      <a:pt x="9418" y="3417"/>
                    </a:lnTo>
                    <a:lnTo>
                      <a:pt x="10228" y="2583"/>
                    </a:lnTo>
                    <a:lnTo>
                      <a:pt x="11038" y="3917"/>
                    </a:lnTo>
                    <a:lnTo>
                      <a:pt x="12051" y="4750"/>
                    </a:lnTo>
                    <a:lnTo>
                      <a:pt x="11544" y="2583"/>
                    </a:lnTo>
                    <a:lnTo>
                      <a:pt x="12810" y="3917"/>
                    </a:lnTo>
                    <a:lnTo>
                      <a:pt x="13620" y="2583"/>
                    </a:lnTo>
                    <a:lnTo>
                      <a:pt x="14430" y="3417"/>
                    </a:lnTo>
                    <a:lnTo>
                      <a:pt x="14937" y="2583"/>
                    </a:lnTo>
                    <a:lnTo>
                      <a:pt x="14937" y="1333"/>
                    </a:lnTo>
                    <a:lnTo>
                      <a:pt x="15696" y="500"/>
                    </a:lnTo>
                    <a:lnTo>
                      <a:pt x="16253" y="2583"/>
                    </a:lnTo>
                    <a:lnTo>
                      <a:pt x="18380" y="1750"/>
                    </a:lnTo>
                    <a:lnTo>
                      <a:pt x="17570" y="3417"/>
                    </a:lnTo>
                    <a:lnTo>
                      <a:pt x="18380" y="3417"/>
                    </a:lnTo>
                    <a:lnTo>
                      <a:pt x="17873" y="5583"/>
                    </a:lnTo>
                    <a:lnTo>
                      <a:pt x="18380" y="5583"/>
                    </a:lnTo>
                    <a:lnTo>
                      <a:pt x="19949" y="8167"/>
                    </a:lnTo>
                    <a:lnTo>
                      <a:pt x="19949" y="9500"/>
                    </a:lnTo>
                    <a:lnTo>
                      <a:pt x="19646" y="10333"/>
                    </a:lnTo>
                    <a:lnTo>
                      <a:pt x="19139" y="12583"/>
                    </a:lnTo>
                    <a:lnTo>
                      <a:pt x="18380" y="12917"/>
                    </a:lnTo>
                    <a:lnTo>
                      <a:pt x="17873" y="14667"/>
                    </a:lnTo>
                    <a:lnTo>
                      <a:pt x="16253" y="15167"/>
                    </a:lnTo>
                    <a:lnTo>
                      <a:pt x="14430" y="16333"/>
                    </a:lnTo>
                    <a:lnTo>
                      <a:pt x="13367" y="18167"/>
                    </a:lnTo>
                    <a:lnTo>
                      <a:pt x="11544" y="19417"/>
                    </a:lnTo>
                    <a:lnTo>
                      <a:pt x="9924" y="1991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5" name="Freeform 274"/>
              <p:cNvSpPr>
                <a:spLocks/>
              </p:cNvSpPr>
              <p:nvPr/>
            </p:nvSpPr>
            <p:spPr bwMode="auto">
              <a:xfrm>
                <a:off x="5167313" y="3008313"/>
                <a:ext cx="315912" cy="319087"/>
              </a:xfrm>
              <a:custGeom>
                <a:avLst/>
                <a:gdLst>
                  <a:gd name="T0" fmla="*/ 7470 w 20000"/>
                  <a:gd name="T1" fmla="*/ 636 h 20000"/>
                  <a:gd name="T2" fmla="*/ 8514 w 20000"/>
                  <a:gd name="T3" fmla="*/ 0 h 20000"/>
                  <a:gd name="T4" fmla="*/ 10161 w 20000"/>
                  <a:gd name="T5" fmla="*/ 636 h 20000"/>
                  <a:gd name="T6" fmla="*/ 11406 w 20000"/>
                  <a:gd name="T7" fmla="*/ 1431 h 20000"/>
                  <a:gd name="T8" fmla="*/ 12249 w 20000"/>
                  <a:gd name="T9" fmla="*/ 2664 h 20000"/>
                  <a:gd name="T10" fmla="*/ 12249 w 20000"/>
                  <a:gd name="T11" fmla="*/ 3698 h 20000"/>
                  <a:gd name="T12" fmla="*/ 11245 w 20000"/>
                  <a:gd name="T13" fmla="*/ 3062 h 20000"/>
                  <a:gd name="T14" fmla="*/ 10602 w 20000"/>
                  <a:gd name="T15" fmla="*/ 3300 h 20000"/>
                  <a:gd name="T16" fmla="*/ 9116 w 20000"/>
                  <a:gd name="T17" fmla="*/ 3897 h 20000"/>
                  <a:gd name="T18" fmla="*/ 9116 w 20000"/>
                  <a:gd name="T19" fmla="*/ 4930 h 20000"/>
                  <a:gd name="T20" fmla="*/ 11406 w 20000"/>
                  <a:gd name="T21" fmla="*/ 8032 h 20000"/>
                  <a:gd name="T22" fmla="*/ 14940 w 20000"/>
                  <a:gd name="T23" fmla="*/ 11292 h 20000"/>
                  <a:gd name="T24" fmla="*/ 15783 w 20000"/>
                  <a:gd name="T25" fmla="*/ 11690 h 20000"/>
                  <a:gd name="T26" fmla="*/ 15582 w 20000"/>
                  <a:gd name="T27" fmla="*/ 12326 h 20000"/>
                  <a:gd name="T28" fmla="*/ 18474 w 20000"/>
                  <a:gd name="T29" fmla="*/ 13559 h 20000"/>
                  <a:gd name="T30" fmla="*/ 19960 w 20000"/>
                  <a:gd name="T31" fmla="*/ 15626 h 20000"/>
                  <a:gd name="T32" fmla="*/ 18876 w 20000"/>
                  <a:gd name="T33" fmla="*/ 15229 h 20000"/>
                  <a:gd name="T34" fmla="*/ 17430 w 20000"/>
                  <a:gd name="T35" fmla="*/ 14394 h 20000"/>
                  <a:gd name="T36" fmla="*/ 16586 w 20000"/>
                  <a:gd name="T37" fmla="*/ 16064 h 20000"/>
                  <a:gd name="T38" fmla="*/ 17430 w 20000"/>
                  <a:gd name="T39" fmla="*/ 16223 h 20000"/>
                  <a:gd name="T40" fmla="*/ 16827 w 20000"/>
                  <a:gd name="T41" fmla="*/ 17853 h 20000"/>
                  <a:gd name="T42" fmla="*/ 16185 w 20000"/>
                  <a:gd name="T43" fmla="*/ 19563 h 20000"/>
                  <a:gd name="T44" fmla="*/ 15582 w 20000"/>
                  <a:gd name="T45" fmla="*/ 19324 h 20000"/>
                  <a:gd name="T46" fmla="*/ 15783 w 20000"/>
                  <a:gd name="T47" fmla="*/ 18330 h 20000"/>
                  <a:gd name="T48" fmla="*/ 15181 w 20000"/>
                  <a:gd name="T49" fmla="*/ 15229 h 20000"/>
                  <a:gd name="T50" fmla="*/ 14137 w 20000"/>
                  <a:gd name="T51" fmla="*/ 14990 h 20000"/>
                  <a:gd name="T52" fmla="*/ 13896 w 20000"/>
                  <a:gd name="T53" fmla="*/ 13956 h 20000"/>
                  <a:gd name="T54" fmla="*/ 12892 w 20000"/>
                  <a:gd name="T55" fmla="*/ 13559 h 20000"/>
                  <a:gd name="T56" fmla="*/ 12249 w 20000"/>
                  <a:gd name="T57" fmla="*/ 13360 h 20000"/>
                  <a:gd name="T58" fmla="*/ 10763 w 20000"/>
                  <a:gd name="T59" fmla="*/ 12565 h 20000"/>
                  <a:gd name="T60" fmla="*/ 8715 w 20000"/>
                  <a:gd name="T61" fmla="*/ 10895 h 20000"/>
                  <a:gd name="T62" fmla="*/ 7470 w 20000"/>
                  <a:gd name="T63" fmla="*/ 9662 h 20000"/>
                  <a:gd name="T64" fmla="*/ 6225 w 20000"/>
                  <a:gd name="T65" fmla="*/ 9264 h 20000"/>
                  <a:gd name="T66" fmla="*/ 6225 w 20000"/>
                  <a:gd name="T67" fmla="*/ 8191 h 20000"/>
                  <a:gd name="T68" fmla="*/ 5382 w 20000"/>
                  <a:gd name="T69" fmla="*/ 6561 h 20000"/>
                  <a:gd name="T70" fmla="*/ 3534 w 20000"/>
                  <a:gd name="T71" fmla="*/ 6402 h 20000"/>
                  <a:gd name="T72" fmla="*/ 2048 w 20000"/>
                  <a:gd name="T73" fmla="*/ 7396 h 20000"/>
                  <a:gd name="T74" fmla="*/ 1888 w 20000"/>
                  <a:gd name="T75" fmla="*/ 6958 h 20000"/>
                  <a:gd name="T76" fmla="*/ 1446 w 20000"/>
                  <a:gd name="T77" fmla="*/ 6561 h 20000"/>
                  <a:gd name="T78" fmla="*/ 402 w 20000"/>
                  <a:gd name="T79" fmla="*/ 4692 h 20000"/>
                  <a:gd name="T80" fmla="*/ 803 w 20000"/>
                  <a:gd name="T81" fmla="*/ 4294 h 20000"/>
                  <a:gd name="T82" fmla="*/ 803 w 20000"/>
                  <a:gd name="T83" fmla="*/ 2664 h 20000"/>
                  <a:gd name="T84" fmla="*/ 2048 w 20000"/>
                  <a:gd name="T85" fmla="*/ 2664 h 20000"/>
                  <a:gd name="T86" fmla="*/ 4177 w 20000"/>
                  <a:gd name="T87" fmla="*/ 2266 h 20000"/>
                  <a:gd name="T88" fmla="*/ 4337 w 20000"/>
                  <a:gd name="T89" fmla="*/ 1431 h 20000"/>
                  <a:gd name="T90" fmla="*/ 5181 w 20000"/>
                  <a:gd name="T91" fmla="*/ 1630 h 20000"/>
                  <a:gd name="T92" fmla="*/ 5823 w 20000"/>
                  <a:gd name="T93" fmla="*/ 2028 h 20000"/>
                  <a:gd name="T94" fmla="*/ 6225 w 20000"/>
                  <a:gd name="T95" fmla="*/ 14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6426" y="636"/>
                    </a:moveTo>
                    <a:lnTo>
                      <a:pt x="7470" y="636"/>
                    </a:lnTo>
                    <a:lnTo>
                      <a:pt x="7470" y="0"/>
                    </a:lnTo>
                    <a:lnTo>
                      <a:pt x="8514" y="0"/>
                    </a:lnTo>
                    <a:lnTo>
                      <a:pt x="9116" y="0"/>
                    </a:lnTo>
                    <a:lnTo>
                      <a:pt x="10161" y="636"/>
                    </a:lnTo>
                    <a:lnTo>
                      <a:pt x="11245" y="1431"/>
                    </a:lnTo>
                    <a:lnTo>
                      <a:pt x="11406" y="1431"/>
                    </a:lnTo>
                    <a:lnTo>
                      <a:pt x="11245" y="1630"/>
                    </a:lnTo>
                    <a:lnTo>
                      <a:pt x="12249" y="2664"/>
                    </a:lnTo>
                    <a:lnTo>
                      <a:pt x="12450" y="3300"/>
                    </a:lnTo>
                    <a:lnTo>
                      <a:pt x="12249" y="3698"/>
                    </a:lnTo>
                    <a:lnTo>
                      <a:pt x="11406" y="3300"/>
                    </a:lnTo>
                    <a:lnTo>
                      <a:pt x="11245" y="3062"/>
                    </a:lnTo>
                    <a:lnTo>
                      <a:pt x="10602" y="3062"/>
                    </a:lnTo>
                    <a:lnTo>
                      <a:pt x="10602" y="3300"/>
                    </a:lnTo>
                    <a:lnTo>
                      <a:pt x="9759" y="3698"/>
                    </a:lnTo>
                    <a:lnTo>
                      <a:pt x="9116" y="3897"/>
                    </a:lnTo>
                    <a:lnTo>
                      <a:pt x="9518" y="4692"/>
                    </a:lnTo>
                    <a:lnTo>
                      <a:pt x="9116" y="4930"/>
                    </a:lnTo>
                    <a:lnTo>
                      <a:pt x="9116" y="5765"/>
                    </a:lnTo>
                    <a:lnTo>
                      <a:pt x="11406" y="8032"/>
                    </a:lnTo>
                    <a:lnTo>
                      <a:pt x="12892" y="10298"/>
                    </a:lnTo>
                    <a:lnTo>
                      <a:pt x="14940" y="11292"/>
                    </a:lnTo>
                    <a:lnTo>
                      <a:pt x="15582" y="11292"/>
                    </a:lnTo>
                    <a:lnTo>
                      <a:pt x="15783" y="11690"/>
                    </a:lnTo>
                    <a:lnTo>
                      <a:pt x="15582" y="11928"/>
                    </a:lnTo>
                    <a:lnTo>
                      <a:pt x="15582" y="12326"/>
                    </a:lnTo>
                    <a:lnTo>
                      <a:pt x="16827" y="12962"/>
                    </a:lnTo>
                    <a:lnTo>
                      <a:pt x="18474" y="13559"/>
                    </a:lnTo>
                    <a:lnTo>
                      <a:pt x="19960" y="14990"/>
                    </a:lnTo>
                    <a:lnTo>
                      <a:pt x="19960" y="15626"/>
                    </a:lnTo>
                    <a:lnTo>
                      <a:pt x="19317" y="15626"/>
                    </a:lnTo>
                    <a:lnTo>
                      <a:pt x="18876" y="15229"/>
                    </a:lnTo>
                    <a:lnTo>
                      <a:pt x="18474" y="14592"/>
                    </a:lnTo>
                    <a:lnTo>
                      <a:pt x="17430" y="14394"/>
                    </a:lnTo>
                    <a:lnTo>
                      <a:pt x="17229" y="14592"/>
                    </a:lnTo>
                    <a:lnTo>
                      <a:pt x="16586" y="16064"/>
                    </a:lnTo>
                    <a:lnTo>
                      <a:pt x="17229" y="16223"/>
                    </a:lnTo>
                    <a:lnTo>
                      <a:pt x="17430" y="16223"/>
                    </a:lnTo>
                    <a:lnTo>
                      <a:pt x="17871" y="17694"/>
                    </a:lnTo>
                    <a:lnTo>
                      <a:pt x="16827" y="17853"/>
                    </a:lnTo>
                    <a:lnTo>
                      <a:pt x="16827" y="18728"/>
                    </a:lnTo>
                    <a:lnTo>
                      <a:pt x="16185" y="19563"/>
                    </a:lnTo>
                    <a:lnTo>
                      <a:pt x="15582" y="19960"/>
                    </a:lnTo>
                    <a:lnTo>
                      <a:pt x="15582" y="19324"/>
                    </a:lnTo>
                    <a:lnTo>
                      <a:pt x="15783" y="18926"/>
                    </a:lnTo>
                    <a:lnTo>
                      <a:pt x="15783" y="18330"/>
                    </a:lnTo>
                    <a:lnTo>
                      <a:pt x="16185" y="17853"/>
                    </a:lnTo>
                    <a:lnTo>
                      <a:pt x="15181" y="15229"/>
                    </a:lnTo>
                    <a:lnTo>
                      <a:pt x="14940" y="15229"/>
                    </a:lnTo>
                    <a:lnTo>
                      <a:pt x="14137" y="14990"/>
                    </a:lnTo>
                    <a:lnTo>
                      <a:pt x="14137" y="14592"/>
                    </a:lnTo>
                    <a:lnTo>
                      <a:pt x="13896" y="13956"/>
                    </a:lnTo>
                    <a:lnTo>
                      <a:pt x="13052" y="13956"/>
                    </a:lnTo>
                    <a:lnTo>
                      <a:pt x="12892" y="13559"/>
                    </a:lnTo>
                    <a:lnTo>
                      <a:pt x="12450" y="13559"/>
                    </a:lnTo>
                    <a:lnTo>
                      <a:pt x="12249" y="13360"/>
                    </a:lnTo>
                    <a:lnTo>
                      <a:pt x="12249" y="12565"/>
                    </a:lnTo>
                    <a:lnTo>
                      <a:pt x="10763" y="12565"/>
                    </a:lnTo>
                    <a:lnTo>
                      <a:pt x="9759" y="12326"/>
                    </a:lnTo>
                    <a:lnTo>
                      <a:pt x="8715" y="10895"/>
                    </a:lnTo>
                    <a:lnTo>
                      <a:pt x="8514" y="10696"/>
                    </a:lnTo>
                    <a:lnTo>
                      <a:pt x="7470" y="9662"/>
                    </a:lnTo>
                    <a:lnTo>
                      <a:pt x="6827" y="9264"/>
                    </a:lnTo>
                    <a:lnTo>
                      <a:pt x="6225" y="9264"/>
                    </a:lnTo>
                    <a:lnTo>
                      <a:pt x="6426" y="8628"/>
                    </a:lnTo>
                    <a:lnTo>
                      <a:pt x="6225" y="8191"/>
                    </a:lnTo>
                    <a:lnTo>
                      <a:pt x="5823" y="7396"/>
                    </a:lnTo>
                    <a:lnTo>
                      <a:pt x="5382" y="6561"/>
                    </a:lnTo>
                    <a:lnTo>
                      <a:pt x="4337" y="6402"/>
                    </a:lnTo>
                    <a:lnTo>
                      <a:pt x="3534" y="6402"/>
                    </a:lnTo>
                    <a:lnTo>
                      <a:pt x="2691" y="6561"/>
                    </a:lnTo>
                    <a:lnTo>
                      <a:pt x="2048" y="7396"/>
                    </a:lnTo>
                    <a:lnTo>
                      <a:pt x="1888" y="7396"/>
                    </a:lnTo>
                    <a:lnTo>
                      <a:pt x="1888" y="6958"/>
                    </a:lnTo>
                    <a:lnTo>
                      <a:pt x="2048" y="6561"/>
                    </a:lnTo>
                    <a:lnTo>
                      <a:pt x="1446" y="6561"/>
                    </a:lnTo>
                    <a:lnTo>
                      <a:pt x="803" y="6402"/>
                    </a:lnTo>
                    <a:lnTo>
                      <a:pt x="402" y="4692"/>
                    </a:lnTo>
                    <a:lnTo>
                      <a:pt x="0" y="4294"/>
                    </a:lnTo>
                    <a:lnTo>
                      <a:pt x="803" y="4294"/>
                    </a:lnTo>
                    <a:lnTo>
                      <a:pt x="402" y="2664"/>
                    </a:lnTo>
                    <a:lnTo>
                      <a:pt x="803" y="2664"/>
                    </a:lnTo>
                    <a:lnTo>
                      <a:pt x="1888" y="2266"/>
                    </a:lnTo>
                    <a:lnTo>
                      <a:pt x="2048" y="2664"/>
                    </a:lnTo>
                    <a:lnTo>
                      <a:pt x="2691" y="2028"/>
                    </a:lnTo>
                    <a:lnTo>
                      <a:pt x="4177" y="2266"/>
                    </a:lnTo>
                    <a:lnTo>
                      <a:pt x="4337" y="2028"/>
                    </a:lnTo>
                    <a:lnTo>
                      <a:pt x="4337" y="1431"/>
                    </a:lnTo>
                    <a:lnTo>
                      <a:pt x="4779" y="1431"/>
                    </a:lnTo>
                    <a:lnTo>
                      <a:pt x="5181" y="1630"/>
                    </a:lnTo>
                    <a:lnTo>
                      <a:pt x="5382" y="1630"/>
                    </a:lnTo>
                    <a:lnTo>
                      <a:pt x="5823" y="2028"/>
                    </a:lnTo>
                    <a:lnTo>
                      <a:pt x="5823" y="1431"/>
                    </a:lnTo>
                    <a:lnTo>
                      <a:pt x="6225" y="1431"/>
                    </a:lnTo>
                    <a:lnTo>
                      <a:pt x="6426" y="6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6" name="Freeform 273"/>
              <p:cNvSpPr>
                <a:spLocks/>
              </p:cNvSpPr>
              <p:nvPr/>
            </p:nvSpPr>
            <p:spPr bwMode="auto">
              <a:xfrm>
                <a:off x="5327650" y="3317875"/>
                <a:ext cx="76200" cy="47625"/>
              </a:xfrm>
              <a:custGeom>
                <a:avLst/>
                <a:gdLst>
                  <a:gd name="T0" fmla="*/ 18167 w 20000"/>
                  <a:gd name="T1" fmla="*/ 19730 h 20000"/>
                  <a:gd name="T2" fmla="*/ 13833 w 20000"/>
                  <a:gd name="T3" fmla="*/ 18108 h 20000"/>
                  <a:gd name="T4" fmla="*/ 12000 w 20000"/>
                  <a:gd name="T5" fmla="*/ 15405 h 20000"/>
                  <a:gd name="T6" fmla="*/ 8667 w 20000"/>
                  <a:gd name="T7" fmla="*/ 12703 h 20000"/>
                  <a:gd name="T8" fmla="*/ 2667 w 20000"/>
                  <a:gd name="T9" fmla="*/ 8378 h 20000"/>
                  <a:gd name="T10" fmla="*/ 0 w 20000"/>
                  <a:gd name="T11" fmla="*/ 7027 h 20000"/>
                  <a:gd name="T12" fmla="*/ 0 w 20000"/>
                  <a:gd name="T13" fmla="*/ 1622 h 20000"/>
                  <a:gd name="T14" fmla="*/ 1833 w 20000"/>
                  <a:gd name="T15" fmla="*/ 0 h 20000"/>
                  <a:gd name="T16" fmla="*/ 2667 w 20000"/>
                  <a:gd name="T17" fmla="*/ 1622 h 20000"/>
                  <a:gd name="T18" fmla="*/ 4500 w 20000"/>
                  <a:gd name="T19" fmla="*/ 0 h 20000"/>
                  <a:gd name="T20" fmla="*/ 5167 w 20000"/>
                  <a:gd name="T21" fmla="*/ 0 h 20000"/>
                  <a:gd name="T22" fmla="*/ 9500 w 20000"/>
                  <a:gd name="T23" fmla="*/ 1622 h 20000"/>
                  <a:gd name="T24" fmla="*/ 19833 w 20000"/>
                  <a:gd name="T25" fmla="*/ 0 h 20000"/>
                  <a:gd name="T26" fmla="*/ 19833 w 20000"/>
                  <a:gd name="T27" fmla="*/ 4324 h 20000"/>
                  <a:gd name="T28" fmla="*/ 18167 w 20000"/>
                  <a:gd name="T29" fmla="*/ 8378 h 20000"/>
                  <a:gd name="T30" fmla="*/ 19833 w 20000"/>
                  <a:gd name="T31" fmla="*/ 15405 h 20000"/>
                  <a:gd name="T32" fmla="*/ 18167 w 20000"/>
                  <a:gd name="T33" fmla="*/ 197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8167" y="19730"/>
                    </a:moveTo>
                    <a:lnTo>
                      <a:pt x="13833" y="18108"/>
                    </a:lnTo>
                    <a:lnTo>
                      <a:pt x="12000" y="15405"/>
                    </a:lnTo>
                    <a:lnTo>
                      <a:pt x="8667" y="12703"/>
                    </a:lnTo>
                    <a:lnTo>
                      <a:pt x="2667" y="8378"/>
                    </a:lnTo>
                    <a:lnTo>
                      <a:pt x="0" y="7027"/>
                    </a:lnTo>
                    <a:lnTo>
                      <a:pt x="0" y="1622"/>
                    </a:lnTo>
                    <a:lnTo>
                      <a:pt x="1833" y="0"/>
                    </a:lnTo>
                    <a:lnTo>
                      <a:pt x="2667" y="1622"/>
                    </a:lnTo>
                    <a:lnTo>
                      <a:pt x="4500" y="0"/>
                    </a:lnTo>
                    <a:lnTo>
                      <a:pt x="5167" y="0"/>
                    </a:lnTo>
                    <a:lnTo>
                      <a:pt x="9500" y="1622"/>
                    </a:lnTo>
                    <a:lnTo>
                      <a:pt x="19833" y="0"/>
                    </a:lnTo>
                    <a:lnTo>
                      <a:pt x="19833" y="4324"/>
                    </a:lnTo>
                    <a:lnTo>
                      <a:pt x="18167" y="8378"/>
                    </a:lnTo>
                    <a:lnTo>
                      <a:pt x="19833" y="15405"/>
                    </a:lnTo>
                    <a:lnTo>
                      <a:pt x="18167" y="197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7" name="Freeform 272"/>
              <p:cNvSpPr>
                <a:spLocks/>
              </p:cNvSpPr>
              <p:nvPr/>
            </p:nvSpPr>
            <p:spPr bwMode="auto">
              <a:xfrm>
                <a:off x="5207000" y="3216275"/>
                <a:ext cx="47625" cy="76200"/>
              </a:xfrm>
              <a:custGeom>
                <a:avLst/>
                <a:gdLst>
                  <a:gd name="T0" fmla="*/ 8378 w 20000"/>
                  <a:gd name="T1" fmla="*/ 19833 h 20000"/>
                  <a:gd name="T2" fmla="*/ 4324 w 20000"/>
                  <a:gd name="T3" fmla="*/ 18167 h 20000"/>
                  <a:gd name="T4" fmla="*/ 4324 w 20000"/>
                  <a:gd name="T5" fmla="*/ 13667 h 20000"/>
                  <a:gd name="T6" fmla="*/ 4324 w 20000"/>
                  <a:gd name="T7" fmla="*/ 13000 h 20000"/>
                  <a:gd name="T8" fmla="*/ 4324 w 20000"/>
                  <a:gd name="T9" fmla="*/ 9500 h 20000"/>
                  <a:gd name="T10" fmla="*/ 4324 w 20000"/>
                  <a:gd name="T11" fmla="*/ 8500 h 20000"/>
                  <a:gd name="T12" fmla="*/ 0 w 20000"/>
                  <a:gd name="T13" fmla="*/ 4333 h 20000"/>
                  <a:gd name="T14" fmla="*/ 1622 w 20000"/>
                  <a:gd name="T15" fmla="*/ 2667 h 20000"/>
                  <a:gd name="T16" fmla="*/ 4324 w 20000"/>
                  <a:gd name="T17" fmla="*/ 2667 h 20000"/>
                  <a:gd name="T18" fmla="*/ 12703 w 20000"/>
                  <a:gd name="T19" fmla="*/ 0 h 20000"/>
                  <a:gd name="T20" fmla="*/ 15676 w 20000"/>
                  <a:gd name="T21" fmla="*/ 0 h 20000"/>
                  <a:gd name="T22" fmla="*/ 19730 w 20000"/>
                  <a:gd name="T23" fmla="*/ 6167 h 20000"/>
                  <a:gd name="T24" fmla="*/ 18378 w 20000"/>
                  <a:gd name="T25" fmla="*/ 6833 h 20000"/>
                  <a:gd name="T26" fmla="*/ 18378 w 20000"/>
                  <a:gd name="T27" fmla="*/ 8500 h 20000"/>
                  <a:gd name="T28" fmla="*/ 15676 w 20000"/>
                  <a:gd name="T29" fmla="*/ 18167 h 20000"/>
                  <a:gd name="T30" fmla="*/ 11622 w 20000"/>
                  <a:gd name="T31" fmla="*/ 16333 h 20000"/>
                  <a:gd name="T32" fmla="*/ 8378 w 20000"/>
                  <a:gd name="T33" fmla="*/ 198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8378" y="19833"/>
                    </a:moveTo>
                    <a:lnTo>
                      <a:pt x="4324" y="18167"/>
                    </a:lnTo>
                    <a:lnTo>
                      <a:pt x="4324" y="13667"/>
                    </a:lnTo>
                    <a:lnTo>
                      <a:pt x="4324" y="13000"/>
                    </a:lnTo>
                    <a:lnTo>
                      <a:pt x="4324" y="9500"/>
                    </a:lnTo>
                    <a:lnTo>
                      <a:pt x="4324" y="8500"/>
                    </a:lnTo>
                    <a:lnTo>
                      <a:pt x="0" y="4333"/>
                    </a:lnTo>
                    <a:lnTo>
                      <a:pt x="1622" y="2667"/>
                    </a:lnTo>
                    <a:lnTo>
                      <a:pt x="4324" y="2667"/>
                    </a:lnTo>
                    <a:lnTo>
                      <a:pt x="12703" y="0"/>
                    </a:lnTo>
                    <a:lnTo>
                      <a:pt x="15676" y="0"/>
                    </a:lnTo>
                    <a:lnTo>
                      <a:pt x="19730" y="6167"/>
                    </a:lnTo>
                    <a:lnTo>
                      <a:pt x="18378" y="6833"/>
                    </a:lnTo>
                    <a:lnTo>
                      <a:pt x="18378" y="8500"/>
                    </a:lnTo>
                    <a:lnTo>
                      <a:pt x="15676" y="18167"/>
                    </a:lnTo>
                    <a:lnTo>
                      <a:pt x="11622" y="16333"/>
                    </a:lnTo>
                    <a:lnTo>
                      <a:pt x="8378" y="1983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8" name="Freeform 271"/>
              <p:cNvSpPr>
                <a:spLocks/>
              </p:cNvSpPr>
              <p:nvPr/>
            </p:nvSpPr>
            <p:spPr bwMode="auto">
              <a:xfrm>
                <a:off x="5140325" y="2892425"/>
                <a:ext cx="23813" cy="26988"/>
              </a:xfrm>
              <a:custGeom>
                <a:avLst/>
                <a:gdLst>
                  <a:gd name="T0" fmla="*/ 0 w 20000"/>
                  <a:gd name="T1" fmla="*/ 19524 h 20000"/>
                  <a:gd name="T2" fmla="*/ 0 w 20000"/>
                  <a:gd name="T3" fmla="*/ 7143 h 20000"/>
                  <a:gd name="T4" fmla="*/ 5405 w 20000"/>
                  <a:gd name="T5" fmla="*/ 2857 h 20000"/>
                  <a:gd name="T6" fmla="*/ 14054 w 20000"/>
                  <a:gd name="T7" fmla="*/ 0 h 20000"/>
                  <a:gd name="T8" fmla="*/ 10811 w 20000"/>
                  <a:gd name="T9" fmla="*/ 7143 h 20000"/>
                  <a:gd name="T10" fmla="*/ 19459 w 20000"/>
                  <a:gd name="T11" fmla="*/ 10000 h 20000"/>
                  <a:gd name="T12" fmla="*/ 19459 w 20000"/>
                  <a:gd name="T13" fmla="*/ 19524 h 20000"/>
                  <a:gd name="T14" fmla="*/ 10811 w 20000"/>
                  <a:gd name="T15" fmla="*/ 19524 h 20000"/>
                  <a:gd name="T16" fmla="*/ 0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9524"/>
                    </a:moveTo>
                    <a:lnTo>
                      <a:pt x="0" y="7143"/>
                    </a:lnTo>
                    <a:lnTo>
                      <a:pt x="5405" y="2857"/>
                    </a:lnTo>
                    <a:lnTo>
                      <a:pt x="14054" y="0"/>
                    </a:lnTo>
                    <a:lnTo>
                      <a:pt x="10811" y="7143"/>
                    </a:lnTo>
                    <a:lnTo>
                      <a:pt x="19459" y="10000"/>
                    </a:lnTo>
                    <a:lnTo>
                      <a:pt x="19459" y="19524"/>
                    </a:lnTo>
                    <a:lnTo>
                      <a:pt x="10811" y="19524"/>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79" name="Freeform 270"/>
              <p:cNvSpPr>
                <a:spLocks/>
              </p:cNvSpPr>
              <p:nvPr/>
            </p:nvSpPr>
            <p:spPr bwMode="auto">
              <a:xfrm>
                <a:off x="5373688" y="3386138"/>
                <a:ext cx="7937" cy="11112"/>
              </a:xfrm>
              <a:custGeom>
                <a:avLst/>
                <a:gdLst>
                  <a:gd name="T0" fmla="*/ 18333 w 20000"/>
                  <a:gd name="T1" fmla="*/ 18824 h 20000"/>
                  <a:gd name="T2" fmla="*/ 0 w 20000"/>
                  <a:gd name="T3" fmla="*/ 0 h 20000"/>
                  <a:gd name="T4" fmla="*/ 18333 w 20000"/>
                  <a:gd name="T5" fmla="*/ 7059 h 20000"/>
                  <a:gd name="T6" fmla="*/ 18333 w 20000"/>
                  <a:gd name="T7" fmla="*/ 18824 h 20000"/>
                </a:gdLst>
                <a:ahLst/>
                <a:cxnLst>
                  <a:cxn ang="0">
                    <a:pos x="T0" y="T1"/>
                  </a:cxn>
                  <a:cxn ang="0">
                    <a:pos x="T2" y="T3"/>
                  </a:cxn>
                  <a:cxn ang="0">
                    <a:pos x="T4" y="T5"/>
                  </a:cxn>
                  <a:cxn ang="0">
                    <a:pos x="T6" y="T7"/>
                  </a:cxn>
                </a:cxnLst>
                <a:rect l="0" t="0" r="r" b="b"/>
                <a:pathLst>
                  <a:path w="20000" h="20000">
                    <a:moveTo>
                      <a:pt x="18333" y="18824"/>
                    </a:moveTo>
                    <a:lnTo>
                      <a:pt x="0" y="0"/>
                    </a:lnTo>
                    <a:lnTo>
                      <a:pt x="18333" y="7059"/>
                    </a:lnTo>
                    <a:lnTo>
                      <a:pt x="1833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0" name="Freeform 269"/>
              <p:cNvSpPr>
                <a:spLocks/>
              </p:cNvSpPr>
              <p:nvPr/>
            </p:nvSpPr>
            <p:spPr bwMode="auto">
              <a:xfrm>
                <a:off x="5084763" y="2765425"/>
                <a:ext cx="95250" cy="112713"/>
              </a:xfrm>
              <a:custGeom>
                <a:avLst/>
                <a:gdLst>
                  <a:gd name="T0" fmla="*/ 0 w 20000"/>
                  <a:gd name="T1" fmla="*/ 15706 h 20000"/>
                  <a:gd name="T2" fmla="*/ 0 w 20000"/>
                  <a:gd name="T3" fmla="*/ 14124 h 20000"/>
                  <a:gd name="T4" fmla="*/ 1867 w 20000"/>
                  <a:gd name="T5" fmla="*/ 12881 h 20000"/>
                  <a:gd name="T6" fmla="*/ 5467 w 20000"/>
                  <a:gd name="T7" fmla="*/ 12881 h 20000"/>
                  <a:gd name="T8" fmla="*/ 2667 w 20000"/>
                  <a:gd name="T9" fmla="*/ 12316 h 20000"/>
                  <a:gd name="T10" fmla="*/ 1867 w 20000"/>
                  <a:gd name="T11" fmla="*/ 11073 h 20000"/>
                  <a:gd name="T12" fmla="*/ 4000 w 20000"/>
                  <a:gd name="T13" fmla="*/ 8136 h 20000"/>
                  <a:gd name="T14" fmla="*/ 5467 w 20000"/>
                  <a:gd name="T15" fmla="*/ 3503 h 20000"/>
                  <a:gd name="T16" fmla="*/ 7600 w 20000"/>
                  <a:gd name="T17" fmla="*/ 6441 h 20000"/>
                  <a:gd name="T18" fmla="*/ 8933 w 20000"/>
                  <a:gd name="T19" fmla="*/ 9266 h 20000"/>
                  <a:gd name="T20" fmla="*/ 10933 w 20000"/>
                  <a:gd name="T21" fmla="*/ 10621 h 20000"/>
                  <a:gd name="T22" fmla="*/ 9600 w 20000"/>
                  <a:gd name="T23" fmla="*/ 7571 h 20000"/>
                  <a:gd name="T24" fmla="*/ 10933 w 20000"/>
                  <a:gd name="T25" fmla="*/ 5311 h 20000"/>
                  <a:gd name="T26" fmla="*/ 9600 w 20000"/>
                  <a:gd name="T27" fmla="*/ 5311 h 20000"/>
                  <a:gd name="T28" fmla="*/ 9600 w 20000"/>
                  <a:gd name="T29" fmla="*/ 3503 h 20000"/>
                  <a:gd name="T30" fmla="*/ 13067 w 20000"/>
                  <a:gd name="T31" fmla="*/ 1808 h 20000"/>
                  <a:gd name="T32" fmla="*/ 16400 w 20000"/>
                  <a:gd name="T33" fmla="*/ 678 h 20000"/>
                  <a:gd name="T34" fmla="*/ 17200 w 20000"/>
                  <a:gd name="T35" fmla="*/ 2938 h 20000"/>
                  <a:gd name="T36" fmla="*/ 17200 w 20000"/>
                  <a:gd name="T37" fmla="*/ 1808 h 20000"/>
                  <a:gd name="T38" fmla="*/ 18533 w 20000"/>
                  <a:gd name="T39" fmla="*/ 0 h 20000"/>
                  <a:gd name="T40" fmla="*/ 19867 w 20000"/>
                  <a:gd name="T41" fmla="*/ 3503 h 20000"/>
                  <a:gd name="T42" fmla="*/ 18533 w 20000"/>
                  <a:gd name="T43" fmla="*/ 6441 h 20000"/>
                  <a:gd name="T44" fmla="*/ 16400 w 20000"/>
                  <a:gd name="T45" fmla="*/ 6441 h 20000"/>
                  <a:gd name="T46" fmla="*/ 17200 w 20000"/>
                  <a:gd name="T47" fmla="*/ 11073 h 20000"/>
                  <a:gd name="T48" fmla="*/ 15067 w 20000"/>
                  <a:gd name="T49" fmla="*/ 11073 h 20000"/>
                  <a:gd name="T50" fmla="*/ 13067 w 20000"/>
                  <a:gd name="T51" fmla="*/ 12316 h 20000"/>
                  <a:gd name="T52" fmla="*/ 15067 w 20000"/>
                  <a:gd name="T53" fmla="*/ 15254 h 20000"/>
                  <a:gd name="T54" fmla="*/ 14400 w 20000"/>
                  <a:gd name="T55" fmla="*/ 17514 h 20000"/>
                  <a:gd name="T56" fmla="*/ 14400 w 20000"/>
                  <a:gd name="T57" fmla="*/ 19887 h 20000"/>
                  <a:gd name="T58" fmla="*/ 10933 w 20000"/>
                  <a:gd name="T59" fmla="*/ 18757 h 20000"/>
                  <a:gd name="T60" fmla="*/ 11733 w 20000"/>
                  <a:gd name="T61" fmla="*/ 16949 h 20000"/>
                  <a:gd name="T62" fmla="*/ 8933 w 20000"/>
                  <a:gd name="T63" fmla="*/ 15706 h 20000"/>
                  <a:gd name="T64" fmla="*/ 6133 w 20000"/>
                  <a:gd name="T65" fmla="*/ 15254 h 20000"/>
                  <a:gd name="T66" fmla="*/ 4000 w 20000"/>
                  <a:gd name="T67" fmla="*/ 15254 h 20000"/>
                  <a:gd name="T68" fmla="*/ 1867 w 20000"/>
                  <a:gd name="T69" fmla="*/ 15706 h 20000"/>
                  <a:gd name="T70" fmla="*/ 533 w 20000"/>
                  <a:gd name="T71" fmla="*/ 16949 h 20000"/>
                  <a:gd name="T72" fmla="*/ 0 w 20000"/>
                  <a:gd name="T73" fmla="*/ 15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0" y="15706"/>
                    </a:moveTo>
                    <a:lnTo>
                      <a:pt x="0" y="14124"/>
                    </a:lnTo>
                    <a:lnTo>
                      <a:pt x="1867" y="12881"/>
                    </a:lnTo>
                    <a:lnTo>
                      <a:pt x="5467" y="12881"/>
                    </a:lnTo>
                    <a:lnTo>
                      <a:pt x="2667" y="12316"/>
                    </a:lnTo>
                    <a:lnTo>
                      <a:pt x="1867" y="11073"/>
                    </a:lnTo>
                    <a:lnTo>
                      <a:pt x="4000" y="8136"/>
                    </a:lnTo>
                    <a:lnTo>
                      <a:pt x="5467" y="3503"/>
                    </a:lnTo>
                    <a:lnTo>
                      <a:pt x="7600" y="6441"/>
                    </a:lnTo>
                    <a:lnTo>
                      <a:pt x="8933" y="9266"/>
                    </a:lnTo>
                    <a:lnTo>
                      <a:pt x="10933" y="10621"/>
                    </a:lnTo>
                    <a:lnTo>
                      <a:pt x="9600" y="7571"/>
                    </a:lnTo>
                    <a:lnTo>
                      <a:pt x="10933" y="5311"/>
                    </a:lnTo>
                    <a:lnTo>
                      <a:pt x="9600" y="5311"/>
                    </a:lnTo>
                    <a:lnTo>
                      <a:pt x="9600" y="3503"/>
                    </a:lnTo>
                    <a:lnTo>
                      <a:pt x="13067" y="1808"/>
                    </a:lnTo>
                    <a:lnTo>
                      <a:pt x="16400" y="678"/>
                    </a:lnTo>
                    <a:lnTo>
                      <a:pt x="17200" y="2938"/>
                    </a:lnTo>
                    <a:lnTo>
                      <a:pt x="17200" y="1808"/>
                    </a:lnTo>
                    <a:lnTo>
                      <a:pt x="18533" y="0"/>
                    </a:lnTo>
                    <a:lnTo>
                      <a:pt x="19867" y="3503"/>
                    </a:lnTo>
                    <a:lnTo>
                      <a:pt x="18533" y="6441"/>
                    </a:lnTo>
                    <a:lnTo>
                      <a:pt x="16400" y="6441"/>
                    </a:lnTo>
                    <a:lnTo>
                      <a:pt x="17200" y="11073"/>
                    </a:lnTo>
                    <a:lnTo>
                      <a:pt x="15067" y="11073"/>
                    </a:lnTo>
                    <a:lnTo>
                      <a:pt x="13067" y="12316"/>
                    </a:lnTo>
                    <a:lnTo>
                      <a:pt x="15067" y="15254"/>
                    </a:lnTo>
                    <a:lnTo>
                      <a:pt x="14400" y="17514"/>
                    </a:lnTo>
                    <a:lnTo>
                      <a:pt x="14400" y="19887"/>
                    </a:lnTo>
                    <a:lnTo>
                      <a:pt x="10933" y="18757"/>
                    </a:lnTo>
                    <a:lnTo>
                      <a:pt x="11733" y="16949"/>
                    </a:lnTo>
                    <a:lnTo>
                      <a:pt x="8933" y="15706"/>
                    </a:lnTo>
                    <a:lnTo>
                      <a:pt x="6133" y="15254"/>
                    </a:lnTo>
                    <a:lnTo>
                      <a:pt x="4000" y="15254"/>
                    </a:lnTo>
                    <a:lnTo>
                      <a:pt x="1867" y="15706"/>
                    </a:lnTo>
                    <a:lnTo>
                      <a:pt x="533" y="16949"/>
                    </a:lnTo>
                    <a:lnTo>
                      <a:pt x="0" y="15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1" name="Freeform 268"/>
              <p:cNvSpPr>
                <a:spLocks/>
              </p:cNvSpPr>
              <p:nvPr/>
            </p:nvSpPr>
            <p:spPr bwMode="auto">
              <a:xfrm>
                <a:off x="5111750" y="1990725"/>
                <a:ext cx="568325" cy="598488"/>
              </a:xfrm>
              <a:custGeom>
                <a:avLst/>
                <a:gdLst>
                  <a:gd name="T0" fmla="*/ 18616 w 20000"/>
                  <a:gd name="T1" fmla="*/ 2293 h 20000"/>
                  <a:gd name="T2" fmla="*/ 16741 w 20000"/>
                  <a:gd name="T3" fmla="*/ 1741 h 20000"/>
                  <a:gd name="T4" fmla="*/ 15603 w 20000"/>
                  <a:gd name="T5" fmla="*/ 3376 h 20000"/>
                  <a:gd name="T6" fmla="*/ 14554 w 20000"/>
                  <a:gd name="T7" fmla="*/ 3503 h 20000"/>
                  <a:gd name="T8" fmla="*/ 12232 w 20000"/>
                  <a:gd name="T9" fmla="*/ 2845 h 20000"/>
                  <a:gd name="T10" fmla="*/ 11674 w 20000"/>
                  <a:gd name="T11" fmla="*/ 3503 h 20000"/>
                  <a:gd name="T12" fmla="*/ 10402 w 20000"/>
                  <a:gd name="T13" fmla="*/ 3843 h 20000"/>
                  <a:gd name="T14" fmla="*/ 9219 w 20000"/>
                  <a:gd name="T15" fmla="*/ 4713 h 20000"/>
                  <a:gd name="T16" fmla="*/ 8304 w 20000"/>
                  <a:gd name="T17" fmla="*/ 6921 h 20000"/>
                  <a:gd name="T18" fmla="*/ 7254 w 20000"/>
                  <a:gd name="T19" fmla="*/ 10106 h 20000"/>
                  <a:gd name="T20" fmla="*/ 6473 w 20000"/>
                  <a:gd name="T21" fmla="*/ 10977 h 20000"/>
                  <a:gd name="T22" fmla="*/ 6116 w 20000"/>
                  <a:gd name="T23" fmla="*/ 13524 h 20000"/>
                  <a:gd name="T24" fmla="*/ 6339 w 20000"/>
                  <a:gd name="T25" fmla="*/ 15605 h 20000"/>
                  <a:gd name="T26" fmla="*/ 6116 w 20000"/>
                  <a:gd name="T27" fmla="*/ 17346 h 20000"/>
                  <a:gd name="T28" fmla="*/ 4955 w 20000"/>
                  <a:gd name="T29" fmla="*/ 17346 h 20000"/>
                  <a:gd name="T30" fmla="*/ 4844 w 20000"/>
                  <a:gd name="T31" fmla="*/ 18132 h 20000"/>
                  <a:gd name="T32" fmla="*/ 3460 w 20000"/>
                  <a:gd name="T33" fmla="*/ 19342 h 20000"/>
                  <a:gd name="T34" fmla="*/ 580 w 20000"/>
                  <a:gd name="T35" fmla="*/ 18556 h 20000"/>
                  <a:gd name="T36" fmla="*/ 692 w 20000"/>
                  <a:gd name="T37" fmla="*/ 18132 h 20000"/>
                  <a:gd name="T38" fmla="*/ 915 w 20000"/>
                  <a:gd name="T39" fmla="*/ 17346 h 20000"/>
                  <a:gd name="T40" fmla="*/ 692 w 20000"/>
                  <a:gd name="T41" fmla="*/ 17028 h 20000"/>
                  <a:gd name="T42" fmla="*/ 89 w 20000"/>
                  <a:gd name="T43" fmla="*/ 15605 h 20000"/>
                  <a:gd name="T44" fmla="*/ 1964 w 20000"/>
                  <a:gd name="T45" fmla="*/ 15372 h 20000"/>
                  <a:gd name="T46" fmla="*/ 89 w 20000"/>
                  <a:gd name="T47" fmla="*/ 15053 h 20000"/>
                  <a:gd name="T48" fmla="*/ 1272 w 20000"/>
                  <a:gd name="T49" fmla="*/ 14480 h 20000"/>
                  <a:gd name="T50" fmla="*/ 915 w 20000"/>
                  <a:gd name="T51" fmla="*/ 13822 h 20000"/>
                  <a:gd name="T52" fmla="*/ 915 w 20000"/>
                  <a:gd name="T53" fmla="*/ 13524 h 20000"/>
                  <a:gd name="T54" fmla="*/ 1607 w 20000"/>
                  <a:gd name="T55" fmla="*/ 12951 h 20000"/>
                  <a:gd name="T56" fmla="*/ 2545 w 20000"/>
                  <a:gd name="T57" fmla="*/ 12611 h 20000"/>
                  <a:gd name="T58" fmla="*/ 3013 w 20000"/>
                  <a:gd name="T59" fmla="*/ 12081 h 20000"/>
                  <a:gd name="T60" fmla="*/ 5201 w 20000"/>
                  <a:gd name="T61" fmla="*/ 11189 h 20000"/>
                  <a:gd name="T62" fmla="*/ 4286 w 20000"/>
                  <a:gd name="T63" fmla="*/ 11189 h 20000"/>
                  <a:gd name="T64" fmla="*/ 5201 w 20000"/>
                  <a:gd name="T65" fmla="*/ 10106 h 20000"/>
                  <a:gd name="T66" fmla="*/ 5893 w 20000"/>
                  <a:gd name="T67" fmla="*/ 9002 h 20000"/>
                  <a:gd name="T68" fmla="*/ 5893 w 20000"/>
                  <a:gd name="T69" fmla="*/ 8450 h 20000"/>
                  <a:gd name="T70" fmla="*/ 7254 w 20000"/>
                  <a:gd name="T71" fmla="*/ 7240 h 20000"/>
                  <a:gd name="T72" fmla="*/ 8214 w 20000"/>
                  <a:gd name="T73" fmla="*/ 6030 h 20000"/>
                  <a:gd name="T74" fmla="*/ 8214 w 20000"/>
                  <a:gd name="T75" fmla="*/ 5711 h 20000"/>
                  <a:gd name="T76" fmla="*/ 7612 w 20000"/>
                  <a:gd name="T77" fmla="*/ 5159 h 20000"/>
                  <a:gd name="T78" fmla="*/ 8772 w 20000"/>
                  <a:gd name="T79" fmla="*/ 4926 h 20000"/>
                  <a:gd name="T80" fmla="*/ 9710 w 20000"/>
                  <a:gd name="T81" fmla="*/ 4289 h 20000"/>
                  <a:gd name="T82" fmla="*/ 9219 w 20000"/>
                  <a:gd name="T83" fmla="*/ 3843 h 20000"/>
                  <a:gd name="T84" fmla="*/ 9219 w 20000"/>
                  <a:gd name="T85" fmla="*/ 3376 h 20000"/>
                  <a:gd name="T86" fmla="*/ 10960 w 20000"/>
                  <a:gd name="T87" fmla="*/ 2951 h 20000"/>
                  <a:gd name="T88" fmla="*/ 11183 w 20000"/>
                  <a:gd name="T89" fmla="*/ 2633 h 20000"/>
                  <a:gd name="T90" fmla="*/ 11897 w 20000"/>
                  <a:gd name="T91" fmla="*/ 2633 h 20000"/>
                  <a:gd name="T92" fmla="*/ 12813 w 20000"/>
                  <a:gd name="T93" fmla="*/ 1741 h 20000"/>
                  <a:gd name="T94" fmla="*/ 13638 w 20000"/>
                  <a:gd name="T95" fmla="*/ 1529 h 20000"/>
                  <a:gd name="T96" fmla="*/ 14330 w 20000"/>
                  <a:gd name="T97" fmla="*/ 637 h 20000"/>
                  <a:gd name="T98" fmla="*/ 15134 w 20000"/>
                  <a:gd name="T99" fmla="*/ 1423 h 20000"/>
                  <a:gd name="T100" fmla="*/ 16161 w 20000"/>
                  <a:gd name="T101" fmla="*/ 1083 h 20000"/>
                  <a:gd name="T102" fmla="*/ 16518 w 20000"/>
                  <a:gd name="T103" fmla="*/ 0 h 20000"/>
                  <a:gd name="T104" fmla="*/ 17567 w 20000"/>
                  <a:gd name="T105" fmla="*/ 637 h 20000"/>
                  <a:gd name="T106" fmla="*/ 18259 w 20000"/>
                  <a:gd name="T107" fmla="*/ 552 h 20000"/>
                  <a:gd name="T108" fmla="*/ 19531 w 20000"/>
                  <a:gd name="T109" fmla="*/ 1083 h 20000"/>
                  <a:gd name="T110" fmla="*/ 19063 w 20000"/>
                  <a:gd name="T111" fmla="*/ 174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00" h="20000">
                    <a:moveTo>
                      <a:pt x="19531" y="2081"/>
                    </a:moveTo>
                    <a:lnTo>
                      <a:pt x="19174" y="2081"/>
                    </a:lnTo>
                    <a:lnTo>
                      <a:pt x="18259" y="3163"/>
                    </a:lnTo>
                    <a:lnTo>
                      <a:pt x="18482" y="2633"/>
                    </a:lnTo>
                    <a:lnTo>
                      <a:pt x="18616" y="2293"/>
                    </a:lnTo>
                    <a:lnTo>
                      <a:pt x="18259" y="1975"/>
                    </a:lnTo>
                    <a:lnTo>
                      <a:pt x="17679" y="1741"/>
                    </a:lnTo>
                    <a:lnTo>
                      <a:pt x="17567" y="1529"/>
                    </a:lnTo>
                    <a:lnTo>
                      <a:pt x="16987" y="1741"/>
                    </a:lnTo>
                    <a:lnTo>
                      <a:pt x="16741" y="1741"/>
                    </a:lnTo>
                    <a:lnTo>
                      <a:pt x="16384" y="1741"/>
                    </a:lnTo>
                    <a:lnTo>
                      <a:pt x="16049" y="2293"/>
                    </a:lnTo>
                    <a:lnTo>
                      <a:pt x="16049" y="2845"/>
                    </a:lnTo>
                    <a:lnTo>
                      <a:pt x="16049" y="3376"/>
                    </a:lnTo>
                    <a:lnTo>
                      <a:pt x="15603" y="3376"/>
                    </a:lnTo>
                    <a:lnTo>
                      <a:pt x="15603" y="3715"/>
                    </a:lnTo>
                    <a:lnTo>
                      <a:pt x="15469" y="3715"/>
                    </a:lnTo>
                    <a:lnTo>
                      <a:pt x="15134" y="3503"/>
                    </a:lnTo>
                    <a:lnTo>
                      <a:pt x="14688" y="3376"/>
                    </a:lnTo>
                    <a:lnTo>
                      <a:pt x="14554" y="3503"/>
                    </a:lnTo>
                    <a:lnTo>
                      <a:pt x="14085" y="3503"/>
                    </a:lnTo>
                    <a:lnTo>
                      <a:pt x="13638" y="3503"/>
                    </a:lnTo>
                    <a:lnTo>
                      <a:pt x="13058" y="2951"/>
                    </a:lnTo>
                    <a:lnTo>
                      <a:pt x="12455" y="2845"/>
                    </a:lnTo>
                    <a:lnTo>
                      <a:pt x="12232" y="2845"/>
                    </a:lnTo>
                    <a:lnTo>
                      <a:pt x="12455" y="3163"/>
                    </a:lnTo>
                    <a:lnTo>
                      <a:pt x="12143" y="2951"/>
                    </a:lnTo>
                    <a:lnTo>
                      <a:pt x="12143" y="3163"/>
                    </a:lnTo>
                    <a:lnTo>
                      <a:pt x="11674" y="3163"/>
                    </a:lnTo>
                    <a:lnTo>
                      <a:pt x="11674" y="3503"/>
                    </a:lnTo>
                    <a:lnTo>
                      <a:pt x="11674" y="3843"/>
                    </a:lnTo>
                    <a:lnTo>
                      <a:pt x="11897" y="4055"/>
                    </a:lnTo>
                    <a:lnTo>
                      <a:pt x="11674" y="4289"/>
                    </a:lnTo>
                    <a:lnTo>
                      <a:pt x="10960" y="4055"/>
                    </a:lnTo>
                    <a:lnTo>
                      <a:pt x="10402" y="3843"/>
                    </a:lnTo>
                    <a:lnTo>
                      <a:pt x="10268" y="4055"/>
                    </a:lnTo>
                    <a:lnTo>
                      <a:pt x="10268" y="4374"/>
                    </a:lnTo>
                    <a:lnTo>
                      <a:pt x="10268" y="4713"/>
                    </a:lnTo>
                    <a:lnTo>
                      <a:pt x="9710" y="4607"/>
                    </a:lnTo>
                    <a:lnTo>
                      <a:pt x="9219" y="4713"/>
                    </a:lnTo>
                    <a:lnTo>
                      <a:pt x="9219" y="5159"/>
                    </a:lnTo>
                    <a:lnTo>
                      <a:pt x="8884" y="5499"/>
                    </a:lnTo>
                    <a:lnTo>
                      <a:pt x="9129" y="6030"/>
                    </a:lnTo>
                    <a:lnTo>
                      <a:pt x="8884" y="6157"/>
                    </a:lnTo>
                    <a:lnTo>
                      <a:pt x="8304" y="6921"/>
                    </a:lnTo>
                    <a:lnTo>
                      <a:pt x="8304" y="7240"/>
                    </a:lnTo>
                    <a:lnTo>
                      <a:pt x="7857" y="7580"/>
                    </a:lnTo>
                    <a:lnTo>
                      <a:pt x="7857" y="8662"/>
                    </a:lnTo>
                    <a:lnTo>
                      <a:pt x="7612" y="9321"/>
                    </a:lnTo>
                    <a:lnTo>
                      <a:pt x="7254" y="10106"/>
                    </a:lnTo>
                    <a:lnTo>
                      <a:pt x="7612" y="10318"/>
                    </a:lnTo>
                    <a:lnTo>
                      <a:pt x="7612" y="10446"/>
                    </a:lnTo>
                    <a:lnTo>
                      <a:pt x="7612" y="10977"/>
                    </a:lnTo>
                    <a:lnTo>
                      <a:pt x="6808" y="10743"/>
                    </a:lnTo>
                    <a:lnTo>
                      <a:pt x="6473" y="10977"/>
                    </a:lnTo>
                    <a:lnTo>
                      <a:pt x="5893" y="11529"/>
                    </a:lnTo>
                    <a:lnTo>
                      <a:pt x="5893" y="12081"/>
                    </a:lnTo>
                    <a:lnTo>
                      <a:pt x="6116" y="12399"/>
                    </a:lnTo>
                    <a:lnTo>
                      <a:pt x="5893" y="12739"/>
                    </a:lnTo>
                    <a:lnTo>
                      <a:pt x="6116" y="13524"/>
                    </a:lnTo>
                    <a:lnTo>
                      <a:pt x="6339" y="14480"/>
                    </a:lnTo>
                    <a:lnTo>
                      <a:pt x="6473" y="14713"/>
                    </a:lnTo>
                    <a:lnTo>
                      <a:pt x="6808" y="15053"/>
                    </a:lnTo>
                    <a:lnTo>
                      <a:pt x="6696" y="15372"/>
                    </a:lnTo>
                    <a:lnTo>
                      <a:pt x="6339" y="15605"/>
                    </a:lnTo>
                    <a:lnTo>
                      <a:pt x="6696" y="16263"/>
                    </a:lnTo>
                    <a:lnTo>
                      <a:pt x="6696" y="16688"/>
                    </a:lnTo>
                    <a:lnTo>
                      <a:pt x="6473" y="17240"/>
                    </a:lnTo>
                    <a:lnTo>
                      <a:pt x="6116" y="17240"/>
                    </a:lnTo>
                    <a:lnTo>
                      <a:pt x="6116" y="17346"/>
                    </a:lnTo>
                    <a:lnTo>
                      <a:pt x="5893" y="17558"/>
                    </a:lnTo>
                    <a:lnTo>
                      <a:pt x="5893" y="18556"/>
                    </a:lnTo>
                    <a:lnTo>
                      <a:pt x="5424" y="18429"/>
                    </a:lnTo>
                    <a:lnTo>
                      <a:pt x="4955" y="18132"/>
                    </a:lnTo>
                    <a:lnTo>
                      <a:pt x="4955" y="17346"/>
                    </a:lnTo>
                    <a:lnTo>
                      <a:pt x="4955" y="17240"/>
                    </a:lnTo>
                    <a:lnTo>
                      <a:pt x="4844" y="17346"/>
                    </a:lnTo>
                    <a:lnTo>
                      <a:pt x="4844" y="17686"/>
                    </a:lnTo>
                    <a:lnTo>
                      <a:pt x="4621" y="17686"/>
                    </a:lnTo>
                    <a:lnTo>
                      <a:pt x="4844" y="18132"/>
                    </a:lnTo>
                    <a:lnTo>
                      <a:pt x="4375" y="18556"/>
                    </a:lnTo>
                    <a:lnTo>
                      <a:pt x="4040" y="18217"/>
                    </a:lnTo>
                    <a:lnTo>
                      <a:pt x="3929" y="18429"/>
                    </a:lnTo>
                    <a:lnTo>
                      <a:pt x="4040" y="18556"/>
                    </a:lnTo>
                    <a:lnTo>
                      <a:pt x="3460" y="19342"/>
                    </a:lnTo>
                    <a:lnTo>
                      <a:pt x="3013" y="19873"/>
                    </a:lnTo>
                    <a:lnTo>
                      <a:pt x="1964" y="19979"/>
                    </a:lnTo>
                    <a:lnTo>
                      <a:pt x="1272" y="19639"/>
                    </a:lnTo>
                    <a:lnTo>
                      <a:pt x="580" y="19002"/>
                    </a:lnTo>
                    <a:lnTo>
                      <a:pt x="580" y="18556"/>
                    </a:lnTo>
                    <a:lnTo>
                      <a:pt x="1049" y="18769"/>
                    </a:lnTo>
                    <a:lnTo>
                      <a:pt x="915" y="18429"/>
                    </a:lnTo>
                    <a:lnTo>
                      <a:pt x="1049" y="17898"/>
                    </a:lnTo>
                    <a:lnTo>
                      <a:pt x="915" y="17898"/>
                    </a:lnTo>
                    <a:lnTo>
                      <a:pt x="692" y="18132"/>
                    </a:lnTo>
                    <a:lnTo>
                      <a:pt x="357" y="18429"/>
                    </a:lnTo>
                    <a:lnTo>
                      <a:pt x="89" y="18132"/>
                    </a:lnTo>
                    <a:lnTo>
                      <a:pt x="580" y="17558"/>
                    </a:lnTo>
                    <a:lnTo>
                      <a:pt x="692" y="17558"/>
                    </a:lnTo>
                    <a:lnTo>
                      <a:pt x="915" y="17346"/>
                    </a:lnTo>
                    <a:lnTo>
                      <a:pt x="692" y="17346"/>
                    </a:lnTo>
                    <a:lnTo>
                      <a:pt x="1049" y="17028"/>
                    </a:lnTo>
                    <a:lnTo>
                      <a:pt x="1607" y="16476"/>
                    </a:lnTo>
                    <a:lnTo>
                      <a:pt x="915" y="16688"/>
                    </a:lnTo>
                    <a:lnTo>
                      <a:pt x="692" y="17028"/>
                    </a:lnTo>
                    <a:lnTo>
                      <a:pt x="580" y="16688"/>
                    </a:lnTo>
                    <a:lnTo>
                      <a:pt x="357" y="17028"/>
                    </a:lnTo>
                    <a:lnTo>
                      <a:pt x="357" y="16476"/>
                    </a:lnTo>
                    <a:lnTo>
                      <a:pt x="89" y="15924"/>
                    </a:lnTo>
                    <a:lnTo>
                      <a:pt x="89" y="15605"/>
                    </a:lnTo>
                    <a:lnTo>
                      <a:pt x="1272" y="15605"/>
                    </a:lnTo>
                    <a:lnTo>
                      <a:pt x="1964" y="15605"/>
                    </a:lnTo>
                    <a:lnTo>
                      <a:pt x="2188" y="15372"/>
                    </a:lnTo>
                    <a:lnTo>
                      <a:pt x="1964" y="15265"/>
                    </a:lnTo>
                    <a:lnTo>
                      <a:pt x="1964" y="15372"/>
                    </a:lnTo>
                    <a:lnTo>
                      <a:pt x="1607" y="15372"/>
                    </a:lnTo>
                    <a:lnTo>
                      <a:pt x="1272" y="15372"/>
                    </a:lnTo>
                    <a:lnTo>
                      <a:pt x="357" y="15372"/>
                    </a:lnTo>
                    <a:lnTo>
                      <a:pt x="89" y="15265"/>
                    </a:lnTo>
                    <a:lnTo>
                      <a:pt x="89" y="15053"/>
                    </a:lnTo>
                    <a:lnTo>
                      <a:pt x="357" y="14926"/>
                    </a:lnTo>
                    <a:lnTo>
                      <a:pt x="0" y="14713"/>
                    </a:lnTo>
                    <a:lnTo>
                      <a:pt x="357" y="14480"/>
                    </a:lnTo>
                    <a:lnTo>
                      <a:pt x="1049" y="14480"/>
                    </a:lnTo>
                    <a:lnTo>
                      <a:pt x="1272" y="14480"/>
                    </a:lnTo>
                    <a:lnTo>
                      <a:pt x="692" y="14161"/>
                    </a:lnTo>
                    <a:lnTo>
                      <a:pt x="89" y="14161"/>
                    </a:lnTo>
                    <a:lnTo>
                      <a:pt x="89" y="13949"/>
                    </a:lnTo>
                    <a:lnTo>
                      <a:pt x="580" y="13949"/>
                    </a:lnTo>
                    <a:lnTo>
                      <a:pt x="915" y="13822"/>
                    </a:lnTo>
                    <a:lnTo>
                      <a:pt x="1607" y="13609"/>
                    </a:lnTo>
                    <a:lnTo>
                      <a:pt x="1607" y="13822"/>
                    </a:lnTo>
                    <a:lnTo>
                      <a:pt x="1830" y="13822"/>
                    </a:lnTo>
                    <a:lnTo>
                      <a:pt x="1607" y="13524"/>
                    </a:lnTo>
                    <a:lnTo>
                      <a:pt x="915" y="13524"/>
                    </a:lnTo>
                    <a:lnTo>
                      <a:pt x="915" y="13270"/>
                    </a:lnTo>
                    <a:lnTo>
                      <a:pt x="1607" y="13057"/>
                    </a:lnTo>
                    <a:lnTo>
                      <a:pt x="1830" y="13270"/>
                    </a:lnTo>
                    <a:lnTo>
                      <a:pt x="2411" y="12951"/>
                    </a:lnTo>
                    <a:lnTo>
                      <a:pt x="1607" y="12951"/>
                    </a:lnTo>
                    <a:lnTo>
                      <a:pt x="1607" y="12739"/>
                    </a:lnTo>
                    <a:lnTo>
                      <a:pt x="2188" y="12951"/>
                    </a:lnTo>
                    <a:lnTo>
                      <a:pt x="2768" y="13057"/>
                    </a:lnTo>
                    <a:lnTo>
                      <a:pt x="2411" y="12739"/>
                    </a:lnTo>
                    <a:lnTo>
                      <a:pt x="2545" y="12611"/>
                    </a:lnTo>
                    <a:lnTo>
                      <a:pt x="3103" y="12951"/>
                    </a:lnTo>
                    <a:lnTo>
                      <a:pt x="3013" y="12611"/>
                    </a:lnTo>
                    <a:lnTo>
                      <a:pt x="2768" y="12399"/>
                    </a:lnTo>
                    <a:lnTo>
                      <a:pt x="3013" y="12399"/>
                    </a:lnTo>
                    <a:lnTo>
                      <a:pt x="3013" y="12081"/>
                    </a:lnTo>
                    <a:lnTo>
                      <a:pt x="3929" y="11635"/>
                    </a:lnTo>
                    <a:lnTo>
                      <a:pt x="4040" y="12081"/>
                    </a:lnTo>
                    <a:lnTo>
                      <a:pt x="4844" y="11868"/>
                    </a:lnTo>
                    <a:lnTo>
                      <a:pt x="5201" y="11316"/>
                    </a:lnTo>
                    <a:lnTo>
                      <a:pt x="5201" y="11189"/>
                    </a:lnTo>
                    <a:lnTo>
                      <a:pt x="5201" y="10977"/>
                    </a:lnTo>
                    <a:lnTo>
                      <a:pt x="4844" y="11316"/>
                    </a:lnTo>
                    <a:lnTo>
                      <a:pt x="4286" y="11868"/>
                    </a:lnTo>
                    <a:lnTo>
                      <a:pt x="3683" y="11529"/>
                    </a:lnTo>
                    <a:lnTo>
                      <a:pt x="4286" y="11189"/>
                    </a:lnTo>
                    <a:lnTo>
                      <a:pt x="4286" y="10977"/>
                    </a:lnTo>
                    <a:lnTo>
                      <a:pt x="4844" y="10318"/>
                    </a:lnTo>
                    <a:lnTo>
                      <a:pt x="5201" y="10446"/>
                    </a:lnTo>
                    <a:lnTo>
                      <a:pt x="5424" y="10106"/>
                    </a:lnTo>
                    <a:lnTo>
                      <a:pt x="5201" y="10106"/>
                    </a:lnTo>
                    <a:lnTo>
                      <a:pt x="5558" y="9533"/>
                    </a:lnTo>
                    <a:lnTo>
                      <a:pt x="5781" y="9214"/>
                    </a:lnTo>
                    <a:lnTo>
                      <a:pt x="6116" y="9321"/>
                    </a:lnTo>
                    <a:lnTo>
                      <a:pt x="6339" y="9002"/>
                    </a:lnTo>
                    <a:lnTo>
                      <a:pt x="5893" y="9002"/>
                    </a:lnTo>
                    <a:lnTo>
                      <a:pt x="5893" y="8896"/>
                    </a:lnTo>
                    <a:lnTo>
                      <a:pt x="5781" y="9002"/>
                    </a:lnTo>
                    <a:lnTo>
                      <a:pt x="5781" y="8450"/>
                    </a:lnTo>
                    <a:lnTo>
                      <a:pt x="6116" y="8662"/>
                    </a:lnTo>
                    <a:lnTo>
                      <a:pt x="5893" y="8450"/>
                    </a:lnTo>
                    <a:lnTo>
                      <a:pt x="6116" y="8004"/>
                    </a:lnTo>
                    <a:lnTo>
                      <a:pt x="6473" y="8004"/>
                    </a:lnTo>
                    <a:lnTo>
                      <a:pt x="6339" y="7580"/>
                    </a:lnTo>
                    <a:lnTo>
                      <a:pt x="7254" y="7452"/>
                    </a:lnTo>
                    <a:lnTo>
                      <a:pt x="7254" y="7240"/>
                    </a:lnTo>
                    <a:lnTo>
                      <a:pt x="6339" y="7452"/>
                    </a:lnTo>
                    <a:lnTo>
                      <a:pt x="6339" y="6921"/>
                    </a:lnTo>
                    <a:lnTo>
                      <a:pt x="6696" y="6369"/>
                    </a:lnTo>
                    <a:lnTo>
                      <a:pt x="7031" y="6030"/>
                    </a:lnTo>
                    <a:lnTo>
                      <a:pt x="8214" y="6030"/>
                    </a:lnTo>
                    <a:lnTo>
                      <a:pt x="8214" y="5817"/>
                    </a:lnTo>
                    <a:lnTo>
                      <a:pt x="7254" y="5817"/>
                    </a:lnTo>
                    <a:lnTo>
                      <a:pt x="7857" y="5499"/>
                    </a:lnTo>
                    <a:lnTo>
                      <a:pt x="7969" y="5499"/>
                    </a:lnTo>
                    <a:lnTo>
                      <a:pt x="8214" y="5711"/>
                    </a:lnTo>
                    <a:lnTo>
                      <a:pt x="8214" y="5499"/>
                    </a:lnTo>
                    <a:lnTo>
                      <a:pt x="7969" y="5244"/>
                    </a:lnTo>
                    <a:lnTo>
                      <a:pt x="8214" y="5159"/>
                    </a:lnTo>
                    <a:lnTo>
                      <a:pt x="7857" y="5244"/>
                    </a:lnTo>
                    <a:lnTo>
                      <a:pt x="7612" y="5159"/>
                    </a:lnTo>
                    <a:lnTo>
                      <a:pt x="8214" y="4926"/>
                    </a:lnTo>
                    <a:lnTo>
                      <a:pt x="8304" y="4926"/>
                    </a:lnTo>
                    <a:lnTo>
                      <a:pt x="8304" y="4713"/>
                    </a:lnTo>
                    <a:lnTo>
                      <a:pt x="8772" y="4713"/>
                    </a:lnTo>
                    <a:lnTo>
                      <a:pt x="8772" y="4926"/>
                    </a:lnTo>
                    <a:lnTo>
                      <a:pt x="8884" y="4713"/>
                    </a:lnTo>
                    <a:lnTo>
                      <a:pt x="8772" y="4713"/>
                    </a:lnTo>
                    <a:lnTo>
                      <a:pt x="8884" y="4289"/>
                    </a:lnTo>
                    <a:lnTo>
                      <a:pt x="9219" y="4289"/>
                    </a:lnTo>
                    <a:lnTo>
                      <a:pt x="9710" y="4289"/>
                    </a:lnTo>
                    <a:lnTo>
                      <a:pt x="9710" y="4055"/>
                    </a:lnTo>
                    <a:lnTo>
                      <a:pt x="9219" y="4289"/>
                    </a:lnTo>
                    <a:lnTo>
                      <a:pt x="8884" y="4289"/>
                    </a:lnTo>
                    <a:lnTo>
                      <a:pt x="9129" y="3843"/>
                    </a:lnTo>
                    <a:lnTo>
                      <a:pt x="9219" y="3843"/>
                    </a:lnTo>
                    <a:lnTo>
                      <a:pt x="9710" y="3503"/>
                    </a:lnTo>
                    <a:lnTo>
                      <a:pt x="9710" y="3376"/>
                    </a:lnTo>
                    <a:lnTo>
                      <a:pt x="9821" y="3163"/>
                    </a:lnTo>
                    <a:lnTo>
                      <a:pt x="9710" y="3163"/>
                    </a:lnTo>
                    <a:lnTo>
                      <a:pt x="9219" y="3376"/>
                    </a:lnTo>
                    <a:lnTo>
                      <a:pt x="9129" y="3163"/>
                    </a:lnTo>
                    <a:lnTo>
                      <a:pt x="9219" y="2845"/>
                    </a:lnTo>
                    <a:lnTo>
                      <a:pt x="10402" y="2633"/>
                    </a:lnTo>
                    <a:lnTo>
                      <a:pt x="10737" y="2951"/>
                    </a:lnTo>
                    <a:lnTo>
                      <a:pt x="10960" y="2951"/>
                    </a:lnTo>
                    <a:lnTo>
                      <a:pt x="10960" y="2845"/>
                    </a:lnTo>
                    <a:lnTo>
                      <a:pt x="10625" y="2845"/>
                    </a:lnTo>
                    <a:lnTo>
                      <a:pt x="10402" y="2420"/>
                    </a:lnTo>
                    <a:lnTo>
                      <a:pt x="10960" y="2081"/>
                    </a:lnTo>
                    <a:lnTo>
                      <a:pt x="11183" y="2633"/>
                    </a:lnTo>
                    <a:lnTo>
                      <a:pt x="11183" y="2293"/>
                    </a:lnTo>
                    <a:lnTo>
                      <a:pt x="11317" y="2081"/>
                    </a:lnTo>
                    <a:lnTo>
                      <a:pt x="11540" y="2845"/>
                    </a:lnTo>
                    <a:lnTo>
                      <a:pt x="11674" y="2845"/>
                    </a:lnTo>
                    <a:lnTo>
                      <a:pt x="11897" y="2633"/>
                    </a:lnTo>
                    <a:lnTo>
                      <a:pt x="11674" y="2293"/>
                    </a:lnTo>
                    <a:lnTo>
                      <a:pt x="12143" y="2081"/>
                    </a:lnTo>
                    <a:lnTo>
                      <a:pt x="12232" y="1975"/>
                    </a:lnTo>
                    <a:lnTo>
                      <a:pt x="12813" y="2293"/>
                    </a:lnTo>
                    <a:lnTo>
                      <a:pt x="12813" y="1741"/>
                    </a:lnTo>
                    <a:lnTo>
                      <a:pt x="12455" y="1741"/>
                    </a:lnTo>
                    <a:lnTo>
                      <a:pt x="12143" y="1423"/>
                    </a:lnTo>
                    <a:lnTo>
                      <a:pt x="12701" y="1423"/>
                    </a:lnTo>
                    <a:lnTo>
                      <a:pt x="13415" y="1423"/>
                    </a:lnTo>
                    <a:lnTo>
                      <a:pt x="13638" y="1529"/>
                    </a:lnTo>
                    <a:lnTo>
                      <a:pt x="13973" y="1210"/>
                    </a:lnTo>
                    <a:lnTo>
                      <a:pt x="13973" y="637"/>
                    </a:lnTo>
                    <a:lnTo>
                      <a:pt x="14330" y="1083"/>
                    </a:lnTo>
                    <a:lnTo>
                      <a:pt x="14554" y="870"/>
                    </a:lnTo>
                    <a:lnTo>
                      <a:pt x="14330" y="637"/>
                    </a:lnTo>
                    <a:lnTo>
                      <a:pt x="14554" y="297"/>
                    </a:lnTo>
                    <a:lnTo>
                      <a:pt x="15134" y="297"/>
                    </a:lnTo>
                    <a:lnTo>
                      <a:pt x="15469" y="297"/>
                    </a:lnTo>
                    <a:lnTo>
                      <a:pt x="15134" y="870"/>
                    </a:lnTo>
                    <a:lnTo>
                      <a:pt x="15134" y="1423"/>
                    </a:lnTo>
                    <a:lnTo>
                      <a:pt x="15246" y="1529"/>
                    </a:lnTo>
                    <a:lnTo>
                      <a:pt x="15246" y="1210"/>
                    </a:lnTo>
                    <a:lnTo>
                      <a:pt x="16049" y="297"/>
                    </a:lnTo>
                    <a:lnTo>
                      <a:pt x="16049" y="637"/>
                    </a:lnTo>
                    <a:lnTo>
                      <a:pt x="16161" y="1083"/>
                    </a:lnTo>
                    <a:lnTo>
                      <a:pt x="16384" y="870"/>
                    </a:lnTo>
                    <a:lnTo>
                      <a:pt x="16518" y="637"/>
                    </a:lnTo>
                    <a:lnTo>
                      <a:pt x="16741" y="552"/>
                    </a:lnTo>
                    <a:lnTo>
                      <a:pt x="16384" y="297"/>
                    </a:lnTo>
                    <a:lnTo>
                      <a:pt x="16518" y="0"/>
                    </a:lnTo>
                    <a:lnTo>
                      <a:pt x="17098" y="0"/>
                    </a:lnTo>
                    <a:lnTo>
                      <a:pt x="17567" y="85"/>
                    </a:lnTo>
                    <a:lnTo>
                      <a:pt x="17567" y="297"/>
                    </a:lnTo>
                    <a:lnTo>
                      <a:pt x="17098" y="552"/>
                    </a:lnTo>
                    <a:lnTo>
                      <a:pt x="17567" y="637"/>
                    </a:lnTo>
                    <a:lnTo>
                      <a:pt x="17098" y="870"/>
                    </a:lnTo>
                    <a:lnTo>
                      <a:pt x="17567" y="870"/>
                    </a:lnTo>
                    <a:lnTo>
                      <a:pt x="17902" y="297"/>
                    </a:lnTo>
                    <a:lnTo>
                      <a:pt x="18013" y="297"/>
                    </a:lnTo>
                    <a:lnTo>
                      <a:pt x="18259" y="552"/>
                    </a:lnTo>
                    <a:lnTo>
                      <a:pt x="18482" y="297"/>
                    </a:lnTo>
                    <a:lnTo>
                      <a:pt x="19063" y="637"/>
                    </a:lnTo>
                    <a:lnTo>
                      <a:pt x="18839" y="637"/>
                    </a:lnTo>
                    <a:lnTo>
                      <a:pt x="19174" y="637"/>
                    </a:lnTo>
                    <a:lnTo>
                      <a:pt x="19531" y="1083"/>
                    </a:lnTo>
                    <a:lnTo>
                      <a:pt x="19063" y="1423"/>
                    </a:lnTo>
                    <a:lnTo>
                      <a:pt x="17902" y="1423"/>
                    </a:lnTo>
                    <a:lnTo>
                      <a:pt x="18482" y="1529"/>
                    </a:lnTo>
                    <a:lnTo>
                      <a:pt x="18839" y="1975"/>
                    </a:lnTo>
                    <a:lnTo>
                      <a:pt x="19063" y="1741"/>
                    </a:lnTo>
                    <a:lnTo>
                      <a:pt x="19397" y="1741"/>
                    </a:lnTo>
                    <a:lnTo>
                      <a:pt x="19754" y="1975"/>
                    </a:lnTo>
                    <a:lnTo>
                      <a:pt x="19978" y="2081"/>
                    </a:lnTo>
                    <a:lnTo>
                      <a:pt x="19531" y="20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2" name="Freeform 267"/>
              <p:cNvSpPr>
                <a:spLocks/>
              </p:cNvSpPr>
              <p:nvPr/>
            </p:nvSpPr>
            <p:spPr bwMode="auto">
              <a:xfrm>
                <a:off x="5335588" y="2095500"/>
                <a:ext cx="30162" cy="26988"/>
              </a:xfrm>
              <a:custGeom>
                <a:avLst/>
                <a:gdLst>
                  <a:gd name="T0" fmla="*/ 1702 w 20000"/>
                  <a:gd name="T1" fmla="*/ 19524 h 20000"/>
                  <a:gd name="T2" fmla="*/ 0 w 20000"/>
                  <a:gd name="T3" fmla="*/ 11905 h 20000"/>
                  <a:gd name="T4" fmla="*/ 8511 w 20000"/>
                  <a:gd name="T5" fmla="*/ 0 h 20000"/>
                  <a:gd name="T6" fmla="*/ 13191 w 20000"/>
                  <a:gd name="T7" fmla="*/ 7143 h 20000"/>
                  <a:gd name="T8" fmla="*/ 17447 w 20000"/>
                  <a:gd name="T9" fmla="*/ 0 h 20000"/>
                  <a:gd name="T10" fmla="*/ 19574 w 20000"/>
                  <a:gd name="T11" fmla="*/ 7143 h 20000"/>
                  <a:gd name="T12" fmla="*/ 8511 w 20000"/>
                  <a:gd name="T13" fmla="*/ 17143 h 20000"/>
                  <a:gd name="T14" fmla="*/ 6809 w 20000"/>
                  <a:gd name="T15" fmla="*/ 19524 h 20000"/>
                  <a:gd name="T16" fmla="*/ 1702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702" y="19524"/>
                    </a:moveTo>
                    <a:lnTo>
                      <a:pt x="0" y="11905"/>
                    </a:lnTo>
                    <a:lnTo>
                      <a:pt x="8511" y="0"/>
                    </a:lnTo>
                    <a:lnTo>
                      <a:pt x="13191" y="7143"/>
                    </a:lnTo>
                    <a:lnTo>
                      <a:pt x="17447" y="0"/>
                    </a:lnTo>
                    <a:lnTo>
                      <a:pt x="19574" y="7143"/>
                    </a:lnTo>
                    <a:lnTo>
                      <a:pt x="8511" y="17143"/>
                    </a:lnTo>
                    <a:lnTo>
                      <a:pt x="6809" y="19524"/>
                    </a:lnTo>
                    <a:lnTo>
                      <a:pt x="1702"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3" name="Freeform 266"/>
              <p:cNvSpPr>
                <a:spLocks/>
              </p:cNvSpPr>
              <p:nvPr/>
            </p:nvSpPr>
            <p:spPr bwMode="auto">
              <a:xfrm>
                <a:off x="5318125" y="2092325"/>
                <a:ext cx="17463" cy="20638"/>
              </a:xfrm>
              <a:custGeom>
                <a:avLst/>
                <a:gdLst>
                  <a:gd name="T0" fmla="*/ 11429 w 20000"/>
                  <a:gd name="T1" fmla="*/ 19375 h 20000"/>
                  <a:gd name="T2" fmla="*/ 4286 w 20000"/>
                  <a:gd name="T3" fmla="*/ 19375 h 20000"/>
                  <a:gd name="T4" fmla="*/ 19286 w 20000"/>
                  <a:gd name="T5" fmla="*/ 13125 h 20000"/>
                  <a:gd name="T6" fmla="*/ 11429 w 20000"/>
                  <a:gd name="T7" fmla="*/ 13125 h 20000"/>
                  <a:gd name="T8" fmla="*/ 0 w 20000"/>
                  <a:gd name="T9" fmla="*/ 19375 h 20000"/>
                  <a:gd name="T10" fmla="*/ 0 w 20000"/>
                  <a:gd name="T11" fmla="*/ 9375 h 20000"/>
                  <a:gd name="T12" fmla="*/ 11429 w 20000"/>
                  <a:gd name="T13" fmla="*/ 9375 h 20000"/>
                  <a:gd name="T14" fmla="*/ 11429 w 20000"/>
                  <a:gd name="T15" fmla="*/ 0 h 20000"/>
                  <a:gd name="T16" fmla="*/ 19286 w 20000"/>
                  <a:gd name="T17" fmla="*/ 3750 h 20000"/>
                  <a:gd name="T18" fmla="*/ 19286 w 20000"/>
                  <a:gd name="T19" fmla="*/ 13125 h 20000"/>
                  <a:gd name="T20" fmla="*/ 11429 w 20000"/>
                  <a:gd name="T21"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1429" y="19375"/>
                    </a:moveTo>
                    <a:lnTo>
                      <a:pt x="4286" y="19375"/>
                    </a:lnTo>
                    <a:lnTo>
                      <a:pt x="19286" y="13125"/>
                    </a:lnTo>
                    <a:lnTo>
                      <a:pt x="11429" y="13125"/>
                    </a:lnTo>
                    <a:lnTo>
                      <a:pt x="0" y="19375"/>
                    </a:lnTo>
                    <a:lnTo>
                      <a:pt x="0" y="9375"/>
                    </a:lnTo>
                    <a:lnTo>
                      <a:pt x="11429" y="9375"/>
                    </a:lnTo>
                    <a:lnTo>
                      <a:pt x="11429" y="0"/>
                    </a:lnTo>
                    <a:lnTo>
                      <a:pt x="19286" y="3750"/>
                    </a:lnTo>
                    <a:lnTo>
                      <a:pt x="19286" y="13125"/>
                    </a:lnTo>
                    <a:lnTo>
                      <a:pt x="11429"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4" name="Freeform 265"/>
              <p:cNvSpPr>
                <a:spLocks/>
              </p:cNvSpPr>
              <p:nvPr/>
            </p:nvSpPr>
            <p:spPr bwMode="auto">
              <a:xfrm>
                <a:off x="5243513" y="2940050"/>
                <a:ext cx="196850" cy="92075"/>
              </a:xfrm>
              <a:custGeom>
                <a:avLst/>
                <a:gdLst>
                  <a:gd name="T0" fmla="*/ 10611 w 20000"/>
                  <a:gd name="T1" fmla="*/ 2192 h 20000"/>
                  <a:gd name="T2" fmla="*/ 12283 w 20000"/>
                  <a:gd name="T3" fmla="*/ 3562 h 20000"/>
                  <a:gd name="T4" fmla="*/ 13248 w 20000"/>
                  <a:gd name="T5" fmla="*/ 3562 h 20000"/>
                  <a:gd name="T6" fmla="*/ 14598 w 20000"/>
                  <a:gd name="T7" fmla="*/ 0 h 20000"/>
                  <a:gd name="T8" fmla="*/ 16270 w 20000"/>
                  <a:gd name="T9" fmla="*/ 1370 h 20000"/>
                  <a:gd name="T10" fmla="*/ 18907 w 20000"/>
                  <a:gd name="T11" fmla="*/ 2192 h 20000"/>
                  <a:gd name="T12" fmla="*/ 18907 w 20000"/>
                  <a:gd name="T13" fmla="*/ 5616 h 20000"/>
                  <a:gd name="T14" fmla="*/ 19936 w 20000"/>
                  <a:gd name="T15" fmla="*/ 7808 h 20000"/>
                  <a:gd name="T16" fmla="*/ 19936 w 20000"/>
                  <a:gd name="T17" fmla="*/ 9178 h 20000"/>
                  <a:gd name="T18" fmla="*/ 19293 w 20000"/>
                  <a:gd name="T19" fmla="*/ 10685 h 20000"/>
                  <a:gd name="T20" fmla="*/ 18264 w 20000"/>
                  <a:gd name="T21" fmla="*/ 10685 h 20000"/>
                  <a:gd name="T22" fmla="*/ 17621 w 20000"/>
                  <a:gd name="T23" fmla="*/ 10685 h 20000"/>
                  <a:gd name="T24" fmla="*/ 18264 w 20000"/>
                  <a:gd name="T25" fmla="*/ 11233 h 20000"/>
                  <a:gd name="T26" fmla="*/ 18264 w 20000"/>
                  <a:gd name="T27" fmla="*/ 16301 h 20000"/>
                  <a:gd name="T28" fmla="*/ 17299 w 20000"/>
                  <a:gd name="T29" fmla="*/ 17123 h 20000"/>
                  <a:gd name="T30" fmla="*/ 17299 w 20000"/>
                  <a:gd name="T31" fmla="*/ 18493 h 20000"/>
                  <a:gd name="T32" fmla="*/ 16270 w 20000"/>
                  <a:gd name="T33" fmla="*/ 18493 h 20000"/>
                  <a:gd name="T34" fmla="*/ 13248 w 20000"/>
                  <a:gd name="T35" fmla="*/ 19863 h 20000"/>
                  <a:gd name="T36" fmla="*/ 10611 w 20000"/>
                  <a:gd name="T37" fmla="*/ 19863 h 20000"/>
                  <a:gd name="T38" fmla="*/ 10354 w 20000"/>
                  <a:gd name="T39" fmla="*/ 19863 h 20000"/>
                  <a:gd name="T40" fmla="*/ 8617 w 20000"/>
                  <a:gd name="T41" fmla="*/ 17123 h 20000"/>
                  <a:gd name="T42" fmla="*/ 6945 w 20000"/>
                  <a:gd name="T43" fmla="*/ 14932 h 20000"/>
                  <a:gd name="T44" fmla="*/ 5981 w 20000"/>
                  <a:gd name="T45" fmla="*/ 14932 h 20000"/>
                  <a:gd name="T46" fmla="*/ 4309 w 20000"/>
                  <a:gd name="T47" fmla="*/ 14932 h 20000"/>
                  <a:gd name="T48" fmla="*/ 4309 w 20000"/>
                  <a:gd name="T49" fmla="*/ 17123 h 20000"/>
                  <a:gd name="T50" fmla="*/ 2637 w 20000"/>
                  <a:gd name="T51" fmla="*/ 17123 h 20000"/>
                  <a:gd name="T52" fmla="*/ 2315 w 20000"/>
                  <a:gd name="T53" fmla="*/ 17123 h 20000"/>
                  <a:gd name="T54" fmla="*/ 2315 w 20000"/>
                  <a:gd name="T55" fmla="*/ 16301 h 20000"/>
                  <a:gd name="T56" fmla="*/ 900 w 20000"/>
                  <a:gd name="T57" fmla="*/ 16301 h 20000"/>
                  <a:gd name="T58" fmla="*/ 900 w 20000"/>
                  <a:gd name="T59" fmla="*/ 14932 h 20000"/>
                  <a:gd name="T60" fmla="*/ 643 w 20000"/>
                  <a:gd name="T61" fmla="*/ 14932 h 20000"/>
                  <a:gd name="T62" fmla="*/ 0 w 20000"/>
                  <a:gd name="T63" fmla="*/ 13425 h 20000"/>
                  <a:gd name="T64" fmla="*/ 0 w 20000"/>
                  <a:gd name="T65" fmla="*/ 12877 h 20000"/>
                  <a:gd name="T66" fmla="*/ 643 w 20000"/>
                  <a:gd name="T67" fmla="*/ 11233 h 20000"/>
                  <a:gd name="T68" fmla="*/ 2315 w 20000"/>
                  <a:gd name="T69" fmla="*/ 12877 h 20000"/>
                  <a:gd name="T70" fmla="*/ 2315 w 20000"/>
                  <a:gd name="T71" fmla="*/ 11233 h 20000"/>
                  <a:gd name="T72" fmla="*/ 3280 w 20000"/>
                  <a:gd name="T73" fmla="*/ 11233 h 20000"/>
                  <a:gd name="T74" fmla="*/ 3666 w 20000"/>
                  <a:gd name="T75" fmla="*/ 12877 h 20000"/>
                  <a:gd name="T76" fmla="*/ 5273 w 20000"/>
                  <a:gd name="T77" fmla="*/ 11233 h 20000"/>
                  <a:gd name="T78" fmla="*/ 6302 w 20000"/>
                  <a:gd name="T79" fmla="*/ 11233 h 20000"/>
                  <a:gd name="T80" fmla="*/ 6945 w 20000"/>
                  <a:gd name="T81" fmla="*/ 10685 h 20000"/>
                  <a:gd name="T82" fmla="*/ 8617 w 20000"/>
                  <a:gd name="T83" fmla="*/ 10685 h 20000"/>
                  <a:gd name="T84" fmla="*/ 9325 w 20000"/>
                  <a:gd name="T85" fmla="*/ 11233 h 20000"/>
                  <a:gd name="T86" fmla="*/ 8617 w 20000"/>
                  <a:gd name="T87" fmla="*/ 9178 h 20000"/>
                  <a:gd name="T88" fmla="*/ 8617 w 20000"/>
                  <a:gd name="T89" fmla="*/ 5616 h 20000"/>
                  <a:gd name="T90" fmla="*/ 10611 w 20000"/>
                  <a:gd name="T91" fmla="*/ 5068 h 20000"/>
                  <a:gd name="T92" fmla="*/ 10611 w 20000"/>
                  <a:gd name="T93" fmla="*/ 21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00" h="20000">
                    <a:moveTo>
                      <a:pt x="10611" y="2192"/>
                    </a:moveTo>
                    <a:lnTo>
                      <a:pt x="12283" y="3562"/>
                    </a:lnTo>
                    <a:lnTo>
                      <a:pt x="13248" y="3562"/>
                    </a:lnTo>
                    <a:lnTo>
                      <a:pt x="14598" y="0"/>
                    </a:lnTo>
                    <a:lnTo>
                      <a:pt x="16270" y="1370"/>
                    </a:lnTo>
                    <a:lnTo>
                      <a:pt x="18907" y="2192"/>
                    </a:lnTo>
                    <a:lnTo>
                      <a:pt x="18907" y="5616"/>
                    </a:lnTo>
                    <a:lnTo>
                      <a:pt x="19936" y="7808"/>
                    </a:lnTo>
                    <a:lnTo>
                      <a:pt x="19936" y="9178"/>
                    </a:lnTo>
                    <a:lnTo>
                      <a:pt x="19293" y="10685"/>
                    </a:lnTo>
                    <a:lnTo>
                      <a:pt x="18264" y="10685"/>
                    </a:lnTo>
                    <a:lnTo>
                      <a:pt x="17621" y="10685"/>
                    </a:lnTo>
                    <a:lnTo>
                      <a:pt x="18264" y="11233"/>
                    </a:lnTo>
                    <a:lnTo>
                      <a:pt x="18264" y="16301"/>
                    </a:lnTo>
                    <a:lnTo>
                      <a:pt x="17299" y="17123"/>
                    </a:lnTo>
                    <a:lnTo>
                      <a:pt x="17299" y="18493"/>
                    </a:lnTo>
                    <a:lnTo>
                      <a:pt x="16270" y="18493"/>
                    </a:lnTo>
                    <a:lnTo>
                      <a:pt x="13248" y="19863"/>
                    </a:lnTo>
                    <a:lnTo>
                      <a:pt x="10611" y="19863"/>
                    </a:lnTo>
                    <a:lnTo>
                      <a:pt x="10354" y="19863"/>
                    </a:lnTo>
                    <a:lnTo>
                      <a:pt x="8617" y="17123"/>
                    </a:lnTo>
                    <a:lnTo>
                      <a:pt x="6945" y="14932"/>
                    </a:lnTo>
                    <a:lnTo>
                      <a:pt x="5981" y="14932"/>
                    </a:lnTo>
                    <a:lnTo>
                      <a:pt x="4309" y="14932"/>
                    </a:lnTo>
                    <a:lnTo>
                      <a:pt x="4309" y="17123"/>
                    </a:lnTo>
                    <a:lnTo>
                      <a:pt x="2637" y="17123"/>
                    </a:lnTo>
                    <a:lnTo>
                      <a:pt x="2315" y="17123"/>
                    </a:lnTo>
                    <a:lnTo>
                      <a:pt x="2315" y="16301"/>
                    </a:lnTo>
                    <a:lnTo>
                      <a:pt x="900" y="16301"/>
                    </a:lnTo>
                    <a:lnTo>
                      <a:pt x="900" y="14932"/>
                    </a:lnTo>
                    <a:lnTo>
                      <a:pt x="643" y="14932"/>
                    </a:lnTo>
                    <a:lnTo>
                      <a:pt x="0" y="13425"/>
                    </a:lnTo>
                    <a:lnTo>
                      <a:pt x="0" y="12877"/>
                    </a:lnTo>
                    <a:lnTo>
                      <a:pt x="643" y="11233"/>
                    </a:lnTo>
                    <a:lnTo>
                      <a:pt x="2315" y="12877"/>
                    </a:lnTo>
                    <a:lnTo>
                      <a:pt x="2315" y="11233"/>
                    </a:lnTo>
                    <a:lnTo>
                      <a:pt x="3280" y="11233"/>
                    </a:lnTo>
                    <a:lnTo>
                      <a:pt x="3666" y="12877"/>
                    </a:lnTo>
                    <a:lnTo>
                      <a:pt x="5273" y="11233"/>
                    </a:lnTo>
                    <a:lnTo>
                      <a:pt x="6302" y="11233"/>
                    </a:lnTo>
                    <a:lnTo>
                      <a:pt x="6945" y="10685"/>
                    </a:lnTo>
                    <a:lnTo>
                      <a:pt x="8617" y="10685"/>
                    </a:lnTo>
                    <a:lnTo>
                      <a:pt x="9325" y="11233"/>
                    </a:lnTo>
                    <a:lnTo>
                      <a:pt x="8617" y="9178"/>
                    </a:lnTo>
                    <a:lnTo>
                      <a:pt x="8617" y="5616"/>
                    </a:lnTo>
                    <a:lnTo>
                      <a:pt x="10611" y="5068"/>
                    </a:lnTo>
                    <a:lnTo>
                      <a:pt x="10611" y="219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5" name="Freeform 264"/>
              <p:cNvSpPr>
                <a:spLocks/>
              </p:cNvSpPr>
              <p:nvPr/>
            </p:nvSpPr>
            <p:spPr bwMode="auto">
              <a:xfrm>
                <a:off x="5348288" y="2716213"/>
                <a:ext cx="266700" cy="217487"/>
              </a:xfrm>
              <a:custGeom>
                <a:avLst/>
                <a:gdLst>
                  <a:gd name="T0" fmla="*/ 10309 w 20000"/>
                  <a:gd name="T1" fmla="*/ 933 h 20000"/>
                  <a:gd name="T2" fmla="*/ 16722 w 20000"/>
                  <a:gd name="T3" fmla="*/ 933 h 20000"/>
                  <a:gd name="T4" fmla="*/ 17957 w 20000"/>
                  <a:gd name="T5" fmla="*/ 3615 h 20000"/>
                  <a:gd name="T6" fmla="*/ 18670 w 20000"/>
                  <a:gd name="T7" fmla="*/ 5481 h 20000"/>
                  <a:gd name="T8" fmla="*/ 19192 w 20000"/>
                  <a:gd name="T9" fmla="*/ 7289 h 20000"/>
                  <a:gd name="T10" fmla="*/ 17482 w 20000"/>
                  <a:gd name="T11" fmla="*/ 8455 h 20000"/>
                  <a:gd name="T12" fmla="*/ 18670 w 20000"/>
                  <a:gd name="T13" fmla="*/ 10029 h 20000"/>
                  <a:gd name="T14" fmla="*/ 19192 w 20000"/>
                  <a:gd name="T15" fmla="*/ 11837 h 20000"/>
                  <a:gd name="T16" fmla="*/ 19952 w 20000"/>
                  <a:gd name="T17" fmla="*/ 13586 h 20000"/>
                  <a:gd name="T18" fmla="*/ 17197 w 20000"/>
                  <a:gd name="T19" fmla="*/ 18134 h 20000"/>
                  <a:gd name="T20" fmla="*/ 17482 w 20000"/>
                  <a:gd name="T21" fmla="*/ 19592 h 20000"/>
                  <a:gd name="T22" fmla="*/ 17197 w 20000"/>
                  <a:gd name="T23" fmla="*/ 19942 h 20000"/>
                  <a:gd name="T24" fmla="*/ 16722 w 20000"/>
                  <a:gd name="T25" fmla="*/ 19592 h 20000"/>
                  <a:gd name="T26" fmla="*/ 15487 w 20000"/>
                  <a:gd name="T27" fmla="*/ 19009 h 20000"/>
                  <a:gd name="T28" fmla="*/ 14489 w 20000"/>
                  <a:gd name="T29" fmla="*/ 18717 h 20000"/>
                  <a:gd name="T30" fmla="*/ 14014 w 20000"/>
                  <a:gd name="T31" fmla="*/ 19009 h 20000"/>
                  <a:gd name="T32" fmla="*/ 13302 w 20000"/>
                  <a:gd name="T33" fmla="*/ 19009 h 20000"/>
                  <a:gd name="T34" fmla="*/ 12067 w 20000"/>
                  <a:gd name="T35" fmla="*/ 19592 h 20000"/>
                  <a:gd name="T36" fmla="*/ 11591 w 20000"/>
                  <a:gd name="T37" fmla="*/ 19009 h 20000"/>
                  <a:gd name="T38" fmla="*/ 11306 w 20000"/>
                  <a:gd name="T39" fmla="*/ 18134 h 20000"/>
                  <a:gd name="T40" fmla="*/ 10309 w 20000"/>
                  <a:gd name="T41" fmla="*/ 18717 h 20000"/>
                  <a:gd name="T42" fmla="*/ 9359 w 20000"/>
                  <a:gd name="T43" fmla="*/ 17551 h 20000"/>
                  <a:gd name="T44" fmla="*/ 9359 w 20000"/>
                  <a:gd name="T45" fmla="*/ 17201 h 20000"/>
                  <a:gd name="T46" fmla="*/ 7601 w 20000"/>
                  <a:gd name="T47" fmla="*/ 16618 h 20000"/>
                  <a:gd name="T48" fmla="*/ 7601 w 20000"/>
                  <a:gd name="T49" fmla="*/ 16327 h 20000"/>
                  <a:gd name="T50" fmla="*/ 6888 w 20000"/>
                  <a:gd name="T51" fmla="*/ 15743 h 20000"/>
                  <a:gd name="T52" fmla="*/ 6128 w 20000"/>
                  <a:gd name="T53" fmla="*/ 16327 h 20000"/>
                  <a:gd name="T54" fmla="*/ 5653 w 20000"/>
                  <a:gd name="T55" fmla="*/ 16327 h 20000"/>
                  <a:gd name="T56" fmla="*/ 4941 w 20000"/>
                  <a:gd name="T57" fmla="*/ 15743 h 20000"/>
                  <a:gd name="T58" fmla="*/ 4941 w 20000"/>
                  <a:gd name="T59" fmla="*/ 15102 h 20000"/>
                  <a:gd name="T60" fmla="*/ 4941 w 20000"/>
                  <a:gd name="T61" fmla="*/ 14810 h 20000"/>
                  <a:gd name="T62" fmla="*/ 4466 w 20000"/>
                  <a:gd name="T63" fmla="*/ 14810 h 20000"/>
                  <a:gd name="T64" fmla="*/ 3230 w 20000"/>
                  <a:gd name="T65" fmla="*/ 14227 h 20000"/>
                  <a:gd name="T66" fmla="*/ 3230 w 20000"/>
                  <a:gd name="T67" fmla="*/ 13586 h 20000"/>
                  <a:gd name="T68" fmla="*/ 2470 w 20000"/>
                  <a:gd name="T69" fmla="*/ 13586 h 20000"/>
                  <a:gd name="T70" fmla="*/ 1948 w 20000"/>
                  <a:gd name="T71" fmla="*/ 13586 h 20000"/>
                  <a:gd name="T72" fmla="*/ 2470 w 20000"/>
                  <a:gd name="T73" fmla="*/ 12653 h 20000"/>
                  <a:gd name="T74" fmla="*/ 1948 w 20000"/>
                  <a:gd name="T75" fmla="*/ 12420 h 20000"/>
                  <a:gd name="T76" fmla="*/ 1758 w 20000"/>
                  <a:gd name="T77" fmla="*/ 10904 h 20000"/>
                  <a:gd name="T78" fmla="*/ 1758 w 20000"/>
                  <a:gd name="T79" fmla="*/ 10262 h 20000"/>
                  <a:gd name="T80" fmla="*/ 1235 w 20000"/>
                  <a:gd name="T81" fmla="*/ 10262 h 20000"/>
                  <a:gd name="T82" fmla="*/ 998 w 20000"/>
                  <a:gd name="T83" fmla="*/ 8746 h 20000"/>
                  <a:gd name="T84" fmla="*/ 1235 w 20000"/>
                  <a:gd name="T85" fmla="*/ 8455 h 20000"/>
                  <a:gd name="T86" fmla="*/ 0 w 20000"/>
                  <a:gd name="T87" fmla="*/ 7289 h 20000"/>
                  <a:gd name="T88" fmla="*/ 0 w 20000"/>
                  <a:gd name="T89" fmla="*/ 6939 h 20000"/>
                  <a:gd name="T90" fmla="*/ 998 w 20000"/>
                  <a:gd name="T91" fmla="*/ 6064 h 20000"/>
                  <a:gd name="T92" fmla="*/ 523 w 20000"/>
                  <a:gd name="T93" fmla="*/ 4548 h 20000"/>
                  <a:gd name="T94" fmla="*/ 998 w 20000"/>
                  <a:gd name="T95" fmla="*/ 3965 h 20000"/>
                  <a:gd name="T96" fmla="*/ 1235 w 20000"/>
                  <a:gd name="T97" fmla="*/ 3965 h 20000"/>
                  <a:gd name="T98" fmla="*/ 1235 w 20000"/>
                  <a:gd name="T99" fmla="*/ 3032 h 20000"/>
                  <a:gd name="T100" fmla="*/ 3705 w 20000"/>
                  <a:gd name="T101" fmla="*/ 2157 h 20000"/>
                  <a:gd name="T102" fmla="*/ 4181 w 20000"/>
                  <a:gd name="T103" fmla="*/ 933 h 20000"/>
                  <a:gd name="T104" fmla="*/ 4941 w 20000"/>
                  <a:gd name="T105" fmla="*/ 641 h 20000"/>
                  <a:gd name="T106" fmla="*/ 5178 w 20000"/>
                  <a:gd name="T107" fmla="*/ 641 h 20000"/>
                  <a:gd name="T108" fmla="*/ 7601 w 20000"/>
                  <a:gd name="T109" fmla="*/ 0 h 20000"/>
                  <a:gd name="T110" fmla="*/ 8171 w 20000"/>
                  <a:gd name="T111" fmla="*/ 933 h 20000"/>
                  <a:gd name="T112" fmla="*/ 8361 w 20000"/>
                  <a:gd name="T113" fmla="*/ 1574 h 20000"/>
                  <a:gd name="T114" fmla="*/ 9359 w 20000"/>
                  <a:gd name="T115" fmla="*/ 1574 h 20000"/>
                  <a:gd name="T116" fmla="*/ 10119 w 20000"/>
                  <a:gd name="T117" fmla="*/ 2157 h 20000"/>
                  <a:gd name="T118" fmla="*/ 10309 w 20000"/>
                  <a:gd name="T119" fmla="*/ 9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00" h="20000">
                    <a:moveTo>
                      <a:pt x="10309" y="933"/>
                    </a:moveTo>
                    <a:lnTo>
                      <a:pt x="16722" y="933"/>
                    </a:lnTo>
                    <a:lnTo>
                      <a:pt x="17957" y="3615"/>
                    </a:lnTo>
                    <a:lnTo>
                      <a:pt x="18670" y="5481"/>
                    </a:lnTo>
                    <a:lnTo>
                      <a:pt x="19192" y="7289"/>
                    </a:lnTo>
                    <a:lnTo>
                      <a:pt x="17482" y="8455"/>
                    </a:lnTo>
                    <a:lnTo>
                      <a:pt x="18670" y="10029"/>
                    </a:lnTo>
                    <a:lnTo>
                      <a:pt x="19192" y="11837"/>
                    </a:lnTo>
                    <a:lnTo>
                      <a:pt x="19952" y="13586"/>
                    </a:lnTo>
                    <a:lnTo>
                      <a:pt x="17197" y="18134"/>
                    </a:lnTo>
                    <a:lnTo>
                      <a:pt x="17482" y="19592"/>
                    </a:lnTo>
                    <a:lnTo>
                      <a:pt x="17197" y="19942"/>
                    </a:lnTo>
                    <a:lnTo>
                      <a:pt x="16722" y="19592"/>
                    </a:lnTo>
                    <a:lnTo>
                      <a:pt x="15487" y="19009"/>
                    </a:lnTo>
                    <a:lnTo>
                      <a:pt x="14489" y="18717"/>
                    </a:lnTo>
                    <a:lnTo>
                      <a:pt x="14014" y="19009"/>
                    </a:lnTo>
                    <a:lnTo>
                      <a:pt x="13302" y="19009"/>
                    </a:lnTo>
                    <a:lnTo>
                      <a:pt x="12067" y="19592"/>
                    </a:lnTo>
                    <a:lnTo>
                      <a:pt x="11591" y="19009"/>
                    </a:lnTo>
                    <a:lnTo>
                      <a:pt x="11306" y="18134"/>
                    </a:lnTo>
                    <a:lnTo>
                      <a:pt x="10309" y="18717"/>
                    </a:lnTo>
                    <a:lnTo>
                      <a:pt x="9359" y="17551"/>
                    </a:lnTo>
                    <a:lnTo>
                      <a:pt x="9359" y="17201"/>
                    </a:lnTo>
                    <a:lnTo>
                      <a:pt x="7601" y="16618"/>
                    </a:lnTo>
                    <a:lnTo>
                      <a:pt x="7601" y="16327"/>
                    </a:lnTo>
                    <a:lnTo>
                      <a:pt x="6888" y="15743"/>
                    </a:lnTo>
                    <a:lnTo>
                      <a:pt x="6128" y="16327"/>
                    </a:lnTo>
                    <a:lnTo>
                      <a:pt x="5653" y="16327"/>
                    </a:lnTo>
                    <a:lnTo>
                      <a:pt x="4941" y="15743"/>
                    </a:lnTo>
                    <a:lnTo>
                      <a:pt x="4941" y="15102"/>
                    </a:lnTo>
                    <a:lnTo>
                      <a:pt x="4941" y="14810"/>
                    </a:lnTo>
                    <a:lnTo>
                      <a:pt x="4466" y="14810"/>
                    </a:lnTo>
                    <a:lnTo>
                      <a:pt x="3230" y="14227"/>
                    </a:lnTo>
                    <a:lnTo>
                      <a:pt x="3230" y="13586"/>
                    </a:lnTo>
                    <a:lnTo>
                      <a:pt x="2470" y="13586"/>
                    </a:lnTo>
                    <a:lnTo>
                      <a:pt x="1948" y="13586"/>
                    </a:lnTo>
                    <a:lnTo>
                      <a:pt x="2470" y="12653"/>
                    </a:lnTo>
                    <a:lnTo>
                      <a:pt x="1948" y="12420"/>
                    </a:lnTo>
                    <a:lnTo>
                      <a:pt x="1758" y="10904"/>
                    </a:lnTo>
                    <a:lnTo>
                      <a:pt x="1758" y="10262"/>
                    </a:lnTo>
                    <a:lnTo>
                      <a:pt x="1235" y="10262"/>
                    </a:lnTo>
                    <a:lnTo>
                      <a:pt x="998" y="8746"/>
                    </a:lnTo>
                    <a:lnTo>
                      <a:pt x="1235" y="8455"/>
                    </a:lnTo>
                    <a:lnTo>
                      <a:pt x="0" y="7289"/>
                    </a:lnTo>
                    <a:lnTo>
                      <a:pt x="0" y="6939"/>
                    </a:lnTo>
                    <a:lnTo>
                      <a:pt x="998" y="6064"/>
                    </a:lnTo>
                    <a:lnTo>
                      <a:pt x="523" y="4548"/>
                    </a:lnTo>
                    <a:lnTo>
                      <a:pt x="998" y="3965"/>
                    </a:lnTo>
                    <a:lnTo>
                      <a:pt x="1235" y="3965"/>
                    </a:lnTo>
                    <a:lnTo>
                      <a:pt x="1235" y="3032"/>
                    </a:lnTo>
                    <a:lnTo>
                      <a:pt x="3705" y="2157"/>
                    </a:lnTo>
                    <a:lnTo>
                      <a:pt x="4181" y="933"/>
                    </a:lnTo>
                    <a:lnTo>
                      <a:pt x="4941" y="641"/>
                    </a:lnTo>
                    <a:lnTo>
                      <a:pt x="5178" y="641"/>
                    </a:lnTo>
                    <a:lnTo>
                      <a:pt x="7601" y="0"/>
                    </a:lnTo>
                    <a:lnTo>
                      <a:pt x="8171" y="933"/>
                    </a:lnTo>
                    <a:lnTo>
                      <a:pt x="8361" y="1574"/>
                    </a:lnTo>
                    <a:lnTo>
                      <a:pt x="9359" y="1574"/>
                    </a:lnTo>
                    <a:lnTo>
                      <a:pt x="10119" y="2157"/>
                    </a:lnTo>
                    <a:lnTo>
                      <a:pt x="10309" y="93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6" name="Freeform 263"/>
              <p:cNvSpPr>
                <a:spLocks/>
              </p:cNvSpPr>
              <p:nvPr/>
            </p:nvSpPr>
            <p:spPr bwMode="auto">
              <a:xfrm>
                <a:off x="4732338" y="3179763"/>
                <a:ext cx="90487" cy="174625"/>
              </a:xfrm>
              <a:custGeom>
                <a:avLst/>
                <a:gdLst>
                  <a:gd name="T0" fmla="*/ 4366 w 20000"/>
                  <a:gd name="T1" fmla="*/ 0 h 20000"/>
                  <a:gd name="T2" fmla="*/ 5915 w 20000"/>
                  <a:gd name="T3" fmla="*/ 436 h 20000"/>
                  <a:gd name="T4" fmla="*/ 8169 w 20000"/>
                  <a:gd name="T5" fmla="*/ 0 h 20000"/>
                  <a:gd name="T6" fmla="*/ 9577 w 20000"/>
                  <a:gd name="T7" fmla="*/ 1164 h 20000"/>
                  <a:gd name="T8" fmla="*/ 11831 w 20000"/>
                  <a:gd name="T9" fmla="*/ 1164 h 20000"/>
                  <a:gd name="T10" fmla="*/ 14085 w 20000"/>
                  <a:gd name="T11" fmla="*/ 1164 h 20000"/>
                  <a:gd name="T12" fmla="*/ 16901 w 20000"/>
                  <a:gd name="T13" fmla="*/ 1164 h 20000"/>
                  <a:gd name="T14" fmla="*/ 19014 w 20000"/>
                  <a:gd name="T15" fmla="*/ 1891 h 20000"/>
                  <a:gd name="T16" fmla="*/ 19859 w 20000"/>
                  <a:gd name="T17" fmla="*/ 2255 h 20000"/>
                  <a:gd name="T18" fmla="*/ 16901 w 20000"/>
                  <a:gd name="T19" fmla="*/ 4873 h 20000"/>
                  <a:gd name="T20" fmla="*/ 16901 w 20000"/>
                  <a:gd name="T21" fmla="*/ 6836 h 20000"/>
                  <a:gd name="T22" fmla="*/ 15493 w 20000"/>
                  <a:gd name="T23" fmla="*/ 9818 h 20000"/>
                  <a:gd name="T24" fmla="*/ 13239 w 20000"/>
                  <a:gd name="T25" fmla="*/ 9818 h 20000"/>
                  <a:gd name="T26" fmla="*/ 14085 w 20000"/>
                  <a:gd name="T27" fmla="*/ 12073 h 20000"/>
                  <a:gd name="T28" fmla="*/ 14085 w 20000"/>
                  <a:gd name="T29" fmla="*/ 12800 h 20000"/>
                  <a:gd name="T30" fmla="*/ 14085 w 20000"/>
                  <a:gd name="T31" fmla="*/ 13891 h 20000"/>
                  <a:gd name="T32" fmla="*/ 15493 w 20000"/>
                  <a:gd name="T33" fmla="*/ 15055 h 20000"/>
                  <a:gd name="T34" fmla="*/ 15493 w 20000"/>
                  <a:gd name="T35" fmla="*/ 15782 h 20000"/>
                  <a:gd name="T36" fmla="*/ 13239 w 20000"/>
                  <a:gd name="T37" fmla="*/ 16945 h 20000"/>
                  <a:gd name="T38" fmla="*/ 13239 w 20000"/>
                  <a:gd name="T39" fmla="*/ 19200 h 20000"/>
                  <a:gd name="T40" fmla="*/ 8169 w 20000"/>
                  <a:gd name="T41" fmla="*/ 19927 h 20000"/>
                  <a:gd name="T42" fmla="*/ 5915 w 20000"/>
                  <a:gd name="T43" fmla="*/ 19200 h 20000"/>
                  <a:gd name="T44" fmla="*/ 2254 w 20000"/>
                  <a:gd name="T45" fmla="*/ 19200 h 20000"/>
                  <a:gd name="T46" fmla="*/ 3803 w 20000"/>
                  <a:gd name="T47" fmla="*/ 18036 h 20000"/>
                  <a:gd name="T48" fmla="*/ 3803 w 20000"/>
                  <a:gd name="T49" fmla="*/ 14691 h 20000"/>
                  <a:gd name="T50" fmla="*/ 3803 w 20000"/>
                  <a:gd name="T51" fmla="*/ 13891 h 20000"/>
                  <a:gd name="T52" fmla="*/ 2254 w 20000"/>
                  <a:gd name="T53" fmla="*/ 13891 h 20000"/>
                  <a:gd name="T54" fmla="*/ 2254 w 20000"/>
                  <a:gd name="T55" fmla="*/ 13091 h 20000"/>
                  <a:gd name="T56" fmla="*/ 0 w 20000"/>
                  <a:gd name="T57" fmla="*/ 13091 h 20000"/>
                  <a:gd name="T58" fmla="*/ 1549 w 20000"/>
                  <a:gd name="T59" fmla="*/ 10909 h 20000"/>
                  <a:gd name="T60" fmla="*/ 2254 w 20000"/>
                  <a:gd name="T61" fmla="*/ 10109 h 20000"/>
                  <a:gd name="T62" fmla="*/ 5915 w 20000"/>
                  <a:gd name="T63" fmla="*/ 5236 h 20000"/>
                  <a:gd name="T64" fmla="*/ 4366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4366" y="0"/>
                    </a:moveTo>
                    <a:lnTo>
                      <a:pt x="5915" y="436"/>
                    </a:lnTo>
                    <a:lnTo>
                      <a:pt x="8169" y="0"/>
                    </a:lnTo>
                    <a:lnTo>
                      <a:pt x="9577" y="1164"/>
                    </a:lnTo>
                    <a:lnTo>
                      <a:pt x="11831" y="1164"/>
                    </a:lnTo>
                    <a:lnTo>
                      <a:pt x="14085" y="1164"/>
                    </a:lnTo>
                    <a:lnTo>
                      <a:pt x="16901" y="1164"/>
                    </a:lnTo>
                    <a:lnTo>
                      <a:pt x="19014" y="1891"/>
                    </a:lnTo>
                    <a:lnTo>
                      <a:pt x="19859" y="2255"/>
                    </a:lnTo>
                    <a:lnTo>
                      <a:pt x="16901" y="4873"/>
                    </a:lnTo>
                    <a:lnTo>
                      <a:pt x="16901" y="6836"/>
                    </a:lnTo>
                    <a:lnTo>
                      <a:pt x="15493" y="9818"/>
                    </a:lnTo>
                    <a:lnTo>
                      <a:pt x="13239" y="9818"/>
                    </a:lnTo>
                    <a:lnTo>
                      <a:pt x="14085" y="12073"/>
                    </a:lnTo>
                    <a:lnTo>
                      <a:pt x="14085" y="12800"/>
                    </a:lnTo>
                    <a:lnTo>
                      <a:pt x="14085" y="13891"/>
                    </a:lnTo>
                    <a:lnTo>
                      <a:pt x="15493" y="15055"/>
                    </a:lnTo>
                    <a:lnTo>
                      <a:pt x="15493" y="15782"/>
                    </a:lnTo>
                    <a:lnTo>
                      <a:pt x="13239" y="16945"/>
                    </a:lnTo>
                    <a:lnTo>
                      <a:pt x="13239" y="19200"/>
                    </a:lnTo>
                    <a:lnTo>
                      <a:pt x="8169" y="19927"/>
                    </a:lnTo>
                    <a:lnTo>
                      <a:pt x="5915" y="19200"/>
                    </a:lnTo>
                    <a:lnTo>
                      <a:pt x="2254" y="19200"/>
                    </a:lnTo>
                    <a:lnTo>
                      <a:pt x="3803" y="18036"/>
                    </a:lnTo>
                    <a:lnTo>
                      <a:pt x="3803" y="14691"/>
                    </a:lnTo>
                    <a:lnTo>
                      <a:pt x="3803" y="13891"/>
                    </a:lnTo>
                    <a:lnTo>
                      <a:pt x="2254" y="13891"/>
                    </a:lnTo>
                    <a:lnTo>
                      <a:pt x="2254" y="13091"/>
                    </a:lnTo>
                    <a:lnTo>
                      <a:pt x="0" y="13091"/>
                    </a:lnTo>
                    <a:lnTo>
                      <a:pt x="1549" y="10909"/>
                    </a:lnTo>
                    <a:lnTo>
                      <a:pt x="2254" y="10109"/>
                    </a:lnTo>
                    <a:lnTo>
                      <a:pt x="5915" y="5236"/>
                    </a:lnTo>
                    <a:lnTo>
                      <a:pt x="436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7" name="Freeform 262"/>
              <p:cNvSpPr>
                <a:spLocks/>
              </p:cNvSpPr>
              <p:nvPr/>
            </p:nvSpPr>
            <p:spPr bwMode="auto">
              <a:xfrm>
                <a:off x="5529263" y="2965450"/>
                <a:ext cx="241300" cy="165100"/>
              </a:xfrm>
              <a:custGeom>
                <a:avLst/>
                <a:gdLst>
                  <a:gd name="T0" fmla="*/ 11979 w 20000"/>
                  <a:gd name="T1" fmla="*/ 846 h 20000"/>
                  <a:gd name="T2" fmla="*/ 13668 w 20000"/>
                  <a:gd name="T3" fmla="*/ 0 h 20000"/>
                  <a:gd name="T4" fmla="*/ 16095 w 20000"/>
                  <a:gd name="T5" fmla="*/ 5231 h 20000"/>
                  <a:gd name="T6" fmla="*/ 16359 w 20000"/>
                  <a:gd name="T7" fmla="*/ 5231 h 20000"/>
                  <a:gd name="T8" fmla="*/ 16939 w 20000"/>
                  <a:gd name="T9" fmla="*/ 11615 h 20000"/>
                  <a:gd name="T10" fmla="*/ 17784 w 20000"/>
                  <a:gd name="T11" fmla="*/ 12769 h 20000"/>
                  <a:gd name="T12" fmla="*/ 19947 w 20000"/>
                  <a:gd name="T13" fmla="*/ 11615 h 20000"/>
                  <a:gd name="T14" fmla="*/ 19947 w 20000"/>
                  <a:gd name="T15" fmla="*/ 14308 h 20000"/>
                  <a:gd name="T16" fmla="*/ 18575 w 20000"/>
                  <a:gd name="T17" fmla="*/ 14769 h 20000"/>
                  <a:gd name="T18" fmla="*/ 18575 w 20000"/>
                  <a:gd name="T19" fmla="*/ 13538 h 20000"/>
                  <a:gd name="T20" fmla="*/ 18311 w 20000"/>
                  <a:gd name="T21" fmla="*/ 13538 h 20000"/>
                  <a:gd name="T22" fmla="*/ 18311 w 20000"/>
                  <a:gd name="T23" fmla="*/ 14769 h 20000"/>
                  <a:gd name="T24" fmla="*/ 18311 w 20000"/>
                  <a:gd name="T25" fmla="*/ 15538 h 20000"/>
                  <a:gd name="T26" fmla="*/ 18311 w 20000"/>
                  <a:gd name="T27" fmla="*/ 16385 h 20000"/>
                  <a:gd name="T28" fmla="*/ 17784 w 20000"/>
                  <a:gd name="T29" fmla="*/ 18692 h 20000"/>
                  <a:gd name="T30" fmla="*/ 17150 w 20000"/>
                  <a:gd name="T31" fmla="*/ 18692 h 20000"/>
                  <a:gd name="T32" fmla="*/ 16939 w 20000"/>
                  <a:gd name="T33" fmla="*/ 17923 h 20000"/>
                  <a:gd name="T34" fmla="*/ 14987 w 20000"/>
                  <a:gd name="T35" fmla="*/ 17923 h 20000"/>
                  <a:gd name="T36" fmla="*/ 14776 w 20000"/>
                  <a:gd name="T37" fmla="*/ 17615 h 20000"/>
                  <a:gd name="T38" fmla="*/ 12507 w 20000"/>
                  <a:gd name="T39" fmla="*/ 18692 h 20000"/>
                  <a:gd name="T40" fmla="*/ 11451 w 20000"/>
                  <a:gd name="T41" fmla="*/ 19538 h 20000"/>
                  <a:gd name="T42" fmla="*/ 11187 w 20000"/>
                  <a:gd name="T43" fmla="*/ 19923 h 20000"/>
                  <a:gd name="T44" fmla="*/ 9815 w 20000"/>
                  <a:gd name="T45" fmla="*/ 19538 h 20000"/>
                  <a:gd name="T46" fmla="*/ 8496 w 20000"/>
                  <a:gd name="T47" fmla="*/ 19538 h 20000"/>
                  <a:gd name="T48" fmla="*/ 7863 w 20000"/>
                  <a:gd name="T49" fmla="*/ 19538 h 20000"/>
                  <a:gd name="T50" fmla="*/ 6807 w 20000"/>
                  <a:gd name="T51" fmla="*/ 18692 h 20000"/>
                  <a:gd name="T52" fmla="*/ 5488 w 20000"/>
                  <a:gd name="T53" fmla="*/ 19538 h 20000"/>
                  <a:gd name="T54" fmla="*/ 5488 w 20000"/>
                  <a:gd name="T55" fmla="*/ 18692 h 20000"/>
                  <a:gd name="T56" fmla="*/ 5699 w 20000"/>
                  <a:gd name="T57" fmla="*/ 17923 h 20000"/>
                  <a:gd name="T58" fmla="*/ 4908 w 20000"/>
                  <a:gd name="T59" fmla="*/ 17615 h 20000"/>
                  <a:gd name="T60" fmla="*/ 4327 w 20000"/>
                  <a:gd name="T61" fmla="*/ 16385 h 20000"/>
                  <a:gd name="T62" fmla="*/ 4908 w 20000"/>
                  <a:gd name="T63" fmla="*/ 15538 h 20000"/>
                  <a:gd name="T64" fmla="*/ 4327 w 20000"/>
                  <a:gd name="T65" fmla="*/ 15538 h 20000"/>
                  <a:gd name="T66" fmla="*/ 4063 w 20000"/>
                  <a:gd name="T67" fmla="*/ 16385 h 20000"/>
                  <a:gd name="T68" fmla="*/ 3219 w 20000"/>
                  <a:gd name="T69" fmla="*/ 15538 h 20000"/>
                  <a:gd name="T70" fmla="*/ 2164 w 20000"/>
                  <a:gd name="T71" fmla="*/ 14769 h 20000"/>
                  <a:gd name="T72" fmla="*/ 2164 w 20000"/>
                  <a:gd name="T73" fmla="*/ 14308 h 20000"/>
                  <a:gd name="T74" fmla="*/ 2164 w 20000"/>
                  <a:gd name="T75" fmla="*/ 12769 h 20000"/>
                  <a:gd name="T76" fmla="*/ 528 w 20000"/>
                  <a:gd name="T77" fmla="*/ 11615 h 20000"/>
                  <a:gd name="T78" fmla="*/ 528 w 20000"/>
                  <a:gd name="T79" fmla="*/ 10385 h 20000"/>
                  <a:gd name="T80" fmla="*/ 0 w 20000"/>
                  <a:gd name="T81" fmla="*/ 9154 h 20000"/>
                  <a:gd name="T82" fmla="*/ 1055 w 20000"/>
                  <a:gd name="T83" fmla="*/ 9154 h 20000"/>
                  <a:gd name="T84" fmla="*/ 1055 w 20000"/>
                  <a:gd name="T85" fmla="*/ 8385 h 20000"/>
                  <a:gd name="T86" fmla="*/ 1900 w 20000"/>
                  <a:gd name="T87" fmla="*/ 8000 h 20000"/>
                  <a:gd name="T88" fmla="*/ 1900 w 20000"/>
                  <a:gd name="T89" fmla="*/ 7231 h 20000"/>
                  <a:gd name="T90" fmla="*/ 2164 w 20000"/>
                  <a:gd name="T91" fmla="*/ 6000 h 20000"/>
                  <a:gd name="T92" fmla="*/ 2691 w 20000"/>
                  <a:gd name="T93" fmla="*/ 3154 h 20000"/>
                  <a:gd name="T94" fmla="*/ 3536 w 20000"/>
                  <a:gd name="T95" fmla="*/ 2000 h 20000"/>
                  <a:gd name="T96" fmla="*/ 4327 w 20000"/>
                  <a:gd name="T97" fmla="*/ 1231 h 20000"/>
                  <a:gd name="T98" fmla="*/ 4908 w 20000"/>
                  <a:gd name="T99" fmla="*/ 846 h 20000"/>
                  <a:gd name="T100" fmla="*/ 5699 w 20000"/>
                  <a:gd name="T101" fmla="*/ 846 h 20000"/>
                  <a:gd name="T102" fmla="*/ 9815 w 20000"/>
                  <a:gd name="T103" fmla="*/ 2000 h 20000"/>
                  <a:gd name="T104" fmla="*/ 11979 w 20000"/>
                  <a:gd name="T105" fmla="*/ 84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1979" y="846"/>
                    </a:moveTo>
                    <a:lnTo>
                      <a:pt x="13668" y="0"/>
                    </a:lnTo>
                    <a:lnTo>
                      <a:pt x="16095" y="5231"/>
                    </a:lnTo>
                    <a:lnTo>
                      <a:pt x="16359" y="5231"/>
                    </a:lnTo>
                    <a:lnTo>
                      <a:pt x="16939" y="11615"/>
                    </a:lnTo>
                    <a:lnTo>
                      <a:pt x="17784" y="12769"/>
                    </a:lnTo>
                    <a:lnTo>
                      <a:pt x="19947" y="11615"/>
                    </a:lnTo>
                    <a:lnTo>
                      <a:pt x="19947" y="14308"/>
                    </a:lnTo>
                    <a:lnTo>
                      <a:pt x="18575" y="14769"/>
                    </a:lnTo>
                    <a:lnTo>
                      <a:pt x="18575" y="13538"/>
                    </a:lnTo>
                    <a:lnTo>
                      <a:pt x="18311" y="13538"/>
                    </a:lnTo>
                    <a:lnTo>
                      <a:pt x="18311" y="14769"/>
                    </a:lnTo>
                    <a:lnTo>
                      <a:pt x="18311" y="15538"/>
                    </a:lnTo>
                    <a:lnTo>
                      <a:pt x="18311" y="16385"/>
                    </a:lnTo>
                    <a:lnTo>
                      <a:pt x="17784" y="18692"/>
                    </a:lnTo>
                    <a:lnTo>
                      <a:pt x="17150" y="18692"/>
                    </a:lnTo>
                    <a:lnTo>
                      <a:pt x="16939" y="17923"/>
                    </a:lnTo>
                    <a:lnTo>
                      <a:pt x="14987" y="17923"/>
                    </a:lnTo>
                    <a:lnTo>
                      <a:pt x="14776" y="17615"/>
                    </a:lnTo>
                    <a:lnTo>
                      <a:pt x="12507" y="18692"/>
                    </a:lnTo>
                    <a:lnTo>
                      <a:pt x="11451" y="19538"/>
                    </a:lnTo>
                    <a:lnTo>
                      <a:pt x="11187" y="19923"/>
                    </a:lnTo>
                    <a:lnTo>
                      <a:pt x="9815" y="19538"/>
                    </a:lnTo>
                    <a:lnTo>
                      <a:pt x="8496" y="19538"/>
                    </a:lnTo>
                    <a:lnTo>
                      <a:pt x="7863" y="19538"/>
                    </a:lnTo>
                    <a:lnTo>
                      <a:pt x="6807" y="18692"/>
                    </a:lnTo>
                    <a:lnTo>
                      <a:pt x="5488" y="19538"/>
                    </a:lnTo>
                    <a:lnTo>
                      <a:pt x="5488" y="18692"/>
                    </a:lnTo>
                    <a:lnTo>
                      <a:pt x="5699" y="17923"/>
                    </a:lnTo>
                    <a:lnTo>
                      <a:pt x="4908" y="17615"/>
                    </a:lnTo>
                    <a:lnTo>
                      <a:pt x="4327" y="16385"/>
                    </a:lnTo>
                    <a:lnTo>
                      <a:pt x="4908" y="15538"/>
                    </a:lnTo>
                    <a:lnTo>
                      <a:pt x="4327" y="15538"/>
                    </a:lnTo>
                    <a:lnTo>
                      <a:pt x="4063" y="16385"/>
                    </a:lnTo>
                    <a:lnTo>
                      <a:pt x="3219" y="15538"/>
                    </a:lnTo>
                    <a:lnTo>
                      <a:pt x="2164" y="14769"/>
                    </a:lnTo>
                    <a:lnTo>
                      <a:pt x="2164" y="14308"/>
                    </a:lnTo>
                    <a:lnTo>
                      <a:pt x="2164" y="12769"/>
                    </a:lnTo>
                    <a:lnTo>
                      <a:pt x="528" y="11615"/>
                    </a:lnTo>
                    <a:lnTo>
                      <a:pt x="528" y="10385"/>
                    </a:lnTo>
                    <a:lnTo>
                      <a:pt x="0" y="9154"/>
                    </a:lnTo>
                    <a:lnTo>
                      <a:pt x="1055" y="9154"/>
                    </a:lnTo>
                    <a:lnTo>
                      <a:pt x="1055" y="8385"/>
                    </a:lnTo>
                    <a:lnTo>
                      <a:pt x="1900" y="8000"/>
                    </a:lnTo>
                    <a:lnTo>
                      <a:pt x="1900" y="7231"/>
                    </a:lnTo>
                    <a:lnTo>
                      <a:pt x="2164" y="6000"/>
                    </a:lnTo>
                    <a:lnTo>
                      <a:pt x="2691" y="3154"/>
                    </a:lnTo>
                    <a:lnTo>
                      <a:pt x="3536" y="2000"/>
                    </a:lnTo>
                    <a:lnTo>
                      <a:pt x="4327" y="1231"/>
                    </a:lnTo>
                    <a:lnTo>
                      <a:pt x="4908" y="846"/>
                    </a:lnTo>
                    <a:lnTo>
                      <a:pt x="5699" y="846"/>
                    </a:lnTo>
                    <a:lnTo>
                      <a:pt x="9815" y="2000"/>
                    </a:lnTo>
                    <a:lnTo>
                      <a:pt x="11979" y="84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8" name="Freeform 261"/>
              <p:cNvSpPr>
                <a:spLocks/>
              </p:cNvSpPr>
              <p:nvPr/>
            </p:nvSpPr>
            <p:spPr bwMode="auto">
              <a:xfrm>
                <a:off x="5265738" y="2085975"/>
                <a:ext cx="279400" cy="612775"/>
              </a:xfrm>
              <a:custGeom>
                <a:avLst/>
                <a:gdLst>
                  <a:gd name="T0" fmla="*/ 16190 w 20000"/>
                  <a:gd name="T1" fmla="*/ 851 h 20000"/>
                  <a:gd name="T2" fmla="*/ 18549 w 20000"/>
                  <a:gd name="T3" fmla="*/ 2033 h 20000"/>
                  <a:gd name="T4" fmla="*/ 18776 w 20000"/>
                  <a:gd name="T5" fmla="*/ 2593 h 20000"/>
                  <a:gd name="T6" fmla="*/ 19683 w 20000"/>
                  <a:gd name="T7" fmla="*/ 4191 h 20000"/>
                  <a:gd name="T8" fmla="*/ 18549 w 20000"/>
                  <a:gd name="T9" fmla="*/ 4710 h 20000"/>
                  <a:gd name="T10" fmla="*/ 15692 w 20000"/>
                  <a:gd name="T11" fmla="*/ 5373 h 20000"/>
                  <a:gd name="T12" fmla="*/ 15510 w 20000"/>
                  <a:gd name="T13" fmla="*/ 6452 h 20000"/>
                  <a:gd name="T14" fmla="*/ 15510 w 20000"/>
                  <a:gd name="T15" fmla="*/ 7303 h 20000"/>
                  <a:gd name="T16" fmla="*/ 13651 w 20000"/>
                  <a:gd name="T17" fmla="*/ 8278 h 20000"/>
                  <a:gd name="T18" fmla="*/ 12698 w 20000"/>
                  <a:gd name="T19" fmla="*/ 8485 h 20000"/>
                  <a:gd name="T20" fmla="*/ 11247 w 20000"/>
                  <a:gd name="T21" fmla="*/ 9232 h 20000"/>
                  <a:gd name="T22" fmla="*/ 10794 w 20000"/>
                  <a:gd name="T23" fmla="*/ 9336 h 20000"/>
                  <a:gd name="T24" fmla="*/ 10113 w 20000"/>
                  <a:gd name="T25" fmla="*/ 9876 h 20000"/>
                  <a:gd name="T26" fmla="*/ 10113 w 20000"/>
                  <a:gd name="T27" fmla="*/ 10954 h 20000"/>
                  <a:gd name="T28" fmla="*/ 9841 w 20000"/>
                  <a:gd name="T29" fmla="*/ 11494 h 20000"/>
                  <a:gd name="T30" fmla="*/ 10794 w 20000"/>
                  <a:gd name="T31" fmla="*/ 12780 h 20000"/>
                  <a:gd name="T32" fmla="*/ 12698 w 20000"/>
                  <a:gd name="T33" fmla="*/ 13320 h 20000"/>
                  <a:gd name="T34" fmla="*/ 12426 w 20000"/>
                  <a:gd name="T35" fmla="*/ 14710 h 20000"/>
                  <a:gd name="T36" fmla="*/ 11247 w 20000"/>
                  <a:gd name="T37" fmla="*/ 14917 h 20000"/>
                  <a:gd name="T38" fmla="*/ 8934 w 20000"/>
                  <a:gd name="T39" fmla="*/ 15477 h 20000"/>
                  <a:gd name="T40" fmla="*/ 9841 w 20000"/>
                  <a:gd name="T41" fmla="*/ 16411 h 20000"/>
                  <a:gd name="T42" fmla="*/ 9388 w 20000"/>
                  <a:gd name="T43" fmla="*/ 17822 h 20000"/>
                  <a:gd name="T44" fmla="*/ 6349 w 20000"/>
                  <a:gd name="T45" fmla="*/ 19108 h 20000"/>
                  <a:gd name="T46" fmla="*/ 5850 w 20000"/>
                  <a:gd name="T47" fmla="*/ 19544 h 20000"/>
                  <a:gd name="T48" fmla="*/ 3991 w 20000"/>
                  <a:gd name="T49" fmla="*/ 19979 h 20000"/>
                  <a:gd name="T50" fmla="*/ 2812 w 20000"/>
                  <a:gd name="T51" fmla="*/ 18900 h 20000"/>
                  <a:gd name="T52" fmla="*/ 3265 w 20000"/>
                  <a:gd name="T53" fmla="*/ 18568 h 20000"/>
                  <a:gd name="T54" fmla="*/ 1859 w 20000"/>
                  <a:gd name="T55" fmla="*/ 17178 h 20000"/>
                  <a:gd name="T56" fmla="*/ 952 w 20000"/>
                  <a:gd name="T57" fmla="*/ 15996 h 20000"/>
                  <a:gd name="T58" fmla="*/ 0 w 20000"/>
                  <a:gd name="T59" fmla="*/ 15021 h 20000"/>
                  <a:gd name="T60" fmla="*/ 952 w 20000"/>
                  <a:gd name="T61" fmla="*/ 14066 h 20000"/>
                  <a:gd name="T62" fmla="*/ 2132 w 20000"/>
                  <a:gd name="T63" fmla="*/ 13734 h 20000"/>
                  <a:gd name="T64" fmla="*/ 1859 w 20000"/>
                  <a:gd name="T65" fmla="*/ 12137 h 20000"/>
                  <a:gd name="T66" fmla="*/ 2132 w 20000"/>
                  <a:gd name="T67" fmla="*/ 11286 h 20000"/>
                  <a:gd name="T68" fmla="*/ 952 w 20000"/>
                  <a:gd name="T69" fmla="*/ 9336 h 20000"/>
                  <a:gd name="T70" fmla="*/ 952 w 20000"/>
                  <a:gd name="T71" fmla="*/ 8154 h 20000"/>
                  <a:gd name="T72" fmla="*/ 4444 w 20000"/>
                  <a:gd name="T73" fmla="*/ 7635 h 20000"/>
                  <a:gd name="T74" fmla="*/ 3719 w 20000"/>
                  <a:gd name="T75" fmla="*/ 6784 h 20000"/>
                  <a:gd name="T76" fmla="*/ 4943 w 20000"/>
                  <a:gd name="T77" fmla="*/ 4295 h 20000"/>
                  <a:gd name="T78" fmla="*/ 7029 w 20000"/>
                  <a:gd name="T79" fmla="*/ 2905 h 20000"/>
                  <a:gd name="T80" fmla="*/ 7710 w 20000"/>
                  <a:gd name="T81" fmla="*/ 1950 h 20000"/>
                  <a:gd name="T82" fmla="*/ 9841 w 20000"/>
                  <a:gd name="T83" fmla="*/ 1494 h 20000"/>
                  <a:gd name="T84" fmla="*/ 10113 w 20000"/>
                  <a:gd name="T85" fmla="*/ 643 h 20000"/>
                  <a:gd name="T86" fmla="*/ 13152 w 20000"/>
                  <a:gd name="T87" fmla="*/ 851 h 20000"/>
                  <a:gd name="T88" fmla="*/ 12698 w 20000"/>
                  <a:gd name="T8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3651" y="0"/>
                    </a:moveTo>
                    <a:lnTo>
                      <a:pt x="14785" y="539"/>
                    </a:lnTo>
                    <a:lnTo>
                      <a:pt x="16190" y="851"/>
                    </a:lnTo>
                    <a:lnTo>
                      <a:pt x="17370" y="851"/>
                    </a:lnTo>
                    <a:lnTo>
                      <a:pt x="18549" y="1411"/>
                    </a:lnTo>
                    <a:lnTo>
                      <a:pt x="18549" y="2033"/>
                    </a:lnTo>
                    <a:lnTo>
                      <a:pt x="19229" y="2261"/>
                    </a:lnTo>
                    <a:lnTo>
                      <a:pt x="18776" y="2469"/>
                    </a:lnTo>
                    <a:lnTo>
                      <a:pt x="18776" y="2593"/>
                    </a:lnTo>
                    <a:lnTo>
                      <a:pt x="19683" y="2905"/>
                    </a:lnTo>
                    <a:lnTo>
                      <a:pt x="19229" y="3776"/>
                    </a:lnTo>
                    <a:lnTo>
                      <a:pt x="19683" y="4191"/>
                    </a:lnTo>
                    <a:lnTo>
                      <a:pt x="19955" y="4502"/>
                    </a:lnTo>
                    <a:lnTo>
                      <a:pt x="18549" y="4502"/>
                    </a:lnTo>
                    <a:lnTo>
                      <a:pt x="18549" y="4710"/>
                    </a:lnTo>
                    <a:lnTo>
                      <a:pt x="16916" y="4502"/>
                    </a:lnTo>
                    <a:lnTo>
                      <a:pt x="16689" y="5166"/>
                    </a:lnTo>
                    <a:lnTo>
                      <a:pt x="15692" y="5373"/>
                    </a:lnTo>
                    <a:lnTo>
                      <a:pt x="16190" y="5602"/>
                    </a:lnTo>
                    <a:lnTo>
                      <a:pt x="15692" y="6017"/>
                    </a:lnTo>
                    <a:lnTo>
                      <a:pt x="15510" y="6452"/>
                    </a:lnTo>
                    <a:lnTo>
                      <a:pt x="15692" y="6535"/>
                    </a:lnTo>
                    <a:lnTo>
                      <a:pt x="16190" y="6784"/>
                    </a:lnTo>
                    <a:lnTo>
                      <a:pt x="15510" y="7303"/>
                    </a:lnTo>
                    <a:lnTo>
                      <a:pt x="15011" y="7842"/>
                    </a:lnTo>
                    <a:lnTo>
                      <a:pt x="14785" y="7946"/>
                    </a:lnTo>
                    <a:lnTo>
                      <a:pt x="13651" y="8278"/>
                    </a:lnTo>
                    <a:lnTo>
                      <a:pt x="13152" y="8154"/>
                    </a:lnTo>
                    <a:lnTo>
                      <a:pt x="13152" y="8278"/>
                    </a:lnTo>
                    <a:lnTo>
                      <a:pt x="12698" y="8485"/>
                    </a:lnTo>
                    <a:lnTo>
                      <a:pt x="12426" y="8817"/>
                    </a:lnTo>
                    <a:lnTo>
                      <a:pt x="11701" y="8817"/>
                    </a:lnTo>
                    <a:lnTo>
                      <a:pt x="11247" y="9232"/>
                    </a:lnTo>
                    <a:lnTo>
                      <a:pt x="11701" y="9336"/>
                    </a:lnTo>
                    <a:lnTo>
                      <a:pt x="11247" y="9336"/>
                    </a:lnTo>
                    <a:lnTo>
                      <a:pt x="10794" y="9336"/>
                    </a:lnTo>
                    <a:lnTo>
                      <a:pt x="10794" y="9876"/>
                    </a:lnTo>
                    <a:lnTo>
                      <a:pt x="10567" y="9876"/>
                    </a:lnTo>
                    <a:lnTo>
                      <a:pt x="10113" y="9876"/>
                    </a:lnTo>
                    <a:lnTo>
                      <a:pt x="10113" y="10104"/>
                    </a:lnTo>
                    <a:lnTo>
                      <a:pt x="10113" y="10415"/>
                    </a:lnTo>
                    <a:lnTo>
                      <a:pt x="10113" y="10954"/>
                    </a:lnTo>
                    <a:lnTo>
                      <a:pt x="10113" y="11058"/>
                    </a:lnTo>
                    <a:lnTo>
                      <a:pt x="9841" y="11058"/>
                    </a:lnTo>
                    <a:lnTo>
                      <a:pt x="9841" y="11494"/>
                    </a:lnTo>
                    <a:lnTo>
                      <a:pt x="9841" y="11909"/>
                    </a:lnTo>
                    <a:lnTo>
                      <a:pt x="10567" y="12676"/>
                    </a:lnTo>
                    <a:lnTo>
                      <a:pt x="10794" y="12780"/>
                    </a:lnTo>
                    <a:lnTo>
                      <a:pt x="11247" y="12676"/>
                    </a:lnTo>
                    <a:lnTo>
                      <a:pt x="11973" y="13195"/>
                    </a:lnTo>
                    <a:lnTo>
                      <a:pt x="12698" y="13320"/>
                    </a:lnTo>
                    <a:lnTo>
                      <a:pt x="13152" y="13859"/>
                    </a:lnTo>
                    <a:lnTo>
                      <a:pt x="11973" y="14378"/>
                    </a:lnTo>
                    <a:lnTo>
                      <a:pt x="12426" y="14710"/>
                    </a:lnTo>
                    <a:lnTo>
                      <a:pt x="11701" y="14917"/>
                    </a:lnTo>
                    <a:lnTo>
                      <a:pt x="11701" y="15021"/>
                    </a:lnTo>
                    <a:lnTo>
                      <a:pt x="11247" y="14917"/>
                    </a:lnTo>
                    <a:lnTo>
                      <a:pt x="10567" y="15228"/>
                    </a:lnTo>
                    <a:lnTo>
                      <a:pt x="9841" y="15477"/>
                    </a:lnTo>
                    <a:lnTo>
                      <a:pt x="8934" y="15477"/>
                    </a:lnTo>
                    <a:lnTo>
                      <a:pt x="9841" y="15560"/>
                    </a:lnTo>
                    <a:lnTo>
                      <a:pt x="9841" y="16100"/>
                    </a:lnTo>
                    <a:lnTo>
                      <a:pt x="9841" y="16411"/>
                    </a:lnTo>
                    <a:lnTo>
                      <a:pt x="9388" y="16639"/>
                    </a:lnTo>
                    <a:lnTo>
                      <a:pt x="9841" y="16846"/>
                    </a:lnTo>
                    <a:lnTo>
                      <a:pt x="9388" y="17822"/>
                    </a:lnTo>
                    <a:lnTo>
                      <a:pt x="8707" y="18900"/>
                    </a:lnTo>
                    <a:lnTo>
                      <a:pt x="6803" y="18900"/>
                    </a:lnTo>
                    <a:lnTo>
                      <a:pt x="6349" y="19108"/>
                    </a:lnTo>
                    <a:lnTo>
                      <a:pt x="5669" y="19212"/>
                    </a:lnTo>
                    <a:lnTo>
                      <a:pt x="5669" y="19419"/>
                    </a:lnTo>
                    <a:lnTo>
                      <a:pt x="5850" y="19544"/>
                    </a:lnTo>
                    <a:lnTo>
                      <a:pt x="5669" y="19979"/>
                    </a:lnTo>
                    <a:lnTo>
                      <a:pt x="4943" y="19979"/>
                    </a:lnTo>
                    <a:lnTo>
                      <a:pt x="3991" y="19979"/>
                    </a:lnTo>
                    <a:lnTo>
                      <a:pt x="3719" y="19979"/>
                    </a:lnTo>
                    <a:lnTo>
                      <a:pt x="3719" y="19419"/>
                    </a:lnTo>
                    <a:lnTo>
                      <a:pt x="2812" y="18900"/>
                    </a:lnTo>
                    <a:lnTo>
                      <a:pt x="3265" y="18672"/>
                    </a:lnTo>
                    <a:lnTo>
                      <a:pt x="2812" y="18568"/>
                    </a:lnTo>
                    <a:lnTo>
                      <a:pt x="3265" y="18568"/>
                    </a:lnTo>
                    <a:lnTo>
                      <a:pt x="3265" y="18237"/>
                    </a:lnTo>
                    <a:lnTo>
                      <a:pt x="2585" y="17822"/>
                    </a:lnTo>
                    <a:lnTo>
                      <a:pt x="1859" y="17178"/>
                    </a:lnTo>
                    <a:lnTo>
                      <a:pt x="952" y="16639"/>
                    </a:lnTo>
                    <a:lnTo>
                      <a:pt x="1406" y="16328"/>
                    </a:lnTo>
                    <a:lnTo>
                      <a:pt x="952" y="15996"/>
                    </a:lnTo>
                    <a:lnTo>
                      <a:pt x="726" y="16100"/>
                    </a:lnTo>
                    <a:lnTo>
                      <a:pt x="272" y="15788"/>
                    </a:lnTo>
                    <a:lnTo>
                      <a:pt x="0" y="15021"/>
                    </a:lnTo>
                    <a:lnTo>
                      <a:pt x="0" y="14917"/>
                    </a:lnTo>
                    <a:lnTo>
                      <a:pt x="952" y="15021"/>
                    </a:lnTo>
                    <a:lnTo>
                      <a:pt x="952" y="14066"/>
                    </a:lnTo>
                    <a:lnTo>
                      <a:pt x="1406" y="13859"/>
                    </a:lnTo>
                    <a:lnTo>
                      <a:pt x="1406" y="13734"/>
                    </a:lnTo>
                    <a:lnTo>
                      <a:pt x="2132" y="13734"/>
                    </a:lnTo>
                    <a:lnTo>
                      <a:pt x="2585" y="13195"/>
                    </a:lnTo>
                    <a:lnTo>
                      <a:pt x="2585" y="12780"/>
                    </a:lnTo>
                    <a:lnTo>
                      <a:pt x="1859" y="12137"/>
                    </a:lnTo>
                    <a:lnTo>
                      <a:pt x="2585" y="11909"/>
                    </a:lnTo>
                    <a:lnTo>
                      <a:pt x="2812" y="11598"/>
                    </a:lnTo>
                    <a:lnTo>
                      <a:pt x="2132" y="11286"/>
                    </a:lnTo>
                    <a:lnTo>
                      <a:pt x="1859" y="11058"/>
                    </a:lnTo>
                    <a:lnTo>
                      <a:pt x="1406" y="10104"/>
                    </a:lnTo>
                    <a:lnTo>
                      <a:pt x="952" y="9336"/>
                    </a:lnTo>
                    <a:lnTo>
                      <a:pt x="1406" y="9025"/>
                    </a:lnTo>
                    <a:lnTo>
                      <a:pt x="952" y="8693"/>
                    </a:lnTo>
                    <a:lnTo>
                      <a:pt x="952" y="8154"/>
                    </a:lnTo>
                    <a:lnTo>
                      <a:pt x="2132" y="7635"/>
                    </a:lnTo>
                    <a:lnTo>
                      <a:pt x="2812" y="7407"/>
                    </a:lnTo>
                    <a:lnTo>
                      <a:pt x="4444" y="7635"/>
                    </a:lnTo>
                    <a:lnTo>
                      <a:pt x="4444" y="7095"/>
                    </a:lnTo>
                    <a:lnTo>
                      <a:pt x="4444" y="6992"/>
                    </a:lnTo>
                    <a:lnTo>
                      <a:pt x="3719" y="6784"/>
                    </a:lnTo>
                    <a:lnTo>
                      <a:pt x="4444" y="6017"/>
                    </a:lnTo>
                    <a:lnTo>
                      <a:pt x="4943" y="5373"/>
                    </a:lnTo>
                    <a:lnTo>
                      <a:pt x="4943" y="4295"/>
                    </a:lnTo>
                    <a:lnTo>
                      <a:pt x="5850" y="3983"/>
                    </a:lnTo>
                    <a:lnTo>
                      <a:pt x="5850" y="3651"/>
                    </a:lnTo>
                    <a:lnTo>
                      <a:pt x="7029" y="2905"/>
                    </a:lnTo>
                    <a:lnTo>
                      <a:pt x="7528" y="2801"/>
                    </a:lnTo>
                    <a:lnTo>
                      <a:pt x="7029" y="2261"/>
                    </a:lnTo>
                    <a:lnTo>
                      <a:pt x="7710" y="1950"/>
                    </a:lnTo>
                    <a:lnTo>
                      <a:pt x="7710" y="1494"/>
                    </a:lnTo>
                    <a:lnTo>
                      <a:pt x="8707" y="1411"/>
                    </a:lnTo>
                    <a:lnTo>
                      <a:pt x="9841" y="1494"/>
                    </a:lnTo>
                    <a:lnTo>
                      <a:pt x="9841" y="1183"/>
                    </a:lnTo>
                    <a:lnTo>
                      <a:pt x="9841" y="851"/>
                    </a:lnTo>
                    <a:lnTo>
                      <a:pt x="10113" y="643"/>
                    </a:lnTo>
                    <a:lnTo>
                      <a:pt x="11247" y="851"/>
                    </a:lnTo>
                    <a:lnTo>
                      <a:pt x="12698" y="1079"/>
                    </a:lnTo>
                    <a:lnTo>
                      <a:pt x="13152" y="851"/>
                    </a:lnTo>
                    <a:lnTo>
                      <a:pt x="12698" y="643"/>
                    </a:lnTo>
                    <a:lnTo>
                      <a:pt x="12698" y="332"/>
                    </a:lnTo>
                    <a:lnTo>
                      <a:pt x="12698" y="0"/>
                    </a:lnTo>
                    <a:lnTo>
                      <a:pt x="1365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89" name="Freeform 260"/>
              <p:cNvSpPr>
                <a:spLocks/>
              </p:cNvSpPr>
              <p:nvPr/>
            </p:nvSpPr>
            <p:spPr bwMode="auto">
              <a:xfrm>
                <a:off x="5440363" y="2587625"/>
                <a:ext cx="20637" cy="44450"/>
              </a:xfrm>
              <a:custGeom>
                <a:avLst/>
                <a:gdLst>
                  <a:gd name="T0" fmla="*/ 3750 w 20000"/>
                  <a:gd name="T1" fmla="*/ 19710 h 20000"/>
                  <a:gd name="T2" fmla="*/ 0 w 20000"/>
                  <a:gd name="T3" fmla="*/ 6087 h 20000"/>
                  <a:gd name="T4" fmla="*/ 9375 w 20000"/>
                  <a:gd name="T5" fmla="*/ 0 h 20000"/>
                  <a:gd name="T6" fmla="*/ 19375 w 20000"/>
                  <a:gd name="T7" fmla="*/ 0 h 20000"/>
                  <a:gd name="T8" fmla="*/ 16250 w 20000"/>
                  <a:gd name="T9" fmla="*/ 3188 h 20000"/>
                  <a:gd name="T10" fmla="*/ 16250 w 20000"/>
                  <a:gd name="T11" fmla="*/ 10725 h 20000"/>
                  <a:gd name="T12" fmla="*/ 16250 w 20000"/>
                  <a:gd name="T13" fmla="*/ 12174 h 20000"/>
                  <a:gd name="T14" fmla="*/ 3750 w 20000"/>
                  <a:gd name="T15" fmla="*/ 19710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3750" y="19710"/>
                    </a:moveTo>
                    <a:lnTo>
                      <a:pt x="0" y="6087"/>
                    </a:lnTo>
                    <a:lnTo>
                      <a:pt x="9375" y="0"/>
                    </a:lnTo>
                    <a:lnTo>
                      <a:pt x="19375" y="0"/>
                    </a:lnTo>
                    <a:lnTo>
                      <a:pt x="16250" y="3188"/>
                    </a:lnTo>
                    <a:lnTo>
                      <a:pt x="16250" y="10725"/>
                    </a:lnTo>
                    <a:lnTo>
                      <a:pt x="16250" y="12174"/>
                    </a:lnTo>
                    <a:lnTo>
                      <a:pt x="3750" y="197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0" name="Freeform 259"/>
              <p:cNvSpPr>
                <a:spLocks/>
              </p:cNvSpPr>
              <p:nvPr/>
            </p:nvSpPr>
            <p:spPr bwMode="auto">
              <a:xfrm>
                <a:off x="5403850" y="2611438"/>
                <a:ext cx="11113" cy="47625"/>
              </a:xfrm>
              <a:custGeom>
                <a:avLst/>
                <a:gdLst>
                  <a:gd name="T0" fmla="*/ 0 w 20000"/>
                  <a:gd name="T1" fmla="*/ 19730 h 20000"/>
                  <a:gd name="T2" fmla="*/ 0 w 20000"/>
                  <a:gd name="T3" fmla="*/ 14054 h 20000"/>
                  <a:gd name="T4" fmla="*/ 7059 w 20000"/>
                  <a:gd name="T5" fmla="*/ 7027 h 20000"/>
                  <a:gd name="T6" fmla="*/ 7059 w 20000"/>
                  <a:gd name="T7" fmla="*/ 1622 h 20000"/>
                  <a:gd name="T8" fmla="*/ 18824 w 20000"/>
                  <a:gd name="T9" fmla="*/ 0 h 20000"/>
                  <a:gd name="T10" fmla="*/ 7059 w 20000"/>
                  <a:gd name="T11" fmla="*/ 8378 h 20000"/>
                  <a:gd name="T12" fmla="*/ 0 w 20000"/>
                  <a:gd name="T13" fmla="*/ 19730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19730"/>
                    </a:moveTo>
                    <a:lnTo>
                      <a:pt x="0" y="14054"/>
                    </a:lnTo>
                    <a:lnTo>
                      <a:pt x="7059" y="7027"/>
                    </a:lnTo>
                    <a:lnTo>
                      <a:pt x="7059" y="1622"/>
                    </a:lnTo>
                    <a:lnTo>
                      <a:pt x="18824" y="0"/>
                    </a:lnTo>
                    <a:lnTo>
                      <a:pt x="7059" y="8378"/>
                    </a:lnTo>
                    <a:lnTo>
                      <a:pt x="0" y="197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1" name="Freeform 258"/>
              <p:cNvSpPr>
                <a:spLocks/>
              </p:cNvSpPr>
              <p:nvPr/>
            </p:nvSpPr>
            <p:spPr bwMode="auto">
              <a:xfrm>
                <a:off x="5360988" y="2698750"/>
                <a:ext cx="11112" cy="14288"/>
              </a:xfrm>
              <a:custGeom>
                <a:avLst/>
                <a:gdLst>
                  <a:gd name="T0" fmla="*/ 5882 w 20000"/>
                  <a:gd name="T1" fmla="*/ 19091 h 20000"/>
                  <a:gd name="T2" fmla="*/ 0 w 20000"/>
                  <a:gd name="T3" fmla="*/ 10000 h 20000"/>
                  <a:gd name="T4" fmla="*/ 0 w 20000"/>
                  <a:gd name="T5" fmla="*/ 0 h 20000"/>
                  <a:gd name="T6" fmla="*/ 18824 w 20000"/>
                  <a:gd name="T7" fmla="*/ 10000 h 20000"/>
                  <a:gd name="T8" fmla="*/ 5882 w 20000"/>
                  <a:gd name="T9" fmla="*/ 19091 h 20000"/>
                </a:gdLst>
                <a:ahLst/>
                <a:cxnLst>
                  <a:cxn ang="0">
                    <a:pos x="T0" y="T1"/>
                  </a:cxn>
                  <a:cxn ang="0">
                    <a:pos x="T2" y="T3"/>
                  </a:cxn>
                  <a:cxn ang="0">
                    <a:pos x="T4" y="T5"/>
                  </a:cxn>
                  <a:cxn ang="0">
                    <a:pos x="T6" y="T7"/>
                  </a:cxn>
                  <a:cxn ang="0">
                    <a:pos x="T8" y="T9"/>
                  </a:cxn>
                </a:cxnLst>
                <a:rect l="0" t="0" r="r" b="b"/>
                <a:pathLst>
                  <a:path w="20000" h="20000">
                    <a:moveTo>
                      <a:pt x="5882" y="19091"/>
                    </a:moveTo>
                    <a:lnTo>
                      <a:pt x="0" y="10000"/>
                    </a:lnTo>
                    <a:lnTo>
                      <a:pt x="0" y="0"/>
                    </a:lnTo>
                    <a:lnTo>
                      <a:pt x="18824" y="10000"/>
                    </a:lnTo>
                    <a:lnTo>
                      <a:pt x="5882" y="1909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2" name="Freeform 257"/>
              <p:cNvSpPr>
                <a:spLocks/>
              </p:cNvSpPr>
              <p:nvPr/>
            </p:nvSpPr>
            <p:spPr bwMode="auto">
              <a:xfrm>
                <a:off x="5153025" y="2981325"/>
                <a:ext cx="115888" cy="69850"/>
              </a:xfrm>
              <a:custGeom>
                <a:avLst/>
                <a:gdLst>
                  <a:gd name="T0" fmla="*/ 5137 w 20000"/>
                  <a:gd name="T1" fmla="*/ 2909 h 20000"/>
                  <a:gd name="T2" fmla="*/ 6230 w 20000"/>
                  <a:gd name="T3" fmla="*/ 2909 h 20000"/>
                  <a:gd name="T4" fmla="*/ 7432 w 20000"/>
                  <a:gd name="T5" fmla="*/ 2909 h 20000"/>
                  <a:gd name="T6" fmla="*/ 7978 w 20000"/>
                  <a:gd name="T7" fmla="*/ 2909 h 20000"/>
                  <a:gd name="T8" fmla="*/ 9071 w 20000"/>
                  <a:gd name="T9" fmla="*/ 2909 h 20000"/>
                  <a:gd name="T10" fmla="*/ 9617 w 20000"/>
                  <a:gd name="T11" fmla="*/ 2909 h 20000"/>
                  <a:gd name="T12" fmla="*/ 9617 w 20000"/>
                  <a:gd name="T13" fmla="*/ 2000 h 20000"/>
                  <a:gd name="T14" fmla="*/ 10710 w 20000"/>
                  <a:gd name="T15" fmla="*/ 0 h 20000"/>
                  <a:gd name="T16" fmla="*/ 11913 w 20000"/>
                  <a:gd name="T17" fmla="*/ 0 h 20000"/>
                  <a:gd name="T18" fmla="*/ 12459 w 20000"/>
                  <a:gd name="T19" fmla="*/ 0 h 20000"/>
                  <a:gd name="T20" fmla="*/ 12459 w 20000"/>
                  <a:gd name="T21" fmla="*/ 2000 h 20000"/>
                  <a:gd name="T22" fmla="*/ 13661 w 20000"/>
                  <a:gd name="T23" fmla="*/ 2000 h 20000"/>
                  <a:gd name="T24" fmla="*/ 14098 w 20000"/>
                  <a:gd name="T25" fmla="*/ 2000 h 20000"/>
                  <a:gd name="T26" fmla="*/ 15410 w 20000"/>
                  <a:gd name="T27" fmla="*/ 2000 h 20000"/>
                  <a:gd name="T28" fmla="*/ 16503 w 20000"/>
                  <a:gd name="T29" fmla="*/ 2909 h 20000"/>
                  <a:gd name="T30" fmla="*/ 15410 w 20000"/>
                  <a:gd name="T31" fmla="*/ 4909 h 20000"/>
                  <a:gd name="T32" fmla="*/ 15410 w 20000"/>
                  <a:gd name="T33" fmla="*/ 5636 h 20000"/>
                  <a:gd name="T34" fmla="*/ 16503 w 20000"/>
                  <a:gd name="T35" fmla="*/ 7636 h 20000"/>
                  <a:gd name="T36" fmla="*/ 16940 w 20000"/>
                  <a:gd name="T37" fmla="*/ 7636 h 20000"/>
                  <a:gd name="T38" fmla="*/ 16940 w 20000"/>
                  <a:gd name="T39" fmla="*/ 9455 h 20000"/>
                  <a:gd name="T40" fmla="*/ 18142 w 20000"/>
                  <a:gd name="T41" fmla="*/ 9455 h 20000"/>
                  <a:gd name="T42" fmla="*/ 19235 w 20000"/>
                  <a:gd name="T43" fmla="*/ 10545 h 20000"/>
                  <a:gd name="T44" fmla="*/ 19891 w 20000"/>
                  <a:gd name="T45" fmla="*/ 10545 h 20000"/>
                  <a:gd name="T46" fmla="*/ 19235 w 20000"/>
                  <a:gd name="T47" fmla="*/ 14182 h 20000"/>
                  <a:gd name="T48" fmla="*/ 18142 w 20000"/>
                  <a:gd name="T49" fmla="*/ 14182 h 20000"/>
                  <a:gd name="T50" fmla="*/ 18142 w 20000"/>
                  <a:gd name="T51" fmla="*/ 16909 h 20000"/>
                  <a:gd name="T52" fmla="*/ 16940 w 20000"/>
                  <a:gd name="T53" fmla="*/ 15091 h 20000"/>
                  <a:gd name="T54" fmla="*/ 16503 w 20000"/>
                  <a:gd name="T55" fmla="*/ 15091 h 20000"/>
                  <a:gd name="T56" fmla="*/ 15410 w 20000"/>
                  <a:gd name="T57" fmla="*/ 14182 h 20000"/>
                  <a:gd name="T58" fmla="*/ 14098 w 20000"/>
                  <a:gd name="T59" fmla="*/ 14182 h 20000"/>
                  <a:gd name="T60" fmla="*/ 14098 w 20000"/>
                  <a:gd name="T61" fmla="*/ 16909 h 20000"/>
                  <a:gd name="T62" fmla="*/ 13661 w 20000"/>
                  <a:gd name="T63" fmla="*/ 18000 h 20000"/>
                  <a:gd name="T64" fmla="*/ 9617 w 20000"/>
                  <a:gd name="T65" fmla="*/ 16909 h 20000"/>
                  <a:gd name="T66" fmla="*/ 7978 w 20000"/>
                  <a:gd name="T67" fmla="*/ 19818 h 20000"/>
                  <a:gd name="T68" fmla="*/ 7432 w 20000"/>
                  <a:gd name="T69" fmla="*/ 18000 h 20000"/>
                  <a:gd name="T70" fmla="*/ 4481 w 20000"/>
                  <a:gd name="T71" fmla="*/ 19818 h 20000"/>
                  <a:gd name="T72" fmla="*/ 3388 w 20000"/>
                  <a:gd name="T73" fmla="*/ 16909 h 20000"/>
                  <a:gd name="T74" fmla="*/ 1749 w 20000"/>
                  <a:gd name="T75" fmla="*/ 14182 h 20000"/>
                  <a:gd name="T76" fmla="*/ 0 w 20000"/>
                  <a:gd name="T77" fmla="*/ 15091 h 20000"/>
                  <a:gd name="T78" fmla="*/ 0 w 20000"/>
                  <a:gd name="T79" fmla="*/ 14182 h 20000"/>
                  <a:gd name="T80" fmla="*/ 1749 w 20000"/>
                  <a:gd name="T81" fmla="*/ 9455 h 20000"/>
                  <a:gd name="T82" fmla="*/ 3388 w 20000"/>
                  <a:gd name="T83" fmla="*/ 5636 h 20000"/>
                  <a:gd name="T84" fmla="*/ 3388 w 20000"/>
                  <a:gd name="T85" fmla="*/ 2909 h 20000"/>
                  <a:gd name="T86" fmla="*/ 5137 w 20000"/>
                  <a:gd name="T87" fmla="*/ 290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5137" y="2909"/>
                    </a:moveTo>
                    <a:lnTo>
                      <a:pt x="6230" y="2909"/>
                    </a:lnTo>
                    <a:lnTo>
                      <a:pt x="7432" y="2909"/>
                    </a:lnTo>
                    <a:lnTo>
                      <a:pt x="7978" y="2909"/>
                    </a:lnTo>
                    <a:lnTo>
                      <a:pt x="9071" y="2909"/>
                    </a:lnTo>
                    <a:lnTo>
                      <a:pt x="9617" y="2909"/>
                    </a:lnTo>
                    <a:lnTo>
                      <a:pt x="9617" y="2000"/>
                    </a:lnTo>
                    <a:lnTo>
                      <a:pt x="10710" y="0"/>
                    </a:lnTo>
                    <a:lnTo>
                      <a:pt x="11913" y="0"/>
                    </a:lnTo>
                    <a:lnTo>
                      <a:pt x="12459" y="0"/>
                    </a:lnTo>
                    <a:lnTo>
                      <a:pt x="12459" y="2000"/>
                    </a:lnTo>
                    <a:lnTo>
                      <a:pt x="13661" y="2000"/>
                    </a:lnTo>
                    <a:lnTo>
                      <a:pt x="14098" y="2000"/>
                    </a:lnTo>
                    <a:lnTo>
                      <a:pt x="15410" y="2000"/>
                    </a:lnTo>
                    <a:lnTo>
                      <a:pt x="16503" y="2909"/>
                    </a:lnTo>
                    <a:lnTo>
                      <a:pt x="15410" y="4909"/>
                    </a:lnTo>
                    <a:lnTo>
                      <a:pt x="15410" y="5636"/>
                    </a:lnTo>
                    <a:lnTo>
                      <a:pt x="16503" y="7636"/>
                    </a:lnTo>
                    <a:lnTo>
                      <a:pt x="16940" y="7636"/>
                    </a:lnTo>
                    <a:lnTo>
                      <a:pt x="16940" y="9455"/>
                    </a:lnTo>
                    <a:lnTo>
                      <a:pt x="18142" y="9455"/>
                    </a:lnTo>
                    <a:lnTo>
                      <a:pt x="19235" y="10545"/>
                    </a:lnTo>
                    <a:lnTo>
                      <a:pt x="19891" y="10545"/>
                    </a:lnTo>
                    <a:lnTo>
                      <a:pt x="19235" y="14182"/>
                    </a:lnTo>
                    <a:lnTo>
                      <a:pt x="18142" y="14182"/>
                    </a:lnTo>
                    <a:lnTo>
                      <a:pt x="18142" y="16909"/>
                    </a:lnTo>
                    <a:lnTo>
                      <a:pt x="16940" y="15091"/>
                    </a:lnTo>
                    <a:lnTo>
                      <a:pt x="16503" y="15091"/>
                    </a:lnTo>
                    <a:lnTo>
                      <a:pt x="15410" y="14182"/>
                    </a:lnTo>
                    <a:lnTo>
                      <a:pt x="14098" y="14182"/>
                    </a:lnTo>
                    <a:lnTo>
                      <a:pt x="14098" y="16909"/>
                    </a:lnTo>
                    <a:lnTo>
                      <a:pt x="13661" y="18000"/>
                    </a:lnTo>
                    <a:lnTo>
                      <a:pt x="9617" y="16909"/>
                    </a:lnTo>
                    <a:lnTo>
                      <a:pt x="7978" y="19818"/>
                    </a:lnTo>
                    <a:lnTo>
                      <a:pt x="7432" y="18000"/>
                    </a:lnTo>
                    <a:lnTo>
                      <a:pt x="4481" y="19818"/>
                    </a:lnTo>
                    <a:lnTo>
                      <a:pt x="3388" y="16909"/>
                    </a:lnTo>
                    <a:lnTo>
                      <a:pt x="1749" y="14182"/>
                    </a:lnTo>
                    <a:lnTo>
                      <a:pt x="0" y="15091"/>
                    </a:lnTo>
                    <a:lnTo>
                      <a:pt x="0" y="14182"/>
                    </a:lnTo>
                    <a:lnTo>
                      <a:pt x="1749" y="9455"/>
                    </a:lnTo>
                    <a:lnTo>
                      <a:pt x="3388" y="5636"/>
                    </a:lnTo>
                    <a:lnTo>
                      <a:pt x="3388" y="2909"/>
                    </a:lnTo>
                    <a:lnTo>
                      <a:pt x="5137" y="290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3" name="Freeform 256"/>
              <p:cNvSpPr>
                <a:spLocks/>
              </p:cNvSpPr>
              <p:nvPr/>
            </p:nvSpPr>
            <p:spPr bwMode="auto">
              <a:xfrm>
                <a:off x="4743450" y="3127375"/>
                <a:ext cx="336550" cy="260350"/>
              </a:xfrm>
              <a:custGeom>
                <a:avLst/>
                <a:gdLst>
                  <a:gd name="T0" fmla="*/ 12703 w 20000"/>
                  <a:gd name="T1" fmla="*/ 2005 h 20000"/>
                  <a:gd name="T2" fmla="*/ 15879 w 20000"/>
                  <a:gd name="T3" fmla="*/ 2787 h 20000"/>
                  <a:gd name="T4" fmla="*/ 16824 w 20000"/>
                  <a:gd name="T5" fmla="*/ 2787 h 20000"/>
                  <a:gd name="T6" fmla="*/ 18034 w 20000"/>
                  <a:gd name="T7" fmla="*/ 3276 h 20000"/>
                  <a:gd name="T8" fmla="*/ 19584 w 20000"/>
                  <a:gd name="T9" fmla="*/ 3276 h 20000"/>
                  <a:gd name="T10" fmla="*/ 19584 w 20000"/>
                  <a:gd name="T11" fmla="*/ 4010 h 20000"/>
                  <a:gd name="T12" fmla="*/ 18979 w 20000"/>
                  <a:gd name="T13" fmla="*/ 5575 h 20000"/>
                  <a:gd name="T14" fmla="*/ 16824 w 20000"/>
                  <a:gd name="T15" fmla="*/ 6797 h 20000"/>
                  <a:gd name="T16" fmla="*/ 15879 w 20000"/>
                  <a:gd name="T17" fmla="*/ 7286 h 20000"/>
                  <a:gd name="T18" fmla="*/ 15274 w 20000"/>
                  <a:gd name="T19" fmla="*/ 9340 h 20000"/>
                  <a:gd name="T20" fmla="*/ 14329 w 20000"/>
                  <a:gd name="T21" fmla="*/ 11589 h 20000"/>
                  <a:gd name="T22" fmla="*/ 14858 w 20000"/>
                  <a:gd name="T23" fmla="*/ 13399 h 20000"/>
                  <a:gd name="T24" fmla="*/ 13724 w 20000"/>
                  <a:gd name="T25" fmla="*/ 14670 h 20000"/>
                  <a:gd name="T26" fmla="*/ 13308 w 20000"/>
                  <a:gd name="T27" fmla="*/ 15892 h 20000"/>
                  <a:gd name="T28" fmla="*/ 12136 w 20000"/>
                  <a:gd name="T29" fmla="*/ 16186 h 20000"/>
                  <a:gd name="T30" fmla="*/ 11153 w 20000"/>
                  <a:gd name="T31" fmla="*/ 18191 h 20000"/>
                  <a:gd name="T32" fmla="*/ 10397 w 20000"/>
                  <a:gd name="T33" fmla="*/ 17946 h 20000"/>
                  <a:gd name="T34" fmla="*/ 9792 w 20000"/>
                  <a:gd name="T35" fmla="*/ 18191 h 20000"/>
                  <a:gd name="T36" fmla="*/ 8809 w 20000"/>
                  <a:gd name="T37" fmla="*/ 18191 h 20000"/>
                  <a:gd name="T38" fmla="*/ 7259 w 20000"/>
                  <a:gd name="T39" fmla="*/ 18680 h 20000"/>
                  <a:gd name="T40" fmla="*/ 5671 w 20000"/>
                  <a:gd name="T41" fmla="*/ 19951 h 20000"/>
                  <a:gd name="T42" fmla="*/ 4121 w 20000"/>
                  <a:gd name="T43" fmla="*/ 18191 h 20000"/>
                  <a:gd name="T44" fmla="*/ 3176 w 20000"/>
                  <a:gd name="T45" fmla="*/ 16968 h 20000"/>
                  <a:gd name="T46" fmla="*/ 2949 w 20000"/>
                  <a:gd name="T47" fmla="*/ 15403 h 20000"/>
                  <a:gd name="T48" fmla="*/ 3554 w 20000"/>
                  <a:gd name="T49" fmla="*/ 14181 h 20000"/>
                  <a:gd name="T50" fmla="*/ 3176 w 20000"/>
                  <a:gd name="T51" fmla="*/ 12665 h 20000"/>
                  <a:gd name="T52" fmla="*/ 2949 w 20000"/>
                  <a:gd name="T53" fmla="*/ 10611 h 20000"/>
                  <a:gd name="T54" fmla="*/ 3932 w 20000"/>
                  <a:gd name="T55" fmla="*/ 8606 h 20000"/>
                  <a:gd name="T56" fmla="*/ 4726 w 20000"/>
                  <a:gd name="T57" fmla="*/ 5575 h 20000"/>
                  <a:gd name="T58" fmla="*/ 3932 w 20000"/>
                  <a:gd name="T59" fmla="*/ 4792 h 20000"/>
                  <a:gd name="T60" fmla="*/ 2571 w 20000"/>
                  <a:gd name="T61" fmla="*/ 4792 h 20000"/>
                  <a:gd name="T62" fmla="*/ 1588 w 20000"/>
                  <a:gd name="T63" fmla="*/ 4010 h 20000"/>
                  <a:gd name="T64" fmla="*/ 605 w 20000"/>
                  <a:gd name="T65" fmla="*/ 4010 h 20000"/>
                  <a:gd name="T66" fmla="*/ 605 w 20000"/>
                  <a:gd name="T67" fmla="*/ 2787 h 20000"/>
                  <a:gd name="T68" fmla="*/ 416 w 20000"/>
                  <a:gd name="T69" fmla="*/ 2298 h 20000"/>
                  <a:gd name="T70" fmla="*/ 605 w 20000"/>
                  <a:gd name="T71" fmla="*/ 782 h 20000"/>
                  <a:gd name="T72" fmla="*/ 1588 w 20000"/>
                  <a:gd name="T73" fmla="*/ 196 h 20000"/>
                  <a:gd name="T74" fmla="*/ 2949 w 20000"/>
                  <a:gd name="T75" fmla="*/ 196 h 20000"/>
                  <a:gd name="T76" fmla="*/ 5482 w 20000"/>
                  <a:gd name="T77" fmla="*/ 196 h 20000"/>
                  <a:gd name="T78" fmla="*/ 8809 w 20000"/>
                  <a:gd name="T79" fmla="*/ 782 h 20000"/>
                  <a:gd name="T80" fmla="*/ 12136 w 20000"/>
                  <a:gd name="T81" fmla="*/ 78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12136" y="782"/>
                    </a:moveTo>
                    <a:lnTo>
                      <a:pt x="12703" y="2005"/>
                    </a:lnTo>
                    <a:lnTo>
                      <a:pt x="14858" y="2787"/>
                    </a:lnTo>
                    <a:lnTo>
                      <a:pt x="15879" y="2787"/>
                    </a:lnTo>
                    <a:lnTo>
                      <a:pt x="15879" y="2298"/>
                    </a:lnTo>
                    <a:lnTo>
                      <a:pt x="16824" y="2787"/>
                    </a:lnTo>
                    <a:lnTo>
                      <a:pt x="17429" y="3521"/>
                    </a:lnTo>
                    <a:lnTo>
                      <a:pt x="18034" y="3276"/>
                    </a:lnTo>
                    <a:lnTo>
                      <a:pt x="18979" y="3521"/>
                    </a:lnTo>
                    <a:lnTo>
                      <a:pt x="19584" y="3276"/>
                    </a:lnTo>
                    <a:lnTo>
                      <a:pt x="19962" y="3521"/>
                    </a:lnTo>
                    <a:lnTo>
                      <a:pt x="19584" y="4010"/>
                    </a:lnTo>
                    <a:lnTo>
                      <a:pt x="19584" y="4792"/>
                    </a:lnTo>
                    <a:lnTo>
                      <a:pt x="18979" y="5575"/>
                    </a:lnTo>
                    <a:lnTo>
                      <a:pt x="18034" y="6797"/>
                    </a:lnTo>
                    <a:lnTo>
                      <a:pt x="16824" y="6797"/>
                    </a:lnTo>
                    <a:lnTo>
                      <a:pt x="16257" y="7286"/>
                    </a:lnTo>
                    <a:lnTo>
                      <a:pt x="15879" y="7286"/>
                    </a:lnTo>
                    <a:lnTo>
                      <a:pt x="15879" y="8606"/>
                    </a:lnTo>
                    <a:lnTo>
                      <a:pt x="15274" y="9340"/>
                    </a:lnTo>
                    <a:lnTo>
                      <a:pt x="13913" y="10856"/>
                    </a:lnTo>
                    <a:lnTo>
                      <a:pt x="14329" y="11589"/>
                    </a:lnTo>
                    <a:lnTo>
                      <a:pt x="14858" y="12861"/>
                    </a:lnTo>
                    <a:lnTo>
                      <a:pt x="14858" y="13399"/>
                    </a:lnTo>
                    <a:lnTo>
                      <a:pt x="14329" y="13888"/>
                    </a:lnTo>
                    <a:lnTo>
                      <a:pt x="13724" y="14670"/>
                    </a:lnTo>
                    <a:lnTo>
                      <a:pt x="13308" y="15403"/>
                    </a:lnTo>
                    <a:lnTo>
                      <a:pt x="13308" y="15892"/>
                    </a:lnTo>
                    <a:lnTo>
                      <a:pt x="12930" y="16186"/>
                    </a:lnTo>
                    <a:lnTo>
                      <a:pt x="12136" y="16186"/>
                    </a:lnTo>
                    <a:lnTo>
                      <a:pt x="11380" y="16968"/>
                    </a:lnTo>
                    <a:lnTo>
                      <a:pt x="11153" y="18191"/>
                    </a:lnTo>
                    <a:lnTo>
                      <a:pt x="10775" y="17946"/>
                    </a:lnTo>
                    <a:lnTo>
                      <a:pt x="10397" y="17946"/>
                    </a:lnTo>
                    <a:lnTo>
                      <a:pt x="10208" y="18191"/>
                    </a:lnTo>
                    <a:lnTo>
                      <a:pt x="9792" y="18191"/>
                    </a:lnTo>
                    <a:lnTo>
                      <a:pt x="9225" y="18191"/>
                    </a:lnTo>
                    <a:lnTo>
                      <a:pt x="8809" y="18191"/>
                    </a:lnTo>
                    <a:lnTo>
                      <a:pt x="8053" y="18191"/>
                    </a:lnTo>
                    <a:lnTo>
                      <a:pt x="7259" y="18680"/>
                    </a:lnTo>
                    <a:lnTo>
                      <a:pt x="6654" y="18680"/>
                    </a:lnTo>
                    <a:lnTo>
                      <a:pt x="5671" y="19951"/>
                    </a:lnTo>
                    <a:lnTo>
                      <a:pt x="4499" y="19218"/>
                    </a:lnTo>
                    <a:lnTo>
                      <a:pt x="4121" y="18191"/>
                    </a:lnTo>
                    <a:lnTo>
                      <a:pt x="4121" y="17457"/>
                    </a:lnTo>
                    <a:lnTo>
                      <a:pt x="3176" y="16968"/>
                    </a:lnTo>
                    <a:lnTo>
                      <a:pt x="2949" y="16968"/>
                    </a:lnTo>
                    <a:lnTo>
                      <a:pt x="2949" y="15403"/>
                    </a:lnTo>
                    <a:lnTo>
                      <a:pt x="3554" y="14670"/>
                    </a:lnTo>
                    <a:lnTo>
                      <a:pt x="3554" y="14181"/>
                    </a:lnTo>
                    <a:lnTo>
                      <a:pt x="3176" y="13399"/>
                    </a:lnTo>
                    <a:lnTo>
                      <a:pt x="3176" y="12665"/>
                    </a:lnTo>
                    <a:lnTo>
                      <a:pt x="3176" y="12176"/>
                    </a:lnTo>
                    <a:lnTo>
                      <a:pt x="2949" y="10611"/>
                    </a:lnTo>
                    <a:lnTo>
                      <a:pt x="3554" y="10611"/>
                    </a:lnTo>
                    <a:lnTo>
                      <a:pt x="3932" y="8606"/>
                    </a:lnTo>
                    <a:lnTo>
                      <a:pt x="3932" y="7286"/>
                    </a:lnTo>
                    <a:lnTo>
                      <a:pt x="4726" y="5575"/>
                    </a:lnTo>
                    <a:lnTo>
                      <a:pt x="4499" y="5281"/>
                    </a:lnTo>
                    <a:lnTo>
                      <a:pt x="3932" y="4792"/>
                    </a:lnTo>
                    <a:lnTo>
                      <a:pt x="3176" y="4792"/>
                    </a:lnTo>
                    <a:lnTo>
                      <a:pt x="2571" y="4792"/>
                    </a:lnTo>
                    <a:lnTo>
                      <a:pt x="1966" y="4792"/>
                    </a:lnTo>
                    <a:lnTo>
                      <a:pt x="1588" y="4010"/>
                    </a:lnTo>
                    <a:lnTo>
                      <a:pt x="1021" y="4303"/>
                    </a:lnTo>
                    <a:lnTo>
                      <a:pt x="605" y="4010"/>
                    </a:lnTo>
                    <a:lnTo>
                      <a:pt x="1021" y="3521"/>
                    </a:lnTo>
                    <a:lnTo>
                      <a:pt x="605" y="2787"/>
                    </a:lnTo>
                    <a:lnTo>
                      <a:pt x="416" y="2787"/>
                    </a:lnTo>
                    <a:lnTo>
                      <a:pt x="416" y="2298"/>
                    </a:lnTo>
                    <a:lnTo>
                      <a:pt x="0" y="978"/>
                    </a:lnTo>
                    <a:lnTo>
                      <a:pt x="605" y="782"/>
                    </a:lnTo>
                    <a:lnTo>
                      <a:pt x="1588" y="782"/>
                    </a:lnTo>
                    <a:lnTo>
                      <a:pt x="1588" y="196"/>
                    </a:lnTo>
                    <a:lnTo>
                      <a:pt x="2155" y="0"/>
                    </a:lnTo>
                    <a:lnTo>
                      <a:pt x="2949" y="196"/>
                    </a:lnTo>
                    <a:lnTo>
                      <a:pt x="4499" y="196"/>
                    </a:lnTo>
                    <a:lnTo>
                      <a:pt x="5482" y="196"/>
                    </a:lnTo>
                    <a:lnTo>
                      <a:pt x="7070" y="782"/>
                    </a:lnTo>
                    <a:lnTo>
                      <a:pt x="8809" y="782"/>
                    </a:lnTo>
                    <a:lnTo>
                      <a:pt x="10397" y="782"/>
                    </a:lnTo>
                    <a:lnTo>
                      <a:pt x="12136" y="7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4" name="Freeform 255"/>
              <p:cNvSpPr>
                <a:spLocks/>
              </p:cNvSpPr>
              <p:nvPr/>
            </p:nvSpPr>
            <p:spPr bwMode="auto">
              <a:xfrm>
                <a:off x="5054600" y="3257550"/>
                <a:ext cx="30163" cy="20638"/>
              </a:xfrm>
              <a:custGeom>
                <a:avLst/>
                <a:gdLst>
                  <a:gd name="T0" fmla="*/ 10833 w 20000"/>
                  <a:gd name="T1" fmla="*/ 19375 h 20000"/>
                  <a:gd name="T2" fmla="*/ 8333 w 20000"/>
                  <a:gd name="T3" fmla="*/ 16250 h 20000"/>
                  <a:gd name="T4" fmla="*/ 8333 w 20000"/>
                  <a:gd name="T5" fmla="*/ 9375 h 20000"/>
                  <a:gd name="T6" fmla="*/ 0 w 20000"/>
                  <a:gd name="T7" fmla="*/ 9375 h 20000"/>
                  <a:gd name="T8" fmla="*/ 10833 w 20000"/>
                  <a:gd name="T9" fmla="*/ 0 h 20000"/>
                  <a:gd name="T10" fmla="*/ 10833 w 20000"/>
                  <a:gd name="T11" fmla="*/ 6875 h 20000"/>
                  <a:gd name="T12" fmla="*/ 19583 w 20000"/>
                  <a:gd name="T13" fmla="*/ 6875 h 20000"/>
                  <a:gd name="T14" fmla="*/ 15000 w 20000"/>
                  <a:gd name="T15" fmla="*/ 9375 h 20000"/>
                  <a:gd name="T16" fmla="*/ 10833 w 20000"/>
                  <a:gd name="T17"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0833" y="19375"/>
                    </a:moveTo>
                    <a:lnTo>
                      <a:pt x="8333" y="16250"/>
                    </a:lnTo>
                    <a:lnTo>
                      <a:pt x="8333" y="9375"/>
                    </a:lnTo>
                    <a:lnTo>
                      <a:pt x="0" y="9375"/>
                    </a:lnTo>
                    <a:lnTo>
                      <a:pt x="10833" y="0"/>
                    </a:lnTo>
                    <a:lnTo>
                      <a:pt x="10833" y="6875"/>
                    </a:lnTo>
                    <a:lnTo>
                      <a:pt x="19583" y="6875"/>
                    </a:lnTo>
                    <a:lnTo>
                      <a:pt x="15000" y="9375"/>
                    </a:lnTo>
                    <a:lnTo>
                      <a:pt x="10833"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5" name="Freeform 254"/>
              <p:cNvSpPr>
                <a:spLocks/>
              </p:cNvSpPr>
              <p:nvPr/>
            </p:nvSpPr>
            <p:spPr bwMode="auto">
              <a:xfrm>
                <a:off x="5087938" y="3251200"/>
                <a:ext cx="11112" cy="6350"/>
              </a:xfrm>
              <a:custGeom>
                <a:avLst/>
                <a:gdLst>
                  <a:gd name="T0" fmla="*/ 18824 w 20000"/>
                  <a:gd name="T1" fmla="*/ 18182 h 20000"/>
                  <a:gd name="T2" fmla="*/ 0 w 20000"/>
                  <a:gd name="T3" fmla="*/ 0 h 20000"/>
                  <a:gd name="T4" fmla="*/ 18824 w 20000"/>
                  <a:gd name="T5" fmla="*/ 0 h 20000"/>
                  <a:gd name="T6" fmla="*/ 18824 w 20000"/>
                  <a:gd name="T7" fmla="*/ 18182 h 20000"/>
                </a:gdLst>
                <a:ahLst/>
                <a:cxnLst>
                  <a:cxn ang="0">
                    <a:pos x="T0" y="T1"/>
                  </a:cxn>
                  <a:cxn ang="0">
                    <a:pos x="T2" y="T3"/>
                  </a:cxn>
                  <a:cxn ang="0">
                    <a:pos x="T4" y="T5"/>
                  </a:cxn>
                  <a:cxn ang="0">
                    <a:pos x="T6" y="T7"/>
                  </a:cxn>
                </a:cxnLst>
                <a:rect l="0" t="0" r="r" b="b"/>
                <a:pathLst>
                  <a:path w="20000" h="20000">
                    <a:moveTo>
                      <a:pt x="18824" y="18182"/>
                    </a:moveTo>
                    <a:lnTo>
                      <a:pt x="0" y="0"/>
                    </a:lnTo>
                    <a:lnTo>
                      <a:pt x="18824" y="0"/>
                    </a:lnTo>
                    <a:lnTo>
                      <a:pt x="18824" y="181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6" name="Freeform 253"/>
              <p:cNvSpPr>
                <a:spLocks/>
              </p:cNvSpPr>
              <p:nvPr/>
            </p:nvSpPr>
            <p:spPr bwMode="auto">
              <a:xfrm>
                <a:off x="5019675" y="3284538"/>
                <a:ext cx="11113" cy="9525"/>
              </a:xfrm>
              <a:custGeom>
                <a:avLst/>
                <a:gdLst>
                  <a:gd name="T0" fmla="*/ 18824 w 20000"/>
                  <a:gd name="T1" fmla="*/ 18750 h 20000"/>
                  <a:gd name="T2" fmla="*/ 0 w 20000"/>
                  <a:gd name="T3" fmla="*/ 12500 h 20000"/>
                  <a:gd name="T4" fmla="*/ 18824 w 20000"/>
                  <a:gd name="T5" fmla="*/ 0 h 20000"/>
                  <a:gd name="T6" fmla="*/ 18824 w 20000"/>
                  <a:gd name="T7" fmla="*/ 18750 h 20000"/>
                </a:gdLst>
                <a:ahLst/>
                <a:cxnLst>
                  <a:cxn ang="0">
                    <a:pos x="T0" y="T1"/>
                  </a:cxn>
                  <a:cxn ang="0">
                    <a:pos x="T2" y="T3"/>
                  </a:cxn>
                  <a:cxn ang="0">
                    <a:pos x="T4" y="T5"/>
                  </a:cxn>
                  <a:cxn ang="0">
                    <a:pos x="T6" y="T7"/>
                  </a:cxn>
                </a:cxnLst>
                <a:rect l="0" t="0" r="r" b="b"/>
                <a:pathLst>
                  <a:path w="20000" h="20000">
                    <a:moveTo>
                      <a:pt x="18824" y="18750"/>
                    </a:moveTo>
                    <a:lnTo>
                      <a:pt x="0" y="12500"/>
                    </a:lnTo>
                    <a:lnTo>
                      <a:pt x="18824" y="0"/>
                    </a:lnTo>
                    <a:lnTo>
                      <a:pt x="18824" y="1875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7" name="Freeform 252"/>
              <p:cNvSpPr>
                <a:spLocks/>
              </p:cNvSpPr>
              <p:nvPr/>
            </p:nvSpPr>
            <p:spPr bwMode="auto">
              <a:xfrm>
                <a:off x="5026025" y="3162300"/>
                <a:ext cx="20638" cy="11113"/>
              </a:xfrm>
              <a:custGeom>
                <a:avLst/>
                <a:gdLst>
                  <a:gd name="T0" fmla="*/ 0 w 20000"/>
                  <a:gd name="T1" fmla="*/ 0 h 20000"/>
                  <a:gd name="T2" fmla="*/ 9375 w 20000"/>
                  <a:gd name="T3" fmla="*/ 18824 h 20000"/>
                  <a:gd name="T4" fmla="*/ 19375 w 20000"/>
                  <a:gd name="T5" fmla="*/ 11765 h 20000"/>
                  <a:gd name="T6" fmla="*/ 0 w 20000"/>
                  <a:gd name="T7" fmla="*/ 0 h 20000"/>
                </a:gdLst>
                <a:ahLst/>
                <a:cxnLst>
                  <a:cxn ang="0">
                    <a:pos x="T0" y="T1"/>
                  </a:cxn>
                  <a:cxn ang="0">
                    <a:pos x="T2" y="T3"/>
                  </a:cxn>
                  <a:cxn ang="0">
                    <a:pos x="T4" y="T5"/>
                  </a:cxn>
                  <a:cxn ang="0">
                    <a:pos x="T6" y="T7"/>
                  </a:cxn>
                </a:cxnLst>
                <a:rect l="0" t="0" r="r" b="b"/>
                <a:pathLst>
                  <a:path w="20000" h="20000">
                    <a:moveTo>
                      <a:pt x="0" y="0"/>
                    </a:moveTo>
                    <a:lnTo>
                      <a:pt x="9375" y="18824"/>
                    </a:lnTo>
                    <a:lnTo>
                      <a:pt x="19375" y="11765"/>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8" name="Freeform 251"/>
              <p:cNvSpPr>
                <a:spLocks/>
              </p:cNvSpPr>
              <p:nvPr/>
            </p:nvSpPr>
            <p:spPr bwMode="auto">
              <a:xfrm>
                <a:off x="5689600" y="3179763"/>
                <a:ext cx="517525" cy="207962"/>
              </a:xfrm>
              <a:custGeom>
                <a:avLst/>
                <a:gdLst>
                  <a:gd name="T0" fmla="*/ 1031 w 20000"/>
                  <a:gd name="T1" fmla="*/ 0 h 20000"/>
                  <a:gd name="T2" fmla="*/ 1767 w 20000"/>
                  <a:gd name="T3" fmla="*/ 367 h 20000"/>
                  <a:gd name="T4" fmla="*/ 2822 w 20000"/>
                  <a:gd name="T5" fmla="*/ 2875 h 20000"/>
                  <a:gd name="T6" fmla="*/ 4074 w 20000"/>
                  <a:gd name="T7" fmla="*/ 2875 h 20000"/>
                  <a:gd name="T8" fmla="*/ 5080 w 20000"/>
                  <a:gd name="T9" fmla="*/ 3486 h 20000"/>
                  <a:gd name="T10" fmla="*/ 5988 w 20000"/>
                  <a:gd name="T11" fmla="*/ 1896 h 20000"/>
                  <a:gd name="T12" fmla="*/ 7387 w 20000"/>
                  <a:gd name="T13" fmla="*/ 367 h 20000"/>
                  <a:gd name="T14" fmla="*/ 8785 w 20000"/>
                  <a:gd name="T15" fmla="*/ 0 h 20000"/>
                  <a:gd name="T16" fmla="*/ 9031 w 20000"/>
                  <a:gd name="T17" fmla="*/ 367 h 20000"/>
                  <a:gd name="T18" fmla="*/ 10037 w 20000"/>
                  <a:gd name="T19" fmla="*/ 1590 h 20000"/>
                  <a:gd name="T20" fmla="*/ 10699 w 20000"/>
                  <a:gd name="T21" fmla="*/ 1896 h 20000"/>
                  <a:gd name="T22" fmla="*/ 11706 w 20000"/>
                  <a:gd name="T23" fmla="*/ 3486 h 20000"/>
                  <a:gd name="T24" fmla="*/ 12344 w 20000"/>
                  <a:gd name="T25" fmla="*/ 3486 h 20000"/>
                  <a:gd name="T26" fmla="*/ 13988 w 20000"/>
                  <a:gd name="T27" fmla="*/ 3486 h 20000"/>
                  <a:gd name="T28" fmla="*/ 15755 w 20000"/>
                  <a:gd name="T29" fmla="*/ 1590 h 20000"/>
                  <a:gd name="T30" fmla="*/ 18061 w 20000"/>
                  <a:gd name="T31" fmla="*/ 2508 h 20000"/>
                  <a:gd name="T32" fmla="*/ 18307 w 20000"/>
                  <a:gd name="T33" fmla="*/ 5994 h 20000"/>
                  <a:gd name="T34" fmla="*/ 18822 w 20000"/>
                  <a:gd name="T35" fmla="*/ 8257 h 20000"/>
                  <a:gd name="T36" fmla="*/ 19460 w 20000"/>
                  <a:gd name="T37" fmla="*/ 12355 h 20000"/>
                  <a:gd name="T38" fmla="*/ 19706 w 20000"/>
                  <a:gd name="T39" fmla="*/ 14251 h 20000"/>
                  <a:gd name="T40" fmla="*/ 19460 w 20000"/>
                  <a:gd name="T41" fmla="*/ 15841 h 20000"/>
                  <a:gd name="T42" fmla="*/ 17816 w 20000"/>
                  <a:gd name="T43" fmla="*/ 14862 h 20000"/>
                  <a:gd name="T44" fmla="*/ 17055 w 20000"/>
                  <a:gd name="T45" fmla="*/ 15229 h 20000"/>
                  <a:gd name="T46" fmla="*/ 16147 w 20000"/>
                  <a:gd name="T47" fmla="*/ 15841 h 20000"/>
                  <a:gd name="T48" fmla="*/ 14748 w 20000"/>
                  <a:gd name="T49" fmla="*/ 17431 h 20000"/>
                  <a:gd name="T50" fmla="*/ 13104 w 20000"/>
                  <a:gd name="T51" fmla="*/ 16820 h 20000"/>
                  <a:gd name="T52" fmla="*/ 11951 w 20000"/>
                  <a:gd name="T53" fmla="*/ 17431 h 20000"/>
                  <a:gd name="T54" fmla="*/ 11436 w 20000"/>
                  <a:gd name="T55" fmla="*/ 16820 h 20000"/>
                  <a:gd name="T56" fmla="*/ 11436 w 20000"/>
                  <a:gd name="T57" fmla="*/ 19021 h 20000"/>
                  <a:gd name="T58" fmla="*/ 10798 w 20000"/>
                  <a:gd name="T59" fmla="*/ 19939 h 20000"/>
                  <a:gd name="T60" fmla="*/ 10429 w 20000"/>
                  <a:gd name="T61" fmla="*/ 18349 h 20000"/>
                  <a:gd name="T62" fmla="*/ 10699 w 20000"/>
                  <a:gd name="T63" fmla="*/ 16820 h 20000"/>
                  <a:gd name="T64" fmla="*/ 9031 w 20000"/>
                  <a:gd name="T65" fmla="*/ 16820 h 20000"/>
                  <a:gd name="T66" fmla="*/ 7387 w 20000"/>
                  <a:gd name="T67" fmla="*/ 19327 h 20000"/>
                  <a:gd name="T68" fmla="*/ 6626 w 20000"/>
                  <a:gd name="T69" fmla="*/ 18349 h 20000"/>
                  <a:gd name="T70" fmla="*/ 4982 w 20000"/>
                  <a:gd name="T71" fmla="*/ 17431 h 20000"/>
                  <a:gd name="T72" fmla="*/ 4712 w 20000"/>
                  <a:gd name="T73" fmla="*/ 19021 h 20000"/>
                  <a:gd name="T74" fmla="*/ 3436 w 20000"/>
                  <a:gd name="T75" fmla="*/ 19021 h 20000"/>
                  <a:gd name="T76" fmla="*/ 2675 w 20000"/>
                  <a:gd name="T77" fmla="*/ 17431 h 20000"/>
                  <a:gd name="T78" fmla="*/ 2307 w 20000"/>
                  <a:gd name="T79" fmla="*/ 17737 h 20000"/>
                  <a:gd name="T80" fmla="*/ 1669 w 20000"/>
                  <a:gd name="T81" fmla="*/ 17431 h 20000"/>
                  <a:gd name="T82" fmla="*/ 1399 w 20000"/>
                  <a:gd name="T83" fmla="*/ 16820 h 20000"/>
                  <a:gd name="T84" fmla="*/ 1669 w 20000"/>
                  <a:gd name="T85" fmla="*/ 16208 h 20000"/>
                  <a:gd name="T86" fmla="*/ 1276 w 20000"/>
                  <a:gd name="T87" fmla="*/ 15841 h 20000"/>
                  <a:gd name="T88" fmla="*/ 1276 w 20000"/>
                  <a:gd name="T89" fmla="*/ 13639 h 20000"/>
                  <a:gd name="T90" fmla="*/ 147 w 20000"/>
                  <a:gd name="T91" fmla="*/ 12722 h 20000"/>
                  <a:gd name="T92" fmla="*/ 147 w 20000"/>
                  <a:gd name="T93" fmla="*/ 11743 h 20000"/>
                  <a:gd name="T94" fmla="*/ 663 w 20000"/>
                  <a:gd name="T95" fmla="*/ 12355 h 20000"/>
                  <a:gd name="T96" fmla="*/ 761 w 20000"/>
                  <a:gd name="T97" fmla="*/ 11743 h 20000"/>
                  <a:gd name="T98" fmla="*/ 761 w 20000"/>
                  <a:gd name="T99" fmla="*/ 10765 h 20000"/>
                  <a:gd name="T100" fmla="*/ 761 w 20000"/>
                  <a:gd name="T101" fmla="*/ 8563 h 20000"/>
                  <a:gd name="T102" fmla="*/ 0 w 20000"/>
                  <a:gd name="T103" fmla="*/ 6972 h 20000"/>
                  <a:gd name="T104" fmla="*/ 1031 w 20000"/>
                  <a:gd name="T105" fmla="*/ 5749 h 20000"/>
                  <a:gd name="T106" fmla="*/ 1669 w 20000"/>
                  <a:gd name="T107" fmla="*/ 5749 h 20000"/>
                  <a:gd name="T108" fmla="*/ 2061 w 20000"/>
                  <a:gd name="T109" fmla="*/ 5749 h 20000"/>
                  <a:gd name="T110" fmla="*/ 2822 w 20000"/>
                  <a:gd name="T111" fmla="*/ 5076 h 20000"/>
                  <a:gd name="T112" fmla="*/ 3313 w 20000"/>
                  <a:gd name="T113" fmla="*/ 4098 h 20000"/>
                  <a:gd name="T114" fmla="*/ 1276 w 20000"/>
                  <a:gd name="T115" fmla="*/ 4098 h 20000"/>
                  <a:gd name="T116" fmla="*/ 393 w 20000"/>
                  <a:gd name="T117" fmla="*/ 5749 h 20000"/>
                  <a:gd name="T118" fmla="*/ 0 w 20000"/>
                  <a:gd name="T119" fmla="*/ 5749 h 20000"/>
                  <a:gd name="T120" fmla="*/ 0 w 20000"/>
                  <a:gd name="T121" fmla="*/ 4465 h 20000"/>
                  <a:gd name="T122" fmla="*/ 393 w 20000"/>
                  <a:gd name="T123" fmla="*/ 2875 h 20000"/>
                  <a:gd name="T124" fmla="*/ 663 w 20000"/>
                  <a:gd name="T125" fmla="*/ 189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47" y="979"/>
                    </a:moveTo>
                    <a:lnTo>
                      <a:pt x="1031" y="0"/>
                    </a:lnTo>
                    <a:lnTo>
                      <a:pt x="1399" y="367"/>
                    </a:lnTo>
                    <a:lnTo>
                      <a:pt x="1767" y="367"/>
                    </a:lnTo>
                    <a:lnTo>
                      <a:pt x="1669" y="1590"/>
                    </a:lnTo>
                    <a:lnTo>
                      <a:pt x="2822" y="2875"/>
                    </a:lnTo>
                    <a:lnTo>
                      <a:pt x="3951" y="2875"/>
                    </a:lnTo>
                    <a:lnTo>
                      <a:pt x="4074" y="2875"/>
                    </a:lnTo>
                    <a:lnTo>
                      <a:pt x="4466" y="3486"/>
                    </a:lnTo>
                    <a:lnTo>
                      <a:pt x="5080" y="3486"/>
                    </a:lnTo>
                    <a:lnTo>
                      <a:pt x="5325" y="2508"/>
                    </a:lnTo>
                    <a:lnTo>
                      <a:pt x="5988" y="1896"/>
                    </a:lnTo>
                    <a:lnTo>
                      <a:pt x="6626" y="979"/>
                    </a:lnTo>
                    <a:lnTo>
                      <a:pt x="7387" y="367"/>
                    </a:lnTo>
                    <a:lnTo>
                      <a:pt x="8785" y="367"/>
                    </a:lnTo>
                    <a:lnTo>
                      <a:pt x="8785" y="0"/>
                    </a:lnTo>
                    <a:lnTo>
                      <a:pt x="9031" y="0"/>
                    </a:lnTo>
                    <a:lnTo>
                      <a:pt x="9031" y="367"/>
                    </a:lnTo>
                    <a:lnTo>
                      <a:pt x="9669" y="1590"/>
                    </a:lnTo>
                    <a:lnTo>
                      <a:pt x="10037" y="1590"/>
                    </a:lnTo>
                    <a:lnTo>
                      <a:pt x="10699" y="2508"/>
                    </a:lnTo>
                    <a:lnTo>
                      <a:pt x="10699" y="1896"/>
                    </a:lnTo>
                    <a:lnTo>
                      <a:pt x="10798" y="2508"/>
                    </a:lnTo>
                    <a:lnTo>
                      <a:pt x="11706" y="3486"/>
                    </a:lnTo>
                    <a:lnTo>
                      <a:pt x="11951" y="2875"/>
                    </a:lnTo>
                    <a:lnTo>
                      <a:pt x="12344" y="3486"/>
                    </a:lnTo>
                    <a:lnTo>
                      <a:pt x="13497" y="2875"/>
                    </a:lnTo>
                    <a:lnTo>
                      <a:pt x="13988" y="3486"/>
                    </a:lnTo>
                    <a:lnTo>
                      <a:pt x="15018" y="2875"/>
                    </a:lnTo>
                    <a:lnTo>
                      <a:pt x="15755" y="1590"/>
                    </a:lnTo>
                    <a:lnTo>
                      <a:pt x="17301" y="979"/>
                    </a:lnTo>
                    <a:lnTo>
                      <a:pt x="18061" y="2508"/>
                    </a:lnTo>
                    <a:lnTo>
                      <a:pt x="18307" y="4098"/>
                    </a:lnTo>
                    <a:lnTo>
                      <a:pt x="18307" y="5994"/>
                    </a:lnTo>
                    <a:lnTo>
                      <a:pt x="19337" y="6972"/>
                    </a:lnTo>
                    <a:lnTo>
                      <a:pt x="18822" y="8257"/>
                    </a:lnTo>
                    <a:lnTo>
                      <a:pt x="19337" y="10765"/>
                    </a:lnTo>
                    <a:lnTo>
                      <a:pt x="19460" y="12355"/>
                    </a:lnTo>
                    <a:lnTo>
                      <a:pt x="19460" y="12722"/>
                    </a:lnTo>
                    <a:lnTo>
                      <a:pt x="19706" y="14251"/>
                    </a:lnTo>
                    <a:lnTo>
                      <a:pt x="19975" y="15841"/>
                    </a:lnTo>
                    <a:lnTo>
                      <a:pt x="19460" y="15841"/>
                    </a:lnTo>
                    <a:lnTo>
                      <a:pt x="18429" y="15229"/>
                    </a:lnTo>
                    <a:lnTo>
                      <a:pt x="17816" y="14862"/>
                    </a:lnTo>
                    <a:lnTo>
                      <a:pt x="17301" y="15841"/>
                    </a:lnTo>
                    <a:lnTo>
                      <a:pt x="17055" y="15229"/>
                    </a:lnTo>
                    <a:lnTo>
                      <a:pt x="16663" y="15841"/>
                    </a:lnTo>
                    <a:lnTo>
                      <a:pt x="16147" y="15841"/>
                    </a:lnTo>
                    <a:lnTo>
                      <a:pt x="15656" y="15841"/>
                    </a:lnTo>
                    <a:lnTo>
                      <a:pt x="14748" y="17431"/>
                    </a:lnTo>
                    <a:lnTo>
                      <a:pt x="13988" y="17431"/>
                    </a:lnTo>
                    <a:lnTo>
                      <a:pt x="13104" y="16820"/>
                    </a:lnTo>
                    <a:lnTo>
                      <a:pt x="12466" y="17431"/>
                    </a:lnTo>
                    <a:lnTo>
                      <a:pt x="11951" y="17431"/>
                    </a:lnTo>
                    <a:lnTo>
                      <a:pt x="11706" y="16820"/>
                    </a:lnTo>
                    <a:lnTo>
                      <a:pt x="11436" y="16820"/>
                    </a:lnTo>
                    <a:lnTo>
                      <a:pt x="11436" y="18349"/>
                    </a:lnTo>
                    <a:lnTo>
                      <a:pt x="11436" y="19021"/>
                    </a:lnTo>
                    <a:lnTo>
                      <a:pt x="11337" y="19327"/>
                    </a:lnTo>
                    <a:lnTo>
                      <a:pt x="10798" y="19939"/>
                    </a:lnTo>
                    <a:lnTo>
                      <a:pt x="10699" y="19327"/>
                    </a:lnTo>
                    <a:lnTo>
                      <a:pt x="10429" y="18349"/>
                    </a:lnTo>
                    <a:lnTo>
                      <a:pt x="10699" y="17431"/>
                    </a:lnTo>
                    <a:lnTo>
                      <a:pt x="10699" y="16820"/>
                    </a:lnTo>
                    <a:lnTo>
                      <a:pt x="10037" y="17737"/>
                    </a:lnTo>
                    <a:lnTo>
                      <a:pt x="9031" y="16820"/>
                    </a:lnTo>
                    <a:lnTo>
                      <a:pt x="8393" y="19021"/>
                    </a:lnTo>
                    <a:lnTo>
                      <a:pt x="7387" y="19327"/>
                    </a:lnTo>
                    <a:lnTo>
                      <a:pt x="6748" y="19327"/>
                    </a:lnTo>
                    <a:lnTo>
                      <a:pt x="6626" y="18349"/>
                    </a:lnTo>
                    <a:lnTo>
                      <a:pt x="5472" y="17431"/>
                    </a:lnTo>
                    <a:lnTo>
                      <a:pt x="4982" y="17431"/>
                    </a:lnTo>
                    <a:lnTo>
                      <a:pt x="4982" y="19021"/>
                    </a:lnTo>
                    <a:lnTo>
                      <a:pt x="4712" y="19021"/>
                    </a:lnTo>
                    <a:lnTo>
                      <a:pt x="4074" y="19327"/>
                    </a:lnTo>
                    <a:lnTo>
                      <a:pt x="3436" y="19021"/>
                    </a:lnTo>
                    <a:lnTo>
                      <a:pt x="3313" y="17737"/>
                    </a:lnTo>
                    <a:lnTo>
                      <a:pt x="2675" y="17431"/>
                    </a:lnTo>
                    <a:lnTo>
                      <a:pt x="2429" y="17431"/>
                    </a:lnTo>
                    <a:lnTo>
                      <a:pt x="2307" y="17737"/>
                    </a:lnTo>
                    <a:lnTo>
                      <a:pt x="1669" y="17737"/>
                    </a:lnTo>
                    <a:lnTo>
                      <a:pt x="1669" y="17431"/>
                    </a:lnTo>
                    <a:lnTo>
                      <a:pt x="2429" y="16820"/>
                    </a:lnTo>
                    <a:lnTo>
                      <a:pt x="1399" y="16820"/>
                    </a:lnTo>
                    <a:lnTo>
                      <a:pt x="1276" y="16208"/>
                    </a:lnTo>
                    <a:lnTo>
                      <a:pt x="1669" y="16208"/>
                    </a:lnTo>
                    <a:lnTo>
                      <a:pt x="1669" y="15841"/>
                    </a:lnTo>
                    <a:lnTo>
                      <a:pt x="1276" y="15841"/>
                    </a:lnTo>
                    <a:lnTo>
                      <a:pt x="1276" y="14862"/>
                    </a:lnTo>
                    <a:lnTo>
                      <a:pt x="1276" y="13639"/>
                    </a:lnTo>
                    <a:lnTo>
                      <a:pt x="761" y="12722"/>
                    </a:lnTo>
                    <a:lnTo>
                      <a:pt x="147" y="12722"/>
                    </a:lnTo>
                    <a:lnTo>
                      <a:pt x="393" y="12355"/>
                    </a:lnTo>
                    <a:lnTo>
                      <a:pt x="147" y="11743"/>
                    </a:lnTo>
                    <a:lnTo>
                      <a:pt x="393" y="11743"/>
                    </a:lnTo>
                    <a:lnTo>
                      <a:pt x="663" y="12355"/>
                    </a:lnTo>
                    <a:lnTo>
                      <a:pt x="1031" y="12355"/>
                    </a:lnTo>
                    <a:lnTo>
                      <a:pt x="761" y="11743"/>
                    </a:lnTo>
                    <a:lnTo>
                      <a:pt x="1031" y="10765"/>
                    </a:lnTo>
                    <a:lnTo>
                      <a:pt x="761" y="10765"/>
                    </a:lnTo>
                    <a:lnTo>
                      <a:pt x="663" y="9480"/>
                    </a:lnTo>
                    <a:lnTo>
                      <a:pt x="761" y="8563"/>
                    </a:lnTo>
                    <a:lnTo>
                      <a:pt x="0" y="8563"/>
                    </a:lnTo>
                    <a:lnTo>
                      <a:pt x="0" y="6972"/>
                    </a:lnTo>
                    <a:lnTo>
                      <a:pt x="663" y="5994"/>
                    </a:lnTo>
                    <a:lnTo>
                      <a:pt x="1031" y="5749"/>
                    </a:lnTo>
                    <a:lnTo>
                      <a:pt x="1669" y="5994"/>
                    </a:lnTo>
                    <a:lnTo>
                      <a:pt x="1669" y="5749"/>
                    </a:lnTo>
                    <a:lnTo>
                      <a:pt x="1767" y="5076"/>
                    </a:lnTo>
                    <a:lnTo>
                      <a:pt x="2061" y="5749"/>
                    </a:lnTo>
                    <a:lnTo>
                      <a:pt x="2822" y="5749"/>
                    </a:lnTo>
                    <a:lnTo>
                      <a:pt x="2822" y="5076"/>
                    </a:lnTo>
                    <a:lnTo>
                      <a:pt x="3706" y="4098"/>
                    </a:lnTo>
                    <a:lnTo>
                      <a:pt x="3313" y="4098"/>
                    </a:lnTo>
                    <a:lnTo>
                      <a:pt x="2307" y="3486"/>
                    </a:lnTo>
                    <a:lnTo>
                      <a:pt x="1276" y="4098"/>
                    </a:lnTo>
                    <a:lnTo>
                      <a:pt x="1031" y="4465"/>
                    </a:lnTo>
                    <a:lnTo>
                      <a:pt x="393" y="5749"/>
                    </a:lnTo>
                    <a:lnTo>
                      <a:pt x="0" y="6606"/>
                    </a:lnTo>
                    <a:lnTo>
                      <a:pt x="0" y="5749"/>
                    </a:lnTo>
                    <a:lnTo>
                      <a:pt x="393" y="4465"/>
                    </a:lnTo>
                    <a:lnTo>
                      <a:pt x="0" y="4465"/>
                    </a:lnTo>
                    <a:lnTo>
                      <a:pt x="393" y="4098"/>
                    </a:lnTo>
                    <a:lnTo>
                      <a:pt x="393" y="2875"/>
                    </a:lnTo>
                    <a:lnTo>
                      <a:pt x="663" y="2508"/>
                    </a:lnTo>
                    <a:lnTo>
                      <a:pt x="663" y="1896"/>
                    </a:lnTo>
                    <a:lnTo>
                      <a:pt x="147" y="97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999" name="Freeform 250"/>
              <p:cNvSpPr>
                <a:spLocks/>
              </p:cNvSpPr>
              <p:nvPr/>
            </p:nvSpPr>
            <p:spPr bwMode="auto">
              <a:xfrm>
                <a:off x="5416550" y="2955925"/>
                <a:ext cx="171450" cy="103188"/>
              </a:xfrm>
              <a:custGeom>
                <a:avLst/>
                <a:gdLst>
                  <a:gd name="T0" fmla="*/ 17630 w 20000"/>
                  <a:gd name="T1" fmla="*/ 1358 h 20000"/>
                  <a:gd name="T2" fmla="*/ 19926 w 20000"/>
                  <a:gd name="T3" fmla="*/ 3333 h 20000"/>
                  <a:gd name="T4" fmla="*/ 19185 w 20000"/>
                  <a:gd name="T5" fmla="*/ 3827 h 20000"/>
                  <a:gd name="T6" fmla="*/ 18000 w 20000"/>
                  <a:gd name="T7" fmla="*/ 5062 h 20000"/>
                  <a:gd name="T8" fmla="*/ 16889 w 20000"/>
                  <a:gd name="T9" fmla="*/ 7037 h 20000"/>
                  <a:gd name="T10" fmla="*/ 16148 w 20000"/>
                  <a:gd name="T11" fmla="*/ 11605 h 20000"/>
                  <a:gd name="T12" fmla="*/ 15704 w 20000"/>
                  <a:gd name="T13" fmla="*/ 13457 h 20000"/>
                  <a:gd name="T14" fmla="*/ 15704 w 20000"/>
                  <a:gd name="T15" fmla="*/ 14815 h 20000"/>
                  <a:gd name="T16" fmla="*/ 14519 w 20000"/>
                  <a:gd name="T17" fmla="*/ 15432 h 20000"/>
                  <a:gd name="T18" fmla="*/ 14519 w 20000"/>
                  <a:gd name="T19" fmla="*/ 16667 h 20000"/>
                  <a:gd name="T20" fmla="*/ 13037 w 20000"/>
                  <a:gd name="T21" fmla="*/ 16667 h 20000"/>
                  <a:gd name="T22" fmla="*/ 10741 w 20000"/>
                  <a:gd name="T23" fmla="*/ 16667 h 20000"/>
                  <a:gd name="T24" fmla="*/ 10000 w 20000"/>
                  <a:gd name="T25" fmla="*/ 17407 h 20000"/>
                  <a:gd name="T26" fmla="*/ 7704 w 20000"/>
                  <a:gd name="T27" fmla="*/ 17407 h 20000"/>
                  <a:gd name="T28" fmla="*/ 6889 w 20000"/>
                  <a:gd name="T29" fmla="*/ 18642 h 20000"/>
                  <a:gd name="T30" fmla="*/ 6519 w 20000"/>
                  <a:gd name="T31" fmla="*/ 19877 h 20000"/>
                  <a:gd name="T32" fmla="*/ 3778 w 20000"/>
                  <a:gd name="T33" fmla="*/ 18642 h 20000"/>
                  <a:gd name="T34" fmla="*/ 1926 w 20000"/>
                  <a:gd name="T35" fmla="*/ 16667 h 20000"/>
                  <a:gd name="T36" fmla="*/ 1481 w 20000"/>
                  <a:gd name="T37" fmla="*/ 16667 h 20000"/>
                  <a:gd name="T38" fmla="*/ 1481 w 20000"/>
                  <a:gd name="T39" fmla="*/ 14815 h 20000"/>
                  <a:gd name="T40" fmla="*/ 741 w 20000"/>
                  <a:gd name="T41" fmla="*/ 13457 h 20000"/>
                  <a:gd name="T42" fmla="*/ 741 w 20000"/>
                  <a:gd name="T43" fmla="*/ 11605 h 20000"/>
                  <a:gd name="T44" fmla="*/ 741 w 20000"/>
                  <a:gd name="T45" fmla="*/ 7037 h 20000"/>
                  <a:gd name="T46" fmla="*/ 0 w 20000"/>
                  <a:gd name="T47" fmla="*/ 6543 h 20000"/>
                  <a:gd name="T48" fmla="*/ 741 w 20000"/>
                  <a:gd name="T49" fmla="*/ 6543 h 20000"/>
                  <a:gd name="T50" fmla="*/ 1926 w 20000"/>
                  <a:gd name="T51" fmla="*/ 6543 h 20000"/>
                  <a:gd name="T52" fmla="*/ 2667 w 20000"/>
                  <a:gd name="T53" fmla="*/ 5062 h 20000"/>
                  <a:gd name="T54" fmla="*/ 2667 w 20000"/>
                  <a:gd name="T55" fmla="*/ 3827 h 20000"/>
                  <a:gd name="T56" fmla="*/ 3037 w 20000"/>
                  <a:gd name="T57" fmla="*/ 5062 h 20000"/>
                  <a:gd name="T58" fmla="*/ 5704 w 20000"/>
                  <a:gd name="T59" fmla="*/ 6543 h 20000"/>
                  <a:gd name="T60" fmla="*/ 7704 w 20000"/>
                  <a:gd name="T61" fmla="*/ 3827 h 20000"/>
                  <a:gd name="T62" fmla="*/ 10000 w 20000"/>
                  <a:gd name="T63" fmla="*/ 1975 h 20000"/>
                  <a:gd name="T64" fmla="*/ 10741 w 20000"/>
                  <a:gd name="T65" fmla="*/ 1975 h 20000"/>
                  <a:gd name="T66" fmla="*/ 13037 w 20000"/>
                  <a:gd name="T67" fmla="*/ 0 h 20000"/>
                  <a:gd name="T68" fmla="*/ 13778 w 20000"/>
                  <a:gd name="T69" fmla="*/ 0 h 20000"/>
                  <a:gd name="T70" fmla="*/ 15704 w 20000"/>
                  <a:gd name="T71" fmla="*/ 0 h 20000"/>
                  <a:gd name="T72" fmla="*/ 16148 w 20000"/>
                  <a:gd name="T73" fmla="*/ 1358 h 20000"/>
                  <a:gd name="T74" fmla="*/ 17630 w 20000"/>
                  <a:gd name="T75" fmla="*/ 135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17630" y="1358"/>
                    </a:moveTo>
                    <a:lnTo>
                      <a:pt x="19926" y="3333"/>
                    </a:lnTo>
                    <a:lnTo>
                      <a:pt x="19185" y="3827"/>
                    </a:lnTo>
                    <a:lnTo>
                      <a:pt x="18000" y="5062"/>
                    </a:lnTo>
                    <a:lnTo>
                      <a:pt x="16889" y="7037"/>
                    </a:lnTo>
                    <a:lnTo>
                      <a:pt x="16148" y="11605"/>
                    </a:lnTo>
                    <a:lnTo>
                      <a:pt x="15704" y="13457"/>
                    </a:lnTo>
                    <a:lnTo>
                      <a:pt x="15704" y="14815"/>
                    </a:lnTo>
                    <a:lnTo>
                      <a:pt x="14519" y="15432"/>
                    </a:lnTo>
                    <a:lnTo>
                      <a:pt x="14519" y="16667"/>
                    </a:lnTo>
                    <a:lnTo>
                      <a:pt x="13037" y="16667"/>
                    </a:lnTo>
                    <a:lnTo>
                      <a:pt x="10741" y="16667"/>
                    </a:lnTo>
                    <a:lnTo>
                      <a:pt x="10000" y="17407"/>
                    </a:lnTo>
                    <a:lnTo>
                      <a:pt x="7704" y="17407"/>
                    </a:lnTo>
                    <a:lnTo>
                      <a:pt x="6889" y="18642"/>
                    </a:lnTo>
                    <a:lnTo>
                      <a:pt x="6519" y="19877"/>
                    </a:lnTo>
                    <a:lnTo>
                      <a:pt x="3778" y="18642"/>
                    </a:lnTo>
                    <a:lnTo>
                      <a:pt x="1926" y="16667"/>
                    </a:lnTo>
                    <a:lnTo>
                      <a:pt x="1481" y="16667"/>
                    </a:lnTo>
                    <a:lnTo>
                      <a:pt x="1481" y="14815"/>
                    </a:lnTo>
                    <a:lnTo>
                      <a:pt x="741" y="13457"/>
                    </a:lnTo>
                    <a:lnTo>
                      <a:pt x="741" y="11605"/>
                    </a:lnTo>
                    <a:lnTo>
                      <a:pt x="741" y="7037"/>
                    </a:lnTo>
                    <a:lnTo>
                      <a:pt x="0" y="6543"/>
                    </a:lnTo>
                    <a:lnTo>
                      <a:pt x="741" y="6543"/>
                    </a:lnTo>
                    <a:lnTo>
                      <a:pt x="1926" y="6543"/>
                    </a:lnTo>
                    <a:lnTo>
                      <a:pt x="2667" y="5062"/>
                    </a:lnTo>
                    <a:lnTo>
                      <a:pt x="2667" y="3827"/>
                    </a:lnTo>
                    <a:lnTo>
                      <a:pt x="3037" y="5062"/>
                    </a:lnTo>
                    <a:lnTo>
                      <a:pt x="5704" y="6543"/>
                    </a:lnTo>
                    <a:lnTo>
                      <a:pt x="7704" y="3827"/>
                    </a:lnTo>
                    <a:lnTo>
                      <a:pt x="10000" y="1975"/>
                    </a:lnTo>
                    <a:lnTo>
                      <a:pt x="10741" y="1975"/>
                    </a:lnTo>
                    <a:lnTo>
                      <a:pt x="13037" y="0"/>
                    </a:lnTo>
                    <a:lnTo>
                      <a:pt x="13778" y="0"/>
                    </a:lnTo>
                    <a:lnTo>
                      <a:pt x="15704" y="0"/>
                    </a:lnTo>
                    <a:lnTo>
                      <a:pt x="16148" y="1358"/>
                    </a:lnTo>
                    <a:lnTo>
                      <a:pt x="17630" y="135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0" name="Freeform 249"/>
              <p:cNvSpPr>
                <a:spLocks/>
              </p:cNvSpPr>
              <p:nvPr/>
            </p:nvSpPr>
            <p:spPr bwMode="auto">
              <a:xfrm>
                <a:off x="5864225" y="3395663"/>
                <a:ext cx="60325" cy="36512"/>
              </a:xfrm>
              <a:custGeom>
                <a:avLst/>
                <a:gdLst>
                  <a:gd name="T0" fmla="*/ 7660 w 20000"/>
                  <a:gd name="T1" fmla="*/ 19655 h 20000"/>
                  <a:gd name="T2" fmla="*/ 2128 w 20000"/>
                  <a:gd name="T3" fmla="*/ 17931 h 20000"/>
                  <a:gd name="T4" fmla="*/ 0 w 20000"/>
                  <a:gd name="T5" fmla="*/ 10690 h 20000"/>
                  <a:gd name="T6" fmla="*/ 2128 w 20000"/>
                  <a:gd name="T7" fmla="*/ 10690 h 20000"/>
                  <a:gd name="T8" fmla="*/ 3404 w 20000"/>
                  <a:gd name="T9" fmla="*/ 9310 h 20000"/>
                  <a:gd name="T10" fmla="*/ 5532 w 20000"/>
                  <a:gd name="T11" fmla="*/ 9310 h 20000"/>
                  <a:gd name="T12" fmla="*/ 7660 w 20000"/>
                  <a:gd name="T13" fmla="*/ 5517 h 20000"/>
                  <a:gd name="T14" fmla="*/ 10851 w 20000"/>
                  <a:gd name="T15" fmla="*/ 5517 h 20000"/>
                  <a:gd name="T16" fmla="*/ 19787 w 20000"/>
                  <a:gd name="T17" fmla="*/ 0 h 20000"/>
                  <a:gd name="T18" fmla="*/ 16383 w 20000"/>
                  <a:gd name="T19" fmla="*/ 9310 h 20000"/>
                  <a:gd name="T20" fmla="*/ 16383 w 20000"/>
                  <a:gd name="T21" fmla="*/ 10690 h 20000"/>
                  <a:gd name="T22" fmla="*/ 14255 w 20000"/>
                  <a:gd name="T23" fmla="*/ 10690 h 20000"/>
                  <a:gd name="T24" fmla="*/ 10851 w 20000"/>
                  <a:gd name="T25" fmla="*/ 17931 h 20000"/>
                  <a:gd name="T26" fmla="*/ 7660 w 20000"/>
                  <a:gd name="T27" fmla="*/ 17931 h 20000"/>
                  <a:gd name="T28" fmla="*/ 7660 w 20000"/>
                  <a:gd name="T29" fmla="*/ 1965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7660" y="19655"/>
                    </a:moveTo>
                    <a:lnTo>
                      <a:pt x="2128" y="17931"/>
                    </a:lnTo>
                    <a:lnTo>
                      <a:pt x="0" y="10690"/>
                    </a:lnTo>
                    <a:lnTo>
                      <a:pt x="2128" y="10690"/>
                    </a:lnTo>
                    <a:lnTo>
                      <a:pt x="3404" y="9310"/>
                    </a:lnTo>
                    <a:lnTo>
                      <a:pt x="5532" y="9310"/>
                    </a:lnTo>
                    <a:lnTo>
                      <a:pt x="7660" y="5517"/>
                    </a:lnTo>
                    <a:lnTo>
                      <a:pt x="10851" y="5517"/>
                    </a:lnTo>
                    <a:lnTo>
                      <a:pt x="19787" y="0"/>
                    </a:lnTo>
                    <a:lnTo>
                      <a:pt x="16383" y="9310"/>
                    </a:lnTo>
                    <a:lnTo>
                      <a:pt x="16383" y="10690"/>
                    </a:lnTo>
                    <a:lnTo>
                      <a:pt x="14255" y="10690"/>
                    </a:lnTo>
                    <a:lnTo>
                      <a:pt x="10851" y="17931"/>
                    </a:lnTo>
                    <a:lnTo>
                      <a:pt x="7660" y="17931"/>
                    </a:lnTo>
                    <a:lnTo>
                      <a:pt x="7660" y="1965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1" name="Freeform 248"/>
              <p:cNvSpPr>
                <a:spLocks/>
              </p:cNvSpPr>
              <p:nvPr/>
            </p:nvSpPr>
            <p:spPr bwMode="auto">
              <a:xfrm>
                <a:off x="5529263" y="3189288"/>
                <a:ext cx="177800" cy="180975"/>
              </a:xfrm>
              <a:custGeom>
                <a:avLst/>
                <a:gdLst>
                  <a:gd name="T0" fmla="*/ 13238 w 20000"/>
                  <a:gd name="T1" fmla="*/ 1123 h 20000"/>
                  <a:gd name="T2" fmla="*/ 15089 w 20000"/>
                  <a:gd name="T3" fmla="*/ 1825 h 20000"/>
                  <a:gd name="T4" fmla="*/ 18007 w 20000"/>
                  <a:gd name="T5" fmla="*/ 1825 h 20000"/>
                  <a:gd name="T6" fmla="*/ 18434 w 20000"/>
                  <a:gd name="T7" fmla="*/ 0 h 20000"/>
                  <a:gd name="T8" fmla="*/ 19929 w 20000"/>
                  <a:gd name="T9" fmla="*/ 1825 h 20000"/>
                  <a:gd name="T10" fmla="*/ 19146 w 20000"/>
                  <a:gd name="T11" fmla="*/ 3579 h 20000"/>
                  <a:gd name="T12" fmla="*/ 18007 w 20000"/>
                  <a:gd name="T13" fmla="*/ 4702 h 20000"/>
                  <a:gd name="T14" fmla="*/ 15089 w 20000"/>
                  <a:gd name="T15" fmla="*/ 3579 h 20000"/>
                  <a:gd name="T16" fmla="*/ 13238 w 20000"/>
                  <a:gd name="T17" fmla="*/ 3579 h 20000"/>
                  <a:gd name="T18" fmla="*/ 12171 w 20000"/>
                  <a:gd name="T19" fmla="*/ 4000 h 20000"/>
                  <a:gd name="T20" fmla="*/ 12171 w 20000"/>
                  <a:gd name="T21" fmla="*/ 6456 h 20000"/>
                  <a:gd name="T22" fmla="*/ 10605 w 20000"/>
                  <a:gd name="T23" fmla="*/ 5754 h 20000"/>
                  <a:gd name="T24" fmla="*/ 11459 w 20000"/>
                  <a:gd name="T25" fmla="*/ 6877 h 20000"/>
                  <a:gd name="T26" fmla="*/ 7687 w 20000"/>
                  <a:gd name="T27" fmla="*/ 5474 h 20000"/>
                  <a:gd name="T28" fmla="*/ 8470 w 20000"/>
                  <a:gd name="T29" fmla="*/ 4702 h 20000"/>
                  <a:gd name="T30" fmla="*/ 7402 w 20000"/>
                  <a:gd name="T31" fmla="*/ 6877 h 20000"/>
                  <a:gd name="T32" fmla="*/ 8470 w 20000"/>
                  <a:gd name="T33" fmla="*/ 11228 h 20000"/>
                  <a:gd name="T34" fmla="*/ 9181 w 20000"/>
                  <a:gd name="T35" fmla="*/ 11579 h 20000"/>
                  <a:gd name="T36" fmla="*/ 12171 w 20000"/>
                  <a:gd name="T37" fmla="*/ 15930 h 20000"/>
                  <a:gd name="T38" fmla="*/ 9181 w 20000"/>
                  <a:gd name="T39" fmla="*/ 15228 h 20000"/>
                  <a:gd name="T40" fmla="*/ 9609 w 20000"/>
                  <a:gd name="T41" fmla="*/ 17053 h 20000"/>
                  <a:gd name="T42" fmla="*/ 9609 w 20000"/>
                  <a:gd name="T43" fmla="*/ 18807 h 20000"/>
                  <a:gd name="T44" fmla="*/ 9609 w 20000"/>
                  <a:gd name="T45" fmla="*/ 19930 h 20000"/>
                  <a:gd name="T46" fmla="*/ 7687 w 20000"/>
                  <a:gd name="T47" fmla="*/ 19228 h 20000"/>
                  <a:gd name="T48" fmla="*/ 7402 w 20000"/>
                  <a:gd name="T49" fmla="*/ 19930 h 20000"/>
                  <a:gd name="T50" fmla="*/ 5480 w 20000"/>
                  <a:gd name="T51" fmla="*/ 18105 h 20000"/>
                  <a:gd name="T52" fmla="*/ 5480 w 20000"/>
                  <a:gd name="T53" fmla="*/ 18807 h 20000"/>
                  <a:gd name="T54" fmla="*/ 4769 w 20000"/>
                  <a:gd name="T55" fmla="*/ 16351 h 20000"/>
                  <a:gd name="T56" fmla="*/ 4342 w 20000"/>
                  <a:gd name="T57" fmla="*/ 14175 h 20000"/>
                  <a:gd name="T58" fmla="*/ 8470 w 20000"/>
                  <a:gd name="T59" fmla="*/ 14526 h 20000"/>
                  <a:gd name="T60" fmla="*/ 7402 w 20000"/>
                  <a:gd name="T61" fmla="*/ 13053 h 20000"/>
                  <a:gd name="T62" fmla="*/ 2918 w 20000"/>
                  <a:gd name="T63" fmla="*/ 13404 h 20000"/>
                  <a:gd name="T64" fmla="*/ 2918 w 20000"/>
                  <a:gd name="T65" fmla="*/ 11228 h 20000"/>
                  <a:gd name="T66" fmla="*/ 1851 w 20000"/>
                  <a:gd name="T67" fmla="*/ 10526 h 20000"/>
                  <a:gd name="T68" fmla="*/ 1423 w 20000"/>
                  <a:gd name="T69" fmla="*/ 7579 h 20000"/>
                  <a:gd name="T70" fmla="*/ 3630 w 20000"/>
                  <a:gd name="T71" fmla="*/ 3579 h 20000"/>
                  <a:gd name="T72" fmla="*/ 5907 w 20000"/>
                  <a:gd name="T73" fmla="*/ 2175 h 20000"/>
                  <a:gd name="T74" fmla="*/ 8470 w 20000"/>
                  <a:gd name="T75" fmla="*/ 182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8470" y="1825"/>
                    </a:moveTo>
                    <a:lnTo>
                      <a:pt x="13238" y="1123"/>
                    </a:lnTo>
                    <a:lnTo>
                      <a:pt x="13950" y="1825"/>
                    </a:lnTo>
                    <a:lnTo>
                      <a:pt x="15089" y="1825"/>
                    </a:lnTo>
                    <a:lnTo>
                      <a:pt x="16157" y="2175"/>
                    </a:lnTo>
                    <a:lnTo>
                      <a:pt x="18007" y="1825"/>
                    </a:lnTo>
                    <a:lnTo>
                      <a:pt x="18007" y="0"/>
                    </a:lnTo>
                    <a:lnTo>
                      <a:pt x="18434" y="0"/>
                    </a:lnTo>
                    <a:lnTo>
                      <a:pt x="19929" y="1123"/>
                    </a:lnTo>
                    <a:lnTo>
                      <a:pt x="19929" y="1825"/>
                    </a:lnTo>
                    <a:lnTo>
                      <a:pt x="19146" y="2175"/>
                    </a:lnTo>
                    <a:lnTo>
                      <a:pt x="19146" y="3579"/>
                    </a:lnTo>
                    <a:lnTo>
                      <a:pt x="18007" y="4000"/>
                    </a:lnTo>
                    <a:lnTo>
                      <a:pt x="18007" y="4702"/>
                    </a:lnTo>
                    <a:lnTo>
                      <a:pt x="17295" y="4000"/>
                    </a:lnTo>
                    <a:lnTo>
                      <a:pt x="15089" y="3579"/>
                    </a:lnTo>
                    <a:lnTo>
                      <a:pt x="14377" y="2877"/>
                    </a:lnTo>
                    <a:lnTo>
                      <a:pt x="13238" y="3579"/>
                    </a:lnTo>
                    <a:lnTo>
                      <a:pt x="12527" y="3579"/>
                    </a:lnTo>
                    <a:lnTo>
                      <a:pt x="12171" y="4000"/>
                    </a:lnTo>
                    <a:lnTo>
                      <a:pt x="10605" y="4702"/>
                    </a:lnTo>
                    <a:lnTo>
                      <a:pt x="12171" y="6456"/>
                    </a:lnTo>
                    <a:lnTo>
                      <a:pt x="11459" y="5754"/>
                    </a:lnTo>
                    <a:lnTo>
                      <a:pt x="10605" y="5754"/>
                    </a:lnTo>
                    <a:lnTo>
                      <a:pt x="11459" y="6456"/>
                    </a:lnTo>
                    <a:lnTo>
                      <a:pt x="11459" y="6877"/>
                    </a:lnTo>
                    <a:lnTo>
                      <a:pt x="9609" y="6456"/>
                    </a:lnTo>
                    <a:lnTo>
                      <a:pt x="7687" y="5474"/>
                    </a:lnTo>
                    <a:lnTo>
                      <a:pt x="8470" y="5474"/>
                    </a:lnTo>
                    <a:lnTo>
                      <a:pt x="8470" y="4702"/>
                    </a:lnTo>
                    <a:lnTo>
                      <a:pt x="7402" y="5474"/>
                    </a:lnTo>
                    <a:lnTo>
                      <a:pt x="7402" y="6877"/>
                    </a:lnTo>
                    <a:lnTo>
                      <a:pt x="9609" y="9754"/>
                    </a:lnTo>
                    <a:lnTo>
                      <a:pt x="8470" y="11228"/>
                    </a:lnTo>
                    <a:lnTo>
                      <a:pt x="7402" y="11228"/>
                    </a:lnTo>
                    <a:lnTo>
                      <a:pt x="9181" y="11579"/>
                    </a:lnTo>
                    <a:lnTo>
                      <a:pt x="11459" y="13404"/>
                    </a:lnTo>
                    <a:lnTo>
                      <a:pt x="12171" y="15930"/>
                    </a:lnTo>
                    <a:lnTo>
                      <a:pt x="10320" y="14526"/>
                    </a:lnTo>
                    <a:lnTo>
                      <a:pt x="9181" y="15228"/>
                    </a:lnTo>
                    <a:lnTo>
                      <a:pt x="10320" y="17053"/>
                    </a:lnTo>
                    <a:lnTo>
                      <a:pt x="9609" y="17053"/>
                    </a:lnTo>
                    <a:lnTo>
                      <a:pt x="7687" y="15930"/>
                    </a:lnTo>
                    <a:lnTo>
                      <a:pt x="9609" y="18807"/>
                    </a:lnTo>
                    <a:lnTo>
                      <a:pt x="9609" y="19228"/>
                    </a:lnTo>
                    <a:lnTo>
                      <a:pt x="9609" y="19930"/>
                    </a:lnTo>
                    <a:lnTo>
                      <a:pt x="7687" y="18807"/>
                    </a:lnTo>
                    <a:lnTo>
                      <a:pt x="7687" y="19228"/>
                    </a:lnTo>
                    <a:lnTo>
                      <a:pt x="7687" y="19930"/>
                    </a:lnTo>
                    <a:lnTo>
                      <a:pt x="7402" y="19930"/>
                    </a:lnTo>
                    <a:lnTo>
                      <a:pt x="6619" y="18105"/>
                    </a:lnTo>
                    <a:lnTo>
                      <a:pt x="5480" y="18105"/>
                    </a:lnTo>
                    <a:lnTo>
                      <a:pt x="5907" y="19228"/>
                    </a:lnTo>
                    <a:lnTo>
                      <a:pt x="5480" y="18807"/>
                    </a:lnTo>
                    <a:lnTo>
                      <a:pt x="4769" y="17404"/>
                    </a:lnTo>
                    <a:lnTo>
                      <a:pt x="4769" y="16351"/>
                    </a:lnTo>
                    <a:lnTo>
                      <a:pt x="2918" y="15228"/>
                    </a:lnTo>
                    <a:lnTo>
                      <a:pt x="4342" y="14175"/>
                    </a:lnTo>
                    <a:lnTo>
                      <a:pt x="5907" y="13404"/>
                    </a:lnTo>
                    <a:lnTo>
                      <a:pt x="8470" y="14526"/>
                    </a:lnTo>
                    <a:lnTo>
                      <a:pt x="9181" y="14175"/>
                    </a:lnTo>
                    <a:lnTo>
                      <a:pt x="7402" y="13053"/>
                    </a:lnTo>
                    <a:lnTo>
                      <a:pt x="5907" y="13053"/>
                    </a:lnTo>
                    <a:lnTo>
                      <a:pt x="2918" y="13404"/>
                    </a:lnTo>
                    <a:lnTo>
                      <a:pt x="1851" y="11228"/>
                    </a:lnTo>
                    <a:lnTo>
                      <a:pt x="2918" y="11228"/>
                    </a:lnTo>
                    <a:lnTo>
                      <a:pt x="2918" y="10526"/>
                    </a:lnTo>
                    <a:lnTo>
                      <a:pt x="1851" y="10526"/>
                    </a:lnTo>
                    <a:lnTo>
                      <a:pt x="0" y="8702"/>
                    </a:lnTo>
                    <a:lnTo>
                      <a:pt x="1423" y="7579"/>
                    </a:lnTo>
                    <a:lnTo>
                      <a:pt x="2562" y="4702"/>
                    </a:lnTo>
                    <a:lnTo>
                      <a:pt x="3630" y="3579"/>
                    </a:lnTo>
                    <a:lnTo>
                      <a:pt x="5480" y="3579"/>
                    </a:lnTo>
                    <a:lnTo>
                      <a:pt x="5907" y="2175"/>
                    </a:lnTo>
                    <a:lnTo>
                      <a:pt x="7402" y="2877"/>
                    </a:lnTo>
                    <a:lnTo>
                      <a:pt x="8470" y="182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2" name="Freeform 247"/>
              <p:cNvSpPr>
                <a:spLocks/>
              </p:cNvSpPr>
              <p:nvPr/>
            </p:nvSpPr>
            <p:spPr bwMode="auto">
              <a:xfrm>
                <a:off x="5624513" y="3395663"/>
                <a:ext cx="76200" cy="20637"/>
              </a:xfrm>
              <a:custGeom>
                <a:avLst/>
                <a:gdLst>
                  <a:gd name="T0" fmla="*/ 10333 w 20000"/>
                  <a:gd name="T1" fmla="*/ 19375 h 20000"/>
                  <a:gd name="T2" fmla="*/ 8667 w 20000"/>
                  <a:gd name="T3" fmla="*/ 16250 h 20000"/>
                  <a:gd name="T4" fmla="*/ 3500 w 20000"/>
                  <a:gd name="T5" fmla="*/ 16250 h 20000"/>
                  <a:gd name="T6" fmla="*/ 0 w 20000"/>
                  <a:gd name="T7" fmla="*/ 16250 h 20000"/>
                  <a:gd name="T8" fmla="*/ 0 w 20000"/>
                  <a:gd name="T9" fmla="*/ 6875 h 20000"/>
                  <a:gd name="T10" fmla="*/ 3500 w 20000"/>
                  <a:gd name="T11" fmla="*/ 6875 h 20000"/>
                  <a:gd name="T12" fmla="*/ 4500 w 20000"/>
                  <a:gd name="T13" fmla="*/ 0 h 20000"/>
                  <a:gd name="T14" fmla="*/ 6167 w 20000"/>
                  <a:gd name="T15" fmla="*/ 9375 h 20000"/>
                  <a:gd name="T16" fmla="*/ 10333 w 20000"/>
                  <a:gd name="T17" fmla="*/ 9375 h 20000"/>
                  <a:gd name="T18" fmla="*/ 11333 w 20000"/>
                  <a:gd name="T19" fmla="*/ 9375 h 20000"/>
                  <a:gd name="T20" fmla="*/ 15500 w 20000"/>
                  <a:gd name="T21" fmla="*/ 9375 h 20000"/>
                  <a:gd name="T22" fmla="*/ 17167 w 20000"/>
                  <a:gd name="T23" fmla="*/ 16250 h 20000"/>
                  <a:gd name="T24" fmla="*/ 19833 w 20000"/>
                  <a:gd name="T25" fmla="*/ 16250 h 20000"/>
                  <a:gd name="T26" fmla="*/ 19833 w 20000"/>
                  <a:gd name="T27" fmla="*/ 19375 h 20000"/>
                  <a:gd name="T28" fmla="*/ 10333 w 20000"/>
                  <a:gd name="T29" fmla="*/ 193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0333" y="19375"/>
                    </a:moveTo>
                    <a:lnTo>
                      <a:pt x="8667" y="16250"/>
                    </a:lnTo>
                    <a:lnTo>
                      <a:pt x="3500" y="16250"/>
                    </a:lnTo>
                    <a:lnTo>
                      <a:pt x="0" y="16250"/>
                    </a:lnTo>
                    <a:lnTo>
                      <a:pt x="0" y="6875"/>
                    </a:lnTo>
                    <a:lnTo>
                      <a:pt x="3500" y="6875"/>
                    </a:lnTo>
                    <a:lnTo>
                      <a:pt x="4500" y="0"/>
                    </a:lnTo>
                    <a:lnTo>
                      <a:pt x="6167" y="9375"/>
                    </a:lnTo>
                    <a:lnTo>
                      <a:pt x="10333" y="9375"/>
                    </a:lnTo>
                    <a:lnTo>
                      <a:pt x="11333" y="9375"/>
                    </a:lnTo>
                    <a:lnTo>
                      <a:pt x="15500" y="9375"/>
                    </a:lnTo>
                    <a:lnTo>
                      <a:pt x="17167" y="16250"/>
                    </a:lnTo>
                    <a:lnTo>
                      <a:pt x="19833" y="16250"/>
                    </a:lnTo>
                    <a:lnTo>
                      <a:pt x="19833" y="19375"/>
                    </a:lnTo>
                    <a:lnTo>
                      <a:pt x="10333"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3" name="Freeform 246"/>
              <p:cNvSpPr>
                <a:spLocks/>
              </p:cNvSpPr>
              <p:nvPr/>
            </p:nvSpPr>
            <p:spPr bwMode="auto">
              <a:xfrm>
                <a:off x="5611813" y="3284538"/>
                <a:ext cx="36512" cy="36512"/>
              </a:xfrm>
              <a:custGeom>
                <a:avLst/>
                <a:gdLst>
                  <a:gd name="T0" fmla="*/ 10690 w 20000"/>
                  <a:gd name="T1" fmla="*/ 14138 h 20000"/>
                  <a:gd name="T2" fmla="*/ 5517 w 20000"/>
                  <a:gd name="T3" fmla="*/ 8966 h 20000"/>
                  <a:gd name="T4" fmla="*/ 0 w 20000"/>
                  <a:gd name="T5" fmla="*/ 3448 h 20000"/>
                  <a:gd name="T6" fmla="*/ 2069 w 20000"/>
                  <a:gd name="T7" fmla="*/ 0 h 20000"/>
                  <a:gd name="T8" fmla="*/ 6897 w 20000"/>
                  <a:gd name="T9" fmla="*/ 5172 h 20000"/>
                  <a:gd name="T10" fmla="*/ 14138 w 20000"/>
                  <a:gd name="T11" fmla="*/ 5172 h 20000"/>
                  <a:gd name="T12" fmla="*/ 16207 w 20000"/>
                  <a:gd name="T13" fmla="*/ 14138 h 20000"/>
                  <a:gd name="T14" fmla="*/ 19655 w 20000"/>
                  <a:gd name="T15" fmla="*/ 17586 h 20000"/>
                  <a:gd name="T16" fmla="*/ 19655 w 20000"/>
                  <a:gd name="T17" fmla="*/ 19655 h 20000"/>
                  <a:gd name="T18" fmla="*/ 16207 w 20000"/>
                  <a:gd name="T19" fmla="*/ 19655 h 20000"/>
                  <a:gd name="T20" fmla="*/ 10690 w 20000"/>
                  <a:gd name="T21" fmla="*/ 1413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0690" y="14138"/>
                    </a:moveTo>
                    <a:lnTo>
                      <a:pt x="5517" y="8966"/>
                    </a:lnTo>
                    <a:lnTo>
                      <a:pt x="0" y="3448"/>
                    </a:lnTo>
                    <a:lnTo>
                      <a:pt x="2069" y="0"/>
                    </a:lnTo>
                    <a:lnTo>
                      <a:pt x="6897" y="5172"/>
                    </a:lnTo>
                    <a:lnTo>
                      <a:pt x="14138" y="5172"/>
                    </a:lnTo>
                    <a:lnTo>
                      <a:pt x="16207" y="14138"/>
                    </a:lnTo>
                    <a:lnTo>
                      <a:pt x="19655" y="17586"/>
                    </a:lnTo>
                    <a:lnTo>
                      <a:pt x="19655" y="19655"/>
                    </a:lnTo>
                    <a:lnTo>
                      <a:pt x="16207" y="19655"/>
                    </a:lnTo>
                    <a:lnTo>
                      <a:pt x="10690" y="1413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4" name="Freeform 245"/>
              <p:cNvSpPr>
                <a:spLocks/>
              </p:cNvSpPr>
              <p:nvPr/>
            </p:nvSpPr>
            <p:spPr bwMode="auto">
              <a:xfrm>
                <a:off x="5680075" y="3275013"/>
                <a:ext cx="20638" cy="11112"/>
              </a:xfrm>
              <a:custGeom>
                <a:avLst/>
                <a:gdLst>
                  <a:gd name="T0" fmla="*/ 19375 w 20000"/>
                  <a:gd name="T1" fmla="*/ 18824 h 20000"/>
                  <a:gd name="T2" fmla="*/ 9375 w 20000"/>
                  <a:gd name="T3" fmla="*/ 18824 h 20000"/>
                  <a:gd name="T4" fmla="*/ 9375 w 20000"/>
                  <a:gd name="T5" fmla="*/ 5882 h 20000"/>
                  <a:gd name="T6" fmla="*/ 3750 w 20000"/>
                  <a:gd name="T7" fmla="*/ 18824 h 20000"/>
                  <a:gd name="T8" fmla="*/ 0 w 20000"/>
                  <a:gd name="T9" fmla="*/ 5882 h 20000"/>
                  <a:gd name="T10" fmla="*/ 13125 w 20000"/>
                  <a:gd name="T11" fmla="*/ 0 h 20000"/>
                  <a:gd name="T12" fmla="*/ 19375 w 20000"/>
                  <a:gd name="T13" fmla="*/ 5882 h 20000"/>
                  <a:gd name="T14" fmla="*/ 19375 w 20000"/>
                  <a:gd name="T15" fmla="*/ 18824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375" y="18824"/>
                    </a:moveTo>
                    <a:lnTo>
                      <a:pt x="9375" y="18824"/>
                    </a:lnTo>
                    <a:lnTo>
                      <a:pt x="9375" y="5882"/>
                    </a:lnTo>
                    <a:lnTo>
                      <a:pt x="3750" y="18824"/>
                    </a:lnTo>
                    <a:lnTo>
                      <a:pt x="0" y="5882"/>
                    </a:lnTo>
                    <a:lnTo>
                      <a:pt x="13125" y="0"/>
                    </a:lnTo>
                    <a:lnTo>
                      <a:pt x="19375" y="5882"/>
                    </a:lnTo>
                    <a:lnTo>
                      <a:pt x="19375"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5" name="Freeform 244"/>
              <p:cNvSpPr>
                <a:spLocks/>
              </p:cNvSpPr>
              <p:nvPr/>
            </p:nvSpPr>
            <p:spPr bwMode="auto">
              <a:xfrm>
                <a:off x="5743575" y="3376613"/>
                <a:ext cx="11113" cy="12700"/>
              </a:xfrm>
              <a:custGeom>
                <a:avLst/>
                <a:gdLst>
                  <a:gd name="T0" fmla="*/ 0 w 20000"/>
                  <a:gd name="T1" fmla="*/ 19048 h 20000"/>
                  <a:gd name="T2" fmla="*/ 0 w 20000"/>
                  <a:gd name="T3" fmla="*/ 3810 h 20000"/>
                  <a:gd name="T4" fmla="*/ 18824 w 20000"/>
                  <a:gd name="T5" fmla="*/ 0 h 20000"/>
                  <a:gd name="T6" fmla="*/ 11765 w 20000"/>
                  <a:gd name="T7" fmla="*/ 13333 h 20000"/>
                  <a:gd name="T8" fmla="*/ 0 w 20000"/>
                  <a:gd name="T9" fmla="*/ 19048 h 20000"/>
                </a:gdLst>
                <a:ahLst/>
                <a:cxnLst>
                  <a:cxn ang="0">
                    <a:pos x="T0" y="T1"/>
                  </a:cxn>
                  <a:cxn ang="0">
                    <a:pos x="T2" y="T3"/>
                  </a:cxn>
                  <a:cxn ang="0">
                    <a:pos x="T4" y="T5"/>
                  </a:cxn>
                  <a:cxn ang="0">
                    <a:pos x="T6" y="T7"/>
                  </a:cxn>
                  <a:cxn ang="0">
                    <a:pos x="T8" y="T9"/>
                  </a:cxn>
                </a:cxnLst>
                <a:rect l="0" t="0" r="r" b="b"/>
                <a:pathLst>
                  <a:path w="20000" h="20000">
                    <a:moveTo>
                      <a:pt x="0" y="19048"/>
                    </a:moveTo>
                    <a:lnTo>
                      <a:pt x="0" y="3810"/>
                    </a:lnTo>
                    <a:lnTo>
                      <a:pt x="18824" y="0"/>
                    </a:lnTo>
                    <a:lnTo>
                      <a:pt x="11765" y="13333"/>
                    </a:lnTo>
                    <a:lnTo>
                      <a:pt x="0" y="190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6" name="Freeform 243"/>
              <p:cNvSpPr>
                <a:spLocks/>
              </p:cNvSpPr>
              <p:nvPr/>
            </p:nvSpPr>
            <p:spPr bwMode="auto">
              <a:xfrm>
                <a:off x="5683250" y="3300413"/>
                <a:ext cx="11113" cy="11112"/>
              </a:xfrm>
              <a:custGeom>
                <a:avLst/>
                <a:gdLst>
                  <a:gd name="T0" fmla="*/ 18824 w 20000"/>
                  <a:gd name="T1" fmla="*/ 18824 h 20000"/>
                  <a:gd name="T2" fmla="*/ 0 w 20000"/>
                  <a:gd name="T3" fmla="*/ 18824 h 20000"/>
                  <a:gd name="T4" fmla="*/ 11765 w 20000"/>
                  <a:gd name="T5" fmla="*/ 18824 h 20000"/>
                  <a:gd name="T6" fmla="*/ 0 w 20000"/>
                  <a:gd name="T7" fmla="*/ 0 h 20000"/>
                  <a:gd name="T8" fmla="*/ 11765 w 20000"/>
                  <a:gd name="T9" fmla="*/ 11765 h 20000"/>
                  <a:gd name="T10" fmla="*/ 18824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8824" y="18824"/>
                    </a:moveTo>
                    <a:lnTo>
                      <a:pt x="0" y="18824"/>
                    </a:lnTo>
                    <a:lnTo>
                      <a:pt x="11765" y="18824"/>
                    </a:lnTo>
                    <a:lnTo>
                      <a:pt x="0" y="0"/>
                    </a:lnTo>
                    <a:lnTo>
                      <a:pt x="11765" y="11765"/>
                    </a:lnTo>
                    <a:lnTo>
                      <a:pt x="18824"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7" name="Freeform 242"/>
              <p:cNvSpPr>
                <a:spLocks/>
              </p:cNvSpPr>
              <p:nvPr/>
            </p:nvSpPr>
            <p:spPr bwMode="auto">
              <a:xfrm>
                <a:off x="5183188" y="3127375"/>
                <a:ext cx="6350" cy="11113"/>
              </a:xfrm>
              <a:custGeom>
                <a:avLst/>
                <a:gdLst>
                  <a:gd name="T0" fmla="*/ 18182 w 20000"/>
                  <a:gd name="T1" fmla="*/ 5882 h 20000"/>
                  <a:gd name="T2" fmla="*/ 0 w 20000"/>
                  <a:gd name="T3" fmla="*/ 5882 h 20000"/>
                  <a:gd name="T4" fmla="*/ 0 w 20000"/>
                  <a:gd name="T5" fmla="*/ 18824 h 20000"/>
                  <a:gd name="T6" fmla="*/ 0 w 20000"/>
                  <a:gd name="T7" fmla="*/ 5882 h 20000"/>
                  <a:gd name="T8" fmla="*/ 0 w 20000"/>
                  <a:gd name="T9" fmla="*/ 0 h 20000"/>
                  <a:gd name="T10" fmla="*/ 18182 w 20000"/>
                  <a:gd name="T11" fmla="*/ 5882 h 20000"/>
                </a:gdLst>
                <a:ahLst/>
                <a:cxnLst>
                  <a:cxn ang="0">
                    <a:pos x="T0" y="T1"/>
                  </a:cxn>
                  <a:cxn ang="0">
                    <a:pos x="T2" y="T3"/>
                  </a:cxn>
                  <a:cxn ang="0">
                    <a:pos x="T4" y="T5"/>
                  </a:cxn>
                  <a:cxn ang="0">
                    <a:pos x="T6" y="T7"/>
                  </a:cxn>
                  <a:cxn ang="0">
                    <a:pos x="T8" y="T9"/>
                  </a:cxn>
                  <a:cxn ang="0">
                    <a:pos x="T10" y="T11"/>
                  </a:cxn>
                </a:cxnLst>
                <a:rect l="0" t="0" r="r" b="b"/>
                <a:pathLst>
                  <a:path w="20000" h="20000">
                    <a:moveTo>
                      <a:pt x="18182" y="5882"/>
                    </a:moveTo>
                    <a:lnTo>
                      <a:pt x="0" y="5882"/>
                    </a:lnTo>
                    <a:lnTo>
                      <a:pt x="0" y="18824"/>
                    </a:lnTo>
                    <a:lnTo>
                      <a:pt x="0" y="5882"/>
                    </a:lnTo>
                    <a:lnTo>
                      <a:pt x="0" y="0"/>
                    </a:lnTo>
                    <a:lnTo>
                      <a:pt x="18182" y="58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8" name="Freeform 241"/>
              <p:cNvSpPr>
                <a:spLocks/>
              </p:cNvSpPr>
              <p:nvPr/>
            </p:nvSpPr>
            <p:spPr bwMode="auto">
              <a:xfrm>
                <a:off x="5251450" y="3014663"/>
                <a:ext cx="14288" cy="4762"/>
              </a:xfrm>
              <a:custGeom>
                <a:avLst/>
                <a:gdLst>
                  <a:gd name="T0" fmla="*/ 19091 w 20000"/>
                  <a:gd name="T1" fmla="*/ 17143 h 20000"/>
                  <a:gd name="T2" fmla="*/ 10000 w 20000"/>
                  <a:gd name="T3" fmla="*/ 0 h 20000"/>
                  <a:gd name="T4" fmla="*/ 0 w 20000"/>
                  <a:gd name="T5" fmla="*/ 0 h 20000"/>
                  <a:gd name="T6" fmla="*/ 19091 w 20000"/>
                  <a:gd name="T7" fmla="*/ 0 h 20000"/>
                  <a:gd name="T8" fmla="*/ 19091 w 20000"/>
                  <a:gd name="T9" fmla="*/ 17143 h 20000"/>
                </a:gdLst>
                <a:ahLst/>
                <a:cxnLst>
                  <a:cxn ang="0">
                    <a:pos x="T0" y="T1"/>
                  </a:cxn>
                  <a:cxn ang="0">
                    <a:pos x="T2" y="T3"/>
                  </a:cxn>
                  <a:cxn ang="0">
                    <a:pos x="T4" y="T5"/>
                  </a:cxn>
                  <a:cxn ang="0">
                    <a:pos x="T6" y="T7"/>
                  </a:cxn>
                  <a:cxn ang="0">
                    <a:pos x="T8" y="T9"/>
                  </a:cxn>
                </a:cxnLst>
                <a:rect l="0" t="0" r="r" b="b"/>
                <a:pathLst>
                  <a:path w="20000" h="20000">
                    <a:moveTo>
                      <a:pt x="19091" y="17143"/>
                    </a:moveTo>
                    <a:lnTo>
                      <a:pt x="10000" y="0"/>
                    </a:lnTo>
                    <a:lnTo>
                      <a:pt x="0" y="0"/>
                    </a:lnTo>
                    <a:lnTo>
                      <a:pt x="19091" y="0"/>
                    </a:lnTo>
                    <a:lnTo>
                      <a:pt x="19091" y="1714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09" name="Freeform 240"/>
              <p:cNvSpPr>
                <a:spLocks/>
              </p:cNvSpPr>
              <p:nvPr/>
            </p:nvSpPr>
            <p:spPr bwMode="auto">
              <a:xfrm>
                <a:off x="6156325" y="3205163"/>
                <a:ext cx="119063" cy="79375"/>
              </a:xfrm>
              <a:custGeom>
                <a:avLst/>
                <a:gdLst>
                  <a:gd name="T0" fmla="*/ 8770 w 20000"/>
                  <a:gd name="T1" fmla="*/ 18095 h 20000"/>
                  <a:gd name="T2" fmla="*/ 5561 w 20000"/>
                  <a:gd name="T3" fmla="*/ 11429 h 20000"/>
                  <a:gd name="T4" fmla="*/ 1070 w 20000"/>
                  <a:gd name="T5" fmla="*/ 9048 h 20000"/>
                  <a:gd name="T6" fmla="*/ 1070 w 20000"/>
                  <a:gd name="T7" fmla="*/ 4127 h 20000"/>
                  <a:gd name="T8" fmla="*/ 0 w 20000"/>
                  <a:gd name="T9" fmla="*/ 0 h 20000"/>
                  <a:gd name="T10" fmla="*/ 15508 w 20000"/>
                  <a:gd name="T11" fmla="*/ 952 h 20000"/>
                  <a:gd name="T12" fmla="*/ 16043 w 20000"/>
                  <a:gd name="T13" fmla="*/ 8254 h 20000"/>
                  <a:gd name="T14" fmla="*/ 19893 w 20000"/>
                  <a:gd name="T15" fmla="*/ 9048 h 20000"/>
                  <a:gd name="T16" fmla="*/ 17754 w 20000"/>
                  <a:gd name="T17" fmla="*/ 11429 h 20000"/>
                  <a:gd name="T18" fmla="*/ 18824 w 20000"/>
                  <a:gd name="T19" fmla="*/ 18095 h 20000"/>
                  <a:gd name="T20" fmla="*/ 15508 w 20000"/>
                  <a:gd name="T21" fmla="*/ 19841 h 20000"/>
                  <a:gd name="T22" fmla="*/ 8770 w 20000"/>
                  <a:gd name="T23" fmla="*/ 1809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8770" y="18095"/>
                    </a:moveTo>
                    <a:lnTo>
                      <a:pt x="5561" y="11429"/>
                    </a:lnTo>
                    <a:lnTo>
                      <a:pt x="1070" y="9048"/>
                    </a:lnTo>
                    <a:lnTo>
                      <a:pt x="1070" y="4127"/>
                    </a:lnTo>
                    <a:lnTo>
                      <a:pt x="0" y="0"/>
                    </a:lnTo>
                    <a:lnTo>
                      <a:pt x="15508" y="952"/>
                    </a:lnTo>
                    <a:lnTo>
                      <a:pt x="16043" y="8254"/>
                    </a:lnTo>
                    <a:lnTo>
                      <a:pt x="19893" y="9048"/>
                    </a:lnTo>
                    <a:lnTo>
                      <a:pt x="17754" y="11429"/>
                    </a:lnTo>
                    <a:lnTo>
                      <a:pt x="18824" y="18095"/>
                    </a:lnTo>
                    <a:lnTo>
                      <a:pt x="15508" y="19841"/>
                    </a:lnTo>
                    <a:lnTo>
                      <a:pt x="8770" y="1809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0" name="Freeform 239"/>
              <p:cNvSpPr>
                <a:spLocks/>
              </p:cNvSpPr>
              <p:nvPr/>
            </p:nvSpPr>
            <p:spPr bwMode="auto">
              <a:xfrm>
                <a:off x="6248400" y="3189288"/>
                <a:ext cx="90488" cy="104775"/>
              </a:xfrm>
              <a:custGeom>
                <a:avLst/>
                <a:gdLst>
                  <a:gd name="T0" fmla="*/ 8873 w 20000"/>
                  <a:gd name="T1" fmla="*/ 0 h 20000"/>
                  <a:gd name="T2" fmla="*/ 13803 w 20000"/>
                  <a:gd name="T3" fmla="*/ 4940 h 20000"/>
                  <a:gd name="T4" fmla="*/ 19859 w 20000"/>
                  <a:gd name="T5" fmla="*/ 6867 h 20000"/>
                  <a:gd name="T6" fmla="*/ 13803 w 20000"/>
                  <a:gd name="T7" fmla="*/ 9398 h 20000"/>
                  <a:gd name="T8" fmla="*/ 13803 w 20000"/>
                  <a:gd name="T9" fmla="*/ 13012 h 20000"/>
                  <a:gd name="T10" fmla="*/ 13803 w 20000"/>
                  <a:gd name="T11" fmla="*/ 14940 h 20000"/>
                  <a:gd name="T12" fmla="*/ 12394 w 20000"/>
                  <a:gd name="T13" fmla="*/ 14337 h 20000"/>
                  <a:gd name="T14" fmla="*/ 10282 w 20000"/>
                  <a:gd name="T15" fmla="*/ 14940 h 20000"/>
                  <a:gd name="T16" fmla="*/ 12394 w 20000"/>
                  <a:gd name="T17" fmla="*/ 19880 h 20000"/>
                  <a:gd name="T18" fmla="*/ 4366 w 20000"/>
                  <a:gd name="T19" fmla="*/ 16747 h 20000"/>
                  <a:gd name="T20" fmla="*/ 2958 w 20000"/>
                  <a:gd name="T21" fmla="*/ 11807 h 20000"/>
                  <a:gd name="T22" fmla="*/ 5775 w 20000"/>
                  <a:gd name="T23" fmla="*/ 9880 h 20000"/>
                  <a:gd name="T24" fmla="*/ 845 w 20000"/>
                  <a:gd name="T25" fmla="*/ 9398 h 20000"/>
                  <a:gd name="T26" fmla="*/ 0 w 20000"/>
                  <a:gd name="T27" fmla="*/ 3735 h 20000"/>
                  <a:gd name="T28" fmla="*/ 0 w 20000"/>
                  <a:gd name="T29" fmla="*/ 1205 h 20000"/>
                  <a:gd name="T30" fmla="*/ 8873 w 20000"/>
                  <a:gd name="T3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8873" y="0"/>
                    </a:moveTo>
                    <a:lnTo>
                      <a:pt x="13803" y="4940"/>
                    </a:lnTo>
                    <a:lnTo>
                      <a:pt x="19859" y="6867"/>
                    </a:lnTo>
                    <a:lnTo>
                      <a:pt x="13803" y="9398"/>
                    </a:lnTo>
                    <a:lnTo>
                      <a:pt x="13803" y="13012"/>
                    </a:lnTo>
                    <a:lnTo>
                      <a:pt x="13803" y="14940"/>
                    </a:lnTo>
                    <a:lnTo>
                      <a:pt x="12394" y="14337"/>
                    </a:lnTo>
                    <a:lnTo>
                      <a:pt x="10282" y="14940"/>
                    </a:lnTo>
                    <a:lnTo>
                      <a:pt x="12394" y="19880"/>
                    </a:lnTo>
                    <a:lnTo>
                      <a:pt x="4366" y="16747"/>
                    </a:lnTo>
                    <a:lnTo>
                      <a:pt x="2958" y="11807"/>
                    </a:lnTo>
                    <a:lnTo>
                      <a:pt x="5775" y="9880"/>
                    </a:lnTo>
                    <a:lnTo>
                      <a:pt x="845" y="9398"/>
                    </a:lnTo>
                    <a:lnTo>
                      <a:pt x="0" y="3735"/>
                    </a:lnTo>
                    <a:lnTo>
                      <a:pt x="0" y="1205"/>
                    </a:lnTo>
                    <a:lnTo>
                      <a:pt x="8873"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1" name="Freeform 238"/>
              <p:cNvSpPr>
                <a:spLocks/>
              </p:cNvSpPr>
              <p:nvPr/>
            </p:nvSpPr>
            <p:spPr bwMode="auto">
              <a:xfrm>
                <a:off x="5581650" y="2663825"/>
                <a:ext cx="247650" cy="201613"/>
              </a:xfrm>
              <a:custGeom>
                <a:avLst/>
                <a:gdLst>
                  <a:gd name="T0" fmla="*/ 1902 w 20000"/>
                  <a:gd name="T1" fmla="*/ 18044 h 20000"/>
                  <a:gd name="T2" fmla="*/ 1337 w 20000"/>
                  <a:gd name="T3" fmla="*/ 16025 h 20000"/>
                  <a:gd name="T4" fmla="*/ 0 w 20000"/>
                  <a:gd name="T5" fmla="*/ 14385 h 20000"/>
                  <a:gd name="T6" fmla="*/ 1902 w 20000"/>
                  <a:gd name="T7" fmla="*/ 13123 h 20000"/>
                  <a:gd name="T8" fmla="*/ 1337 w 20000"/>
                  <a:gd name="T9" fmla="*/ 11104 h 20000"/>
                  <a:gd name="T10" fmla="*/ 514 w 20000"/>
                  <a:gd name="T11" fmla="*/ 9148 h 20000"/>
                  <a:gd name="T12" fmla="*/ 3445 w 20000"/>
                  <a:gd name="T13" fmla="*/ 7508 h 20000"/>
                  <a:gd name="T14" fmla="*/ 5347 w 20000"/>
                  <a:gd name="T15" fmla="*/ 5237 h 20000"/>
                  <a:gd name="T16" fmla="*/ 5861 w 20000"/>
                  <a:gd name="T17" fmla="*/ 1956 h 20000"/>
                  <a:gd name="T18" fmla="*/ 9049 w 20000"/>
                  <a:gd name="T19" fmla="*/ 631 h 20000"/>
                  <a:gd name="T20" fmla="*/ 10129 w 20000"/>
                  <a:gd name="T21" fmla="*/ 0 h 20000"/>
                  <a:gd name="T22" fmla="*/ 15681 w 20000"/>
                  <a:gd name="T23" fmla="*/ 1009 h 20000"/>
                  <a:gd name="T24" fmla="*/ 17326 w 20000"/>
                  <a:gd name="T25" fmla="*/ 6877 h 20000"/>
                  <a:gd name="T26" fmla="*/ 19177 w 20000"/>
                  <a:gd name="T27" fmla="*/ 9148 h 20000"/>
                  <a:gd name="T28" fmla="*/ 19949 w 20000"/>
                  <a:gd name="T29" fmla="*/ 12744 h 20000"/>
                  <a:gd name="T30" fmla="*/ 18098 w 20000"/>
                  <a:gd name="T31" fmla="*/ 11735 h 20000"/>
                  <a:gd name="T32" fmla="*/ 17326 w 20000"/>
                  <a:gd name="T33" fmla="*/ 12114 h 20000"/>
                  <a:gd name="T34" fmla="*/ 18612 w 20000"/>
                  <a:gd name="T35" fmla="*/ 15331 h 20000"/>
                  <a:gd name="T36" fmla="*/ 18098 w 20000"/>
                  <a:gd name="T37" fmla="*/ 18675 h 20000"/>
                  <a:gd name="T38" fmla="*/ 16504 w 20000"/>
                  <a:gd name="T39" fmla="*/ 18675 h 20000"/>
                  <a:gd name="T40" fmla="*/ 15681 w 20000"/>
                  <a:gd name="T41" fmla="*/ 19621 h 20000"/>
                  <a:gd name="T42" fmla="*/ 15681 w 20000"/>
                  <a:gd name="T43" fmla="*/ 19937 h 20000"/>
                  <a:gd name="T44" fmla="*/ 11671 w 20000"/>
                  <a:gd name="T45" fmla="*/ 18927 h 20000"/>
                  <a:gd name="T46" fmla="*/ 11671 w 20000"/>
                  <a:gd name="T47" fmla="*/ 18044 h 20000"/>
                  <a:gd name="T48" fmla="*/ 3445 w 20000"/>
                  <a:gd name="T49" fmla="*/ 18675 h 20000"/>
                  <a:gd name="T50" fmla="*/ 2674 w 20000"/>
                  <a:gd name="T51" fmla="*/ 18044 h 20000"/>
                  <a:gd name="T52" fmla="*/ 1902 w 20000"/>
                  <a:gd name="T53" fmla="*/ 1804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1902" y="18044"/>
                    </a:moveTo>
                    <a:lnTo>
                      <a:pt x="1337" y="16025"/>
                    </a:lnTo>
                    <a:lnTo>
                      <a:pt x="0" y="14385"/>
                    </a:lnTo>
                    <a:lnTo>
                      <a:pt x="1902" y="13123"/>
                    </a:lnTo>
                    <a:lnTo>
                      <a:pt x="1337" y="11104"/>
                    </a:lnTo>
                    <a:lnTo>
                      <a:pt x="514" y="9148"/>
                    </a:lnTo>
                    <a:lnTo>
                      <a:pt x="3445" y="7508"/>
                    </a:lnTo>
                    <a:lnTo>
                      <a:pt x="5347" y="5237"/>
                    </a:lnTo>
                    <a:lnTo>
                      <a:pt x="5861" y="1956"/>
                    </a:lnTo>
                    <a:lnTo>
                      <a:pt x="9049" y="631"/>
                    </a:lnTo>
                    <a:lnTo>
                      <a:pt x="10129" y="0"/>
                    </a:lnTo>
                    <a:lnTo>
                      <a:pt x="15681" y="1009"/>
                    </a:lnTo>
                    <a:lnTo>
                      <a:pt x="17326" y="6877"/>
                    </a:lnTo>
                    <a:lnTo>
                      <a:pt x="19177" y="9148"/>
                    </a:lnTo>
                    <a:lnTo>
                      <a:pt x="19949" y="12744"/>
                    </a:lnTo>
                    <a:lnTo>
                      <a:pt x="18098" y="11735"/>
                    </a:lnTo>
                    <a:lnTo>
                      <a:pt x="17326" y="12114"/>
                    </a:lnTo>
                    <a:lnTo>
                      <a:pt x="18612" y="15331"/>
                    </a:lnTo>
                    <a:lnTo>
                      <a:pt x="18098" y="18675"/>
                    </a:lnTo>
                    <a:lnTo>
                      <a:pt x="16504" y="18675"/>
                    </a:lnTo>
                    <a:lnTo>
                      <a:pt x="15681" y="19621"/>
                    </a:lnTo>
                    <a:lnTo>
                      <a:pt x="15681" y="19937"/>
                    </a:lnTo>
                    <a:lnTo>
                      <a:pt x="11671" y="18927"/>
                    </a:lnTo>
                    <a:lnTo>
                      <a:pt x="11671" y="18044"/>
                    </a:lnTo>
                    <a:lnTo>
                      <a:pt x="3445" y="18675"/>
                    </a:lnTo>
                    <a:lnTo>
                      <a:pt x="2674" y="18044"/>
                    </a:lnTo>
                    <a:lnTo>
                      <a:pt x="1902" y="1804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2" name="Freeform 237"/>
              <p:cNvSpPr>
                <a:spLocks/>
              </p:cNvSpPr>
              <p:nvPr/>
            </p:nvSpPr>
            <p:spPr bwMode="auto">
              <a:xfrm>
                <a:off x="5561013" y="2508250"/>
                <a:ext cx="112712" cy="85725"/>
              </a:xfrm>
              <a:custGeom>
                <a:avLst/>
                <a:gdLst>
                  <a:gd name="T0" fmla="*/ 4633 w 20000"/>
                  <a:gd name="T1" fmla="*/ 18235 h 20000"/>
                  <a:gd name="T2" fmla="*/ 4633 w 20000"/>
                  <a:gd name="T3" fmla="*/ 13824 h 20000"/>
                  <a:gd name="T4" fmla="*/ 3503 w 20000"/>
                  <a:gd name="T5" fmla="*/ 15294 h 20000"/>
                  <a:gd name="T6" fmla="*/ 1130 w 20000"/>
                  <a:gd name="T7" fmla="*/ 9853 h 20000"/>
                  <a:gd name="T8" fmla="*/ 0 w 20000"/>
                  <a:gd name="T9" fmla="*/ 5441 h 20000"/>
                  <a:gd name="T10" fmla="*/ 10621 w 20000"/>
                  <a:gd name="T11" fmla="*/ 0 h 20000"/>
                  <a:gd name="T12" fmla="*/ 16384 w 20000"/>
                  <a:gd name="T13" fmla="*/ 1471 h 20000"/>
                  <a:gd name="T14" fmla="*/ 15254 w 20000"/>
                  <a:gd name="T15" fmla="*/ 2353 h 20000"/>
                  <a:gd name="T16" fmla="*/ 16949 w 20000"/>
                  <a:gd name="T17" fmla="*/ 7500 h 20000"/>
                  <a:gd name="T18" fmla="*/ 16949 w 20000"/>
                  <a:gd name="T19" fmla="*/ 11471 h 20000"/>
                  <a:gd name="T20" fmla="*/ 19887 w 20000"/>
                  <a:gd name="T21" fmla="*/ 17500 h 20000"/>
                  <a:gd name="T22" fmla="*/ 15254 w 20000"/>
                  <a:gd name="T23" fmla="*/ 19853 h 20000"/>
                  <a:gd name="T24" fmla="*/ 8814 w 20000"/>
                  <a:gd name="T25" fmla="*/ 18235 h 20000"/>
                  <a:gd name="T26" fmla="*/ 4633 w 20000"/>
                  <a:gd name="T27" fmla="*/ 182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4633" y="18235"/>
                    </a:moveTo>
                    <a:lnTo>
                      <a:pt x="4633" y="13824"/>
                    </a:lnTo>
                    <a:lnTo>
                      <a:pt x="3503" y="15294"/>
                    </a:lnTo>
                    <a:lnTo>
                      <a:pt x="1130" y="9853"/>
                    </a:lnTo>
                    <a:lnTo>
                      <a:pt x="0" y="5441"/>
                    </a:lnTo>
                    <a:lnTo>
                      <a:pt x="10621" y="0"/>
                    </a:lnTo>
                    <a:lnTo>
                      <a:pt x="16384" y="1471"/>
                    </a:lnTo>
                    <a:lnTo>
                      <a:pt x="15254" y="2353"/>
                    </a:lnTo>
                    <a:lnTo>
                      <a:pt x="16949" y="7500"/>
                    </a:lnTo>
                    <a:lnTo>
                      <a:pt x="16949" y="11471"/>
                    </a:lnTo>
                    <a:lnTo>
                      <a:pt x="19887" y="17500"/>
                    </a:lnTo>
                    <a:lnTo>
                      <a:pt x="15254" y="19853"/>
                    </a:lnTo>
                    <a:lnTo>
                      <a:pt x="8814" y="18235"/>
                    </a:lnTo>
                    <a:lnTo>
                      <a:pt x="4633" y="182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3" name="Freeform 236"/>
              <p:cNvSpPr>
                <a:spLocks/>
              </p:cNvSpPr>
              <p:nvPr/>
            </p:nvSpPr>
            <p:spPr bwMode="auto">
              <a:xfrm>
                <a:off x="6051550" y="3130550"/>
                <a:ext cx="198438" cy="79375"/>
              </a:xfrm>
              <a:custGeom>
                <a:avLst/>
                <a:gdLst>
                  <a:gd name="T0" fmla="*/ 10641 w 20000"/>
                  <a:gd name="T1" fmla="*/ 18889 h 20000"/>
                  <a:gd name="T2" fmla="*/ 8654 w 20000"/>
                  <a:gd name="T3" fmla="*/ 14921 h 20000"/>
                  <a:gd name="T4" fmla="*/ 4615 w 20000"/>
                  <a:gd name="T5" fmla="*/ 16508 h 20000"/>
                  <a:gd name="T6" fmla="*/ 4615 w 20000"/>
                  <a:gd name="T7" fmla="*/ 10794 h 20000"/>
                  <a:gd name="T8" fmla="*/ 3013 w 20000"/>
                  <a:gd name="T9" fmla="*/ 4286 h 20000"/>
                  <a:gd name="T10" fmla="*/ 0 w 20000"/>
                  <a:gd name="T11" fmla="*/ 0 h 20000"/>
                  <a:gd name="T12" fmla="*/ 9615 w 20000"/>
                  <a:gd name="T13" fmla="*/ 0 h 20000"/>
                  <a:gd name="T14" fmla="*/ 17628 w 20000"/>
                  <a:gd name="T15" fmla="*/ 10794 h 20000"/>
                  <a:gd name="T16" fmla="*/ 19936 w 20000"/>
                  <a:gd name="T17" fmla="*/ 16508 h 20000"/>
                  <a:gd name="T18" fmla="*/ 19936 w 20000"/>
                  <a:gd name="T19" fmla="*/ 19841 h 20000"/>
                  <a:gd name="T20" fmla="*/ 10641 w 20000"/>
                  <a:gd name="T21" fmla="*/ 1888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0641" y="18889"/>
                    </a:moveTo>
                    <a:lnTo>
                      <a:pt x="8654" y="14921"/>
                    </a:lnTo>
                    <a:lnTo>
                      <a:pt x="4615" y="16508"/>
                    </a:lnTo>
                    <a:lnTo>
                      <a:pt x="4615" y="10794"/>
                    </a:lnTo>
                    <a:lnTo>
                      <a:pt x="3013" y="4286"/>
                    </a:lnTo>
                    <a:lnTo>
                      <a:pt x="0" y="0"/>
                    </a:lnTo>
                    <a:lnTo>
                      <a:pt x="9615" y="0"/>
                    </a:lnTo>
                    <a:lnTo>
                      <a:pt x="17628" y="10794"/>
                    </a:lnTo>
                    <a:lnTo>
                      <a:pt x="19936" y="16508"/>
                    </a:lnTo>
                    <a:lnTo>
                      <a:pt x="19936" y="19841"/>
                    </a:lnTo>
                    <a:lnTo>
                      <a:pt x="10641" y="1888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4" name="Freeform 235"/>
              <p:cNvSpPr>
                <a:spLocks/>
              </p:cNvSpPr>
              <p:nvPr/>
            </p:nvSpPr>
            <p:spPr bwMode="auto">
              <a:xfrm>
                <a:off x="5508625" y="2584450"/>
                <a:ext cx="207963" cy="98425"/>
              </a:xfrm>
              <a:custGeom>
                <a:avLst/>
                <a:gdLst>
                  <a:gd name="T0" fmla="*/ 0 w 20000"/>
                  <a:gd name="T1" fmla="*/ 13846 h 20000"/>
                  <a:gd name="T2" fmla="*/ 976 w 20000"/>
                  <a:gd name="T3" fmla="*/ 5256 h 20000"/>
                  <a:gd name="T4" fmla="*/ 3476 w 20000"/>
                  <a:gd name="T5" fmla="*/ 513 h 20000"/>
                  <a:gd name="T6" fmla="*/ 5671 w 20000"/>
                  <a:gd name="T7" fmla="*/ 7308 h 20000"/>
                  <a:gd name="T8" fmla="*/ 6585 w 20000"/>
                  <a:gd name="T9" fmla="*/ 7308 h 20000"/>
                  <a:gd name="T10" fmla="*/ 7561 w 20000"/>
                  <a:gd name="T11" fmla="*/ 6026 h 20000"/>
                  <a:gd name="T12" fmla="*/ 7561 w 20000"/>
                  <a:gd name="T13" fmla="*/ 513 h 20000"/>
                  <a:gd name="T14" fmla="*/ 9817 w 20000"/>
                  <a:gd name="T15" fmla="*/ 513 h 20000"/>
                  <a:gd name="T16" fmla="*/ 13293 w 20000"/>
                  <a:gd name="T17" fmla="*/ 2051 h 20000"/>
                  <a:gd name="T18" fmla="*/ 15793 w 20000"/>
                  <a:gd name="T19" fmla="*/ 0 h 20000"/>
                  <a:gd name="T20" fmla="*/ 17683 w 20000"/>
                  <a:gd name="T21" fmla="*/ 513 h 20000"/>
                  <a:gd name="T22" fmla="*/ 19939 w 20000"/>
                  <a:gd name="T23" fmla="*/ 6026 h 20000"/>
                  <a:gd name="T24" fmla="*/ 18963 w 20000"/>
                  <a:gd name="T25" fmla="*/ 15897 h 20000"/>
                  <a:gd name="T26" fmla="*/ 17683 w 20000"/>
                  <a:gd name="T27" fmla="*/ 17179 h 20000"/>
                  <a:gd name="T28" fmla="*/ 13902 w 20000"/>
                  <a:gd name="T29" fmla="*/ 19872 h 20000"/>
                  <a:gd name="T30" fmla="*/ 12683 w 20000"/>
                  <a:gd name="T31" fmla="*/ 17821 h 20000"/>
                  <a:gd name="T32" fmla="*/ 11707 w 20000"/>
                  <a:gd name="T33" fmla="*/ 17179 h 20000"/>
                  <a:gd name="T34" fmla="*/ 10122 w 20000"/>
                  <a:gd name="T35" fmla="*/ 14615 h 20000"/>
                  <a:gd name="T36" fmla="*/ 6585 w 20000"/>
                  <a:gd name="T37" fmla="*/ 12564 h 20000"/>
                  <a:gd name="T38" fmla="*/ 4085 w 20000"/>
                  <a:gd name="T39" fmla="*/ 12564 h 20000"/>
                  <a:gd name="T40" fmla="*/ 0 w 20000"/>
                  <a:gd name="T41" fmla="*/ 1384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0" y="13846"/>
                    </a:moveTo>
                    <a:lnTo>
                      <a:pt x="976" y="5256"/>
                    </a:lnTo>
                    <a:lnTo>
                      <a:pt x="3476" y="513"/>
                    </a:lnTo>
                    <a:lnTo>
                      <a:pt x="5671" y="7308"/>
                    </a:lnTo>
                    <a:lnTo>
                      <a:pt x="6585" y="7308"/>
                    </a:lnTo>
                    <a:lnTo>
                      <a:pt x="7561" y="6026"/>
                    </a:lnTo>
                    <a:lnTo>
                      <a:pt x="7561" y="513"/>
                    </a:lnTo>
                    <a:lnTo>
                      <a:pt x="9817" y="513"/>
                    </a:lnTo>
                    <a:lnTo>
                      <a:pt x="13293" y="2051"/>
                    </a:lnTo>
                    <a:lnTo>
                      <a:pt x="15793" y="0"/>
                    </a:lnTo>
                    <a:lnTo>
                      <a:pt x="17683" y="513"/>
                    </a:lnTo>
                    <a:lnTo>
                      <a:pt x="19939" y="6026"/>
                    </a:lnTo>
                    <a:lnTo>
                      <a:pt x="18963" y="15897"/>
                    </a:lnTo>
                    <a:lnTo>
                      <a:pt x="17683" y="17179"/>
                    </a:lnTo>
                    <a:lnTo>
                      <a:pt x="13902" y="19872"/>
                    </a:lnTo>
                    <a:lnTo>
                      <a:pt x="12683" y="17821"/>
                    </a:lnTo>
                    <a:lnTo>
                      <a:pt x="11707" y="17179"/>
                    </a:lnTo>
                    <a:lnTo>
                      <a:pt x="10122" y="14615"/>
                    </a:lnTo>
                    <a:lnTo>
                      <a:pt x="6585" y="12564"/>
                    </a:lnTo>
                    <a:lnTo>
                      <a:pt x="4085" y="12564"/>
                    </a:lnTo>
                    <a:lnTo>
                      <a:pt x="0" y="1384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5" name="Freeform 234"/>
              <p:cNvSpPr>
                <a:spLocks/>
              </p:cNvSpPr>
              <p:nvPr/>
            </p:nvSpPr>
            <p:spPr bwMode="auto">
              <a:xfrm>
                <a:off x="5486400" y="2647950"/>
                <a:ext cx="168275" cy="109538"/>
              </a:xfrm>
              <a:custGeom>
                <a:avLst/>
                <a:gdLst>
                  <a:gd name="T0" fmla="*/ 12075 w 20000"/>
                  <a:gd name="T1" fmla="*/ 19884 h 20000"/>
                  <a:gd name="T2" fmla="*/ 10189 w 20000"/>
                  <a:gd name="T3" fmla="*/ 14419 h 20000"/>
                  <a:gd name="T4" fmla="*/ 0 w 20000"/>
                  <a:gd name="T5" fmla="*/ 14419 h 20000"/>
                  <a:gd name="T6" fmla="*/ 2038 w 20000"/>
                  <a:gd name="T7" fmla="*/ 12558 h 20000"/>
                  <a:gd name="T8" fmla="*/ 0 w 20000"/>
                  <a:gd name="T9" fmla="*/ 13953 h 20000"/>
                  <a:gd name="T10" fmla="*/ 830 w 20000"/>
                  <a:gd name="T11" fmla="*/ 12093 h 20000"/>
                  <a:gd name="T12" fmla="*/ 4679 w 20000"/>
                  <a:gd name="T13" fmla="*/ 12093 h 20000"/>
                  <a:gd name="T14" fmla="*/ 2792 w 20000"/>
                  <a:gd name="T15" fmla="*/ 1163 h 20000"/>
                  <a:gd name="T16" fmla="*/ 7849 w 20000"/>
                  <a:gd name="T17" fmla="*/ 0 h 20000"/>
                  <a:gd name="T18" fmla="*/ 10943 w 20000"/>
                  <a:gd name="T19" fmla="*/ 0 h 20000"/>
                  <a:gd name="T20" fmla="*/ 15321 w 20000"/>
                  <a:gd name="T21" fmla="*/ 1860 h 20000"/>
                  <a:gd name="T22" fmla="*/ 17208 w 20000"/>
                  <a:gd name="T23" fmla="*/ 4186 h 20000"/>
                  <a:gd name="T24" fmla="*/ 18415 w 20000"/>
                  <a:gd name="T25" fmla="*/ 4767 h 20000"/>
                  <a:gd name="T26" fmla="*/ 19925 w 20000"/>
                  <a:gd name="T27" fmla="*/ 6628 h 20000"/>
                  <a:gd name="T28" fmla="*/ 19170 w 20000"/>
                  <a:gd name="T29" fmla="*/ 12558 h 20000"/>
                  <a:gd name="T30" fmla="*/ 16377 w 20000"/>
                  <a:gd name="T31" fmla="*/ 16860 h 20000"/>
                  <a:gd name="T32" fmla="*/ 12075 w 20000"/>
                  <a:gd name="T33" fmla="*/ 198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2075" y="19884"/>
                    </a:moveTo>
                    <a:lnTo>
                      <a:pt x="10189" y="14419"/>
                    </a:lnTo>
                    <a:lnTo>
                      <a:pt x="0" y="14419"/>
                    </a:lnTo>
                    <a:lnTo>
                      <a:pt x="2038" y="12558"/>
                    </a:lnTo>
                    <a:lnTo>
                      <a:pt x="0" y="13953"/>
                    </a:lnTo>
                    <a:lnTo>
                      <a:pt x="830" y="12093"/>
                    </a:lnTo>
                    <a:lnTo>
                      <a:pt x="4679" y="12093"/>
                    </a:lnTo>
                    <a:lnTo>
                      <a:pt x="2792" y="1163"/>
                    </a:lnTo>
                    <a:lnTo>
                      <a:pt x="7849" y="0"/>
                    </a:lnTo>
                    <a:lnTo>
                      <a:pt x="10943" y="0"/>
                    </a:lnTo>
                    <a:lnTo>
                      <a:pt x="15321" y="1860"/>
                    </a:lnTo>
                    <a:lnTo>
                      <a:pt x="17208" y="4186"/>
                    </a:lnTo>
                    <a:lnTo>
                      <a:pt x="18415" y="4767"/>
                    </a:lnTo>
                    <a:lnTo>
                      <a:pt x="19925" y="6628"/>
                    </a:lnTo>
                    <a:lnTo>
                      <a:pt x="19170" y="12558"/>
                    </a:lnTo>
                    <a:lnTo>
                      <a:pt x="16377" y="16860"/>
                    </a:lnTo>
                    <a:lnTo>
                      <a:pt x="12075" y="198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6" name="Freeform 233"/>
              <p:cNvSpPr>
                <a:spLocks/>
              </p:cNvSpPr>
              <p:nvPr/>
            </p:nvSpPr>
            <p:spPr bwMode="auto">
              <a:xfrm>
                <a:off x="5692775" y="2965450"/>
                <a:ext cx="92075" cy="96838"/>
              </a:xfrm>
              <a:custGeom>
                <a:avLst/>
                <a:gdLst>
                  <a:gd name="T0" fmla="*/ 0 w 20000"/>
                  <a:gd name="T1" fmla="*/ 0 h 20000"/>
                  <a:gd name="T2" fmla="*/ 6986 w 20000"/>
                  <a:gd name="T3" fmla="*/ 2105 h 20000"/>
                  <a:gd name="T4" fmla="*/ 10685 w 20000"/>
                  <a:gd name="T5" fmla="*/ 2105 h 20000"/>
                  <a:gd name="T6" fmla="*/ 14247 w 20000"/>
                  <a:gd name="T7" fmla="*/ 7500 h 20000"/>
                  <a:gd name="T8" fmla="*/ 14932 w 20000"/>
                  <a:gd name="T9" fmla="*/ 10263 h 20000"/>
                  <a:gd name="T10" fmla="*/ 19863 w 20000"/>
                  <a:gd name="T11" fmla="*/ 13684 h 20000"/>
                  <a:gd name="T12" fmla="*/ 12877 w 20000"/>
                  <a:gd name="T13" fmla="*/ 14474 h 20000"/>
                  <a:gd name="T14" fmla="*/ 10685 w 20000"/>
                  <a:gd name="T15" fmla="*/ 16447 h 20000"/>
                  <a:gd name="T16" fmla="*/ 8493 w 20000"/>
                  <a:gd name="T17" fmla="*/ 19868 h 20000"/>
                  <a:gd name="T18" fmla="*/ 6986 w 20000"/>
                  <a:gd name="T19" fmla="*/ 8947 h 20000"/>
                  <a:gd name="T20" fmla="*/ 6438 w 20000"/>
                  <a:gd name="T21" fmla="*/ 8947 h 20000"/>
                  <a:gd name="T22" fmla="*/ 0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0" y="0"/>
                    </a:moveTo>
                    <a:lnTo>
                      <a:pt x="6986" y="2105"/>
                    </a:lnTo>
                    <a:lnTo>
                      <a:pt x="10685" y="2105"/>
                    </a:lnTo>
                    <a:lnTo>
                      <a:pt x="14247" y="7500"/>
                    </a:lnTo>
                    <a:lnTo>
                      <a:pt x="14932" y="10263"/>
                    </a:lnTo>
                    <a:lnTo>
                      <a:pt x="19863" y="13684"/>
                    </a:lnTo>
                    <a:lnTo>
                      <a:pt x="12877" y="14474"/>
                    </a:lnTo>
                    <a:lnTo>
                      <a:pt x="10685" y="16447"/>
                    </a:lnTo>
                    <a:lnTo>
                      <a:pt x="8493" y="19868"/>
                    </a:lnTo>
                    <a:lnTo>
                      <a:pt x="6986" y="8947"/>
                    </a:lnTo>
                    <a:lnTo>
                      <a:pt x="6438" y="8947"/>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7" name="Freeform 232"/>
              <p:cNvSpPr>
                <a:spLocks/>
              </p:cNvSpPr>
              <p:nvPr/>
            </p:nvSpPr>
            <p:spPr bwMode="auto">
              <a:xfrm>
                <a:off x="5630863" y="1336675"/>
                <a:ext cx="3771900" cy="1860550"/>
              </a:xfrm>
              <a:custGeom>
                <a:avLst/>
                <a:gdLst>
                  <a:gd name="T0" fmla="*/ 1603 w 20000"/>
                  <a:gd name="T1" fmla="*/ 8692 h 20000"/>
                  <a:gd name="T2" fmla="*/ 1148 w 20000"/>
                  <a:gd name="T3" fmla="*/ 9710 h 20000"/>
                  <a:gd name="T4" fmla="*/ 1741 w 20000"/>
                  <a:gd name="T5" fmla="*/ 7948 h 20000"/>
                  <a:gd name="T6" fmla="*/ 2875 w 20000"/>
                  <a:gd name="T7" fmla="*/ 7812 h 20000"/>
                  <a:gd name="T8" fmla="*/ 3380 w 20000"/>
                  <a:gd name="T9" fmla="*/ 7661 h 20000"/>
                  <a:gd name="T10" fmla="*/ 4586 w 20000"/>
                  <a:gd name="T11" fmla="*/ 7033 h 20000"/>
                  <a:gd name="T12" fmla="*/ 4391 w 20000"/>
                  <a:gd name="T13" fmla="*/ 5579 h 20000"/>
                  <a:gd name="T14" fmla="*/ 5178 w 20000"/>
                  <a:gd name="T15" fmla="*/ 8228 h 20000"/>
                  <a:gd name="T16" fmla="*/ 6118 w 20000"/>
                  <a:gd name="T17" fmla="*/ 7491 h 20000"/>
                  <a:gd name="T18" fmla="*/ 4983 w 20000"/>
                  <a:gd name="T19" fmla="*/ 4841 h 20000"/>
                  <a:gd name="T20" fmla="*/ 5859 w 20000"/>
                  <a:gd name="T21" fmla="*/ 5189 h 20000"/>
                  <a:gd name="T22" fmla="*/ 6259 w 20000"/>
                  <a:gd name="T23" fmla="*/ 5934 h 20000"/>
                  <a:gd name="T24" fmla="*/ 6222 w 20000"/>
                  <a:gd name="T25" fmla="*/ 3988 h 20000"/>
                  <a:gd name="T26" fmla="*/ 6051 w 20000"/>
                  <a:gd name="T27" fmla="*/ 3073 h 20000"/>
                  <a:gd name="T28" fmla="*/ 6902 w 20000"/>
                  <a:gd name="T29" fmla="*/ 2219 h 20000"/>
                  <a:gd name="T30" fmla="*/ 7165 w 20000"/>
                  <a:gd name="T31" fmla="*/ 1311 h 20000"/>
                  <a:gd name="T32" fmla="*/ 7549 w 20000"/>
                  <a:gd name="T33" fmla="*/ 990 h 20000"/>
                  <a:gd name="T34" fmla="*/ 8700 w 20000"/>
                  <a:gd name="T35" fmla="*/ 1379 h 20000"/>
                  <a:gd name="T36" fmla="*/ 8316 w 20000"/>
                  <a:gd name="T37" fmla="*/ 2970 h 20000"/>
                  <a:gd name="T38" fmla="*/ 8818 w 20000"/>
                  <a:gd name="T39" fmla="*/ 2684 h 20000"/>
                  <a:gd name="T40" fmla="*/ 9414 w 20000"/>
                  <a:gd name="T41" fmla="*/ 2506 h 20000"/>
                  <a:gd name="T42" fmla="*/ 10202 w 20000"/>
                  <a:gd name="T43" fmla="*/ 1939 h 20000"/>
                  <a:gd name="T44" fmla="*/ 11246 w 20000"/>
                  <a:gd name="T45" fmla="*/ 2608 h 20000"/>
                  <a:gd name="T46" fmla="*/ 12364 w 20000"/>
                  <a:gd name="T47" fmla="*/ 2048 h 20000"/>
                  <a:gd name="T48" fmla="*/ 13040 w 20000"/>
                  <a:gd name="T49" fmla="*/ 990 h 20000"/>
                  <a:gd name="T50" fmla="*/ 13407 w 20000"/>
                  <a:gd name="T51" fmla="*/ 990 h 20000"/>
                  <a:gd name="T52" fmla="*/ 15502 w 20000"/>
                  <a:gd name="T53" fmla="*/ 1550 h 20000"/>
                  <a:gd name="T54" fmla="*/ 16475 w 20000"/>
                  <a:gd name="T55" fmla="*/ 669 h 20000"/>
                  <a:gd name="T56" fmla="*/ 18657 w 20000"/>
                  <a:gd name="T57" fmla="*/ 526 h 20000"/>
                  <a:gd name="T58" fmla="*/ 19354 w 20000"/>
                  <a:gd name="T59" fmla="*/ 635 h 20000"/>
                  <a:gd name="T60" fmla="*/ 19997 w 20000"/>
                  <a:gd name="T61" fmla="*/ 2581 h 20000"/>
                  <a:gd name="T62" fmla="*/ 18966 w 20000"/>
                  <a:gd name="T63" fmla="*/ 2219 h 20000"/>
                  <a:gd name="T64" fmla="*/ 18532 w 20000"/>
                  <a:gd name="T65" fmla="*/ 2970 h 20000"/>
                  <a:gd name="T66" fmla="*/ 19108 w 20000"/>
                  <a:gd name="T67" fmla="*/ 3878 h 20000"/>
                  <a:gd name="T68" fmla="*/ 18848 w 20000"/>
                  <a:gd name="T69" fmla="*/ 5900 h 20000"/>
                  <a:gd name="T70" fmla="*/ 18290 w 20000"/>
                  <a:gd name="T71" fmla="*/ 6958 h 20000"/>
                  <a:gd name="T72" fmla="*/ 18098 w 20000"/>
                  <a:gd name="T73" fmla="*/ 8863 h 20000"/>
                  <a:gd name="T74" fmla="*/ 18465 w 20000"/>
                  <a:gd name="T75" fmla="*/ 10953 h 20000"/>
                  <a:gd name="T76" fmla="*/ 17384 w 20000"/>
                  <a:gd name="T77" fmla="*/ 9990 h 20000"/>
                  <a:gd name="T78" fmla="*/ 17663 w 20000"/>
                  <a:gd name="T79" fmla="*/ 5756 h 20000"/>
                  <a:gd name="T80" fmla="*/ 17242 w 20000"/>
                  <a:gd name="T81" fmla="*/ 7060 h 20000"/>
                  <a:gd name="T82" fmla="*/ 16599 w 20000"/>
                  <a:gd name="T83" fmla="*/ 8720 h 20000"/>
                  <a:gd name="T84" fmla="*/ 15916 w 20000"/>
                  <a:gd name="T85" fmla="*/ 8904 h 20000"/>
                  <a:gd name="T86" fmla="*/ 15131 w 20000"/>
                  <a:gd name="T87" fmla="*/ 12571 h 20000"/>
                  <a:gd name="T88" fmla="*/ 15778 w 20000"/>
                  <a:gd name="T89" fmla="*/ 12714 h 20000"/>
                  <a:gd name="T90" fmla="*/ 15185 w 20000"/>
                  <a:gd name="T91" fmla="*/ 18334 h 20000"/>
                  <a:gd name="T92" fmla="*/ 15131 w 20000"/>
                  <a:gd name="T93" fmla="*/ 15575 h 20000"/>
                  <a:gd name="T94" fmla="*/ 13721 w 20000"/>
                  <a:gd name="T95" fmla="*/ 13424 h 20000"/>
                  <a:gd name="T96" fmla="*/ 12990 w 20000"/>
                  <a:gd name="T97" fmla="*/ 14906 h 20000"/>
                  <a:gd name="T98" fmla="*/ 11488 w 20000"/>
                  <a:gd name="T99" fmla="*/ 15541 h 20000"/>
                  <a:gd name="T100" fmla="*/ 10148 w 20000"/>
                  <a:gd name="T101" fmla="*/ 15753 h 20000"/>
                  <a:gd name="T102" fmla="*/ 8771 w 20000"/>
                  <a:gd name="T103" fmla="*/ 16217 h 20000"/>
                  <a:gd name="T104" fmla="*/ 4758 w 20000"/>
                  <a:gd name="T105" fmla="*/ 14660 h 20000"/>
                  <a:gd name="T106" fmla="*/ 3118 w 20000"/>
                  <a:gd name="T107" fmla="*/ 18791 h 20000"/>
                  <a:gd name="T108" fmla="*/ 2091 w 20000"/>
                  <a:gd name="T109" fmla="*/ 19078 h 20000"/>
                  <a:gd name="T110" fmla="*/ 1832 w 20000"/>
                  <a:gd name="T111" fmla="*/ 16886 h 20000"/>
                  <a:gd name="T112" fmla="*/ 455 w 20000"/>
                  <a:gd name="T113" fmla="*/ 13745 h 20000"/>
                  <a:gd name="T114" fmla="*/ 313 w 20000"/>
                  <a:gd name="T115" fmla="*/ 12332 h 20000"/>
                  <a:gd name="T116" fmla="*/ 276 w 20000"/>
                  <a:gd name="T117" fmla="*/ 99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138" y="7702"/>
                    </a:moveTo>
                    <a:lnTo>
                      <a:pt x="192" y="7702"/>
                    </a:lnTo>
                    <a:lnTo>
                      <a:pt x="259" y="7702"/>
                    </a:lnTo>
                    <a:lnTo>
                      <a:pt x="226" y="7661"/>
                    </a:lnTo>
                    <a:lnTo>
                      <a:pt x="488" y="7661"/>
                    </a:lnTo>
                    <a:lnTo>
                      <a:pt x="401" y="7702"/>
                    </a:lnTo>
                    <a:lnTo>
                      <a:pt x="542" y="7771"/>
                    </a:lnTo>
                    <a:lnTo>
                      <a:pt x="542" y="7948"/>
                    </a:lnTo>
                    <a:lnTo>
                      <a:pt x="556" y="7812"/>
                    </a:lnTo>
                    <a:lnTo>
                      <a:pt x="785" y="7812"/>
                    </a:lnTo>
                    <a:lnTo>
                      <a:pt x="1377" y="8262"/>
                    </a:lnTo>
                    <a:lnTo>
                      <a:pt x="1603" y="8692"/>
                    </a:lnTo>
                    <a:lnTo>
                      <a:pt x="1465" y="9082"/>
                    </a:lnTo>
                    <a:lnTo>
                      <a:pt x="1273" y="9252"/>
                    </a:lnTo>
                    <a:lnTo>
                      <a:pt x="488" y="8795"/>
                    </a:lnTo>
                    <a:lnTo>
                      <a:pt x="872" y="9430"/>
                    </a:lnTo>
                    <a:lnTo>
                      <a:pt x="852" y="9710"/>
                    </a:lnTo>
                    <a:lnTo>
                      <a:pt x="923" y="10174"/>
                    </a:lnTo>
                    <a:lnTo>
                      <a:pt x="1273" y="10454"/>
                    </a:lnTo>
                    <a:lnTo>
                      <a:pt x="1360" y="10386"/>
                    </a:lnTo>
                    <a:lnTo>
                      <a:pt x="1290" y="10174"/>
                    </a:lnTo>
                    <a:lnTo>
                      <a:pt x="1219" y="10099"/>
                    </a:lnTo>
                    <a:lnTo>
                      <a:pt x="1094" y="9894"/>
                    </a:lnTo>
                    <a:lnTo>
                      <a:pt x="1148" y="9710"/>
                    </a:lnTo>
                    <a:lnTo>
                      <a:pt x="1323" y="9894"/>
                    </a:lnTo>
                    <a:lnTo>
                      <a:pt x="1323" y="9990"/>
                    </a:lnTo>
                    <a:lnTo>
                      <a:pt x="1636" y="9990"/>
                    </a:lnTo>
                    <a:lnTo>
                      <a:pt x="1498" y="9464"/>
                    </a:lnTo>
                    <a:lnTo>
                      <a:pt x="1586" y="9252"/>
                    </a:lnTo>
                    <a:lnTo>
                      <a:pt x="1727" y="8972"/>
                    </a:lnTo>
                    <a:lnTo>
                      <a:pt x="1879" y="8972"/>
                    </a:lnTo>
                    <a:lnTo>
                      <a:pt x="2003" y="9150"/>
                    </a:lnTo>
                    <a:lnTo>
                      <a:pt x="2003" y="8720"/>
                    </a:lnTo>
                    <a:lnTo>
                      <a:pt x="1879" y="8549"/>
                    </a:lnTo>
                    <a:lnTo>
                      <a:pt x="1865" y="8051"/>
                    </a:lnTo>
                    <a:lnTo>
                      <a:pt x="1741" y="7948"/>
                    </a:lnTo>
                    <a:lnTo>
                      <a:pt x="2091" y="7982"/>
                    </a:lnTo>
                    <a:lnTo>
                      <a:pt x="2195" y="8228"/>
                    </a:lnTo>
                    <a:lnTo>
                      <a:pt x="2024" y="8330"/>
                    </a:lnTo>
                    <a:lnTo>
                      <a:pt x="2024" y="8440"/>
                    </a:lnTo>
                    <a:lnTo>
                      <a:pt x="2229" y="8720"/>
                    </a:lnTo>
                    <a:lnTo>
                      <a:pt x="2370" y="8617"/>
                    </a:lnTo>
                    <a:lnTo>
                      <a:pt x="2370" y="8330"/>
                    </a:lnTo>
                    <a:lnTo>
                      <a:pt x="2475" y="8262"/>
                    </a:lnTo>
                    <a:lnTo>
                      <a:pt x="2424" y="8160"/>
                    </a:lnTo>
                    <a:lnTo>
                      <a:pt x="2788" y="7771"/>
                    </a:lnTo>
                    <a:lnTo>
                      <a:pt x="2842" y="7948"/>
                    </a:lnTo>
                    <a:lnTo>
                      <a:pt x="2875" y="7812"/>
                    </a:lnTo>
                    <a:lnTo>
                      <a:pt x="2822" y="7771"/>
                    </a:lnTo>
                    <a:lnTo>
                      <a:pt x="2980" y="7525"/>
                    </a:lnTo>
                    <a:lnTo>
                      <a:pt x="3051" y="7525"/>
                    </a:lnTo>
                    <a:lnTo>
                      <a:pt x="2966" y="7593"/>
                    </a:lnTo>
                    <a:lnTo>
                      <a:pt x="3013" y="7812"/>
                    </a:lnTo>
                    <a:lnTo>
                      <a:pt x="2966" y="7982"/>
                    </a:lnTo>
                    <a:lnTo>
                      <a:pt x="2980" y="8051"/>
                    </a:lnTo>
                    <a:lnTo>
                      <a:pt x="3104" y="7880"/>
                    </a:lnTo>
                    <a:lnTo>
                      <a:pt x="3155" y="7948"/>
                    </a:lnTo>
                    <a:lnTo>
                      <a:pt x="3155" y="7702"/>
                    </a:lnTo>
                    <a:lnTo>
                      <a:pt x="3242" y="7661"/>
                    </a:lnTo>
                    <a:lnTo>
                      <a:pt x="3380" y="7661"/>
                    </a:lnTo>
                    <a:lnTo>
                      <a:pt x="3606" y="7422"/>
                    </a:lnTo>
                    <a:lnTo>
                      <a:pt x="3660" y="7702"/>
                    </a:lnTo>
                    <a:lnTo>
                      <a:pt x="3710" y="7702"/>
                    </a:lnTo>
                    <a:lnTo>
                      <a:pt x="3710" y="7525"/>
                    </a:lnTo>
                    <a:lnTo>
                      <a:pt x="3801" y="7422"/>
                    </a:lnTo>
                    <a:lnTo>
                      <a:pt x="3660" y="7060"/>
                    </a:lnTo>
                    <a:lnTo>
                      <a:pt x="3697" y="6958"/>
                    </a:lnTo>
                    <a:lnTo>
                      <a:pt x="4219" y="7060"/>
                    </a:lnTo>
                    <a:lnTo>
                      <a:pt x="4569" y="7238"/>
                    </a:lnTo>
                    <a:lnTo>
                      <a:pt x="4758" y="7525"/>
                    </a:lnTo>
                    <a:lnTo>
                      <a:pt x="4791" y="7129"/>
                    </a:lnTo>
                    <a:lnTo>
                      <a:pt x="4586" y="7033"/>
                    </a:lnTo>
                    <a:lnTo>
                      <a:pt x="4586" y="6849"/>
                    </a:lnTo>
                    <a:lnTo>
                      <a:pt x="4428" y="6849"/>
                    </a:lnTo>
                    <a:lnTo>
                      <a:pt x="4391" y="6671"/>
                    </a:lnTo>
                    <a:lnTo>
                      <a:pt x="4428" y="6671"/>
                    </a:lnTo>
                    <a:lnTo>
                      <a:pt x="4444" y="6637"/>
                    </a:lnTo>
                    <a:lnTo>
                      <a:pt x="4377" y="6221"/>
                    </a:lnTo>
                    <a:lnTo>
                      <a:pt x="4306" y="6323"/>
                    </a:lnTo>
                    <a:lnTo>
                      <a:pt x="4306" y="6111"/>
                    </a:lnTo>
                    <a:lnTo>
                      <a:pt x="4253" y="6180"/>
                    </a:lnTo>
                    <a:lnTo>
                      <a:pt x="4290" y="6002"/>
                    </a:lnTo>
                    <a:lnTo>
                      <a:pt x="4377" y="5900"/>
                    </a:lnTo>
                    <a:lnTo>
                      <a:pt x="4391" y="5579"/>
                    </a:lnTo>
                    <a:lnTo>
                      <a:pt x="4343" y="5012"/>
                    </a:lnTo>
                    <a:lnTo>
                      <a:pt x="4758" y="5012"/>
                    </a:lnTo>
                    <a:lnTo>
                      <a:pt x="4811" y="5299"/>
                    </a:lnTo>
                    <a:lnTo>
                      <a:pt x="4811" y="5722"/>
                    </a:lnTo>
                    <a:lnTo>
                      <a:pt x="4983" y="6043"/>
                    </a:lnTo>
                    <a:lnTo>
                      <a:pt x="5212" y="7060"/>
                    </a:lnTo>
                    <a:lnTo>
                      <a:pt x="5387" y="7204"/>
                    </a:lnTo>
                    <a:lnTo>
                      <a:pt x="5316" y="7313"/>
                    </a:lnTo>
                    <a:lnTo>
                      <a:pt x="5387" y="7593"/>
                    </a:lnTo>
                    <a:lnTo>
                      <a:pt x="5266" y="7982"/>
                    </a:lnTo>
                    <a:lnTo>
                      <a:pt x="5300" y="8119"/>
                    </a:lnTo>
                    <a:lnTo>
                      <a:pt x="5178" y="8228"/>
                    </a:lnTo>
                    <a:lnTo>
                      <a:pt x="5074" y="8051"/>
                    </a:lnTo>
                    <a:lnTo>
                      <a:pt x="4933" y="8160"/>
                    </a:lnTo>
                    <a:lnTo>
                      <a:pt x="5162" y="8330"/>
                    </a:lnTo>
                    <a:lnTo>
                      <a:pt x="5438" y="8262"/>
                    </a:lnTo>
                    <a:lnTo>
                      <a:pt x="5404" y="8119"/>
                    </a:lnTo>
                    <a:lnTo>
                      <a:pt x="5542" y="7880"/>
                    </a:lnTo>
                    <a:lnTo>
                      <a:pt x="5576" y="7525"/>
                    </a:lnTo>
                    <a:lnTo>
                      <a:pt x="5438" y="7060"/>
                    </a:lnTo>
                    <a:lnTo>
                      <a:pt x="5667" y="6849"/>
                    </a:lnTo>
                    <a:lnTo>
                      <a:pt x="5805" y="7033"/>
                    </a:lnTo>
                    <a:lnTo>
                      <a:pt x="5859" y="7422"/>
                    </a:lnTo>
                    <a:lnTo>
                      <a:pt x="6118" y="7491"/>
                    </a:lnTo>
                    <a:lnTo>
                      <a:pt x="5912" y="7422"/>
                    </a:lnTo>
                    <a:lnTo>
                      <a:pt x="5892" y="7204"/>
                    </a:lnTo>
                    <a:lnTo>
                      <a:pt x="5912" y="7129"/>
                    </a:lnTo>
                    <a:lnTo>
                      <a:pt x="5805" y="6849"/>
                    </a:lnTo>
                    <a:lnTo>
                      <a:pt x="5525" y="6740"/>
                    </a:lnTo>
                    <a:lnTo>
                      <a:pt x="5316" y="6924"/>
                    </a:lnTo>
                    <a:lnTo>
                      <a:pt x="5212" y="6501"/>
                    </a:lnTo>
                    <a:lnTo>
                      <a:pt x="5178" y="6002"/>
                    </a:lnTo>
                    <a:lnTo>
                      <a:pt x="4949" y="5722"/>
                    </a:lnTo>
                    <a:lnTo>
                      <a:pt x="4949" y="5469"/>
                    </a:lnTo>
                    <a:lnTo>
                      <a:pt x="5037" y="5367"/>
                    </a:lnTo>
                    <a:lnTo>
                      <a:pt x="4983" y="4841"/>
                    </a:lnTo>
                    <a:lnTo>
                      <a:pt x="5162" y="5189"/>
                    </a:lnTo>
                    <a:lnTo>
                      <a:pt x="5162" y="5442"/>
                    </a:lnTo>
                    <a:lnTo>
                      <a:pt x="5212" y="5654"/>
                    </a:lnTo>
                    <a:lnTo>
                      <a:pt x="5316" y="5722"/>
                    </a:lnTo>
                    <a:lnTo>
                      <a:pt x="5721" y="5831"/>
                    </a:lnTo>
                    <a:lnTo>
                      <a:pt x="5246" y="5367"/>
                    </a:lnTo>
                    <a:lnTo>
                      <a:pt x="5266" y="5258"/>
                    </a:lnTo>
                    <a:lnTo>
                      <a:pt x="5492" y="5258"/>
                    </a:lnTo>
                    <a:lnTo>
                      <a:pt x="5387" y="5189"/>
                    </a:lnTo>
                    <a:lnTo>
                      <a:pt x="5438" y="5012"/>
                    </a:lnTo>
                    <a:lnTo>
                      <a:pt x="5542" y="4978"/>
                    </a:lnTo>
                    <a:lnTo>
                      <a:pt x="5859" y="5189"/>
                    </a:lnTo>
                    <a:lnTo>
                      <a:pt x="6084" y="5189"/>
                    </a:lnTo>
                    <a:lnTo>
                      <a:pt x="6084" y="5367"/>
                    </a:lnTo>
                    <a:lnTo>
                      <a:pt x="6030" y="5442"/>
                    </a:lnTo>
                    <a:lnTo>
                      <a:pt x="6051" y="5579"/>
                    </a:lnTo>
                    <a:lnTo>
                      <a:pt x="6135" y="5756"/>
                    </a:lnTo>
                    <a:lnTo>
                      <a:pt x="6135" y="5654"/>
                    </a:lnTo>
                    <a:lnTo>
                      <a:pt x="6222" y="6043"/>
                    </a:lnTo>
                    <a:lnTo>
                      <a:pt x="6347" y="6111"/>
                    </a:lnTo>
                    <a:lnTo>
                      <a:pt x="6505" y="6221"/>
                    </a:lnTo>
                    <a:lnTo>
                      <a:pt x="6572" y="6111"/>
                    </a:lnTo>
                    <a:lnTo>
                      <a:pt x="6347" y="6043"/>
                    </a:lnTo>
                    <a:lnTo>
                      <a:pt x="6259" y="5934"/>
                    </a:lnTo>
                    <a:lnTo>
                      <a:pt x="6313" y="5756"/>
                    </a:lnTo>
                    <a:lnTo>
                      <a:pt x="6135" y="5469"/>
                    </a:lnTo>
                    <a:lnTo>
                      <a:pt x="6084" y="5162"/>
                    </a:lnTo>
                    <a:lnTo>
                      <a:pt x="5980" y="5087"/>
                    </a:lnTo>
                    <a:lnTo>
                      <a:pt x="5892" y="4910"/>
                    </a:lnTo>
                    <a:lnTo>
                      <a:pt x="5684" y="4841"/>
                    </a:lnTo>
                    <a:lnTo>
                      <a:pt x="5542" y="4561"/>
                    </a:lnTo>
                    <a:lnTo>
                      <a:pt x="5492" y="4268"/>
                    </a:lnTo>
                    <a:lnTo>
                      <a:pt x="6135" y="3878"/>
                    </a:lnTo>
                    <a:lnTo>
                      <a:pt x="6168" y="3960"/>
                    </a:lnTo>
                    <a:lnTo>
                      <a:pt x="6135" y="4063"/>
                    </a:lnTo>
                    <a:lnTo>
                      <a:pt x="6222" y="3988"/>
                    </a:lnTo>
                    <a:lnTo>
                      <a:pt x="6118" y="3708"/>
                    </a:lnTo>
                    <a:lnTo>
                      <a:pt x="6222" y="3776"/>
                    </a:lnTo>
                    <a:lnTo>
                      <a:pt x="6209" y="3708"/>
                    </a:lnTo>
                    <a:lnTo>
                      <a:pt x="5946" y="3598"/>
                    </a:lnTo>
                    <a:lnTo>
                      <a:pt x="6051" y="3496"/>
                    </a:lnTo>
                    <a:lnTo>
                      <a:pt x="5912" y="3428"/>
                    </a:lnTo>
                    <a:lnTo>
                      <a:pt x="5912" y="3319"/>
                    </a:lnTo>
                    <a:lnTo>
                      <a:pt x="5980" y="3319"/>
                    </a:lnTo>
                    <a:lnTo>
                      <a:pt x="5997" y="3141"/>
                    </a:lnTo>
                    <a:lnTo>
                      <a:pt x="6051" y="3141"/>
                    </a:lnTo>
                    <a:lnTo>
                      <a:pt x="5912" y="3073"/>
                    </a:lnTo>
                    <a:lnTo>
                      <a:pt x="6051" y="3073"/>
                    </a:lnTo>
                    <a:lnTo>
                      <a:pt x="6084" y="2684"/>
                    </a:lnTo>
                    <a:lnTo>
                      <a:pt x="6118" y="2786"/>
                    </a:lnTo>
                    <a:lnTo>
                      <a:pt x="6209" y="2608"/>
                    </a:lnTo>
                    <a:lnTo>
                      <a:pt x="6397" y="2581"/>
                    </a:lnTo>
                    <a:lnTo>
                      <a:pt x="6397" y="2472"/>
                    </a:lnTo>
                    <a:lnTo>
                      <a:pt x="6589" y="2301"/>
                    </a:lnTo>
                    <a:lnTo>
                      <a:pt x="6451" y="2219"/>
                    </a:lnTo>
                    <a:lnTo>
                      <a:pt x="6623" y="2117"/>
                    </a:lnTo>
                    <a:lnTo>
                      <a:pt x="6801" y="2048"/>
                    </a:lnTo>
                    <a:lnTo>
                      <a:pt x="6801" y="2219"/>
                    </a:lnTo>
                    <a:lnTo>
                      <a:pt x="6902" y="2117"/>
                    </a:lnTo>
                    <a:lnTo>
                      <a:pt x="6902" y="2219"/>
                    </a:lnTo>
                    <a:lnTo>
                      <a:pt x="6953" y="2048"/>
                    </a:lnTo>
                    <a:lnTo>
                      <a:pt x="6993" y="2048"/>
                    </a:lnTo>
                    <a:lnTo>
                      <a:pt x="7007" y="1728"/>
                    </a:lnTo>
                    <a:lnTo>
                      <a:pt x="7044" y="1871"/>
                    </a:lnTo>
                    <a:lnTo>
                      <a:pt x="7131" y="1837"/>
                    </a:lnTo>
                    <a:lnTo>
                      <a:pt x="6902" y="1482"/>
                    </a:lnTo>
                    <a:lnTo>
                      <a:pt x="7044" y="1550"/>
                    </a:lnTo>
                    <a:lnTo>
                      <a:pt x="7165" y="1407"/>
                    </a:lnTo>
                    <a:lnTo>
                      <a:pt x="7357" y="1482"/>
                    </a:lnTo>
                    <a:lnTo>
                      <a:pt x="7357" y="1202"/>
                    </a:lnTo>
                    <a:lnTo>
                      <a:pt x="7236" y="1379"/>
                    </a:lnTo>
                    <a:lnTo>
                      <a:pt x="7165" y="1311"/>
                    </a:lnTo>
                    <a:lnTo>
                      <a:pt x="7044" y="1093"/>
                    </a:lnTo>
                    <a:lnTo>
                      <a:pt x="7007" y="457"/>
                    </a:lnTo>
                    <a:lnTo>
                      <a:pt x="7077" y="348"/>
                    </a:lnTo>
                    <a:lnTo>
                      <a:pt x="7215" y="389"/>
                    </a:lnTo>
                    <a:lnTo>
                      <a:pt x="7269" y="560"/>
                    </a:lnTo>
                    <a:lnTo>
                      <a:pt x="7182" y="737"/>
                    </a:lnTo>
                    <a:lnTo>
                      <a:pt x="7303" y="813"/>
                    </a:lnTo>
                    <a:lnTo>
                      <a:pt x="7323" y="737"/>
                    </a:lnTo>
                    <a:lnTo>
                      <a:pt x="7374" y="813"/>
                    </a:lnTo>
                    <a:lnTo>
                      <a:pt x="7407" y="990"/>
                    </a:lnTo>
                    <a:lnTo>
                      <a:pt x="7461" y="847"/>
                    </a:lnTo>
                    <a:lnTo>
                      <a:pt x="7549" y="990"/>
                    </a:lnTo>
                    <a:lnTo>
                      <a:pt x="7586" y="1311"/>
                    </a:lnTo>
                    <a:lnTo>
                      <a:pt x="7670" y="1202"/>
                    </a:lnTo>
                    <a:lnTo>
                      <a:pt x="7636" y="1017"/>
                    </a:lnTo>
                    <a:lnTo>
                      <a:pt x="7862" y="847"/>
                    </a:lnTo>
                    <a:lnTo>
                      <a:pt x="7949" y="990"/>
                    </a:lnTo>
                    <a:lnTo>
                      <a:pt x="7949" y="847"/>
                    </a:lnTo>
                    <a:lnTo>
                      <a:pt x="8141" y="737"/>
                    </a:lnTo>
                    <a:lnTo>
                      <a:pt x="8455" y="915"/>
                    </a:lnTo>
                    <a:lnTo>
                      <a:pt x="8508" y="1017"/>
                    </a:lnTo>
                    <a:lnTo>
                      <a:pt x="8508" y="915"/>
                    </a:lnTo>
                    <a:lnTo>
                      <a:pt x="8680" y="1093"/>
                    </a:lnTo>
                    <a:lnTo>
                      <a:pt x="8700" y="1379"/>
                    </a:lnTo>
                    <a:lnTo>
                      <a:pt x="8542" y="1270"/>
                    </a:lnTo>
                    <a:lnTo>
                      <a:pt x="8630" y="1482"/>
                    </a:lnTo>
                    <a:lnTo>
                      <a:pt x="8680" y="1407"/>
                    </a:lnTo>
                    <a:lnTo>
                      <a:pt x="8785" y="1550"/>
                    </a:lnTo>
                    <a:lnTo>
                      <a:pt x="8771" y="1939"/>
                    </a:lnTo>
                    <a:lnTo>
                      <a:pt x="8785" y="2008"/>
                    </a:lnTo>
                    <a:lnTo>
                      <a:pt x="8700" y="2048"/>
                    </a:lnTo>
                    <a:lnTo>
                      <a:pt x="8680" y="2328"/>
                    </a:lnTo>
                    <a:lnTo>
                      <a:pt x="8542" y="2397"/>
                    </a:lnTo>
                    <a:lnTo>
                      <a:pt x="8630" y="2472"/>
                    </a:lnTo>
                    <a:lnTo>
                      <a:pt x="8404" y="2970"/>
                    </a:lnTo>
                    <a:lnTo>
                      <a:pt x="8316" y="2970"/>
                    </a:lnTo>
                    <a:lnTo>
                      <a:pt x="8333" y="3039"/>
                    </a:lnTo>
                    <a:lnTo>
                      <a:pt x="8316" y="3530"/>
                    </a:lnTo>
                    <a:lnTo>
                      <a:pt x="8475" y="3428"/>
                    </a:lnTo>
                    <a:lnTo>
                      <a:pt x="8404" y="3360"/>
                    </a:lnTo>
                    <a:lnTo>
                      <a:pt x="8542" y="3141"/>
                    </a:lnTo>
                    <a:lnTo>
                      <a:pt x="8562" y="3209"/>
                    </a:lnTo>
                    <a:lnTo>
                      <a:pt x="8562" y="3073"/>
                    </a:lnTo>
                    <a:lnTo>
                      <a:pt x="8700" y="3039"/>
                    </a:lnTo>
                    <a:lnTo>
                      <a:pt x="8680" y="2895"/>
                    </a:lnTo>
                    <a:lnTo>
                      <a:pt x="8818" y="2970"/>
                    </a:lnTo>
                    <a:lnTo>
                      <a:pt x="8963" y="2684"/>
                    </a:lnTo>
                    <a:lnTo>
                      <a:pt x="8818" y="2684"/>
                    </a:lnTo>
                    <a:lnTo>
                      <a:pt x="8700" y="2786"/>
                    </a:lnTo>
                    <a:lnTo>
                      <a:pt x="8680" y="2684"/>
                    </a:lnTo>
                    <a:lnTo>
                      <a:pt x="8700" y="2506"/>
                    </a:lnTo>
                    <a:lnTo>
                      <a:pt x="8963" y="2472"/>
                    </a:lnTo>
                    <a:lnTo>
                      <a:pt x="8963" y="2581"/>
                    </a:lnTo>
                    <a:lnTo>
                      <a:pt x="9101" y="2581"/>
                    </a:lnTo>
                    <a:lnTo>
                      <a:pt x="9101" y="2472"/>
                    </a:lnTo>
                    <a:lnTo>
                      <a:pt x="9205" y="2581"/>
                    </a:lnTo>
                    <a:lnTo>
                      <a:pt x="9327" y="2895"/>
                    </a:lnTo>
                    <a:lnTo>
                      <a:pt x="9380" y="2752"/>
                    </a:lnTo>
                    <a:lnTo>
                      <a:pt x="9273" y="2608"/>
                    </a:lnTo>
                    <a:lnTo>
                      <a:pt x="9414" y="2506"/>
                    </a:lnTo>
                    <a:lnTo>
                      <a:pt x="9781" y="2328"/>
                    </a:lnTo>
                    <a:lnTo>
                      <a:pt x="9798" y="2397"/>
                    </a:lnTo>
                    <a:lnTo>
                      <a:pt x="9747" y="2472"/>
                    </a:lnTo>
                    <a:lnTo>
                      <a:pt x="9781" y="2581"/>
                    </a:lnTo>
                    <a:lnTo>
                      <a:pt x="10007" y="2581"/>
                    </a:lnTo>
                    <a:lnTo>
                      <a:pt x="9973" y="2506"/>
                    </a:lnTo>
                    <a:lnTo>
                      <a:pt x="10057" y="2472"/>
                    </a:lnTo>
                    <a:lnTo>
                      <a:pt x="10236" y="2397"/>
                    </a:lnTo>
                    <a:lnTo>
                      <a:pt x="10340" y="2151"/>
                    </a:lnTo>
                    <a:lnTo>
                      <a:pt x="10148" y="2048"/>
                    </a:lnTo>
                    <a:lnTo>
                      <a:pt x="10148" y="1871"/>
                    </a:lnTo>
                    <a:lnTo>
                      <a:pt x="10202" y="1939"/>
                    </a:lnTo>
                    <a:lnTo>
                      <a:pt x="10202" y="1837"/>
                    </a:lnTo>
                    <a:lnTo>
                      <a:pt x="10286" y="1728"/>
                    </a:lnTo>
                    <a:lnTo>
                      <a:pt x="10428" y="1837"/>
                    </a:lnTo>
                    <a:lnTo>
                      <a:pt x="10933" y="1769"/>
                    </a:lnTo>
                    <a:lnTo>
                      <a:pt x="10966" y="1871"/>
                    </a:lnTo>
                    <a:lnTo>
                      <a:pt x="10879" y="2008"/>
                    </a:lnTo>
                    <a:lnTo>
                      <a:pt x="10896" y="2117"/>
                    </a:lnTo>
                    <a:lnTo>
                      <a:pt x="10791" y="2397"/>
                    </a:lnTo>
                    <a:lnTo>
                      <a:pt x="10896" y="2608"/>
                    </a:lnTo>
                    <a:lnTo>
                      <a:pt x="10966" y="2608"/>
                    </a:lnTo>
                    <a:lnTo>
                      <a:pt x="10879" y="2397"/>
                    </a:lnTo>
                    <a:lnTo>
                      <a:pt x="11246" y="2608"/>
                    </a:lnTo>
                    <a:lnTo>
                      <a:pt x="11246" y="2472"/>
                    </a:lnTo>
                    <a:lnTo>
                      <a:pt x="11350" y="2581"/>
                    </a:lnTo>
                    <a:lnTo>
                      <a:pt x="11296" y="2684"/>
                    </a:lnTo>
                    <a:lnTo>
                      <a:pt x="11751" y="3039"/>
                    </a:lnTo>
                    <a:lnTo>
                      <a:pt x="11785" y="2970"/>
                    </a:lnTo>
                    <a:lnTo>
                      <a:pt x="11751" y="2608"/>
                    </a:lnTo>
                    <a:lnTo>
                      <a:pt x="11626" y="2219"/>
                    </a:lnTo>
                    <a:lnTo>
                      <a:pt x="11889" y="2472"/>
                    </a:lnTo>
                    <a:lnTo>
                      <a:pt x="11993" y="2397"/>
                    </a:lnTo>
                    <a:lnTo>
                      <a:pt x="12081" y="2151"/>
                    </a:lnTo>
                    <a:lnTo>
                      <a:pt x="12431" y="2301"/>
                    </a:lnTo>
                    <a:lnTo>
                      <a:pt x="12364" y="2048"/>
                    </a:lnTo>
                    <a:lnTo>
                      <a:pt x="12397" y="1939"/>
                    </a:lnTo>
                    <a:lnTo>
                      <a:pt x="12515" y="2048"/>
                    </a:lnTo>
                    <a:lnTo>
                      <a:pt x="12569" y="1871"/>
                    </a:lnTo>
                    <a:lnTo>
                      <a:pt x="12397" y="1769"/>
                    </a:lnTo>
                    <a:lnTo>
                      <a:pt x="12431" y="1728"/>
                    </a:lnTo>
                    <a:lnTo>
                      <a:pt x="12364" y="1591"/>
                    </a:lnTo>
                    <a:lnTo>
                      <a:pt x="12310" y="1659"/>
                    </a:lnTo>
                    <a:lnTo>
                      <a:pt x="12256" y="1482"/>
                    </a:lnTo>
                    <a:lnTo>
                      <a:pt x="12397" y="1379"/>
                    </a:lnTo>
                    <a:lnTo>
                      <a:pt x="12256" y="1127"/>
                    </a:lnTo>
                    <a:lnTo>
                      <a:pt x="12256" y="1093"/>
                    </a:lnTo>
                    <a:lnTo>
                      <a:pt x="13040" y="990"/>
                    </a:lnTo>
                    <a:lnTo>
                      <a:pt x="13108" y="1093"/>
                    </a:lnTo>
                    <a:lnTo>
                      <a:pt x="12936" y="1017"/>
                    </a:lnTo>
                    <a:lnTo>
                      <a:pt x="12902" y="1270"/>
                    </a:lnTo>
                    <a:lnTo>
                      <a:pt x="13024" y="1127"/>
                    </a:lnTo>
                    <a:lnTo>
                      <a:pt x="13074" y="1270"/>
                    </a:lnTo>
                    <a:lnTo>
                      <a:pt x="12990" y="1311"/>
                    </a:lnTo>
                    <a:lnTo>
                      <a:pt x="13108" y="1482"/>
                    </a:lnTo>
                    <a:lnTo>
                      <a:pt x="13128" y="915"/>
                    </a:lnTo>
                    <a:lnTo>
                      <a:pt x="13444" y="847"/>
                    </a:lnTo>
                    <a:lnTo>
                      <a:pt x="13545" y="990"/>
                    </a:lnTo>
                    <a:lnTo>
                      <a:pt x="13545" y="1017"/>
                    </a:lnTo>
                    <a:lnTo>
                      <a:pt x="13407" y="990"/>
                    </a:lnTo>
                    <a:lnTo>
                      <a:pt x="13444" y="1093"/>
                    </a:lnTo>
                    <a:lnTo>
                      <a:pt x="13754" y="1202"/>
                    </a:lnTo>
                    <a:lnTo>
                      <a:pt x="13774" y="1379"/>
                    </a:lnTo>
                    <a:lnTo>
                      <a:pt x="13808" y="1202"/>
                    </a:lnTo>
                    <a:lnTo>
                      <a:pt x="14051" y="1311"/>
                    </a:lnTo>
                    <a:lnTo>
                      <a:pt x="14000" y="1379"/>
                    </a:lnTo>
                    <a:lnTo>
                      <a:pt x="14175" y="1407"/>
                    </a:lnTo>
                    <a:lnTo>
                      <a:pt x="14505" y="915"/>
                    </a:lnTo>
                    <a:lnTo>
                      <a:pt x="14785" y="847"/>
                    </a:lnTo>
                    <a:lnTo>
                      <a:pt x="15081" y="990"/>
                    </a:lnTo>
                    <a:lnTo>
                      <a:pt x="15273" y="1407"/>
                    </a:lnTo>
                    <a:lnTo>
                      <a:pt x="15502" y="1550"/>
                    </a:lnTo>
                    <a:lnTo>
                      <a:pt x="15502" y="1379"/>
                    </a:lnTo>
                    <a:lnTo>
                      <a:pt x="15586" y="1550"/>
                    </a:lnTo>
                    <a:lnTo>
                      <a:pt x="15586" y="1311"/>
                    </a:lnTo>
                    <a:lnTo>
                      <a:pt x="15778" y="1093"/>
                    </a:lnTo>
                    <a:lnTo>
                      <a:pt x="15916" y="1127"/>
                    </a:lnTo>
                    <a:lnTo>
                      <a:pt x="16145" y="1017"/>
                    </a:lnTo>
                    <a:lnTo>
                      <a:pt x="16178" y="813"/>
                    </a:lnTo>
                    <a:lnTo>
                      <a:pt x="16404" y="1017"/>
                    </a:lnTo>
                    <a:lnTo>
                      <a:pt x="16791" y="1127"/>
                    </a:lnTo>
                    <a:lnTo>
                      <a:pt x="16700" y="847"/>
                    </a:lnTo>
                    <a:lnTo>
                      <a:pt x="16562" y="635"/>
                    </a:lnTo>
                    <a:lnTo>
                      <a:pt x="16475" y="669"/>
                    </a:lnTo>
                    <a:lnTo>
                      <a:pt x="16475" y="526"/>
                    </a:lnTo>
                    <a:lnTo>
                      <a:pt x="16370" y="280"/>
                    </a:lnTo>
                    <a:lnTo>
                      <a:pt x="16771" y="280"/>
                    </a:lnTo>
                    <a:lnTo>
                      <a:pt x="17017" y="0"/>
                    </a:lnTo>
                    <a:lnTo>
                      <a:pt x="17101" y="68"/>
                    </a:lnTo>
                    <a:lnTo>
                      <a:pt x="17067" y="0"/>
                    </a:lnTo>
                    <a:lnTo>
                      <a:pt x="17801" y="178"/>
                    </a:lnTo>
                    <a:lnTo>
                      <a:pt x="17835" y="68"/>
                    </a:lnTo>
                    <a:lnTo>
                      <a:pt x="18098" y="280"/>
                    </a:lnTo>
                    <a:lnTo>
                      <a:pt x="18532" y="457"/>
                    </a:lnTo>
                    <a:lnTo>
                      <a:pt x="18670" y="635"/>
                    </a:lnTo>
                    <a:lnTo>
                      <a:pt x="18657" y="526"/>
                    </a:lnTo>
                    <a:lnTo>
                      <a:pt x="18882" y="669"/>
                    </a:lnTo>
                    <a:lnTo>
                      <a:pt x="19074" y="1093"/>
                    </a:lnTo>
                    <a:lnTo>
                      <a:pt x="19249" y="1270"/>
                    </a:lnTo>
                    <a:lnTo>
                      <a:pt x="19249" y="1127"/>
                    </a:lnTo>
                    <a:lnTo>
                      <a:pt x="19303" y="1311"/>
                    </a:lnTo>
                    <a:lnTo>
                      <a:pt x="19249" y="1017"/>
                    </a:lnTo>
                    <a:lnTo>
                      <a:pt x="19020" y="737"/>
                    </a:lnTo>
                    <a:lnTo>
                      <a:pt x="19108" y="737"/>
                    </a:lnTo>
                    <a:lnTo>
                      <a:pt x="19212" y="813"/>
                    </a:lnTo>
                    <a:lnTo>
                      <a:pt x="19266" y="737"/>
                    </a:lnTo>
                    <a:lnTo>
                      <a:pt x="19212" y="669"/>
                    </a:lnTo>
                    <a:lnTo>
                      <a:pt x="19354" y="635"/>
                    </a:lnTo>
                    <a:lnTo>
                      <a:pt x="19859" y="990"/>
                    </a:lnTo>
                    <a:lnTo>
                      <a:pt x="19805" y="1270"/>
                    </a:lnTo>
                    <a:lnTo>
                      <a:pt x="19896" y="1482"/>
                    </a:lnTo>
                    <a:lnTo>
                      <a:pt x="19700" y="1311"/>
                    </a:lnTo>
                    <a:lnTo>
                      <a:pt x="19859" y="1659"/>
                    </a:lnTo>
                    <a:lnTo>
                      <a:pt x="19579" y="1591"/>
                    </a:lnTo>
                    <a:lnTo>
                      <a:pt x="19717" y="1728"/>
                    </a:lnTo>
                    <a:lnTo>
                      <a:pt x="19751" y="1837"/>
                    </a:lnTo>
                    <a:lnTo>
                      <a:pt x="19717" y="1939"/>
                    </a:lnTo>
                    <a:lnTo>
                      <a:pt x="19842" y="2048"/>
                    </a:lnTo>
                    <a:lnTo>
                      <a:pt x="19791" y="2328"/>
                    </a:lnTo>
                    <a:lnTo>
                      <a:pt x="19997" y="2581"/>
                    </a:lnTo>
                    <a:lnTo>
                      <a:pt x="19929" y="2506"/>
                    </a:lnTo>
                    <a:lnTo>
                      <a:pt x="19943" y="2752"/>
                    </a:lnTo>
                    <a:lnTo>
                      <a:pt x="19805" y="2506"/>
                    </a:lnTo>
                    <a:lnTo>
                      <a:pt x="19859" y="2752"/>
                    </a:lnTo>
                    <a:lnTo>
                      <a:pt x="19579" y="2397"/>
                    </a:lnTo>
                    <a:lnTo>
                      <a:pt x="19562" y="2506"/>
                    </a:lnTo>
                    <a:lnTo>
                      <a:pt x="19421" y="2397"/>
                    </a:lnTo>
                    <a:lnTo>
                      <a:pt x="19266" y="2048"/>
                    </a:lnTo>
                    <a:lnTo>
                      <a:pt x="19125" y="2048"/>
                    </a:lnTo>
                    <a:lnTo>
                      <a:pt x="19108" y="1939"/>
                    </a:lnTo>
                    <a:lnTo>
                      <a:pt x="19108" y="2151"/>
                    </a:lnTo>
                    <a:lnTo>
                      <a:pt x="18966" y="2219"/>
                    </a:lnTo>
                    <a:lnTo>
                      <a:pt x="18795" y="1939"/>
                    </a:lnTo>
                    <a:lnTo>
                      <a:pt x="18710" y="1550"/>
                    </a:lnTo>
                    <a:lnTo>
                      <a:pt x="18744" y="1769"/>
                    </a:lnTo>
                    <a:lnTo>
                      <a:pt x="18657" y="1659"/>
                    </a:lnTo>
                    <a:lnTo>
                      <a:pt x="18670" y="1769"/>
                    </a:lnTo>
                    <a:lnTo>
                      <a:pt x="18657" y="1837"/>
                    </a:lnTo>
                    <a:lnTo>
                      <a:pt x="18882" y="2328"/>
                    </a:lnTo>
                    <a:lnTo>
                      <a:pt x="18899" y="2970"/>
                    </a:lnTo>
                    <a:lnTo>
                      <a:pt x="18882" y="3209"/>
                    </a:lnTo>
                    <a:lnTo>
                      <a:pt x="18848" y="3141"/>
                    </a:lnTo>
                    <a:lnTo>
                      <a:pt x="18761" y="3209"/>
                    </a:lnTo>
                    <a:lnTo>
                      <a:pt x="18532" y="2970"/>
                    </a:lnTo>
                    <a:lnTo>
                      <a:pt x="18481" y="3073"/>
                    </a:lnTo>
                    <a:lnTo>
                      <a:pt x="18603" y="3039"/>
                    </a:lnTo>
                    <a:lnTo>
                      <a:pt x="18620" y="3141"/>
                    </a:lnTo>
                    <a:lnTo>
                      <a:pt x="18519" y="3141"/>
                    </a:lnTo>
                    <a:lnTo>
                      <a:pt x="18566" y="3496"/>
                    </a:lnTo>
                    <a:lnTo>
                      <a:pt x="18657" y="3209"/>
                    </a:lnTo>
                    <a:lnTo>
                      <a:pt x="18828" y="3496"/>
                    </a:lnTo>
                    <a:lnTo>
                      <a:pt x="18882" y="3360"/>
                    </a:lnTo>
                    <a:lnTo>
                      <a:pt x="18966" y="3530"/>
                    </a:lnTo>
                    <a:lnTo>
                      <a:pt x="18966" y="3639"/>
                    </a:lnTo>
                    <a:lnTo>
                      <a:pt x="19020" y="3639"/>
                    </a:lnTo>
                    <a:lnTo>
                      <a:pt x="19108" y="3878"/>
                    </a:lnTo>
                    <a:lnTo>
                      <a:pt x="19074" y="3878"/>
                    </a:lnTo>
                    <a:lnTo>
                      <a:pt x="19074" y="3988"/>
                    </a:lnTo>
                    <a:lnTo>
                      <a:pt x="19125" y="3988"/>
                    </a:lnTo>
                    <a:lnTo>
                      <a:pt x="19421" y="4452"/>
                    </a:lnTo>
                    <a:lnTo>
                      <a:pt x="19441" y="4841"/>
                    </a:lnTo>
                    <a:lnTo>
                      <a:pt x="19158" y="4630"/>
                    </a:lnTo>
                    <a:lnTo>
                      <a:pt x="19195" y="4800"/>
                    </a:lnTo>
                    <a:lnTo>
                      <a:pt x="18987" y="5189"/>
                    </a:lnTo>
                    <a:lnTo>
                      <a:pt x="18966" y="5545"/>
                    </a:lnTo>
                    <a:lnTo>
                      <a:pt x="18899" y="5654"/>
                    </a:lnTo>
                    <a:lnTo>
                      <a:pt x="18848" y="5579"/>
                    </a:lnTo>
                    <a:lnTo>
                      <a:pt x="18848" y="5900"/>
                    </a:lnTo>
                    <a:lnTo>
                      <a:pt x="18828" y="5900"/>
                    </a:lnTo>
                    <a:lnTo>
                      <a:pt x="18848" y="5934"/>
                    </a:lnTo>
                    <a:lnTo>
                      <a:pt x="18828" y="6002"/>
                    </a:lnTo>
                    <a:lnTo>
                      <a:pt x="18848" y="6180"/>
                    </a:lnTo>
                    <a:lnTo>
                      <a:pt x="18795" y="6180"/>
                    </a:lnTo>
                    <a:lnTo>
                      <a:pt x="18828" y="6221"/>
                    </a:lnTo>
                    <a:lnTo>
                      <a:pt x="18744" y="6740"/>
                    </a:lnTo>
                    <a:lnTo>
                      <a:pt x="18795" y="7060"/>
                    </a:lnTo>
                    <a:lnTo>
                      <a:pt x="18710" y="7033"/>
                    </a:lnTo>
                    <a:lnTo>
                      <a:pt x="18519" y="6671"/>
                    </a:lnTo>
                    <a:lnTo>
                      <a:pt x="18394" y="6740"/>
                    </a:lnTo>
                    <a:lnTo>
                      <a:pt x="18290" y="6958"/>
                    </a:lnTo>
                    <a:lnTo>
                      <a:pt x="18256" y="7491"/>
                    </a:lnTo>
                    <a:lnTo>
                      <a:pt x="18168" y="6958"/>
                    </a:lnTo>
                    <a:lnTo>
                      <a:pt x="18098" y="7525"/>
                    </a:lnTo>
                    <a:lnTo>
                      <a:pt x="18010" y="7422"/>
                    </a:lnTo>
                    <a:lnTo>
                      <a:pt x="17926" y="7491"/>
                    </a:lnTo>
                    <a:lnTo>
                      <a:pt x="17886" y="7593"/>
                    </a:lnTo>
                    <a:lnTo>
                      <a:pt x="18010" y="8051"/>
                    </a:lnTo>
                    <a:lnTo>
                      <a:pt x="17939" y="8051"/>
                    </a:lnTo>
                    <a:lnTo>
                      <a:pt x="17976" y="8617"/>
                    </a:lnTo>
                    <a:lnTo>
                      <a:pt x="18064" y="8904"/>
                    </a:lnTo>
                    <a:lnTo>
                      <a:pt x="18114" y="8972"/>
                    </a:lnTo>
                    <a:lnTo>
                      <a:pt x="18098" y="8863"/>
                    </a:lnTo>
                    <a:lnTo>
                      <a:pt x="18236" y="8904"/>
                    </a:lnTo>
                    <a:lnTo>
                      <a:pt x="18290" y="9464"/>
                    </a:lnTo>
                    <a:lnTo>
                      <a:pt x="18306" y="9607"/>
                    </a:lnTo>
                    <a:lnTo>
                      <a:pt x="18374" y="9539"/>
                    </a:lnTo>
                    <a:lnTo>
                      <a:pt x="18465" y="9894"/>
                    </a:lnTo>
                    <a:lnTo>
                      <a:pt x="18428" y="9990"/>
                    </a:lnTo>
                    <a:lnTo>
                      <a:pt x="18374" y="9921"/>
                    </a:lnTo>
                    <a:lnTo>
                      <a:pt x="18374" y="9642"/>
                    </a:lnTo>
                    <a:lnTo>
                      <a:pt x="18306" y="9751"/>
                    </a:lnTo>
                    <a:lnTo>
                      <a:pt x="18374" y="10563"/>
                    </a:lnTo>
                    <a:lnTo>
                      <a:pt x="18481" y="10741"/>
                    </a:lnTo>
                    <a:lnTo>
                      <a:pt x="18465" y="10953"/>
                    </a:lnTo>
                    <a:lnTo>
                      <a:pt x="18374" y="10912"/>
                    </a:lnTo>
                    <a:lnTo>
                      <a:pt x="18290" y="11192"/>
                    </a:lnTo>
                    <a:lnTo>
                      <a:pt x="18306" y="11512"/>
                    </a:lnTo>
                    <a:lnTo>
                      <a:pt x="18428" y="11833"/>
                    </a:lnTo>
                    <a:lnTo>
                      <a:pt x="18340" y="11833"/>
                    </a:lnTo>
                    <a:lnTo>
                      <a:pt x="18256" y="11970"/>
                    </a:lnTo>
                    <a:lnTo>
                      <a:pt x="18202" y="11943"/>
                    </a:lnTo>
                    <a:lnTo>
                      <a:pt x="18290" y="12571"/>
                    </a:lnTo>
                    <a:lnTo>
                      <a:pt x="18290" y="12864"/>
                    </a:lnTo>
                    <a:lnTo>
                      <a:pt x="18202" y="13247"/>
                    </a:lnTo>
                    <a:lnTo>
                      <a:pt x="17556" y="10843"/>
                    </a:lnTo>
                    <a:lnTo>
                      <a:pt x="17384" y="9990"/>
                    </a:lnTo>
                    <a:lnTo>
                      <a:pt x="17438" y="9539"/>
                    </a:lnTo>
                    <a:lnTo>
                      <a:pt x="17367" y="9184"/>
                    </a:lnTo>
                    <a:lnTo>
                      <a:pt x="17438" y="9252"/>
                    </a:lnTo>
                    <a:lnTo>
                      <a:pt x="17438" y="9082"/>
                    </a:lnTo>
                    <a:lnTo>
                      <a:pt x="17505" y="9013"/>
                    </a:lnTo>
                    <a:lnTo>
                      <a:pt x="17609" y="7880"/>
                    </a:lnTo>
                    <a:lnTo>
                      <a:pt x="17609" y="7238"/>
                    </a:lnTo>
                    <a:lnTo>
                      <a:pt x="17781" y="6849"/>
                    </a:lnTo>
                    <a:lnTo>
                      <a:pt x="17697" y="6780"/>
                    </a:lnTo>
                    <a:lnTo>
                      <a:pt x="17731" y="6637"/>
                    </a:lnTo>
                    <a:lnTo>
                      <a:pt x="17556" y="5900"/>
                    </a:lnTo>
                    <a:lnTo>
                      <a:pt x="17663" y="5756"/>
                    </a:lnTo>
                    <a:lnTo>
                      <a:pt x="17697" y="5722"/>
                    </a:lnTo>
                    <a:lnTo>
                      <a:pt x="17522" y="5579"/>
                    </a:lnTo>
                    <a:lnTo>
                      <a:pt x="17418" y="5756"/>
                    </a:lnTo>
                    <a:lnTo>
                      <a:pt x="17522" y="6323"/>
                    </a:lnTo>
                    <a:lnTo>
                      <a:pt x="17576" y="6391"/>
                    </a:lnTo>
                    <a:lnTo>
                      <a:pt x="17556" y="6501"/>
                    </a:lnTo>
                    <a:lnTo>
                      <a:pt x="17505" y="6391"/>
                    </a:lnTo>
                    <a:lnTo>
                      <a:pt x="17471" y="6460"/>
                    </a:lnTo>
                    <a:lnTo>
                      <a:pt x="17384" y="7129"/>
                    </a:lnTo>
                    <a:lnTo>
                      <a:pt x="17330" y="7238"/>
                    </a:lnTo>
                    <a:lnTo>
                      <a:pt x="17293" y="7033"/>
                    </a:lnTo>
                    <a:lnTo>
                      <a:pt x="17242" y="7060"/>
                    </a:lnTo>
                    <a:lnTo>
                      <a:pt x="17141" y="6391"/>
                    </a:lnTo>
                    <a:lnTo>
                      <a:pt x="17067" y="6637"/>
                    </a:lnTo>
                    <a:lnTo>
                      <a:pt x="16963" y="6501"/>
                    </a:lnTo>
                    <a:lnTo>
                      <a:pt x="16879" y="6740"/>
                    </a:lnTo>
                    <a:lnTo>
                      <a:pt x="16791" y="6671"/>
                    </a:lnTo>
                    <a:lnTo>
                      <a:pt x="16700" y="8119"/>
                    </a:lnTo>
                    <a:lnTo>
                      <a:pt x="16737" y="8412"/>
                    </a:lnTo>
                    <a:lnTo>
                      <a:pt x="16845" y="8330"/>
                    </a:lnTo>
                    <a:lnTo>
                      <a:pt x="16912" y="8515"/>
                    </a:lnTo>
                    <a:lnTo>
                      <a:pt x="16687" y="8549"/>
                    </a:lnTo>
                    <a:lnTo>
                      <a:pt x="16650" y="8795"/>
                    </a:lnTo>
                    <a:lnTo>
                      <a:pt x="16599" y="8720"/>
                    </a:lnTo>
                    <a:lnTo>
                      <a:pt x="16458" y="8904"/>
                    </a:lnTo>
                    <a:lnTo>
                      <a:pt x="16404" y="8795"/>
                    </a:lnTo>
                    <a:lnTo>
                      <a:pt x="16549" y="8617"/>
                    </a:lnTo>
                    <a:lnTo>
                      <a:pt x="16370" y="8515"/>
                    </a:lnTo>
                    <a:lnTo>
                      <a:pt x="16320" y="8515"/>
                    </a:lnTo>
                    <a:lnTo>
                      <a:pt x="16320" y="8617"/>
                    </a:lnTo>
                    <a:lnTo>
                      <a:pt x="16108" y="8515"/>
                    </a:lnTo>
                    <a:lnTo>
                      <a:pt x="16054" y="8617"/>
                    </a:lnTo>
                    <a:lnTo>
                      <a:pt x="16054" y="8795"/>
                    </a:lnTo>
                    <a:lnTo>
                      <a:pt x="16040" y="8863"/>
                    </a:lnTo>
                    <a:lnTo>
                      <a:pt x="15970" y="8795"/>
                    </a:lnTo>
                    <a:lnTo>
                      <a:pt x="15916" y="8904"/>
                    </a:lnTo>
                    <a:lnTo>
                      <a:pt x="15744" y="8863"/>
                    </a:lnTo>
                    <a:lnTo>
                      <a:pt x="15724" y="9013"/>
                    </a:lnTo>
                    <a:lnTo>
                      <a:pt x="15673" y="8904"/>
                    </a:lnTo>
                    <a:lnTo>
                      <a:pt x="15310" y="9082"/>
                    </a:lnTo>
                    <a:lnTo>
                      <a:pt x="15013" y="10843"/>
                    </a:lnTo>
                    <a:lnTo>
                      <a:pt x="15013" y="10953"/>
                    </a:lnTo>
                    <a:lnTo>
                      <a:pt x="15081" y="11021"/>
                    </a:lnTo>
                    <a:lnTo>
                      <a:pt x="14993" y="11089"/>
                    </a:lnTo>
                    <a:lnTo>
                      <a:pt x="14822" y="12113"/>
                    </a:lnTo>
                    <a:lnTo>
                      <a:pt x="14939" y="12154"/>
                    </a:lnTo>
                    <a:lnTo>
                      <a:pt x="15081" y="12113"/>
                    </a:lnTo>
                    <a:lnTo>
                      <a:pt x="15131" y="12571"/>
                    </a:lnTo>
                    <a:lnTo>
                      <a:pt x="15185" y="12434"/>
                    </a:lnTo>
                    <a:lnTo>
                      <a:pt x="15152" y="12332"/>
                    </a:lnTo>
                    <a:lnTo>
                      <a:pt x="15219" y="12223"/>
                    </a:lnTo>
                    <a:lnTo>
                      <a:pt x="15239" y="12612"/>
                    </a:lnTo>
                    <a:lnTo>
                      <a:pt x="15360" y="12400"/>
                    </a:lnTo>
                    <a:lnTo>
                      <a:pt x="15377" y="12612"/>
                    </a:lnTo>
                    <a:lnTo>
                      <a:pt x="15414" y="12434"/>
                    </a:lnTo>
                    <a:lnTo>
                      <a:pt x="15360" y="12154"/>
                    </a:lnTo>
                    <a:lnTo>
                      <a:pt x="15515" y="12113"/>
                    </a:lnTo>
                    <a:lnTo>
                      <a:pt x="15832" y="12612"/>
                    </a:lnTo>
                    <a:lnTo>
                      <a:pt x="15832" y="12714"/>
                    </a:lnTo>
                    <a:lnTo>
                      <a:pt x="15778" y="12714"/>
                    </a:lnTo>
                    <a:lnTo>
                      <a:pt x="15953" y="13172"/>
                    </a:lnTo>
                    <a:lnTo>
                      <a:pt x="15916" y="13602"/>
                    </a:lnTo>
                    <a:lnTo>
                      <a:pt x="16108" y="15193"/>
                    </a:lnTo>
                    <a:lnTo>
                      <a:pt x="16007" y="15862"/>
                    </a:lnTo>
                    <a:lnTo>
                      <a:pt x="16007" y="16422"/>
                    </a:lnTo>
                    <a:lnTo>
                      <a:pt x="15811" y="17596"/>
                    </a:lnTo>
                    <a:lnTo>
                      <a:pt x="15640" y="17986"/>
                    </a:lnTo>
                    <a:lnTo>
                      <a:pt x="15515" y="18054"/>
                    </a:lnTo>
                    <a:lnTo>
                      <a:pt x="15414" y="17986"/>
                    </a:lnTo>
                    <a:lnTo>
                      <a:pt x="15377" y="17876"/>
                    </a:lnTo>
                    <a:lnTo>
                      <a:pt x="15310" y="17876"/>
                    </a:lnTo>
                    <a:lnTo>
                      <a:pt x="15185" y="18334"/>
                    </a:lnTo>
                    <a:lnTo>
                      <a:pt x="15185" y="18266"/>
                    </a:lnTo>
                    <a:lnTo>
                      <a:pt x="15185" y="18156"/>
                    </a:lnTo>
                    <a:lnTo>
                      <a:pt x="15219" y="17801"/>
                    </a:lnTo>
                    <a:lnTo>
                      <a:pt x="15098" y="17132"/>
                    </a:lnTo>
                    <a:lnTo>
                      <a:pt x="15185" y="16886"/>
                    </a:lnTo>
                    <a:lnTo>
                      <a:pt x="15360" y="17023"/>
                    </a:lnTo>
                    <a:lnTo>
                      <a:pt x="15360" y="16033"/>
                    </a:lnTo>
                    <a:lnTo>
                      <a:pt x="15377" y="15930"/>
                    </a:lnTo>
                    <a:lnTo>
                      <a:pt x="15377" y="15644"/>
                    </a:lnTo>
                    <a:lnTo>
                      <a:pt x="15377" y="15364"/>
                    </a:lnTo>
                    <a:lnTo>
                      <a:pt x="15273" y="15473"/>
                    </a:lnTo>
                    <a:lnTo>
                      <a:pt x="15131" y="15575"/>
                    </a:lnTo>
                    <a:lnTo>
                      <a:pt x="15081" y="15753"/>
                    </a:lnTo>
                    <a:lnTo>
                      <a:pt x="14939" y="15821"/>
                    </a:lnTo>
                    <a:lnTo>
                      <a:pt x="14872" y="15821"/>
                    </a:lnTo>
                    <a:lnTo>
                      <a:pt x="14731" y="15261"/>
                    </a:lnTo>
                    <a:lnTo>
                      <a:pt x="14505" y="15015"/>
                    </a:lnTo>
                    <a:lnTo>
                      <a:pt x="14421" y="15015"/>
                    </a:lnTo>
                    <a:lnTo>
                      <a:pt x="14279" y="15015"/>
                    </a:lnTo>
                    <a:lnTo>
                      <a:pt x="14229" y="14906"/>
                    </a:lnTo>
                    <a:lnTo>
                      <a:pt x="14175" y="14735"/>
                    </a:lnTo>
                    <a:lnTo>
                      <a:pt x="14088" y="14374"/>
                    </a:lnTo>
                    <a:lnTo>
                      <a:pt x="13983" y="14162"/>
                    </a:lnTo>
                    <a:lnTo>
                      <a:pt x="13721" y="13424"/>
                    </a:lnTo>
                    <a:lnTo>
                      <a:pt x="13670" y="13349"/>
                    </a:lnTo>
                    <a:lnTo>
                      <a:pt x="13582" y="13315"/>
                    </a:lnTo>
                    <a:lnTo>
                      <a:pt x="13407" y="13247"/>
                    </a:lnTo>
                    <a:lnTo>
                      <a:pt x="13320" y="13172"/>
                    </a:lnTo>
                    <a:lnTo>
                      <a:pt x="13253" y="13247"/>
                    </a:lnTo>
                    <a:lnTo>
                      <a:pt x="12990" y="13452"/>
                    </a:lnTo>
                    <a:lnTo>
                      <a:pt x="12936" y="13745"/>
                    </a:lnTo>
                    <a:lnTo>
                      <a:pt x="12990" y="13745"/>
                    </a:lnTo>
                    <a:lnTo>
                      <a:pt x="13040" y="13882"/>
                    </a:lnTo>
                    <a:lnTo>
                      <a:pt x="13074" y="13991"/>
                    </a:lnTo>
                    <a:lnTo>
                      <a:pt x="13024" y="14551"/>
                    </a:lnTo>
                    <a:lnTo>
                      <a:pt x="12990" y="14906"/>
                    </a:lnTo>
                    <a:lnTo>
                      <a:pt x="13040" y="15084"/>
                    </a:lnTo>
                    <a:lnTo>
                      <a:pt x="12902" y="15364"/>
                    </a:lnTo>
                    <a:lnTo>
                      <a:pt x="12798" y="15295"/>
                    </a:lnTo>
                    <a:lnTo>
                      <a:pt x="12727" y="15295"/>
                    </a:lnTo>
                    <a:lnTo>
                      <a:pt x="12569" y="15295"/>
                    </a:lnTo>
                    <a:lnTo>
                      <a:pt x="12310" y="15125"/>
                    </a:lnTo>
                    <a:lnTo>
                      <a:pt x="12219" y="15541"/>
                    </a:lnTo>
                    <a:lnTo>
                      <a:pt x="11923" y="15753"/>
                    </a:lnTo>
                    <a:lnTo>
                      <a:pt x="11717" y="15753"/>
                    </a:lnTo>
                    <a:lnTo>
                      <a:pt x="11626" y="15753"/>
                    </a:lnTo>
                    <a:lnTo>
                      <a:pt x="11525" y="15644"/>
                    </a:lnTo>
                    <a:lnTo>
                      <a:pt x="11488" y="15541"/>
                    </a:lnTo>
                    <a:lnTo>
                      <a:pt x="11246" y="15364"/>
                    </a:lnTo>
                    <a:lnTo>
                      <a:pt x="11125" y="15295"/>
                    </a:lnTo>
                    <a:lnTo>
                      <a:pt x="10879" y="15473"/>
                    </a:lnTo>
                    <a:lnTo>
                      <a:pt x="10741" y="15473"/>
                    </a:lnTo>
                    <a:lnTo>
                      <a:pt x="10532" y="15015"/>
                    </a:lnTo>
                    <a:lnTo>
                      <a:pt x="10094" y="14804"/>
                    </a:lnTo>
                    <a:lnTo>
                      <a:pt x="10094" y="14906"/>
                    </a:lnTo>
                    <a:lnTo>
                      <a:pt x="10024" y="15084"/>
                    </a:lnTo>
                    <a:lnTo>
                      <a:pt x="10007" y="15125"/>
                    </a:lnTo>
                    <a:lnTo>
                      <a:pt x="10057" y="15405"/>
                    </a:lnTo>
                    <a:lnTo>
                      <a:pt x="10094" y="15575"/>
                    </a:lnTo>
                    <a:lnTo>
                      <a:pt x="10148" y="15753"/>
                    </a:lnTo>
                    <a:lnTo>
                      <a:pt x="9886" y="15821"/>
                    </a:lnTo>
                    <a:lnTo>
                      <a:pt x="9694" y="15821"/>
                    </a:lnTo>
                    <a:lnTo>
                      <a:pt x="9569" y="15753"/>
                    </a:lnTo>
                    <a:lnTo>
                      <a:pt x="9556" y="15575"/>
                    </a:lnTo>
                    <a:lnTo>
                      <a:pt x="9380" y="15644"/>
                    </a:lnTo>
                    <a:lnTo>
                      <a:pt x="9327" y="15541"/>
                    </a:lnTo>
                    <a:lnTo>
                      <a:pt x="9155" y="15575"/>
                    </a:lnTo>
                    <a:lnTo>
                      <a:pt x="9067" y="15685"/>
                    </a:lnTo>
                    <a:lnTo>
                      <a:pt x="9047" y="15753"/>
                    </a:lnTo>
                    <a:lnTo>
                      <a:pt x="8963" y="15930"/>
                    </a:lnTo>
                    <a:lnTo>
                      <a:pt x="8963" y="16033"/>
                    </a:lnTo>
                    <a:lnTo>
                      <a:pt x="8771" y="16217"/>
                    </a:lnTo>
                    <a:lnTo>
                      <a:pt x="8734" y="16320"/>
                    </a:lnTo>
                    <a:lnTo>
                      <a:pt x="8646" y="16395"/>
                    </a:lnTo>
                    <a:lnTo>
                      <a:pt x="8404" y="16285"/>
                    </a:lnTo>
                    <a:lnTo>
                      <a:pt x="8141" y="16033"/>
                    </a:lnTo>
                    <a:lnTo>
                      <a:pt x="7737" y="15930"/>
                    </a:lnTo>
                    <a:lnTo>
                      <a:pt x="7441" y="15295"/>
                    </a:lnTo>
                    <a:lnTo>
                      <a:pt x="6953" y="14660"/>
                    </a:lnTo>
                    <a:lnTo>
                      <a:pt x="6505" y="14804"/>
                    </a:lnTo>
                    <a:lnTo>
                      <a:pt x="6209" y="14271"/>
                    </a:lnTo>
                    <a:lnTo>
                      <a:pt x="5805" y="14483"/>
                    </a:lnTo>
                    <a:lnTo>
                      <a:pt x="5387" y="14442"/>
                    </a:lnTo>
                    <a:lnTo>
                      <a:pt x="4758" y="14660"/>
                    </a:lnTo>
                    <a:lnTo>
                      <a:pt x="4653" y="15821"/>
                    </a:lnTo>
                    <a:lnTo>
                      <a:pt x="4758" y="16320"/>
                    </a:lnTo>
                    <a:lnTo>
                      <a:pt x="3835" y="16108"/>
                    </a:lnTo>
                    <a:lnTo>
                      <a:pt x="3488" y="15930"/>
                    </a:lnTo>
                    <a:lnTo>
                      <a:pt x="3189" y="16033"/>
                    </a:lnTo>
                    <a:lnTo>
                      <a:pt x="3013" y="17064"/>
                    </a:lnTo>
                    <a:lnTo>
                      <a:pt x="3155" y="17064"/>
                    </a:lnTo>
                    <a:lnTo>
                      <a:pt x="3330" y="18054"/>
                    </a:lnTo>
                    <a:lnTo>
                      <a:pt x="3468" y="18054"/>
                    </a:lnTo>
                    <a:lnTo>
                      <a:pt x="3347" y="18266"/>
                    </a:lnTo>
                    <a:lnTo>
                      <a:pt x="3209" y="18334"/>
                    </a:lnTo>
                    <a:lnTo>
                      <a:pt x="3118" y="18791"/>
                    </a:lnTo>
                    <a:lnTo>
                      <a:pt x="3209" y="18791"/>
                    </a:lnTo>
                    <a:lnTo>
                      <a:pt x="3155" y="18826"/>
                    </a:lnTo>
                    <a:lnTo>
                      <a:pt x="3242" y="18976"/>
                    </a:lnTo>
                    <a:lnTo>
                      <a:pt x="3276" y="19078"/>
                    </a:lnTo>
                    <a:lnTo>
                      <a:pt x="3276" y="19358"/>
                    </a:lnTo>
                    <a:lnTo>
                      <a:pt x="3347" y="19577"/>
                    </a:lnTo>
                    <a:lnTo>
                      <a:pt x="3488" y="19925"/>
                    </a:lnTo>
                    <a:lnTo>
                      <a:pt x="3276" y="19993"/>
                    </a:lnTo>
                    <a:lnTo>
                      <a:pt x="3155" y="19747"/>
                    </a:lnTo>
                    <a:lnTo>
                      <a:pt x="2737" y="19283"/>
                    </a:lnTo>
                    <a:lnTo>
                      <a:pt x="2229" y="19283"/>
                    </a:lnTo>
                    <a:lnTo>
                      <a:pt x="2091" y="19078"/>
                    </a:lnTo>
                    <a:lnTo>
                      <a:pt x="1970" y="18894"/>
                    </a:lnTo>
                    <a:lnTo>
                      <a:pt x="1778" y="18655"/>
                    </a:lnTo>
                    <a:lnTo>
                      <a:pt x="1778" y="18546"/>
                    </a:lnTo>
                    <a:lnTo>
                      <a:pt x="1970" y="18054"/>
                    </a:lnTo>
                    <a:lnTo>
                      <a:pt x="2057" y="18054"/>
                    </a:lnTo>
                    <a:lnTo>
                      <a:pt x="2091" y="17801"/>
                    </a:lnTo>
                    <a:lnTo>
                      <a:pt x="2024" y="17692"/>
                    </a:lnTo>
                    <a:lnTo>
                      <a:pt x="1879" y="17876"/>
                    </a:lnTo>
                    <a:lnTo>
                      <a:pt x="1832" y="17692"/>
                    </a:lnTo>
                    <a:lnTo>
                      <a:pt x="2162" y="17487"/>
                    </a:lnTo>
                    <a:lnTo>
                      <a:pt x="2057" y="16886"/>
                    </a:lnTo>
                    <a:lnTo>
                      <a:pt x="1832" y="16886"/>
                    </a:lnTo>
                    <a:lnTo>
                      <a:pt x="1586" y="16497"/>
                    </a:lnTo>
                    <a:lnTo>
                      <a:pt x="1239" y="16422"/>
                    </a:lnTo>
                    <a:lnTo>
                      <a:pt x="923" y="16285"/>
                    </a:lnTo>
                    <a:lnTo>
                      <a:pt x="956" y="15930"/>
                    </a:lnTo>
                    <a:lnTo>
                      <a:pt x="872" y="15575"/>
                    </a:lnTo>
                    <a:lnTo>
                      <a:pt x="923" y="15541"/>
                    </a:lnTo>
                    <a:lnTo>
                      <a:pt x="1044" y="15644"/>
                    </a:lnTo>
                    <a:lnTo>
                      <a:pt x="993" y="15261"/>
                    </a:lnTo>
                    <a:lnTo>
                      <a:pt x="872" y="15015"/>
                    </a:lnTo>
                    <a:lnTo>
                      <a:pt x="764" y="14374"/>
                    </a:lnTo>
                    <a:lnTo>
                      <a:pt x="401" y="14271"/>
                    </a:lnTo>
                    <a:lnTo>
                      <a:pt x="455" y="13745"/>
                    </a:lnTo>
                    <a:lnTo>
                      <a:pt x="330" y="13452"/>
                    </a:lnTo>
                    <a:lnTo>
                      <a:pt x="226" y="13424"/>
                    </a:lnTo>
                    <a:lnTo>
                      <a:pt x="138" y="13144"/>
                    </a:lnTo>
                    <a:lnTo>
                      <a:pt x="138" y="12960"/>
                    </a:lnTo>
                    <a:lnTo>
                      <a:pt x="88" y="12714"/>
                    </a:lnTo>
                    <a:lnTo>
                      <a:pt x="121" y="12680"/>
                    </a:lnTo>
                    <a:lnTo>
                      <a:pt x="192" y="12680"/>
                    </a:lnTo>
                    <a:lnTo>
                      <a:pt x="192" y="12571"/>
                    </a:lnTo>
                    <a:lnTo>
                      <a:pt x="330" y="12434"/>
                    </a:lnTo>
                    <a:lnTo>
                      <a:pt x="488" y="12503"/>
                    </a:lnTo>
                    <a:lnTo>
                      <a:pt x="418" y="12332"/>
                    </a:lnTo>
                    <a:lnTo>
                      <a:pt x="313" y="12332"/>
                    </a:lnTo>
                    <a:lnTo>
                      <a:pt x="259" y="12045"/>
                    </a:lnTo>
                    <a:lnTo>
                      <a:pt x="172" y="12154"/>
                    </a:lnTo>
                    <a:lnTo>
                      <a:pt x="455" y="11478"/>
                    </a:lnTo>
                    <a:lnTo>
                      <a:pt x="626" y="10912"/>
                    </a:lnTo>
                    <a:lnTo>
                      <a:pt x="542" y="10775"/>
                    </a:lnTo>
                    <a:lnTo>
                      <a:pt x="488" y="10741"/>
                    </a:lnTo>
                    <a:lnTo>
                      <a:pt x="364" y="10563"/>
                    </a:lnTo>
                    <a:lnTo>
                      <a:pt x="401" y="10283"/>
                    </a:lnTo>
                    <a:lnTo>
                      <a:pt x="330" y="10208"/>
                    </a:lnTo>
                    <a:lnTo>
                      <a:pt x="330" y="10099"/>
                    </a:lnTo>
                    <a:lnTo>
                      <a:pt x="330" y="9990"/>
                    </a:lnTo>
                    <a:lnTo>
                      <a:pt x="276" y="9990"/>
                    </a:lnTo>
                    <a:lnTo>
                      <a:pt x="276" y="9894"/>
                    </a:lnTo>
                    <a:lnTo>
                      <a:pt x="276" y="9819"/>
                    </a:lnTo>
                    <a:lnTo>
                      <a:pt x="313" y="9464"/>
                    </a:lnTo>
                    <a:lnTo>
                      <a:pt x="138" y="8863"/>
                    </a:lnTo>
                    <a:lnTo>
                      <a:pt x="192" y="8549"/>
                    </a:lnTo>
                    <a:lnTo>
                      <a:pt x="138" y="8440"/>
                    </a:lnTo>
                    <a:lnTo>
                      <a:pt x="54" y="8330"/>
                    </a:lnTo>
                    <a:lnTo>
                      <a:pt x="34" y="8160"/>
                    </a:lnTo>
                    <a:lnTo>
                      <a:pt x="0" y="8051"/>
                    </a:lnTo>
                    <a:lnTo>
                      <a:pt x="138" y="770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8" name="Freeform 231"/>
              <p:cNvSpPr>
                <a:spLocks/>
              </p:cNvSpPr>
              <p:nvPr/>
            </p:nvSpPr>
            <p:spPr bwMode="auto">
              <a:xfrm>
                <a:off x="5568950" y="2844800"/>
                <a:ext cx="471488" cy="257175"/>
              </a:xfrm>
              <a:custGeom>
                <a:avLst/>
                <a:gdLst>
                  <a:gd name="T0" fmla="*/ 15364 w 20000"/>
                  <a:gd name="T1" fmla="*/ 13531 h 20000"/>
                  <a:gd name="T2" fmla="*/ 15067 w 20000"/>
                  <a:gd name="T3" fmla="*/ 14074 h 20000"/>
                  <a:gd name="T4" fmla="*/ 14124 w 20000"/>
                  <a:gd name="T5" fmla="*/ 16593 h 20000"/>
                  <a:gd name="T6" fmla="*/ 16496 w 20000"/>
                  <a:gd name="T7" fmla="*/ 17630 h 20000"/>
                  <a:gd name="T8" fmla="*/ 15364 w 20000"/>
                  <a:gd name="T9" fmla="*/ 17630 h 20000"/>
                  <a:gd name="T10" fmla="*/ 13531 w 20000"/>
                  <a:gd name="T11" fmla="*/ 19951 h 20000"/>
                  <a:gd name="T12" fmla="*/ 12992 w 20000"/>
                  <a:gd name="T13" fmla="*/ 18123 h 20000"/>
                  <a:gd name="T14" fmla="*/ 11752 w 20000"/>
                  <a:gd name="T15" fmla="*/ 16840 h 20000"/>
                  <a:gd name="T16" fmla="*/ 12992 w 20000"/>
                  <a:gd name="T17" fmla="*/ 15605 h 20000"/>
                  <a:gd name="T18" fmla="*/ 11024 w 20000"/>
                  <a:gd name="T19" fmla="*/ 14815 h 20000"/>
                  <a:gd name="T20" fmla="*/ 11024 w 20000"/>
                  <a:gd name="T21" fmla="*/ 14074 h 20000"/>
                  <a:gd name="T22" fmla="*/ 10755 w 20000"/>
                  <a:gd name="T23" fmla="*/ 12790 h 20000"/>
                  <a:gd name="T24" fmla="*/ 10620 w 20000"/>
                  <a:gd name="T25" fmla="*/ 13284 h 20000"/>
                  <a:gd name="T26" fmla="*/ 9650 w 20000"/>
                  <a:gd name="T27" fmla="*/ 13531 h 20000"/>
                  <a:gd name="T28" fmla="*/ 8518 w 20000"/>
                  <a:gd name="T29" fmla="*/ 16840 h 20000"/>
                  <a:gd name="T30" fmla="*/ 7008 w 20000"/>
                  <a:gd name="T31" fmla="*/ 16840 h 20000"/>
                  <a:gd name="T32" fmla="*/ 7844 w 20000"/>
                  <a:gd name="T33" fmla="*/ 14815 h 20000"/>
                  <a:gd name="T34" fmla="*/ 8248 w 20000"/>
                  <a:gd name="T35" fmla="*/ 13284 h 20000"/>
                  <a:gd name="T36" fmla="*/ 7412 w 20000"/>
                  <a:gd name="T37" fmla="*/ 10173 h 20000"/>
                  <a:gd name="T38" fmla="*/ 5310 w 20000"/>
                  <a:gd name="T39" fmla="*/ 9432 h 20000"/>
                  <a:gd name="T40" fmla="*/ 3369 w 20000"/>
                  <a:gd name="T41" fmla="*/ 10667 h 20000"/>
                  <a:gd name="T42" fmla="*/ 836 w 20000"/>
                  <a:gd name="T43" fmla="*/ 9975 h 20000"/>
                  <a:gd name="T44" fmla="*/ 431 w 20000"/>
                  <a:gd name="T45" fmla="*/ 6864 h 20000"/>
                  <a:gd name="T46" fmla="*/ 431 w 20000"/>
                  <a:gd name="T47" fmla="*/ 5333 h 20000"/>
                  <a:gd name="T48" fmla="*/ 1563 w 20000"/>
                  <a:gd name="T49" fmla="*/ 0 h 20000"/>
                  <a:gd name="T50" fmla="*/ 2372 w 20000"/>
                  <a:gd name="T51" fmla="*/ 494 h 20000"/>
                  <a:gd name="T52" fmla="*/ 6685 w 20000"/>
                  <a:gd name="T53" fmla="*/ 741 h 20000"/>
                  <a:gd name="T54" fmla="*/ 8787 w 20000"/>
                  <a:gd name="T55" fmla="*/ 1284 h 20000"/>
                  <a:gd name="T56" fmla="*/ 10054 w 20000"/>
                  <a:gd name="T57" fmla="*/ 494 h 20000"/>
                  <a:gd name="T58" fmla="*/ 15364 w 20000"/>
                  <a:gd name="T59" fmla="*/ 2025 h 20000"/>
                  <a:gd name="T60" fmla="*/ 19137 w 20000"/>
                  <a:gd name="T61" fmla="*/ 4840 h 20000"/>
                  <a:gd name="T62" fmla="*/ 17332 w 20000"/>
                  <a:gd name="T63" fmla="*/ 1066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709" y="12000"/>
                    </a:moveTo>
                    <a:lnTo>
                      <a:pt x="15364" y="13531"/>
                    </a:lnTo>
                    <a:lnTo>
                      <a:pt x="15499" y="15605"/>
                    </a:lnTo>
                    <a:lnTo>
                      <a:pt x="15067" y="14074"/>
                    </a:lnTo>
                    <a:lnTo>
                      <a:pt x="13962" y="15309"/>
                    </a:lnTo>
                    <a:lnTo>
                      <a:pt x="14124" y="16593"/>
                    </a:lnTo>
                    <a:lnTo>
                      <a:pt x="16199" y="17333"/>
                    </a:lnTo>
                    <a:lnTo>
                      <a:pt x="16496" y="17630"/>
                    </a:lnTo>
                    <a:lnTo>
                      <a:pt x="15903" y="17630"/>
                    </a:lnTo>
                    <a:lnTo>
                      <a:pt x="15364" y="17630"/>
                    </a:lnTo>
                    <a:lnTo>
                      <a:pt x="14663" y="18617"/>
                    </a:lnTo>
                    <a:lnTo>
                      <a:pt x="13531" y="19951"/>
                    </a:lnTo>
                    <a:lnTo>
                      <a:pt x="12857" y="19407"/>
                    </a:lnTo>
                    <a:lnTo>
                      <a:pt x="12992" y="18123"/>
                    </a:lnTo>
                    <a:lnTo>
                      <a:pt x="12156" y="17333"/>
                    </a:lnTo>
                    <a:lnTo>
                      <a:pt x="11752" y="16840"/>
                    </a:lnTo>
                    <a:lnTo>
                      <a:pt x="12156" y="16593"/>
                    </a:lnTo>
                    <a:lnTo>
                      <a:pt x="12992" y="15605"/>
                    </a:lnTo>
                    <a:lnTo>
                      <a:pt x="12857" y="15309"/>
                    </a:lnTo>
                    <a:lnTo>
                      <a:pt x="11024" y="14815"/>
                    </a:lnTo>
                    <a:lnTo>
                      <a:pt x="10755" y="14074"/>
                    </a:lnTo>
                    <a:lnTo>
                      <a:pt x="11024" y="14074"/>
                    </a:lnTo>
                    <a:lnTo>
                      <a:pt x="11159" y="14074"/>
                    </a:lnTo>
                    <a:lnTo>
                      <a:pt x="10755" y="12790"/>
                    </a:lnTo>
                    <a:lnTo>
                      <a:pt x="10755" y="13531"/>
                    </a:lnTo>
                    <a:lnTo>
                      <a:pt x="10620" y="13284"/>
                    </a:lnTo>
                    <a:lnTo>
                      <a:pt x="10323" y="13284"/>
                    </a:lnTo>
                    <a:lnTo>
                      <a:pt x="9650" y="13531"/>
                    </a:lnTo>
                    <a:lnTo>
                      <a:pt x="8949" y="15605"/>
                    </a:lnTo>
                    <a:lnTo>
                      <a:pt x="8518" y="16840"/>
                    </a:lnTo>
                    <a:lnTo>
                      <a:pt x="7412" y="17630"/>
                    </a:lnTo>
                    <a:lnTo>
                      <a:pt x="7008" y="16840"/>
                    </a:lnTo>
                    <a:lnTo>
                      <a:pt x="7412" y="15605"/>
                    </a:lnTo>
                    <a:lnTo>
                      <a:pt x="7844" y="14815"/>
                    </a:lnTo>
                    <a:lnTo>
                      <a:pt x="9218" y="14568"/>
                    </a:lnTo>
                    <a:lnTo>
                      <a:pt x="8248" y="13284"/>
                    </a:lnTo>
                    <a:lnTo>
                      <a:pt x="8113" y="12247"/>
                    </a:lnTo>
                    <a:lnTo>
                      <a:pt x="7412" y="10173"/>
                    </a:lnTo>
                    <a:lnTo>
                      <a:pt x="6685" y="10173"/>
                    </a:lnTo>
                    <a:lnTo>
                      <a:pt x="5310" y="9432"/>
                    </a:lnTo>
                    <a:lnTo>
                      <a:pt x="4474" y="9975"/>
                    </a:lnTo>
                    <a:lnTo>
                      <a:pt x="3369" y="10667"/>
                    </a:lnTo>
                    <a:lnTo>
                      <a:pt x="1267" y="9975"/>
                    </a:lnTo>
                    <a:lnTo>
                      <a:pt x="836" y="9975"/>
                    </a:lnTo>
                    <a:lnTo>
                      <a:pt x="0" y="9185"/>
                    </a:lnTo>
                    <a:lnTo>
                      <a:pt x="431" y="6864"/>
                    </a:lnTo>
                    <a:lnTo>
                      <a:pt x="566" y="6617"/>
                    </a:lnTo>
                    <a:lnTo>
                      <a:pt x="431" y="5333"/>
                    </a:lnTo>
                    <a:lnTo>
                      <a:pt x="1995" y="1481"/>
                    </a:lnTo>
                    <a:lnTo>
                      <a:pt x="1563" y="0"/>
                    </a:lnTo>
                    <a:lnTo>
                      <a:pt x="1995" y="0"/>
                    </a:lnTo>
                    <a:lnTo>
                      <a:pt x="2372" y="494"/>
                    </a:lnTo>
                    <a:lnTo>
                      <a:pt x="6685" y="0"/>
                    </a:lnTo>
                    <a:lnTo>
                      <a:pt x="6685" y="741"/>
                    </a:lnTo>
                    <a:lnTo>
                      <a:pt x="8787" y="1481"/>
                    </a:lnTo>
                    <a:lnTo>
                      <a:pt x="8787" y="1284"/>
                    </a:lnTo>
                    <a:lnTo>
                      <a:pt x="9218" y="494"/>
                    </a:lnTo>
                    <a:lnTo>
                      <a:pt x="10054" y="494"/>
                    </a:lnTo>
                    <a:lnTo>
                      <a:pt x="12588" y="1481"/>
                    </a:lnTo>
                    <a:lnTo>
                      <a:pt x="15364" y="2025"/>
                    </a:lnTo>
                    <a:lnTo>
                      <a:pt x="17332" y="4840"/>
                    </a:lnTo>
                    <a:lnTo>
                      <a:pt x="19137" y="4840"/>
                    </a:lnTo>
                    <a:lnTo>
                      <a:pt x="19973" y="9185"/>
                    </a:lnTo>
                    <a:lnTo>
                      <a:pt x="17332" y="10667"/>
                    </a:lnTo>
                    <a:lnTo>
                      <a:pt x="17709" y="1200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19" name="Freeform 230"/>
              <p:cNvSpPr>
                <a:spLocks/>
              </p:cNvSpPr>
              <p:nvPr/>
            </p:nvSpPr>
            <p:spPr bwMode="auto">
              <a:xfrm>
                <a:off x="5345113" y="3014663"/>
                <a:ext cx="85725" cy="47625"/>
              </a:xfrm>
              <a:custGeom>
                <a:avLst/>
                <a:gdLst>
                  <a:gd name="T0" fmla="*/ 593 w 20000"/>
                  <a:gd name="T1" fmla="*/ 7027 h 20000"/>
                  <a:gd name="T2" fmla="*/ 6815 w 20000"/>
                  <a:gd name="T3" fmla="*/ 7027 h 20000"/>
                  <a:gd name="T4" fmla="*/ 13778 w 20000"/>
                  <a:gd name="T5" fmla="*/ 4324 h 20000"/>
                  <a:gd name="T6" fmla="*/ 16000 w 20000"/>
                  <a:gd name="T7" fmla="*/ 4324 h 20000"/>
                  <a:gd name="T8" fmla="*/ 16000 w 20000"/>
                  <a:gd name="T9" fmla="*/ 1622 h 20000"/>
                  <a:gd name="T10" fmla="*/ 18370 w 20000"/>
                  <a:gd name="T11" fmla="*/ 0 h 20000"/>
                  <a:gd name="T12" fmla="*/ 18370 w 20000"/>
                  <a:gd name="T13" fmla="*/ 4324 h 20000"/>
                  <a:gd name="T14" fmla="*/ 19852 w 20000"/>
                  <a:gd name="T15" fmla="*/ 7027 h 20000"/>
                  <a:gd name="T16" fmla="*/ 19852 w 20000"/>
                  <a:gd name="T17" fmla="*/ 11081 h 20000"/>
                  <a:gd name="T18" fmla="*/ 16000 w 20000"/>
                  <a:gd name="T19" fmla="*/ 15405 h 20000"/>
                  <a:gd name="T20" fmla="*/ 13778 w 20000"/>
                  <a:gd name="T21" fmla="*/ 19730 h 20000"/>
                  <a:gd name="T22" fmla="*/ 8444 w 20000"/>
                  <a:gd name="T23" fmla="*/ 18108 h 20000"/>
                  <a:gd name="T24" fmla="*/ 4444 w 20000"/>
                  <a:gd name="T25" fmla="*/ 19730 h 20000"/>
                  <a:gd name="T26" fmla="*/ 3852 w 20000"/>
                  <a:gd name="T27" fmla="*/ 15405 h 20000"/>
                  <a:gd name="T28" fmla="*/ 0 w 20000"/>
                  <a:gd name="T29" fmla="*/ 8378 h 20000"/>
                  <a:gd name="T30" fmla="*/ 593 w 20000"/>
                  <a:gd name="T31" fmla="*/ 70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593" y="7027"/>
                    </a:moveTo>
                    <a:lnTo>
                      <a:pt x="6815" y="7027"/>
                    </a:lnTo>
                    <a:lnTo>
                      <a:pt x="13778" y="4324"/>
                    </a:lnTo>
                    <a:lnTo>
                      <a:pt x="16000" y="4324"/>
                    </a:lnTo>
                    <a:lnTo>
                      <a:pt x="16000" y="1622"/>
                    </a:lnTo>
                    <a:lnTo>
                      <a:pt x="18370" y="0"/>
                    </a:lnTo>
                    <a:lnTo>
                      <a:pt x="18370" y="4324"/>
                    </a:lnTo>
                    <a:lnTo>
                      <a:pt x="19852" y="7027"/>
                    </a:lnTo>
                    <a:lnTo>
                      <a:pt x="19852" y="11081"/>
                    </a:lnTo>
                    <a:lnTo>
                      <a:pt x="16000" y="15405"/>
                    </a:lnTo>
                    <a:lnTo>
                      <a:pt x="13778" y="19730"/>
                    </a:lnTo>
                    <a:lnTo>
                      <a:pt x="8444" y="18108"/>
                    </a:lnTo>
                    <a:lnTo>
                      <a:pt x="4444" y="19730"/>
                    </a:lnTo>
                    <a:lnTo>
                      <a:pt x="3852" y="15405"/>
                    </a:lnTo>
                    <a:lnTo>
                      <a:pt x="0" y="8378"/>
                    </a:lnTo>
                    <a:lnTo>
                      <a:pt x="593" y="702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0" name="Freeform 229"/>
              <p:cNvSpPr>
                <a:spLocks/>
              </p:cNvSpPr>
              <p:nvPr/>
            </p:nvSpPr>
            <p:spPr bwMode="auto">
              <a:xfrm>
                <a:off x="5345113" y="3041650"/>
                <a:ext cx="149225" cy="115888"/>
              </a:xfrm>
              <a:custGeom>
                <a:avLst/>
                <a:gdLst>
                  <a:gd name="T0" fmla="*/ 11453 w 20000"/>
                  <a:gd name="T1" fmla="*/ 0 h 20000"/>
                  <a:gd name="T2" fmla="*/ 11880 w 20000"/>
                  <a:gd name="T3" fmla="*/ 0 h 20000"/>
                  <a:gd name="T4" fmla="*/ 14103 w 20000"/>
                  <a:gd name="T5" fmla="*/ 1749 h 20000"/>
                  <a:gd name="T6" fmla="*/ 17265 w 20000"/>
                  <a:gd name="T7" fmla="*/ 2842 h 20000"/>
                  <a:gd name="T8" fmla="*/ 17607 w 20000"/>
                  <a:gd name="T9" fmla="*/ 1749 h 20000"/>
                  <a:gd name="T10" fmla="*/ 18547 w 20000"/>
                  <a:gd name="T11" fmla="*/ 656 h 20000"/>
                  <a:gd name="T12" fmla="*/ 18974 w 20000"/>
                  <a:gd name="T13" fmla="*/ 3388 h 20000"/>
                  <a:gd name="T14" fmla="*/ 19915 w 20000"/>
                  <a:gd name="T15" fmla="*/ 7322 h 20000"/>
                  <a:gd name="T16" fmla="*/ 18547 w 20000"/>
                  <a:gd name="T17" fmla="*/ 7322 h 20000"/>
                  <a:gd name="T18" fmla="*/ 14103 w 20000"/>
                  <a:gd name="T19" fmla="*/ 7322 h 20000"/>
                  <a:gd name="T20" fmla="*/ 9744 w 20000"/>
                  <a:gd name="T21" fmla="*/ 7322 h 20000"/>
                  <a:gd name="T22" fmla="*/ 11453 w 20000"/>
                  <a:gd name="T23" fmla="*/ 12459 h 20000"/>
                  <a:gd name="T24" fmla="*/ 15043 w 20000"/>
                  <a:gd name="T25" fmla="*/ 16940 h 20000"/>
                  <a:gd name="T26" fmla="*/ 15043 w 20000"/>
                  <a:gd name="T27" fmla="*/ 19891 h 20000"/>
                  <a:gd name="T28" fmla="*/ 12735 w 20000"/>
                  <a:gd name="T29" fmla="*/ 16940 h 20000"/>
                  <a:gd name="T30" fmla="*/ 10598 w 20000"/>
                  <a:gd name="T31" fmla="*/ 16503 h 20000"/>
                  <a:gd name="T32" fmla="*/ 9231 w 20000"/>
                  <a:gd name="T33" fmla="*/ 16940 h 20000"/>
                  <a:gd name="T34" fmla="*/ 5726 w 20000"/>
                  <a:gd name="T35" fmla="*/ 12459 h 20000"/>
                  <a:gd name="T36" fmla="*/ 7863 w 20000"/>
                  <a:gd name="T37" fmla="*/ 11913 h 20000"/>
                  <a:gd name="T38" fmla="*/ 4872 w 20000"/>
                  <a:gd name="T39" fmla="*/ 9071 h 20000"/>
                  <a:gd name="T40" fmla="*/ 4872 w 20000"/>
                  <a:gd name="T41" fmla="*/ 7322 h 20000"/>
                  <a:gd name="T42" fmla="*/ 2564 w 20000"/>
                  <a:gd name="T43" fmla="*/ 5137 h 20000"/>
                  <a:gd name="T44" fmla="*/ 1368 w 20000"/>
                  <a:gd name="T45" fmla="*/ 7978 h 20000"/>
                  <a:gd name="T46" fmla="*/ 0 w 20000"/>
                  <a:gd name="T47" fmla="*/ 4481 h 20000"/>
                  <a:gd name="T48" fmla="*/ 342 w 20000"/>
                  <a:gd name="T49" fmla="*/ 3388 h 20000"/>
                  <a:gd name="T50" fmla="*/ 2222 w 20000"/>
                  <a:gd name="T51" fmla="*/ 4481 h 20000"/>
                  <a:gd name="T52" fmla="*/ 2564 w 20000"/>
                  <a:gd name="T53" fmla="*/ 3388 h 20000"/>
                  <a:gd name="T54" fmla="*/ 4872 w 20000"/>
                  <a:gd name="T55" fmla="*/ 2842 h 20000"/>
                  <a:gd name="T56" fmla="*/ 7863 w 20000"/>
                  <a:gd name="T57" fmla="*/ 3388 h 20000"/>
                  <a:gd name="T58" fmla="*/ 9231 w 20000"/>
                  <a:gd name="T59" fmla="*/ 1749 h 20000"/>
                  <a:gd name="T60" fmla="*/ 11453 w 20000"/>
                  <a:gd name="T6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000" h="20000">
                    <a:moveTo>
                      <a:pt x="11453" y="0"/>
                    </a:moveTo>
                    <a:lnTo>
                      <a:pt x="11880" y="0"/>
                    </a:lnTo>
                    <a:lnTo>
                      <a:pt x="14103" y="1749"/>
                    </a:lnTo>
                    <a:lnTo>
                      <a:pt x="17265" y="2842"/>
                    </a:lnTo>
                    <a:lnTo>
                      <a:pt x="17607" y="1749"/>
                    </a:lnTo>
                    <a:lnTo>
                      <a:pt x="18547" y="656"/>
                    </a:lnTo>
                    <a:lnTo>
                      <a:pt x="18974" y="3388"/>
                    </a:lnTo>
                    <a:lnTo>
                      <a:pt x="19915" y="7322"/>
                    </a:lnTo>
                    <a:lnTo>
                      <a:pt x="18547" y="7322"/>
                    </a:lnTo>
                    <a:lnTo>
                      <a:pt x="14103" y="7322"/>
                    </a:lnTo>
                    <a:lnTo>
                      <a:pt x="9744" y="7322"/>
                    </a:lnTo>
                    <a:lnTo>
                      <a:pt x="11453" y="12459"/>
                    </a:lnTo>
                    <a:lnTo>
                      <a:pt x="15043" y="16940"/>
                    </a:lnTo>
                    <a:lnTo>
                      <a:pt x="15043" y="19891"/>
                    </a:lnTo>
                    <a:lnTo>
                      <a:pt x="12735" y="16940"/>
                    </a:lnTo>
                    <a:lnTo>
                      <a:pt x="10598" y="16503"/>
                    </a:lnTo>
                    <a:lnTo>
                      <a:pt x="9231" y="16940"/>
                    </a:lnTo>
                    <a:lnTo>
                      <a:pt x="5726" y="12459"/>
                    </a:lnTo>
                    <a:lnTo>
                      <a:pt x="7863" y="11913"/>
                    </a:lnTo>
                    <a:lnTo>
                      <a:pt x="4872" y="9071"/>
                    </a:lnTo>
                    <a:lnTo>
                      <a:pt x="4872" y="7322"/>
                    </a:lnTo>
                    <a:lnTo>
                      <a:pt x="2564" y="5137"/>
                    </a:lnTo>
                    <a:lnTo>
                      <a:pt x="1368" y="7978"/>
                    </a:lnTo>
                    <a:lnTo>
                      <a:pt x="0" y="4481"/>
                    </a:lnTo>
                    <a:lnTo>
                      <a:pt x="342" y="3388"/>
                    </a:lnTo>
                    <a:lnTo>
                      <a:pt x="2222" y="4481"/>
                    </a:lnTo>
                    <a:lnTo>
                      <a:pt x="2564" y="3388"/>
                    </a:lnTo>
                    <a:lnTo>
                      <a:pt x="4872" y="2842"/>
                    </a:lnTo>
                    <a:lnTo>
                      <a:pt x="7863" y="3388"/>
                    </a:lnTo>
                    <a:lnTo>
                      <a:pt x="9231" y="1749"/>
                    </a:lnTo>
                    <a:lnTo>
                      <a:pt x="11453"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1" name="Freeform 228"/>
              <p:cNvSpPr>
                <a:spLocks/>
              </p:cNvSpPr>
              <p:nvPr/>
            </p:nvSpPr>
            <p:spPr bwMode="auto">
              <a:xfrm>
                <a:off x="5416550" y="3082925"/>
                <a:ext cx="92075" cy="85725"/>
              </a:xfrm>
              <a:custGeom>
                <a:avLst/>
                <a:gdLst>
                  <a:gd name="T0" fmla="*/ 14795 w 20000"/>
                  <a:gd name="T1" fmla="*/ 19853 h 20000"/>
                  <a:gd name="T2" fmla="*/ 10548 w 20000"/>
                  <a:gd name="T3" fmla="*/ 18382 h 20000"/>
                  <a:gd name="T4" fmla="*/ 5616 w 20000"/>
                  <a:gd name="T5" fmla="*/ 16912 h 20000"/>
                  <a:gd name="T6" fmla="*/ 5616 w 20000"/>
                  <a:gd name="T7" fmla="*/ 16029 h 20000"/>
                  <a:gd name="T8" fmla="*/ 8493 w 20000"/>
                  <a:gd name="T9" fmla="*/ 16912 h 20000"/>
                  <a:gd name="T10" fmla="*/ 8493 w 20000"/>
                  <a:gd name="T11" fmla="*/ 12941 h 20000"/>
                  <a:gd name="T12" fmla="*/ 2740 w 20000"/>
                  <a:gd name="T13" fmla="*/ 6912 h 20000"/>
                  <a:gd name="T14" fmla="*/ 0 w 20000"/>
                  <a:gd name="T15" fmla="*/ 0 h 20000"/>
                  <a:gd name="T16" fmla="*/ 6986 w 20000"/>
                  <a:gd name="T17" fmla="*/ 0 h 20000"/>
                  <a:gd name="T18" fmla="*/ 14247 w 20000"/>
                  <a:gd name="T19" fmla="*/ 0 h 20000"/>
                  <a:gd name="T20" fmla="*/ 16301 w 20000"/>
                  <a:gd name="T21" fmla="*/ 0 h 20000"/>
                  <a:gd name="T22" fmla="*/ 19863 w 20000"/>
                  <a:gd name="T23" fmla="*/ 0 h 20000"/>
                  <a:gd name="T24" fmla="*/ 18493 w 20000"/>
                  <a:gd name="T25" fmla="*/ 4559 h 20000"/>
                  <a:gd name="T26" fmla="*/ 19863 w 20000"/>
                  <a:gd name="T27" fmla="*/ 8382 h 20000"/>
                  <a:gd name="T28" fmla="*/ 19863 w 20000"/>
                  <a:gd name="T29" fmla="*/ 12353 h 20000"/>
                  <a:gd name="T30" fmla="*/ 16301 w 20000"/>
                  <a:gd name="T31" fmla="*/ 16029 h 20000"/>
                  <a:gd name="T32" fmla="*/ 14795 w 20000"/>
                  <a:gd name="T33" fmla="*/ 1985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4795" y="19853"/>
                    </a:moveTo>
                    <a:lnTo>
                      <a:pt x="10548" y="18382"/>
                    </a:lnTo>
                    <a:lnTo>
                      <a:pt x="5616" y="16912"/>
                    </a:lnTo>
                    <a:lnTo>
                      <a:pt x="5616" y="16029"/>
                    </a:lnTo>
                    <a:lnTo>
                      <a:pt x="8493" y="16912"/>
                    </a:lnTo>
                    <a:lnTo>
                      <a:pt x="8493" y="12941"/>
                    </a:lnTo>
                    <a:lnTo>
                      <a:pt x="2740" y="6912"/>
                    </a:lnTo>
                    <a:lnTo>
                      <a:pt x="0" y="0"/>
                    </a:lnTo>
                    <a:lnTo>
                      <a:pt x="6986" y="0"/>
                    </a:lnTo>
                    <a:lnTo>
                      <a:pt x="14247" y="0"/>
                    </a:lnTo>
                    <a:lnTo>
                      <a:pt x="16301" y="0"/>
                    </a:lnTo>
                    <a:lnTo>
                      <a:pt x="19863" y="0"/>
                    </a:lnTo>
                    <a:lnTo>
                      <a:pt x="18493" y="4559"/>
                    </a:lnTo>
                    <a:lnTo>
                      <a:pt x="19863" y="8382"/>
                    </a:lnTo>
                    <a:lnTo>
                      <a:pt x="19863" y="12353"/>
                    </a:lnTo>
                    <a:lnTo>
                      <a:pt x="16301" y="16029"/>
                    </a:lnTo>
                    <a:lnTo>
                      <a:pt x="14795" y="1985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2" name="Freeform 227"/>
              <p:cNvSpPr>
                <a:spLocks/>
              </p:cNvSpPr>
              <p:nvPr/>
            </p:nvSpPr>
            <p:spPr bwMode="auto">
              <a:xfrm>
                <a:off x="5483225" y="3041650"/>
                <a:ext cx="73025" cy="42863"/>
              </a:xfrm>
              <a:custGeom>
                <a:avLst/>
                <a:gdLst>
                  <a:gd name="T0" fmla="*/ 0 w 20000"/>
                  <a:gd name="T1" fmla="*/ 1765 h 20000"/>
                  <a:gd name="T2" fmla="*/ 5391 w 20000"/>
                  <a:gd name="T3" fmla="*/ 1765 h 20000"/>
                  <a:gd name="T4" fmla="*/ 7130 w 20000"/>
                  <a:gd name="T5" fmla="*/ 0 h 20000"/>
                  <a:gd name="T6" fmla="*/ 12696 w 20000"/>
                  <a:gd name="T7" fmla="*/ 0 h 20000"/>
                  <a:gd name="T8" fmla="*/ 14435 w 20000"/>
                  <a:gd name="T9" fmla="*/ 4706 h 20000"/>
                  <a:gd name="T10" fmla="*/ 14435 w 20000"/>
                  <a:gd name="T11" fmla="*/ 9118 h 20000"/>
                  <a:gd name="T12" fmla="*/ 19826 w 20000"/>
                  <a:gd name="T13" fmla="*/ 13824 h 20000"/>
                  <a:gd name="T14" fmla="*/ 19826 w 20000"/>
                  <a:gd name="T15" fmla="*/ 19706 h 20000"/>
                  <a:gd name="T16" fmla="*/ 17043 w 20000"/>
                  <a:gd name="T17" fmla="*/ 19706 h 20000"/>
                  <a:gd name="T18" fmla="*/ 12696 w 20000"/>
                  <a:gd name="T19" fmla="*/ 16765 h 20000"/>
                  <a:gd name="T20" fmla="*/ 7130 w 20000"/>
                  <a:gd name="T21" fmla="*/ 19706 h 20000"/>
                  <a:gd name="T22" fmla="*/ 2783 w 20000"/>
                  <a:gd name="T23" fmla="*/ 19706 h 20000"/>
                  <a:gd name="T24" fmla="*/ 696 w 20000"/>
                  <a:gd name="T25" fmla="*/ 9118 h 20000"/>
                  <a:gd name="T26" fmla="*/ 0 w 20000"/>
                  <a:gd name="T27" fmla="*/ 1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0" y="1765"/>
                    </a:moveTo>
                    <a:lnTo>
                      <a:pt x="5391" y="1765"/>
                    </a:lnTo>
                    <a:lnTo>
                      <a:pt x="7130" y="0"/>
                    </a:lnTo>
                    <a:lnTo>
                      <a:pt x="12696" y="0"/>
                    </a:lnTo>
                    <a:lnTo>
                      <a:pt x="14435" y="4706"/>
                    </a:lnTo>
                    <a:lnTo>
                      <a:pt x="14435" y="9118"/>
                    </a:lnTo>
                    <a:lnTo>
                      <a:pt x="19826" y="13824"/>
                    </a:lnTo>
                    <a:lnTo>
                      <a:pt x="19826" y="19706"/>
                    </a:lnTo>
                    <a:lnTo>
                      <a:pt x="17043" y="19706"/>
                    </a:lnTo>
                    <a:lnTo>
                      <a:pt x="12696" y="16765"/>
                    </a:lnTo>
                    <a:lnTo>
                      <a:pt x="7130" y="19706"/>
                    </a:lnTo>
                    <a:lnTo>
                      <a:pt x="2783" y="19706"/>
                    </a:lnTo>
                    <a:lnTo>
                      <a:pt x="696" y="9118"/>
                    </a:lnTo>
                    <a:lnTo>
                      <a:pt x="0" y="1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3" name="Freeform 226"/>
              <p:cNvSpPr>
                <a:spLocks/>
              </p:cNvSpPr>
              <p:nvPr/>
            </p:nvSpPr>
            <p:spPr bwMode="auto">
              <a:xfrm>
                <a:off x="5502275" y="3076575"/>
                <a:ext cx="95250" cy="103188"/>
              </a:xfrm>
              <a:custGeom>
                <a:avLst/>
                <a:gdLst>
                  <a:gd name="T0" fmla="*/ 10933 w 20000"/>
                  <a:gd name="T1" fmla="*/ 1235 h 20000"/>
                  <a:gd name="T2" fmla="*/ 10933 w 20000"/>
                  <a:gd name="T3" fmla="*/ 1975 h 20000"/>
                  <a:gd name="T4" fmla="*/ 13600 w 20000"/>
                  <a:gd name="T5" fmla="*/ 3210 h 20000"/>
                  <a:gd name="T6" fmla="*/ 15733 w 20000"/>
                  <a:gd name="T7" fmla="*/ 4568 h 20000"/>
                  <a:gd name="T8" fmla="*/ 16400 w 20000"/>
                  <a:gd name="T9" fmla="*/ 3210 h 20000"/>
                  <a:gd name="T10" fmla="*/ 17733 w 20000"/>
                  <a:gd name="T11" fmla="*/ 3210 h 20000"/>
                  <a:gd name="T12" fmla="*/ 16400 w 20000"/>
                  <a:gd name="T13" fmla="*/ 4568 h 20000"/>
                  <a:gd name="T14" fmla="*/ 17733 w 20000"/>
                  <a:gd name="T15" fmla="*/ 6543 h 20000"/>
                  <a:gd name="T16" fmla="*/ 17733 w 20000"/>
                  <a:gd name="T17" fmla="*/ 10247 h 20000"/>
                  <a:gd name="T18" fmla="*/ 19200 w 20000"/>
                  <a:gd name="T19" fmla="*/ 12099 h 20000"/>
                  <a:gd name="T20" fmla="*/ 19867 w 20000"/>
                  <a:gd name="T21" fmla="*/ 13457 h 20000"/>
                  <a:gd name="T22" fmla="*/ 19200 w 20000"/>
                  <a:gd name="T23" fmla="*/ 14815 h 20000"/>
                  <a:gd name="T24" fmla="*/ 17733 w 20000"/>
                  <a:gd name="T25" fmla="*/ 15432 h 20000"/>
                  <a:gd name="T26" fmla="*/ 17733 w 20000"/>
                  <a:gd name="T27" fmla="*/ 16667 h 20000"/>
                  <a:gd name="T28" fmla="*/ 19200 w 20000"/>
                  <a:gd name="T29" fmla="*/ 17901 h 20000"/>
                  <a:gd name="T30" fmla="*/ 17733 w 20000"/>
                  <a:gd name="T31" fmla="*/ 18642 h 20000"/>
                  <a:gd name="T32" fmla="*/ 12267 w 20000"/>
                  <a:gd name="T33" fmla="*/ 19877 h 20000"/>
                  <a:gd name="T34" fmla="*/ 14400 w 20000"/>
                  <a:gd name="T35" fmla="*/ 17901 h 20000"/>
                  <a:gd name="T36" fmla="*/ 12267 w 20000"/>
                  <a:gd name="T37" fmla="*/ 14815 h 20000"/>
                  <a:gd name="T38" fmla="*/ 8933 w 20000"/>
                  <a:gd name="T39" fmla="*/ 14815 h 20000"/>
                  <a:gd name="T40" fmla="*/ 8133 w 20000"/>
                  <a:gd name="T41" fmla="*/ 15432 h 20000"/>
                  <a:gd name="T42" fmla="*/ 4800 w 20000"/>
                  <a:gd name="T43" fmla="*/ 12099 h 20000"/>
                  <a:gd name="T44" fmla="*/ 1333 w 20000"/>
                  <a:gd name="T45" fmla="*/ 11605 h 20000"/>
                  <a:gd name="T46" fmla="*/ 1333 w 20000"/>
                  <a:gd name="T47" fmla="*/ 8272 h 20000"/>
                  <a:gd name="T48" fmla="*/ 0 w 20000"/>
                  <a:gd name="T49" fmla="*/ 5062 h 20000"/>
                  <a:gd name="T50" fmla="*/ 1333 w 20000"/>
                  <a:gd name="T51" fmla="*/ 1235 h 20000"/>
                  <a:gd name="T52" fmla="*/ 5467 w 20000"/>
                  <a:gd name="T53" fmla="*/ 0 h 20000"/>
                  <a:gd name="T54" fmla="*/ 8933 w 20000"/>
                  <a:gd name="T55" fmla="*/ 1235 h 20000"/>
                  <a:gd name="T56" fmla="*/ 10933 w 20000"/>
                  <a:gd name="T57" fmla="*/ 12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10933" y="1235"/>
                    </a:moveTo>
                    <a:lnTo>
                      <a:pt x="10933" y="1975"/>
                    </a:lnTo>
                    <a:lnTo>
                      <a:pt x="13600" y="3210"/>
                    </a:lnTo>
                    <a:lnTo>
                      <a:pt x="15733" y="4568"/>
                    </a:lnTo>
                    <a:lnTo>
                      <a:pt x="16400" y="3210"/>
                    </a:lnTo>
                    <a:lnTo>
                      <a:pt x="17733" y="3210"/>
                    </a:lnTo>
                    <a:lnTo>
                      <a:pt x="16400" y="4568"/>
                    </a:lnTo>
                    <a:lnTo>
                      <a:pt x="17733" y="6543"/>
                    </a:lnTo>
                    <a:lnTo>
                      <a:pt x="17733" y="10247"/>
                    </a:lnTo>
                    <a:lnTo>
                      <a:pt x="19200" y="12099"/>
                    </a:lnTo>
                    <a:lnTo>
                      <a:pt x="19867" y="13457"/>
                    </a:lnTo>
                    <a:lnTo>
                      <a:pt x="19200" y="14815"/>
                    </a:lnTo>
                    <a:lnTo>
                      <a:pt x="17733" y="15432"/>
                    </a:lnTo>
                    <a:lnTo>
                      <a:pt x="17733" y="16667"/>
                    </a:lnTo>
                    <a:lnTo>
                      <a:pt x="19200" y="17901"/>
                    </a:lnTo>
                    <a:lnTo>
                      <a:pt x="17733" y="18642"/>
                    </a:lnTo>
                    <a:lnTo>
                      <a:pt x="12267" y="19877"/>
                    </a:lnTo>
                    <a:lnTo>
                      <a:pt x="14400" y="17901"/>
                    </a:lnTo>
                    <a:lnTo>
                      <a:pt x="12267" y="14815"/>
                    </a:lnTo>
                    <a:lnTo>
                      <a:pt x="8933" y="14815"/>
                    </a:lnTo>
                    <a:lnTo>
                      <a:pt x="8133" y="15432"/>
                    </a:lnTo>
                    <a:lnTo>
                      <a:pt x="4800" y="12099"/>
                    </a:lnTo>
                    <a:lnTo>
                      <a:pt x="1333" y="11605"/>
                    </a:lnTo>
                    <a:lnTo>
                      <a:pt x="1333" y="8272"/>
                    </a:lnTo>
                    <a:lnTo>
                      <a:pt x="0" y="5062"/>
                    </a:lnTo>
                    <a:lnTo>
                      <a:pt x="1333" y="1235"/>
                    </a:lnTo>
                    <a:lnTo>
                      <a:pt x="5467" y="0"/>
                    </a:lnTo>
                    <a:lnTo>
                      <a:pt x="8933" y="1235"/>
                    </a:lnTo>
                    <a:lnTo>
                      <a:pt x="10933" y="12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4" name="Freeform 225"/>
              <p:cNvSpPr>
                <a:spLocks/>
              </p:cNvSpPr>
              <p:nvPr/>
            </p:nvSpPr>
            <p:spPr bwMode="auto">
              <a:xfrm>
                <a:off x="5483225" y="3136900"/>
                <a:ext cx="60325" cy="53975"/>
              </a:xfrm>
              <a:custGeom>
                <a:avLst/>
                <a:gdLst>
                  <a:gd name="T0" fmla="*/ 12128 w 20000"/>
                  <a:gd name="T1" fmla="*/ 9762 h 20000"/>
                  <a:gd name="T2" fmla="*/ 8723 w 20000"/>
                  <a:gd name="T3" fmla="*/ 13571 h 20000"/>
                  <a:gd name="T4" fmla="*/ 5532 w 20000"/>
                  <a:gd name="T5" fmla="*/ 19762 h 20000"/>
                  <a:gd name="T6" fmla="*/ 0 w 20000"/>
                  <a:gd name="T7" fmla="*/ 12381 h 20000"/>
                  <a:gd name="T8" fmla="*/ 851 w 20000"/>
                  <a:gd name="T9" fmla="*/ 12381 h 20000"/>
                  <a:gd name="T10" fmla="*/ 3404 w 20000"/>
                  <a:gd name="T11" fmla="*/ 6190 h 20000"/>
                  <a:gd name="T12" fmla="*/ 8723 w 20000"/>
                  <a:gd name="T13" fmla="*/ 0 h 20000"/>
                  <a:gd name="T14" fmla="*/ 14255 w 20000"/>
                  <a:gd name="T15" fmla="*/ 952 h 20000"/>
                  <a:gd name="T16" fmla="*/ 19787 w 20000"/>
                  <a:gd name="T17" fmla="*/ 7381 h 20000"/>
                  <a:gd name="T18" fmla="*/ 17660 w 20000"/>
                  <a:gd name="T19" fmla="*/ 9762 h 20000"/>
                  <a:gd name="T20" fmla="*/ 12128 w 20000"/>
                  <a:gd name="T21" fmla="*/ 976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2128" y="9762"/>
                    </a:moveTo>
                    <a:lnTo>
                      <a:pt x="8723" y="13571"/>
                    </a:lnTo>
                    <a:lnTo>
                      <a:pt x="5532" y="19762"/>
                    </a:lnTo>
                    <a:lnTo>
                      <a:pt x="0" y="12381"/>
                    </a:lnTo>
                    <a:lnTo>
                      <a:pt x="851" y="12381"/>
                    </a:lnTo>
                    <a:lnTo>
                      <a:pt x="3404" y="6190"/>
                    </a:lnTo>
                    <a:lnTo>
                      <a:pt x="8723" y="0"/>
                    </a:lnTo>
                    <a:lnTo>
                      <a:pt x="14255" y="952"/>
                    </a:lnTo>
                    <a:lnTo>
                      <a:pt x="19787" y="7381"/>
                    </a:lnTo>
                    <a:lnTo>
                      <a:pt x="17660" y="9762"/>
                    </a:lnTo>
                    <a:lnTo>
                      <a:pt x="12128" y="97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5" name="Freeform 224"/>
              <p:cNvSpPr>
                <a:spLocks/>
              </p:cNvSpPr>
              <p:nvPr/>
            </p:nvSpPr>
            <p:spPr bwMode="auto">
              <a:xfrm>
                <a:off x="5519738" y="3152775"/>
                <a:ext cx="53975" cy="42863"/>
              </a:xfrm>
              <a:custGeom>
                <a:avLst/>
                <a:gdLst>
                  <a:gd name="T0" fmla="*/ 15952 w 20000"/>
                  <a:gd name="T1" fmla="*/ 12059 h 20000"/>
                  <a:gd name="T2" fmla="*/ 8571 w 20000"/>
                  <a:gd name="T3" fmla="*/ 19706 h 20000"/>
                  <a:gd name="T4" fmla="*/ 8571 w 20000"/>
                  <a:gd name="T5" fmla="*/ 16765 h 20000"/>
                  <a:gd name="T6" fmla="*/ 8571 w 20000"/>
                  <a:gd name="T7" fmla="*/ 12059 h 20000"/>
                  <a:gd name="T8" fmla="*/ 0 w 20000"/>
                  <a:gd name="T9" fmla="*/ 4706 h 20000"/>
                  <a:gd name="T10" fmla="*/ 6190 w 20000"/>
                  <a:gd name="T11" fmla="*/ 4706 h 20000"/>
                  <a:gd name="T12" fmla="*/ 8571 w 20000"/>
                  <a:gd name="T13" fmla="*/ 1765 h 20000"/>
                  <a:gd name="T14" fmla="*/ 9762 w 20000"/>
                  <a:gd name="T15" fmla="*/ 0 h 20000"/>
                  <a:gd name="T16" fmla="*/ 15952 w 20000"/>
                  <a:gd name="T17" fmla="*/ 0 h 20000"/>
                  <a:gd name="T18" fmla="*/ 19762 w 20000"/>
                  <a:gd name="T19" fmla="*/ 7647 h 20000"/>
                  <a:gd name="T20" fmla="*/ 15952 w 20000"/>
                  <a:gd name="T21" fmla="*/ 1205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5952" y="12059"/>
                    </a:moveTo>
                    <a:lnTo>
                      <a:pt x="8571" y="19706"/>
                    </a:lnTo>
                    <a:lnTo>
                      <a:pt x="8571" y="16765"/>
                    </a:lnTo>
                    <a:lnTo>
                      <a:pt x="8571" y="12059"/>
                    </a:lnTo>
                    <a:lnTo>
                      <a:pt x="0" y="4706"/>
                    </a:lnTo>
                    <a:lnTo>
                      <a:pt x="6190" y="4706"/>
                    </a:lnTo>
                    <a:lnTo>
                      <a:pt x="8571" y="1765"/>
                    </a:lnTo>
                    <a:lnTo>
                      <a:pt x="9762" y="0"/>
                    </a:lnTo>
                    <a:lnTo>
                      <a:pt x="15952" y="0"/>
                    </a:lnTo>
                    <a:lnTo>
                      <a:pt x="19762" y="7647"/>
                    </a:lnTo>
                    <a:lnTo>
                      <a:pt x="15952" y="120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6" name="Freeform 223"/>
              <p:cNvSpPr>
                <a:spLocks/>
              </p:cNvSpPr>
              <p:nvPr/>
            </p:nvSpPr>
            <p:spPr bwMode="auto">
              <a:xfrm>
                <a:off x="5541963" y="3173413"/>
                <a:ext cx="63500" cy="60325"/>
              </a:xfrm>
              <a:custGeom>
                <a:avLst/>
                <a:gdLst>
                  <a:gd name="T0" fmla="*/ 14400 w 20000"/>
                  <a:gd name="T1" fmla="*/ 0 h 20000"/>
                  <a:gd name="T2" fmla="*/ 19800 w 20000"/>
                  <a:gd name="T3" fmla="*/ 5532 h 20000"/>
                  <a:gd name="T4" fmla="*/ 19800 w 20000"/>
                  <a:gd name="T5" fmla="*/ 10851 h 20000"/>
                  <a:gd name="T6" fmla="*/ 16600 w 20000"/>
                  <a:gd name="T7" fmla="*/ 14255 h 20000"/>
                  <a:gd name="T8" fmla="*/ 12400 w 20000"/>
                  <a:gd name="T9" fmla="*/ 12128 h 20000"/>
                  <a:gd name="T10" fmla="*/ 11400 w 20000"/>
                  <a:gd name="T11" fmla="*/ 16383 h 20000"/>
                  <a:gd name="T12" fmla="*/ 6200 w 20000"/>
                  <a:gd name="T13" fmla="*/ 16383 h 20000"/>
                  <a:gd name="T14" fmla="*/ 3200 w 20000"/>
                  <a:gd name="T15" fmla="*/ 19787 h 20000"/>
                  <a:gd name="T16" fmla="*/ 1200 w 20000"/>
                  <a:gd name="T17" fmla="*/ 14255 h 20000"/>
                  <a:gd name="T18" fmla="*/ 0 w 20000"/>
                  <a:gd name="T19" fmla="*/ 10851 h 20000"/>
                  <a:gd name="T20" fmla="*/ 0 w 20000"/>
                  <a:gd name="T21" fmla="*/ 7660 h 20000"/>
                  <a:gd name="T22" fmla="*/ 6200 w 20000"/>
                  <a:gd name="T23" fmla="*/ 2128 h 20000"/>
                  <a:gd name="T24" fmla="*/ 14400 w 20000"/>
                  <a:gd name="T2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4400" y="0"/>
                    </a:moveTo>
                    <a:lnTo>
                      <a:pt x="19800" y="5532"/>
                    </a:lnTo>
                    <a:lnTo>
                      <a:pt x="19800" y="10851"/>
                    </a:lnTo>
                    <a:lnTo>
                      <a:pt x="16600" y="14255"/>
                    </a:lnTo>
                    <a:lnTo>
                      <a:pt x="12400" y="12128"/>
                    </a:lnTo>
                    <a:lnTo>
                      <a:pt x="11400" y="16383"/>
                    </a:lnTo>
                    <a:lnTo>
                      <a:pt x="6200" y="16383"/>
                    </a:lnTo>
                    <a:lnTo>
                      <a:pt x="3200" y="19787"/>
                    </a:lnTo>
                    <a:lnTo>
                      <a:pt x="1200" y="14255"/>
                    </a:lnTo>
                    <a:lnTo>
                      <a:pt x="0" y="10851"/>
                    </a:lnTo>
                    <a:lnTo>
                      <a:pt x="0" y="7660"/>
                    </a:lnTo>
                    <a:lnTo>
                      <a:pt x="6200" y="2128"/>
                    </a:lnTo>
                    <a:lnTo>
                      <a:pt x="1440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7" name="Freeform 222"/>
              <p:cNvSpPr>
                <a:spLocks/>
              </p:cNvSpPr>
              <p:nvPr/>
            </p:nvSpPr>
            <p:spPr bwMode="auto">
              <a:xfrm>
                <a:off x="5429250" y="2906713"/>
                <a:ext cx="149225" cy="82550"/>
              </a:xfrm>
              <a:custGeom>
                <a:avLst/>
                <a:gdLst>
                  <a:gd name="T0" fmla="*/ 5812 w 20000"/>
                  <a:gd name="T1" fmla="*/ 0 h 20000"/>
                  <a:gd name="T2" fmla="*/ 7521 w 20000"/>
                  <a:gd name="T3" fmla="*/ 3077 h 20000"/>
                  <a:gd name="T4" fmla="*/ 9316 w 20000"/>
                  <a:gd name="T5" fmla="*/ 1538 h 20000"/>
                  <a:gd name="T6" fmla="*/ 9829 w 20000"/>
                  <a:gd name="T7" fmla="*/ 4000 h 20000"/>
                  <a:gd name="T8" fmla="*/ 10684 w 20000"/>
                  <a:gd name="T9" fmla="*/ 5538 h 20000"/>
                  <a:gd name="T10" fmla="*/ 12821 w 20000"/>
                  <a:gd name="T11" fmla="*/ 4000 h 20000"/>
                  <a:gd name="T12" fmla="*/ 14188 w 20000"/>
                  <a:gd name="T13" fmla="*/ 4000 h 20000"/>
                  <a:gd name="T14" fmla="*/ 15043 w 20000"/>
                  <a:gd name="T15" fmla="*/ 3077 h 20000"/>
                  <a:gd name="T16" fmla="*/ 16838 w 20000"/>
                  <a:gd name="T17" fmla="*/ 4000 h 20000"/>
                  <a:gd name="T18" fmla="*/ 19060 w 20000"/>
                  <a:gd name="T19" fmla="*/ 5538 h 20000"/>
                  <a:gd name="T20" fmla="*/ 19915 w 20000"/>
                  <a:gd name="T21" fmla="*/ 6308 h 20000"/>
                  <a:gd name="T22" fmla="*/ 18547 w 20000"/>
                  <a:gd name="T23" fmla="*/ 13538 h 20000"/>
                  <a:gd name="T24" fmla="*/ 16838 w 20000"/>
                  <a:gd name="T25" fmla="*/ 13538 h 20000"/>
                  <a:gd name="T26" fmla="*/ 16410 w 20000"/>
                  <a:gd name="T27" fmla="*/ 11846 h 20000"/>
                  <a:gd name="T28" fmla="*/ 14188 w 20000"/>
                  <a:gd name="T29" fmla="*/ 11846 h 20000"/>
                  <a:gd name="T30" fmla="*/ 13333 w 20000"/>
                  <a:gd name="T31" fmla="*/ 11846 h 20000"/>
                  <a:gd name="T32" fmla="*/ 10684 w 20000"/>
                  <a:gd name="T33" fmla="*/ 14154 h 20000"/>
                  <a:gd name="T34" fmla="*/ 9829 w 20000"/>
                  <a:gd name="T35" fmla="*/ 14154 h 20000"/>
                  <a:gd name="T36" fmla="*/ 7179 w 20000"/>
                  <a:gd name="T37" fmla="*/ 16615 h 20000"/>
                  <a:gd name="T38" fmla="*/ 4872 w 20000"/>
                  <a:gd name="T39" fmla="*/ 19846 h 20000"/>
                  <a:gd name="T40" fmla="*/ 1795 w 20000"/>
                  <a:gd name="T41" fmla="*/ 18154 h 20000"/>
                  <a:gd name="T42" fmla="*/ 1368 w 20000"/>
                  <a:gd name="T43" fmla="*/ 16615 h 20000"/>
                  <a:gd name="T44" fmla="*/ 0 w 20000"/>
                  <a:gd name="T45" fmla="*/ 14154 h 20000"/>
                  <a:gd name="T46" fmla="*/ 0 w 20000"/>
                  <a:gd name="T47" fmla="*/ 10308 h 20000"/>
                  <a:gd name="T48" fmla="*/ 5812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5812" y="0"/>
                    </a:moveTo>
                    <a:lnTo>
                      <a:pt x="7521" y="3077"/>
                    </a:lnTo>
                    <a:lnTo>
                      <a:pt x="9316" y="1538"/>
                    </a:lnTo>
                    <a:lnTo>
                      <a:pt x="9829" y="4000"/>
                    </a:lnTo>
                    <a:lnTo>
                      <a:pt x="10684" y="5538"/>
                    </a:lnTo>
                    <a:lnTo>
                      <a:pt x="12821" y="4000"/>
                    </a:lnTo>
                    <a:lnTo>
                      <a:pt x="14188" y="4000"/>
                    </a:lnTo>
                    <a:lnTo>
                      <a:pt x="15043" y="3077"/>
                    </a:lnTo>
                    <a:lnTo>
                      <a:pt x="16838" y="4000"/>
                    </a:lnTo>
                    <a:lnTo>
                      <a:pt x="19060" y="5538"/>
                    </a:lnTo>
                    <a:lnTo>
                      <a:pt x="19915" y="6308"/>
                    </a:lnTo>
                    <a:lnTo>
                      <a:pt x="18547" y="13538"/>
                    </a:lnTo>
                    <a:lnTo>
                      <a:pt x="16838" y="13538"/>
                    </a:lnTo>
                    <a:lnTo>
                      <a:pt x="16410" y="11846"/>
                    </a:lnTo>
                    <a:lnTo>
                      <a:pt x="14188" y="11846"/>
                    </a:lnTo>
                    <a:lnTo>
                      <a:pt x="13333" y="11846"/>
                    </a:lnTo>
                    <a:lnTo>
                      <a:pt x="10684" y="14154"/>
                    </a:lnTo>
                    <a:lnTo>
                      <a:pt x="9829" y="14154"/>
                    </a:lnTo>
                    <a:lnTo>
                      <a:pt x="7179" y="16615"/>
                    </a:lnTo>
                    <a:lnTo>
                      <a:pt x="4872" y="19846"/>
                    </a:lnTo>
                    <a:lnTo>
                      <a:pt x="1795" y="18154"/>
                    </a:lnTo>
                    <a:lnTo>
                      <a:pt x="1368" y="16615"/>
                    </a:lnTo>
                    <a:lnTo>
                      <a:pt x="0" y="14154"/>
                    </a:lnTo>
                    <a:lnTo>
                      <a:pt x="0" y="10308"/>
                    </a:lnTo>
                    <a:lnTo>
                      <a:pt x="581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8" name="Freeform 221"/>
              <p:cNvSpPr>
                <a:spLocks/>
              </p:cNvSpPr>
              <p:nvPr/>
            </p:nvSpPr>
            <p:spPr bwMode="auto">
              <a:xfrm>
                <a:off x="5305425" y="2863850"/>
                <a:ext cx="168275" cy="92075"/>
              </a:xfrm>
              <a:custGeom>
                <a:avLst/>
                <a:gdLst>
                  <a:gd name="T0" fmla="*/ 6943 w 20000"/>
                  <a:gd name="T1" fmla="*/ 0 h 20000"/>
                  <a:gd name="T2" fmla="*/ 8151 w 20000"/>
                  <a:gd name="T3" fmla="*/ 0 h 20000"/>
                  <a:gd name="T4" fmla="*/ 8981 w 20000"/>
                  <a:gd name="T5" fmla="*/ 0 h 20000"/>
                  <a:gd name="T6" fmla="*/ 10189 w 20000"/>
                  <a:gd name="T7" fmla="*/ 0 h 20000"/>
                  <a:gd name="T8" fmla="*/ 10189 w 20000"/>
                  <a:gd name="T9" fmla="*/ 1507 h 20000"/>
                  <a:gd name="T10" fmla="*/ 12075 w 20000"/>
                  <a:gd name="T11" fmla="*/ 2877 h 20000"/>
                  <a:gd name="T12" fmla="*/ 12830 w 20000"/>
                  <a:gd name="T13" fmla="*/ 2877 h 20000"/>
                  <a:gd name="T14" fmla="*/ 12830 w 20000"/>
                  <a:gd name="T15" fmla="*/ 3699 h 20000"/>
                  <a:gd name="T16" fmla="*/ 12830 w 20000"/>
                  <a:gd name="T17" fmla="*/ 5068 h 20000"/>
                  <a:gd name="T18" fmla="*/ 14038 w 20000"/>
                  <a:gd name="T19" fmla="*/ 6438 h 20000"/>
                  <a:gd name="T20" fmla="*/ 14792 w 20000"/>
                  <a:gd name="T21" fmla="*/ 6438 h 20000"/>
                  <a:gd name="T22" fmla="*/ 16000 w 20000"/>
                  <a:gd name="T23" fmla="*/ 5068 h 20000"/>
                  <a:gd name="T24" fmla="*/ 17132 w 20000"/>
                  <a:gd name="T25" fmla="*/ 6438 h 20000"/>
                  <a:gd name="T26" fmla="*/ 17132 w 20000"/>
                  <a:gd name="T27" fmla="*/ 7123 h 20000"/>
                  <a:gd name="T28" fmla="*/ 19925 w 20000"/>
                  <a:gd name="T29" fmla="*/ 8493 h 20000"/>
                  <a:gd name="T30" fmla="*/ 19925 w 20000"/>
                  <a:gd name="T31" fmla="*/ 9315 h 20000"/>
                  <a:gd name="T32" fmla="*/ 14792 w 20000"/>
                  <a:gd name="T33" fmla="*/ 18493 h 20000"/>
                  <a:gd name="T34" fmla="*/ 11698 w 20000"/>
                  <a:gd name="T35" fmla="*/ 17671 h 20000"/>
                  <a:gd name="T36" fmla="*/ 9736 w 20000"/>
                  <a:gd name="T37" fmla="*/ 16301 h 20000"/>
                  <a:gd name="T38" fmla="*/ 8151 w 20000"/>
                  <a:gd name="T39" fmla="*/ 19863 h 20000"/>
                  <a:gd name="T40" fmla="*/ 6943 w 20000"/>
                  <a:gd name="T41" fmla="*/ 19863 h 20000"/>
                  <a:gd name="T42" fmla="*/ 5057 w 20000"/>
                  <a:gd name="T43" fmla="*/ 18493 h 20000"/>
                  <a:gd name="T44" fmla="*/ 5057 w 20000"/>
                  <a:gd name="T45" fmla="*/ 17671 h 20000"/>
                  <a:gd name="T46" fmla="*/ 3849 w 20000"/>
                  <a:gd name="T47" fmla="*/ 14932 h 20000"/>
                  <a:gd name="T48" fmla="*/ 3547 w 20000"/>
                  <a:gd name="T49" fmla="*/ 14247 h 20000"/>
                  <a:gd name="T50" fmla="*/ 1509 w 20000"/>
                  <a:gd name="T51" fmla="*/ 12055 h 20000"/>
                  <a:gd name="T52" fmla="*/ 1509 w 20000"/>
                  <a:gd name="T53" fmla="*/ 9315 h 20000"/>
                  <a:gd name="T54" fmla="*/ 0 w 20000"/>
                  <a:gd name="T55" fmla="*/ 8493 h 20000"/>
                  <a:gd name="T56" fmla="*/ 0 w 20000"/>
                  <a:gd name="T57" fmla="*/ 6438 h 20000"/>
                  <a:gd name="T58" fmla="*/ 0 w 20000"/>
                  <a:gd name="T59" fmla="*/ 5068 h 20000"/>
                  <a:gd name="T60" fmla="*/ 755 w 20000"/>
                  <a:gd name="T61" fmla="*/ 6438 h 20000"/>
                  <a:gd name="T62" fmla="*/ 6642 w 20000"/>
                  <a:gd name="T63" fmla="*/ 1507 h 20000"/>
                  <a:gd name="T64" fmla="*/ 6943 w 20000"/>
                  <a:gd name="T6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6943" y="0"/>
                    </a:moveTo>
                    <a:lnTo>
                      <a:pt x="8151" y="0"/>
                    </a:lnTo>
                    <a:lnTo>
                      <a:pt x="8981" y="0"/>
                    </a:lnTo>
                    <a:lnTo>
                      <a:pt x="10189" y="0"/>
                    </a:lnTo>
                    <a:lnTo>
                      <a:pt x="10189" y="1507"/>
                    </a:lnTo>
                    <a:lnTo>
                      <a:pt x="12075" y="2877"/>
                    </a:lnTo>
                    <a:lnTo>
                      <a:pt x="12830" y="2877"/>
                    </a:lnTo>
                    <a:lnTo>
                      <a:pt x="12830" y="3699"/>
                    </a:lnTo>
                    <a:lnTo>
                      <a:pt x="12830" y="5068"/>
                    </a:lnTo>
                    <a:lnTo>
                      <a:pt x="14038" y="6438"/>
                    </a:lnTo>
                    <a:lnTo>
                      <a:pt x="14792" y="6438"/>
                    </a:lnTo>
                    <a:lnTo>
                      <a:pt x="16000" y="5068"/>
                    </a:lnTo>
                    <a:lnTo>
                      <a:pt x="17132" y="6438"/>
                    </a:lnTo>
                    <a:lnTo>
                      <a:pt x="17132" y="7123"/>
                    </a:lnTo>
                    <a:lnTo>
                      <a:pt x="19925" y="8493"/>
                    </a:lnTo>
                    <a:lnTo>
                      <a:pt x="19925" y="9315"/>
                    </a:lnTo>
                    <a:lnTo>
                      <a:pt x="14792" y="18493"/>
                    </a:lnTo>
                    <a:lnTo>
                      <a:pt x="11698" y="17671"/>
                    </a:lnTo>
                    <a:lnTo>
                      <a:pt x="9736" y="16301"/>
                    </a:lnTo>
                    <a:lnTo>
                      <a:pt x="8151" y="19863"/>
                    </a:lnTo>
                    <a:lnTo>
                      <a:pt x="6943" y="19863"/>
                    </a:lnTo>
                    <a:lnTo>
                      <a:pt x="5057" y="18493"/>
                    </a:lnTo>
                    <a:lnTo>
                      <a:pt x="5057" y="17671"/>
                    </a:lnTo>
                    <a:lnTo>
                      <a:pt x="3849" y="14932"/>
                    </a:lnTo>
                    <a:lnTo>
                      <a:pt x="3547" y="14247"/>
                    </a:lnTo>
                    <a:lnTo>
                      <a:pt x="1509" y="12055"/>
                    </a:lnTo>
                    <a:lnTo>
                      <a:pt x="1509" y="9315"/>
                    </a:lnTo>
                    <a:lnTo>
                      <a:pt x="0" y="8493"/>
                    </a:lnTo>
                    <a:lnTo>
                      <a:pt x="0" y="6438"/>
                    </a:lnTo>
                    <a:lnTo>
                      <a:pt x="0" y="5068"/>
                    </a:lnTo>
                    <a:lnTo>
                      <a:pt x="755" y="6438"/>
                    </a:lnTo>
                    <a:lnTo>
                      <a:pt x="6642" y="1507"/>
                    </a:lnTo>
                    <a:lnTo>
                      <a:pt x="6943"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29" name="Freeform 220"/>
              <p:cNvSpPr>
                <a:spLocks/>
              </p:cNvSpPr>
              <p:nvPr/>
            </p:nvSpPr>
            <p:spPr bwMode="auto">
              <a:xfrm>
                <a:off x="6646863" y="3278188"/>
                <a:ext cx="371475" cy="309562"/>
              </a:xfrm>
              <a:custGeom>
                <a:avLst/>
                <a:gdLst>
                  <a:gd name="T0" fmla="*/ 14471 w 20000"/>
                  <a:gd name="T1" fmla="*/ 861 h 20000"/>
                  <a:gd name="T2" fmla="*/ 15358 w 20000"/>
                  <a:gd name="T3" fmla="*/ 4262 h 20000"/>
                  <a:gd name="T4" fmla="*/ 17133 w 20000"/>
                  <a:gd name="T5" fmla="*/ 2787 h 20000"/>
                  <a:gd name="T6" fmla="*/ 19078 w 20000"/>
                  <a:gd name="T7" fmla="*/ 2541 h 20000"/>
                  <a:gd name="T8" fmla="*/ 19966 w 20000"/>
                  <a:gd name="T9" fmla="*/ 2787 h 20000"/>
                  <a:gd name="T10" fmla="*/ 19625 w 20000"/>
                  <a:gd name="T11" fmla="*/ 3197 h 20000"/>
                  <a:gd name="T12" fmla="*/ 17679 w 20000"/>
                  <a:gd name="T13" fmla="*/ 3607 h 20000"/>
                  <a:gd name="T14" fmla="*/ 15904 w 20000"/>
                  <a:gd name="T15" fmla="*/ 4467 h 20000"/>
                  <a:gd name="T16" fmla="*/ 15904 w 20000"/>
                  <a:gd name="T17" fmla="*/ 6967 h 20000"/>
                  <a:gd name="T18" fmla="*/ 15358 w 20000"/>
                  <a:gd name="T19" fmla="*/ 8893 h 20000"/>
                  <a:gd name="T20" fmla="*/ 14471 w 20000"/>
                  <a:gd name="T21" fmla="*/ 9959 h 20000"/>
                  <a:gd name="T22" fmla="*/ 14334 w 20000"/>
                  <a:gd name="T23" fmla="*/ 10820 h 20000"/>
                  <a:gd name="T24" fmla="*/ 13618 w 20000"/>
                  <a:gd name="T25" fmla="*/ 12090 h 20000"/>
                  <a:gd name="T26" fmla="*/ 13413 w 20000"/>
                  <a:gd name="T27" fmla="*/ 13770 h 20000"/>
                  <a:gd name="T28" fmla="*/ 13072 w 20000"/>
                  <a:gd name="T29" fmla="*/ 15492 h 20000"/>
                  <a:gd name="T30" fmla="*/ 12218 w 20000"/>
                  <a:gd name="T31" fmla="*/ 15287 h 20000"/>
                  <a:gd name="T32" fmla="*/ 11331 w 20000"/>
                  <a:gd name="T33" fmla="*/ 15287 h 20000"/>
                  <a:gd name="T34" fmla="*/ 10273 w 20000"/>
                  <a:gd name="T35" fmla="*/ 15902 h 20000"/>
                  <a:gd name="T36" fmla="*/ 9727 w 20000"/>
                  <a:gd name="T37" fmla="*/ 16107 h 20000"/>
                  <a:gd name="T38" fmla="*/ 9386 w 20000"/>
                  <a:gd name="T39" fmla="*/ 18689 h 20000"/>
                  <a:gd name="T40" fmla="*/ 6212 w 20000"/>
                  <a:gd name="T41" fmla="*/ 19713 h 20000"/>
                  <a:gd name="T42" fmla="*/ 4778 w 20000"/>
                  <a:gd name="T43" fmla="*/ 19959 h 20000"/>
                  <a:gd name="T44" fmla="*/ 1604 w 20000"/>
                  <a:gd name="T45" fmla="*/ 19303 h 20000"/>
                  <a:gd name="T46" fmla="*/ 2457 w 20000"/>
                  <a:gd name="T47" fmla="*/ 16967 h 20000"/>
                  <a:gd name="T48" fmla="*/ 922 w 20000"/>
                  <a:gd name="T49" fmla="*/ 15492 h 20000"/>
                  <a:gd name="T50" fmla="*/ 205 w 20000"/>
                  <a:gd name="T51" fmla="*/ 12090 h 20000"/>
                  <a:gd name="T52" fmla="*/ 205 w 20000"/>
                  <a:gd name="T53" fmla="*/ 11066 h 20000"/>
                  <a:gd name="T54" fmla="*/ 546 w 20000"/>
                  <a:gd name="T55" fmla="*/ 9754 h 20000"/>
                  <a:gd name="T56" fmla="*/ 546 w 20000"/>
                  <a:gd name="T57" fmla="*/ 8074 h 20000"/>
                  <a:gd name="T58" fmla="*/ 2321 w 20000"/>
                  <a:gd name="T59" fmla="*/ 7213 h 20000"/>
                  <a:gd name="T60" fmla="*/ 3720 w 20000"/>
                  <a:gd name="T61" fmla="*/ 6557 h 20000"/>
                  <a:gd name="T62" fmla="*/ 5666 w 20000"/>
                  <a:gd name="T63" fmla="*/ 4877 h 20000"/>
                  <a:gd name="T64" fmla="*/ 6724 w 20000"/>
                  <a:gd name="T65" fmla="*/ 2787 h 20000"/>
                  <a:gd name="T66" fmla="*/ 9898 w 20000"/>
                  <a:gd name="T67" fmla="*/ 3852 h 20000"/>
                  <a:gd name="T68" fmla="*/ 11672 w 20000"/>
                  <a:gd name="T69" fmla="*/ 3197 h 20000"/>
                  <a:gd name="T70" fmla="*/ 13413 w 20000"/>
                  <a:gd name="T71" fmla="*/ 1926 h 20000"/>
                  <a:gd name="T72" fmla="*/ 13618 w 20000"/>
                  <a:gd name="T7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13618" y="0"/>
                    </a:moveTo>
                    <a:lnTo>
                      <a:pt x="14471" y="861"/>
                    </a:lnTo>
                    <a:lnTo>
                      <a:pt x="14881" y="1066"/>
                    </a:lnTo>
                    <a:lnTo>
                      <a:pt x="15358" y="4262"/>
                    </a:lnTo>
                    <a:lnTo>
                      <a:pt x="16280" y="3607"/>
                    </a:lnTo>
                    <a:lnTo>
                      <a:pt x="17133" y="2787"/>
                    </a:lnTo>
                    <a:lnTo>
                      <a:pt x="18225" y="2131"/>
                    </a:lnTo>
                    <a:lnTo>
                      <a:pt x="19078" y="2541"/>
                    </a:lnTo>
                    <a:lnTo>
                      <a:pt x="19420" y="2541"/>
                    </a:lnTo>
                    <a:lnTo>
                      <a:pt x="19966" y="2787"/>
                    </a:lnTo>
                    <a:lnTo>
                      <a:pt x="19420" y="2787"/>
                    </a:lnTo>
                    <a:lnTo>
                      <a:pt x="19625" y="3197"/>
                    </a:lnTo>
                    <a:lnTo>
                      <a:pt x="19966" y="3607"/>
                    </a:lnTo>
                    <a:lnTo>
                      <a:pt x="17679" y="3607"/>
                    </a:lnTo>
                    <a:lnTo>
                      <a:pt x="16792" y="3852"/>
                    </a:lnTo>
                    <a:lnTo>
                      <a:pt x="15904" y="4467"/>
                    </a:lnTo>
                    <a:lnTo>
                      <a:pt x="15734" y="5287"/>
                    </a:lnTo>
                    <a:lnTo>
                      <a:pt x="15904" y="6967"/>
                    </a:lnTo>
                    <a:lnTo>
                      <a:pt x="15734" y="8279"/>
                    </a:lnTo>
                    <a:lnTo>
                      <a:pt x="15358" y="8893"/>
                    </a:lnTo>
                    <a:lnTo>
                      <a:pt x="15734" y="9959"/>
                    </a:lnTo>
                    <a:lnTo>
                      <a:pt x="14471" y="9959"/>
                    </a:lnTo>
                    <a:lnTo>
                      <a:pt x="13959" y="9959"/>
                    </a:lnTo>
                    <a:lnTo>
                      <a:pt x="14334" y="10820"/>
                    </a:lnTo>
                    <a:lnTo>
                      <a:pt x="14471" y="11475"/>
                    </a:lnTo>
                    <a:lnTo>
                      <a:pt x="13618" y="12090"/>
                    </a:lnTo>
                    <a:lnTo>
                      <a:pt x="13618" y="13156"/>
                    </a:lnTo>
                    <a:lnTo>
                      <a:pt x="13413" y="13770"/>
                    </a:lnTo>
                    <a:lnTo>
                      <a:pt x="13618" y="14836"/>
                    </a:lnTo>
                    <a:lnTo>
                      <a:pt x="13072" y="15492"/>
                    </a:lnTo>
                    <a:lnTo>
                      <a:pt x="12560" y="15287"/>
                    </a:lnTo>
                    <a:lnTo>
                      <a:pt x="12218" y="15287"/>
                    </a:lnTo>
                    <a:lnTo>
                      <a:pt x="11672" y="14836"/>
                    </a:lnTo>
                    <a:lnTo>
                      <a:pt x="11331" y="15287"/>
                    </a:lnTo>
                    <a:lnTo>
                      <a:pt x="11126" y="15902"/>
                    </a:lnTo>
                    <a:lnTo>
                      <a:pt x="10273" y="15902"/>
                    </a:lnTo>
                    <a:lnTo>
                      <a:pt x="9898" y="15902"/>
                    </a:lnTo>
                    <a:lnTo>
                      <a:pt x="9727" y="16107"/>
                    </a:lnTo>
                    <a:lnTo>
                      <a:pt x="9386" y="16516"/>
                    </a:lnTo>
                    <a:lnTo>
                      <a:pt x="9386" y="18689"/>
                    </a:lnTo>
                    <a:lnTo>
                      <a:pt x="7611" y="19303"/>
                    </a:lnTo>
                    <a:lnTo>
                      <a:pt x="6212" y="19713"/>
                    </a:lnTo>
                    <a:lnTo>
                      <a:pt x="5666" y="19959"/>
                    </a:lnTo>
                    <a:lnTo>
                      <a:pt x="4778" y="19959"/>
                    </a:lnTo>
                    <a:lnTo>
                      <a:pt x="3720" y="19959"/>
                    </a:lnTo>
                    <a:lnTo>
                      <a:pt x="1604" y="19303"/>
                    </a:lnTo>
                    <a:lnTo>
                      <a:pt x="1945" y="17828"/>
                    </a:lnTo>
                    <a:lnTo>
                      <a:pt x="2457" y="16967"/>
                    </a:lnTo>
                    <a:lnTo>
                      <a:pt x="2321" y="15902"/>
                    </a:lnTo>
                    <a:lnTo>
                      <a:pt x="922" y="15492"/>
                    </a:lnTo>
                    <a:lnTo>
                      <a:pt x="922" y="13770"/>
                    </a:lnTo>
                    <a:lnTo>
                      <a:pt x="205" y="12090"/>
                    </a:lnTo>
                    <a:lnTo>
                      <a:pt x="546" y="11475"/>
                    </a:lnTo>
                    <a:lnTo>
                      <a:pt x="205" y="11066"/>
                    </a:lnTo>
                    <a:lnTo>
                      <a:pt x="0" y="9959"/>
                    </a:lnTo>
                    <a:lnTo>
                      <a:pt x="546" y="9754"/>
                    </a:lnTo>
                    <a:lnTo>
                      <a:pt x="205" y="9344"/>
                    </a:lnTo>
                    <a:lnTo>
                      <a:pt x="546" y="8074"/>
                    </a:lnTo>
                    <a:lnTo>
                      <a:pt x="546" y="6557"/>
                    </a:lnTo>
                    <a:lnTo>
                      <a:pt x="2321" y="7213"/>
                    </a:lnTo>
                    <a:lnTo>
                      <a:pt x="2321" y="8074"/>
                    </a:lnTo>
                    <a:lnTo>
                      <a:pt x="3720" y="6557"/>
                    </a:lnTo>
                    <a:lnTo>
                      <a:pt x="3379" y="6393"/>
                    </a:lnTo>
                    <a:lnTo>
                      <a:pt x="5666" y="4877"/>
                    </a:lnTo>
                    <a:lnTo>
                      <a:pt x="5666" y="3197"/>
                    </a:lnTo>
                    <a:lnTo>
                      <a:pt x="6724" y="2787"/>
                    </a:lnTo>
                    <a:lnTo>
                      <a:pt x="7952" y="3197"/>
                    </a:lnTo>
                    <a:lnTo>
                      <a:pt x="9898" y="3852"/>
                    </a:lnTo>
                    <a:lnTo>
                      <a:pt x="11331" y="2787"/>
                    </a:lnTo>
                    <a:lnTo>
                      <a:pt x="11672" y="3197"/>
                    </a:lnTo>
                    <a:lnTo>
                      <a:pt x="12014" y="2541"/>
                    </a:lnTo>
                    <a:lnTo>
                      <a:pt x="13413" y="1926"/>
                    </a:lnTo>
                    <a:lnTo>
                      <a:pt x="13072" y="1516"/>
                    </a:lnTo>
                    <a:lnTo>
                      <a:pt x="1361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0" name="Freeform 219"/>
              <p:cNvSpPr>
                <a:spLocks/>
              </p:cNvSpPr>
              <p:nvPr/>
            </p:nvSpPr>
            <p:spPr bwMode="auto">
              <a:xfrm>
                <a:off x="7442200" y="3665538"/>
                <a:ext cx="138113" cy="171450"/>
              </a:xfrm>
              <a:custGeom>
                <a:avLst/>
                <a:gdLst>
                  <a:gd name="T0" fmla="*/ 6147 w 20000"/>
                  <a:gd name="T1" fmla="*/ 17704 h 20000"/>
                  <a:gd name="T2" fmla="*/ 3303 w 20000"/>
                  <a:gd name="T3" fmla="*/ 10741 h 20000"/>
                  <a:gd name="T4" fmla="*/ 3761 w 20000"/>
                  <a:gd name="T5" fmla="*/ 8815 h 20000"/>
                  <a:gd name="T6" fmla="*/ 1284 w 20000"/>
                  <a:gd name="T7" fmla="*/ 8074 h 20000"/>
                  <a:gd name="T8" fmla="*/ 0 w 20000"/>
                  <a:gd name="T9" fmla="*/ 6963 h 20000"/>
                  <a:gd name="T10" fmla="*/ 1284 w 20000"/>
                  <a:gd name="T11" fmla="*/ 6519 h 20000"/>
                  <a:gd name="T12" fmla="*/ 1284 w 20000"/>
                  <a:gd name="T13" fmla="*/ 4963 h 20000"/>
                  <a:gd name="T14" fmla="*/ 3761 w 20000"/>
                  <a:gd name="T15" fmla="*/ 4963 h 20000"/>
                  <a:gd name="T16" fmla="*/ 2385 w 20000"/>
                  <a:gd name="T17" fmla="*/ 3778 h 20000"/>
                  <a:gd name="T18" fmla="*/ 1284 w 20000"/>
                  <a:gd name="T19" fmla="*/ 3778 h 20000"/>
                  <a:gd name="T20" fmla="*/ 0 w 20000"/>
                  <a:gd name="T21" fmla="*/ 2741 h 20000"/>
                  <a:gd name="T22" fmla="*/ 917 w 20000"/>
                  <a:gd name="T23" fmla="*/ 0 h 20000"/>
                  <a:gd name="T24" fmla="*/ 2385 w 20000"/>
                  <a:gd name="T25" fmla="*/ 0 h 20000"/>
                  <a:gd name="T26" fmla="*/ 4679 w 20000"/>
                  <a:gd name="T27" fmla="*/ 1556 h 20000"/>
                  <a:gd name="T28" fmla="*/ 7064 w 20000"/>
                  <a:gd name="T29" fmla="*/ 2741 h 20000"/>
                  <a:gd name="T30" fmla="*/ 7523 w 20000"/>
                  <a:gd name="T31" fmla="*/ 4593 h 20000"/>
                  <a:gd name="T32" fmla="*/ 7064 w 20000"/>
                  <a:gd name="T33" fmla="*/ 4963 h 20000"/>
                  <a:gd name="T34" fmla="*/ 16147 w 20000"/>
                  <a:gd name="T35" fmla="*/ 4593 h 20000"/>
                  <a:gd name="T36" fmla="*/ 17064 w 20000"/>
                  <a:gd name="T37" fmla="*/ 5778 h 20000"/>
                  <a:gd name="T38" fmla="*/ 16147 w 20000"/>
                  <a:gd name="T39" fmla="*/ 6519 h 20000"/>
                  <a:gd name="T40" fmla="*/ 16147 w 20000"/>
                  <a:gd name="T41" fmla="*/ 7704 h 20000"/>
                  <a:gd name="T42" fmla="*/ 13670 w 20000"/>
                  <a:gd name="T43" fmla="*/ 8074 h 20000"/>
                  <a:gd name="T44" fmla="*/ 13303 w 20000"/>
                  <a:gd name="T45" fmla="*/ 9556 h 20000"/>
                  <a:gd name="T46" fmla="*/ 12202 w 20000"/>
                  <a:gd name="T47" fmla="*/ 10000 h 20000"/>
                  <a:gd name="T48" fmla="*/ 13303 w 20000"/>
                  <a:gd name="T49" fmla="*/ 12667 h 20000"/>
                  <a:gd name="T50" fmla="*/ 13670 w 20000"/>
                  <a:gd name="T51" fmla="*/ 12667 h 20000"/>
                  <a:gd name="T52" fmla="*/ 14679 w 20000"/>
                  <a:gd name="T53" fmla="*/ 13037 h 20000"/>
                  <a:gd name="T54" fmla="*/ 15138 w 20000"/>
                  <a:gd name="T55" fmla="*/ 13037 h 20000"/>
                  <a:gd name="T56" fmla="*/ 17064 w 20000"/>
                  <a:gd name="T57" fmla="*/ 11481 h 20000"/>
                  <a:gd name="T58" fmla="*/ 17064 w 20000"/>
                  <a:gd name="T59" fmla="*/ 13037 h 20000"/>
                  <a:gd name="T60" fmla="*/ 18440 w 20000"/>
                  <a:gd name="T61" fmla="*/ 14519 h 20000"/>
                  <a:gd name="T62" fmla="*/ 19358 w 20000"/>
                  <a:gd name="T63" fmla="*/ 16148 h 20000"/>
                  <a:gd name="T64" fmla="*/ 19908 w 20000"/>
                  <a:gd name="T65" fmla="*/ 19926 h 20000"/>
                  <a:gd name="T66" fmla="*/ 18440 w 20000"/>
                  <a:gd name="T67" fmla="*/ 19556 h 20000"/>
                  <a:gd name="T68" fmla="*/ 17431 w 20000"/>
                  <a:gd name="T69" fmla="*/ 19926 h 20000"/>
                  <a:gd name="T70" fmla="*/ 17064 w 20000"/>
                  <a:gd name="T71" fmla="*/ 18000 h 20000"/>
                  <a:gd name="T72" fmla="*/ 16147 w 20000"/>
                  <a:gd name="T73" fmla="*/ 15704 h 20000"/>
                  <a:gd name="T74" fmla="*/ 13670 w 20000"/>
                  <a:gd name="T75" fmla="*/ 13778 h 20000"/>
                  <a:gd name="T76" fmla="*/ 11284 w 20000"/>
                  <a:gd name="T77" fmla="*/ 13037 h 20000"/>
                  <a:gd name="T78" fmla="*/ 10826 w 20000"/>
                  <a:gd name="T79" fmla="*/ 11481 h 20000"/>
                  <a:gd name="T80" fmla="*/ 8440 w 20000"/>
                  <a:gd name="T81" fmla="*/ 10741 h 20000"/>
                  <a:gd name="T82" fmla="*/ 8440 w 20000"/>
                  <a:gd name="T83" fmla="*/ 11926 h 20000"/>
                  <a:gd name="T84" fmla="*/ 9908 w 20000"/>
                  <a:gd name="T85" fmla="*/ 11926 h 20000"/>
                  <a:gd name="T86" fmla="*/ 10826 w 20000"/>
                  <a:gd name="T87" fmla="*/ 13778 h 20000"/>
                  <a:gd name="T88" fmla="*/ 9908 w 20000"/>
                  <a:gd name="T89" fmla="*/ 14519 h 20000"/>
                  <a:gd name="T90" fmla="*/ 10826 w 20000"/>
                  <a:gd name="T91" fmla="*/ 15704 h 20000"/>
                  <a:gd name="T92" fmla="*/ 9908 w 20000"/>
                  <a:gd name="T93" fmla="*/ 17704 h 20000"/>
                  <a:gd name="T94" fmla="*/ 8440 w 20000"/>
                  <a:gd name="T95" fmla="*/ 16148 h 20000"/>
                  <a:gd name="T96" fmla="*/ 8440 w 20000"/>
                  <a:gd name="T97" fmla="*/ 15704 h 20000"/>
                  <a:gd name="T98" fmla="*/ 7523 w 20000"/>
                  <a:gd name="T99" fmla="*/ 16148 h 20000"/>
                  <a:gd name="T100" fmla="*/ 8440 w 20000"/>
                  <a:gd name="T101" fmla="*/ 17704 h 20000"/>
                  <a:gd name="T102" fmla="*/ 7064 w 20000"/>
                  <a:gd name="T103" fmla="*/ 17704 h 20000"/>
                  <a:gd name="T104" fmla="*/ 6147 w 20000"/>
                  <a:gd name="T105" fmla="*/ 177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6147" y="17704"/>
                    </a:moveTo>
                    <a:lnTo>
                      <a:pt x="3303" y="10741"/>
                    </a:lnTo>
                    <a:lnTo>
                      <a:pt x="3761" y="8815"/>
                    </a:lnTo>
                    <a:lnTo>
                      <a:pt x="1284" y="8074"/>
                    </a:lnTo>
                    <a:lnTo>
                      <a:pt x="0" y="6963"/>
                    </a:lnTo>
                    <a:lnTo>
                      <a:pt x="1284" y="6519"/>
                    </a:lnTo>
                    <a:lnTo>
                      <a:pt x="1284" y="4963"/>
                    </a:lnTo>
                    <a:lnTo>
                      <a:pt x="3761" y="4963"/>
                    </a:lnTo>
                    <a:lnTo>
                      <a:pt x="2385" y="3778"/>
                    </a:lnTo>
                    <a:lnTo>
                      <a:pt x="1284" y="3778"/>
                    </a:lnTo>
                    <a:lnTo>
                      <a:pt x="0" y="2741"/>
                    </a:lnTo>
                    <a:lnTo>
                      <a:pt x="917" y="0"/>
                    </a:lnTo>
                    <a:lnTo>
                      <a:pt x="2385" y="0"/>
                    </a:lnTo>
                    <a:lnTo>
                      <a:pt x="4679" y="1556"/>
                    </a:lnTo>
                    <a:lnTo>
                      <a:pt x="7064" y="2741"/>
                    </a:lnTo>
                    <a:lnTo>
                      <a:pt x="7523" y="4593"/>
                    </a:lnTo>
                    <a:lnTo>
                      <a:pt x="7064" y="4963"/>
                    </a:lnTo>
                    <a:lnTo>
                      <a:pt x="16147" y="4593"/>
                    </a:lnTo>
                    <a:lnTo>
                      <a:pt x="17064" y="5778"/>
                    </a:lnTo>
                    <a:lnTo>
                      <a:pt x="16147" y="6519"/>
                    </a:lnTo>
                    <a:lnTo>
                      <a:pt x="16147" y="7704"/>
                    </a:lnTo>
                    <a:lnTo>
                      <a:pt x="13670" y="8074"/>
                    </a:lnTo>
                    <a:lnTo>
                      <a:pt x="13303" y="9556"/>
                    </a:lnTo>
                    <a:lnTo>
                      <a:pt x="12202" y="10000"/>
                    </a:lnTo>
                    <a:lnTo>
                      <a:pt x="13303" y="12667"/>
                    </a:lnTo>
                    <a:lnTo>
                      <a:pt x="13670" y="12667"/>
                    </a:lnTo>
                    <a:lnTo>
                      <a:pt x="14679" y="13037"/>
                    </a:lnTo>
                    <a:lnTo>
                      <a:pt x="15138" y="13037"/>
                    </a:lnTo>
                    <a:lnTo>
                      <a:pt x="17064" y="11481"/>
                    </a:lnTo>
                    <a:lnTo>
                      <a:pt x="17064" y="13037"/>
                    </a:lnTo>
                    <a:lnTo>
                      <a:pt x="18440" y="14519"/>
                    </a:lnTo>
                    <a:lnTo>
                      <a:pt x="19358" y="16148"/>
                    </a:lnTo>
                    <a:lnTo>
                      <a:pt x="19908" y="19926"/>
                    </a:lnTo>
                    <a:lnTo>
                      <a:pt x="18440" y="19556"/>
                    </a:lnTo>
                    <a:lnTo>
                      <a:pt x="17431" y="19926"/>
                    </a:lnTo>
                    <a:lnTo>
                      <a:pt x="17064" y="18000"/>
                    </a:lnTo>
                    <a:lnTo>
                      <a:pt x="16147" y="15704"/>
                    </a:lnTo>
                    <a:lnTo>
                      <a:pt x="13670" y="13778"/>
                    </a:lnTo>
                    <a:lnTo>
                      <a:pt x="11284" y="13037"/>
                    </a:lnTo>
                    <a:lnTo>
                      <a:pt x="10826" y="11481"/>
                    </a:lnTo>
                    <a:lnTo>
                      <a:pt x="8440" y="10741"/>
                    </a:lnTo>
                    <a:lnTo>
                      <a:pt x="8440" y="11926"/>
                    </a:lnTo>
                    <a:lnTo>
                      <a:pt x="9908" y="11926"/>
                    </a:lnTo>
                    <a:lnTo>
                      <a:pt x="10826" y="13778"/>
                    </a:lnTo>
                    <a:lnTo>
                      <a:pt x="9908" y="14519"/>
                    </a:lnTo>
                    <a:lnTo>
                      <a:pt x="10826" y="15704"/>
                    </a:lnTo>
                    <a:lnTo>
                      <a:pt x="9908" y="17704"/>
                    </a:lnTo>
                    <a:lnTo>
                      <a:pt x="8440" y="16148"/>
                    </a:lnTo>
                    <a:lnTo>
                      <a:pt x="8440" y="15704"/>
                    </a:lnTo>
                    <a:lnTo>
                      <a:pt x="7523" y="16148"/>
                    </a:lnTo>
                    <a:lnTo>
                      <a:pt x="8440" y="17704"/>
                    </a:lnTo>
                    <a:lnTo>
                      <a:pt x="7064" y="17704"/>
                    </a:lnTo>
                    <a:lnTo>
                      <a:pt x="6147" y="1770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1" name="Freeform 218"/>
              <p:cNvSpPr>
                <a:spLocks/>
              </p:cNvSpPr>
              <p:nvPr/>
            </p:nvSpPr>
            <p:spPr bwMode="auto">
              <a:xfrm>
                <a:off x="7451725" y="3613150"/>
                <a:ext cx="93663" cy="42863"/>
              </a:xfrm>
              <a:custGeom>
                <a:avLst/>
                <a:gdLst>
                  <a:gd name="T0" fmla="*/ 0 w 20000"/>
                  <a:gd name="T1" fmla="*/ 10588 h 20000"/>
                  <a:gd name="T2" fmla="*/ 3673 w 20000"/>
                  <a:gd name="T3" fmla="*/ 7647 h 20000"/>
                  <a:gd name="T4" fmla="*/ 5034 w 20000"/>
                  <a:gd name="T5" fmla="*/ 0 h 20000"/>
                  <a:gd name="T6" fmla="*/ 8435 w 20000"/>
                  <a:gd name="T7" fmla="*/ 2941 h 20000"/>
                  <a:gd name="T8" fmla="*/ 12789 w 20000"/>
                  <a:gd name="T9" fmla="*/ 2941 h 20000"/>
                  <a:gd name="T10" fmla="*/ 14150 w 20000"/>
                  <a:gd name="T11" fmla="*/ 0 h 20000"/>
                  <a:gd name="T12" fmla="*/ 16190 w 20000"/>
                  <a:gd name="T13" fmla="*/ 4706 h 20000"/>
                  <a:gd name="T14" fmla="*/ 16190 w 20000"/>
                  <a:gd name="T15" fmla="*/ 10588 h 20000"/>
                  <a:gd name="T16" fmla="*/ 18367 w 20000"/>
                  <a:gd name="T17" fmla="*/ 12059 h 20000"/>
                  <a:gd name="T18" fmla="*/ 19864 w 20000"/>
                  <a:gd name="T19" fmla="*/ 19706 h 20000"/>
                  <a:gd name="T20" fmla="*/ 10612 w 20000"/>
                  <a:gd name="T21" fmla="*/ 19706 h 20000"/>
                  <a:gd name="T22" fmla="*/ 10612 w 20000"/>
                  <a:gd name="T23" fmla="*/ 17941 h 20000"/>
                  <a:gd name="T24" fmla="*/ 7075 w 20000"/>
                  <a:gd name="T25" fmla="*/ 19706 h 20000"/>
                  <a:gd name="T26" fmla="*/ 2857 w 20000"/>
                  <a:gd name="T27" fmla="*/ 17941 h 20000"/>
                  <a:gd name="T28" fmla="*/ 0 w 20000"/>
                  <a:gd name="T29" fmla="*/ 15000 h 20000"/>
                  <a:gd name="T30" fmla="*/ 0 w 20000"/>
                  <a:gd name="T31" fmla="*/ 1058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0" y="10588"/>
                    </a:moveTo>
                    <a:lnTo>
                      <a:pt x="3673" y="7647"/>
                    </a:lnTo>
                    <a:lnTo>
                      <a:pt x="5034" y="0"/>
                    </a:lnTo>
                    <a:lnTo>
                      <a:pt x="8435" y="2941"/>
                    </a:lnTo>
                    <a:lnTo>
                      <a:pt x="12789" y="2941"/>
                    </a:lnTo>
                    <a:lnTo>
                      <a:pt x="14150" y="0"/>
                    </a:lnTo>
                    <a:lnTo>
                      <a:pt x="16190" y="4706"/>
                    </a:lnTo>
                    <a:lnTo>
                      <a:pt x="16190" y="10588"/>
                    </a:lnTo>
                    <a:lnTo>
                      <a:pt x="18367" y="12059"/>
                    </a:lnTo>
                    <a:lnTo>
                      <a:pt x="19864" y="19706"/>
                    </a:lnTo>
                    <a:lnTo>
                      <a:pt x="10612" y="19706"/>
                    </a:lnTo>
                    <a:lnTo>
                      <a:pt x="10612" y="17941"/>
                    </a:lnTo>
                    <a:lnTo>
                      <a:pt x="7075" y="19706"/>
                    </a:lnTo>
                    <a:lnTo>
                      <a:pt x="2857" y="17941"/>
                    </a:lnTo>
                    <a:lnTo>
                      <a:pt x="0" y="15000"/>
                    </a:lnTo>
                    <a:lnTo>
                      <a:pt x="0" y="1058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2" name="Freeform 217"/>
              <p:cNvSpPr>
                <a:spLocks/>
              </p:cNvSpPr>
              <p:nvPr/>
            </p:nvSpPr>
            <p:spPr bwMode="auto">
              <a:xfrm>
                <a:off x="7564438" y="3603625"/>
                <a:ext cx="257175" cy="568325"/>
              </a:xfrm>
              <a:custGeom>
                <a:avLst/>
                <a:gdLst>
                  <a:gd name="T0" fmla="*/ 1823 w 20000"/>
                  <a:gd name="T1" fmla="*/ 7031 h 20000"/>
                  <a:gd name="T2" fmla="*/ 2069 w 20000"/>
                  <a:gd name="T3" fmla="*/ 6004 h 20000"/>
                  <a:gd name="T4" fmla="*/ 3350 w 20000"/>
                  <a:gd name="T5" fmla="*/ 5067 h 20000"/>
                  <a:gd name="T6" fmla="*/ 4138 w 20000"/>
                  <a:gd name="T7" fmla="*/ 3683 h 20000"/>
                  <a:gd name="T8" fmla="*/ 5123 w 20000"/>
                  <a:gd name="T9" fmla="*/ 3013 h 20000"/>
                  <a:gd name="T10" fmla="*/ 6650 w 20000"/>
                  <a:gd name="T11" fmla="*/ 1496 h 20000"/>
                  <a:gd name="T12" fmla="*/ 8670 w 20000"/>
                  <a:gd name="T13" fmla="*/ 1496 h 20000"/>
                  <a:gd name="T14" fmla="*/ 8670 w 20000"/>
                  <a:gd name="T15" fmla="*/ 692 h 20000"/>
                  <a:gd name="T16" fmla="*/ 9458 w 20000"/>
                  <a:gd name="T17" fmla="*/ 357 h 20000"/>
                  <a:gd name="T18" fmla="*/ 10788 w 20000"/>
                  <a:gd name="T19" fmla="*/ 0 h 20000"/>
                  <a:gd name="T20" fmla="*/ 11773 w 20000"/>
                  <a:gd name="T21" fmla="*/ 915 h 20000"/>
                  <a:gd name="T22" fmla="*/ 13300 w 20000"/>
                  <a:gd name="T23" fmla="*/ 2768 h 20000"/>
                  <a:gd name="T24" fmla="*/ 12808 w 20000"/>
                  <a:gd name="T25" fmla="*/ 3326 h 20000"/>
                  <a:gd name="T26" fmla="*/ 11281 w 20000"/>
                  <a:gd name="T27" fmla="*/ 3683 h 20000"/>
                  <a:gd name="T28" fmla="*/ 10788 w 20000"/>
                  <a:gd name="T29" fmla="*/ 4152 h 20000"/>
                  <a:gd name="T30" fmla="*/ 11773 w 20000"/>
                  <a:gd name="T31" fmla="*/ 5067 h 20000"/>
                  <a:gd name="T32" fmla="*/ 12808 w 20000"/>
                  <a:gd name="T33" fmla="*/ 4844 h 20000"/>
                  <a:gd name="T34" fmla="*/ 13793 w 20000"/>
                  <a:gd name="T35" fmla="*/ 5067 h 20000"/>
                  <a:gd name="T36" fmla="*/ 14581 w 20000"/>
                  <a:gd name="T37" fmla="*/ 6004 h 20000"/>
                  <a:gd name="T38" fmla="*/ 15813 w 20000"/>
                  <a:gd name="T39" fmla="*/ 6563 h 20000"/>
                  <a:gd name="T40" fmla="*/ 17340 w 20000"/>
                  <a:gd name="T41" fmla="*/ 7254 h 20000"/>
                  <a:gd name="T42" fmla="*/ 17340 w 20000"/>
                  <a:gd name="T43" fmla="*/ 7612 h 20000"/>
                  <a:gd name="T44" fmla="*/ 18670 w 20000"/>
                  <a:gd name="T45" fmla="*/ 7857 h 20000"/>
                  <a:gd name="T46" fmla="*/ 19163 w 20000"/>
                  <a:gd name="T47" fmla="*/ 8080 h 20000"/>
                  <a:gd name="T48" fmla="*/ 19163 w 20000"/>
                  <a:gd name="T49" fmla="*/ 8438 h 20000"/>
                  <a:gd name="T50" fmla="*/ 17931 w 20000"/>
                  <a:gd name="T51" fmla="*/ 8772 h 20000"/>
                  <a:gd name="T52" fmla="*/ 16108 w 20000"/>
                  <a:gd name="T53" fmla="*/ 9353 h 20000"/>
                  <a:gd name="T54" fmla="*/ 15813 w 20000"/>
                  <a:gd name="T55" fmla="*/ 9442 h 20000"/>
                  <a:gd name="T56" fmla="*/ 13300 w 20000"/>
                  <a:gd name="T57" fmla="*/ 9933 h 20000"/>
                  <a:gd name="T58" fmla="*/ 12808 w 20000"/>
                  <a:gd name="T59" fmla="*/ 10848 h 20000"/>
                  <a:gd name="T60" fmla="*/ 12512 w 20000"/>
                  <a:gd name="T61" fmla="*/ 11183 h 20000"/>
                  <a:gd name="T62" fmla="*/ 13300 w 20000"/>
                  <a:gd name="T63" fmla="*/ 11540 h 20000"/>
                  <a:gd name="T64" fmla="*/ 15320 w 20000"/>
                  <a:gd name="T65" fmla="*/ 13036 h 20000"/>
                  <a:gd name="T66" fmla="*/ 15320 w 20000"/>
                  <a:gd name="T67" fmla="*/ 13862 h 20000"/>
                  <a:gd name="T68" fmla="*/ 14828 w 20000"/>
                  <a:gd name="T69" fmla="*/ 14777 h 20000"/>
                  <a:gd name="T70" fmla="*/ 17143 w 20000"/>
                  <a:gd name="T71" fmla="*/ 16272 h 20000"/>
                  <a:gd name="T72" fmla="*/ 17931 w 20000"/>
                  <a:gd name="T73" fmla="*/ 17879 h 20000"/>
                  <a:gd name="T74" fmla="*/ 16601 w 20000"/>
                  <a:gd name="T75" fmla="*/ 19397 h 20000"/>
                  <a:gd name="T76" fmla="*/ 16108 w 20000"/>
                  <a:gd name="T77" fmla="*/ 19978 h 20000"/>
                  <a:gd name="T78" fmla="*/ 16108 w 20000"/>
                  <a:gd name="T79" fmla="*/ 19063 h 20000"/>
                  <a:gd name="T80" fmla="*/ 15813 w 20000"/>
                  <a:gd name="T81" fmla="*/ 18125 h 20000"/>
                  <a:gd name="T82" fmla="*/ 16108 w 20000"/>
                  <a:gd name="T83" fmla="*/ 16964 h 20000"/>
                  <a:gd name="T84" fmla="*/ 14828 w 20000"/>
                  <a:gd name="T85" fmla="*/ 16272 h 20000"/>
                  <a:gd name="T86" fmla="*/ 14089 w 20000"/>
                  <a:gd name="T87" fmla="*/ 15357 h 20000"/>
                  <a:gd name="T88" fmla="*/ 13300 w 20000"/>
                  <a:gd name="T89" fmla="*/ 13638 h 20000"/>
                  <a:gd name="T90" fmla="*/ 12512 w 20000"/>
                  <a:gd name="T91" fmla="*/ 13036 h 20000"/>
                  <a:gd name="T92" fmla="*/ 11773 w 20000"/>
                  <a:gd name="T93" fmla="*/ 12366 h 20000"/>
                  <a:gd name="T94" fmla="*/ 11281 w 20000"/>
                  <a:gd name="T95" fmla="*/ 13036 h 20000"/>
                  <a:gd name="T96" fmla="*/ 8670 w 20000"/>
                  <a:gd name="T97" fmla="*/ 13862 h 20000"/>
                  <a:gd name="T98" fmla="*/ 7438 w 20000"/>
                  <a:gd name="T99" fmla="*/ 13862 h 20000"/>
                  <a:gd name="T100" fmla="*/ 7438 w 20000"/>
                  <a:gd name="T101" fmla="*/ 13862 h 20000"/>
                  <a:gd name="T102" fmla="*/ 6650 w 20000"/>
                  <a:gd name="T103" fmla="*/ 13638 h 20000"/>
                  <a:gd name="T104" fmla="*/ 5862 w 20000"/>
                  <a:gd name="T105" fmla="*/ 12679 h 20000"/>
                  <a:gd name="T106" fmla="*/ 5862 w 20000"/>
                  <a:gd name="T107" fmla="*/ 11183 h 20000"/>
                  <a:gd name="T108" fmla="*/ 4631 w 20000"/>
                  <a:gd name="T109" fmla="*/ 10625 h 20000"/>
                  <a:gd name="T110" fmla="*/ 4138 w 20000"/>
                  <a:gd name="T111" fmla="*/ 10268 h 20000"/>
                  <a:gd name="T112" fmla="*/ 3350 w 20000"/>
                  <a:gd name="T113" fmla="*/ 9710 h 20000"/>
                  <a:gd name="T114" fmla="*/ 2562 w 20000"/>
                  <a:gd name="T115" fmla="*/ 9129 h 20000"/>
                  <a:gd name="T116" fmla="*/ 1330 w 20000"/>
                  <a:gd name="T117" fmla="*/ 8996 h 20000"/>
                  <a:gd name="T118" fmla="*/ 542 w 20000"/>
                  <a:gd name="T119" fmla="*/ 8080 h 20000"/>
                  <a:gd name="T120" fmla="*/ 1034 w 20000"/>
                  <a:gd name="T121" fmla="*/ 70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1034" y="7031"/>
                    </a:moveTo>
                    <a:lnTo>
                      <a:pt x="1823" y="7031"/>
                    </a:lnTo>
                    <a:lnTo>
                      <a:pt x="1330" y="6116"/>
                    </a:lnTo>
                    <a:lnTo>
                      <a:pt x="2069" y="6004"/>
                    </a:lnTo>
                    <a:lnTo>
                      <a:pt x="2069" y="5067"/>
                    </a:lnTo>
                    <a:lnTo>
                      <a:pt x="3350" y="5067"/>
                    </a:lnTo>
                    <a:lnTo>
                      <a:pt x="4138" y="4286"/>
                    </a:lnTo>
                    <a:lnTo>
                      <a:pt x="4138" y="3683"/>
                    </a:lnTo>
                    <a:lnTo>
                      <a:pt x="4138" y="3326"/>
                    </a:lnTo>
                    <a:lnTo>
                      <a:pt x="5123" y="3013"/>
                    </a:lnTo>
                    <a:lnTo>
                      <a:pt x="5123" y="2188"/>
                    </a:lnTo>
                    <a:lnTo>
                      <a:pt x="6650" y="1496"/>
                    </a:lnTo>
                    <a:lnTo>
                      <a:pt x="8473" y="1272"/>
                    </a:lnTo>
                    <a:lnTo>
                      <a:pt x="8670" y="1496"/>
                    </a:lnTo>
                    <a:lnTo>
                      <a:pt x="9212" y="1272"/>
                    </a:lnTo>
                    <a:lnTo>
                      <a:pt x="8670" y="692"/>
                    </a:lnTo>
                    <a:lnTo>
                      <a:pt x="9212" y="357"/>
                    </a:lnTo>
                    <a:lnTo>
                      <a:pt x="9458" y="357"/>
                    </a:lnTo>
                    <a:lnTo>
                      <a:pt x="9458" y="0"/>
                    </a:lnTo>
                    <a:lnTo>
                      <a:pt x="10788" y="0"/>
                    </a:lnTo>
                    <a:lnTo>
                      <a:pt x="11773" y="580"/>
                    </a:lnTo>
                    <a:lnTo>
                      <a:pt x="11773" y="915"/>
                    </a:lnTo>
                    <a:lnTo>
                      <a:pt x="12512" y="915"/>
                    </a:lnTo>
                    <a:lnTo>
                      <a:pt x="13300" y="2768"/>
                    </a:lnTo>
                    <a:lnTo>
                      <a:pt x="12808" y="3237"/>
                    </a:lnTo>
                    <a:lnTo>
                      <a:pt x="12808" y="3326"/>
                    </a:lnTo>
                    <a:lnTo>
                      <a:pt x="12512" y="3326"/>
                    </a:lnTo>
                    <a:lnTo>
                      <a:pt x="11281" y="3683"/>
                    </a:lnTo>
                    <a:lnTo>
                      <a:pt x="11773" y="4152"/>
                    </a:lnTo>
                    <a:lnTo>
                      <a:pt x="10788" y="4152"/>
                    </a:lnTo>
                    <a:lnTo>
                      <a:pt x="11281" y="4621"/>
                    </a:lnTo>
                    <a:lnTo>
                      <a:pt x="11773" y="5067"/>
                    </a:lnTo>
                    <a:lnTo>
                      <a:pt x="12512" y="4844"/>
                    </a:lnTo>
                    <a:lnTo>
                      <a:pt x="12808" y="4844"/>
                    </a:lnTo>
                    <a:lnTo>
                      <a:pt x="14089" y="4844"/>
                    </a:lnTo>
                    <a:lnTo>
                      <a:pt x="13793" y="5067"/>
                    </a:lnTo>
                    <a:lnTo>
                      <a:pt x="14089" y="5201"/>
                    </a:lnTo>
                    <a:lnTo>
                      <a:pt x="14581" y="6004"/>
                    </a:lnTo>
                    <a:lnTo>
                      <a:pt x="15813" y="6004"/>
                    </a:lnTo>
                    <a:lnTo>
                      <a:pt x="15813" y="6563"/>
                    </a:lnTo>
                    <a:lnTo>
                      <a:pt x="15320" y="7031"/>
                    </a:lnTo>
                    <a:lnTo>
                      <a:pt x="17340" y="7254"/>
                    </a:lnTo>
                    <a:lnTo>
                      <a:pt x="17340" y="7522"/>
                    </a:lnTo>
                    <a:lnTo>
                      <a:pt x="17340" y="7612"/>
                    </a:lnTo>
                    <a:lnTo>
                      <a:pt x="17931" y="7612"/>
                    </a:lnTo>
                    <a:lnTo>
                      <a:pt x="18670" y="7857"/>
                    </a:lnTo>
                    <a:lnTo>
                      <a:pt x="19951" y="7857"/>
                    </a:lnTo>
                    <a:lnTo>
                      <a:pt x="19163" y="8080"/>
                    </a:lnTo>
                    <a:lnTo>
                      <a:pt x="18670" y="8192"/>
                    </a:lnTo>
                    <a:lnTo>
                      <a:pt x="19163" y="8438"/>
                    </a:lnTo>
                    <a:lnTo>
                      <a:pt x="18128" y="8527"/>
                    </a:lnTo>
                    <a:lnTo>
                      <a:pt x="17931" y="8772"/>
                    </a:lnTo>
                    <a:lnTo>
                      <a:pt x="16601" y="8996"/>
                    </a:lnTo>
                    <a:lnTo>
                      <a:pt x="16108" y="9353"/>
                    </a:lnTo>
                    <a:lnTo>
                      <a:pt x="15320" y="9129"/>
                    </a:lnTo>
                    <a:lnTo>
                      <a:pt x="15813" y="9442"/>
                    </a:lnTo>
                    <a:lnTo>
                      <a:pt x="13793" y="9710"/>
                    </a:lnTo>
                    <a:lnTo>
                      <a:pt x="13300" y="9933"/>
                    </a:lnTo>
                    <a:lnTo>
                      <a:pt x="12808" y="10268"/>
                    </a:lnTo>
                    <a:lnTo>
                      <a:pt x="12808" y="10848"/>
                    </a:lnTo>
                    <a:lnTo>
                      <a:pt x="12512" y="10960"/>
                    </a:lnTo>
                    <a:lnTo>
                      <a:pt x="12512" y="11183"/>
                    </a:lnTo>
                    <a:lnTo>
                      <a:pt x="12808" y="11183"/>
                    </a:lnTo>
                    <a:lnTo>
                      <a:pt x="13300" y="11540"/>
                    </a:lnTo>
                    <a:lnTo>
                      <a:pt x="14828" y="12679"/>
                    </a:lnTo>
                    <a:lnTo>
                      <a:pt x="15320" y="13036"/>
                    </a:lnTo>
                    <a:lnTo>
                      <a:pt x="15813" y="13638"/>
                    </a:lnTo>
                    <a:lnTo>
                      <a:pt x="15320" y="13862"/>
                    </a:lnTo>
                    <a:lnTo>
                      <a:pt x="15320" y="14308"/>
                    </a:lnTo>
                    <a:lnTo>
                      <a:pt x="14828" y="14777"/>
                    </a:lnTo>
                    <a:lnTo>
                      <a:pt x="14828" y="15134"/>
                    </a:lnTo>
                    <a:lnTo>
                      <a:pt x="17143" y="16272"/>
                    </a:lnTo>
                    <a:lnTo>
                      <a:pt x="17143" y="16741"/>
                    </a:lnTo>
                    <a:lnTo>
                      <a:pt x="17931" y="17879"/>
                    </a:lnTo>
                    <a:lnTo>
                      <a:pt x="17340" y="18482"/>
                    </a:lnTo>
                    <a:lnTo>
                      <a:pt x="16601" y="19397"/>
                    </a:lnTo>
                    <a:lnTo>
                      <a:pt x="16601" y="19754"/>
                    </a:lnTo>
                    <a:lnTo>
                      <a:pt x="16108" y="19978"/>
                    </a:lnTo>
                    <a:lnTo>
                      <a:pt x="15813" y="19397"/>
                    </a:lnTo>
                    <a:lnTo>
                      <a:pt x="16108" y="19063"/>
                    </a:lnTo>
                    <a:lnTo>
                      <a:pt x="16108" y="18125"/>
                    </a:lnTo>
                    <a:lnTo>
                      <a:pt x="15813" y="18125"/>
                    </a:lnTo>
                    <a:lnTo>
                      <a:pt x="16108" y="17879"/>
                    </a:lnTo>
                    <a:lnTo>
                      <a:pt x="16108" y="16964"/>
                    </a:lnTo>
                    <a:lnTo>
                      <a:pt x="14828" y="15826"/>
                    </a:lnTo>
                    <a:lnTo>
                      <a:pt x="14828" y="16272"/>
                    </a:lnTo>
                    <a:lnTo>
                      <a:pt x="14581" y="16272"/>
                    </a:lnTo>
                    <a:lnTo>
                      <a:pt x="14089" y="15357"/>
                    </a:lnTo>
                    <a:lnTo>
                      <a:pt x="13793" y="14308"/>
                    </a:lnTo>
                    <a:lnTo>
                      <a:pt x="13300" y="13638"/>
                    </a:lnTo>
                    <a:lnTo>
                      <a:pt x="13300" y="13036"/>
                    </a:lnTo>
                    <a:lnTo>
                      <a:pt x="12512" y="13036"/>
                    </a:lnTo>
                    <a:lnTo>
                      <a:pt x="12020" y="12679"/>
                    </a:lnTo>
                    <a:lnTo>
                      <a:pt x="11773" y="12366"/>
                    </a:lnTo>
                    <a:lnTo>
                      <a:pt x="11281" y="12455"/>
                    </a:lnTo>
                    <a:lnTo>
                      <a:pt x="11281" y="13036"/>
                    </a:lnTo>
                    <a:lnTo>
                      <a:pt x="10493" y="13393"/>
                    </a:lnTo>
                    <a:lnTo>
                      <a:pt x="8670" y="13862"/>
                    </a:lnTo>
                    <a:lnTo>
                      <a:pt x="8473" y="13973"/>
                    </a:lnTo>
                    <a:lnTo>
                      <a:pt x="7438" y="13862"/>
                    </a:lnTo>
                    <a:lnTo>
                      <a:pt x="7931" y="13638"/>
                    </a:lnTo>
                    <a:lnTo>
                      <a:pt x="7438" y="13862"/>
                    </a:lnTo>
                    <a:lnTo>
                      <a:pt x="6650" y="13862"/>
                    </a:lnTo>
                    <a:lnTo>
                      <a:pt x="6650" y="13638"/>
                    </a:lnTo>
                    <a:lnTo>
                      <a:pt x="5862" y="13862"/>
                    </a:lnTo>
                    <a:lnTo>
                      <a:pt x="5862" y="12679"/>
                    </a:lnTo>
                    <a:lnTo>
                      <a:pt x="6453" y="11763"/>
                    </a:lnTo>
                    <a:lnTo>
                      <a:pt x="5862" y="11183"/>
                    </a:lnTo>
                    <a:lnTo>
                      <a:pt x="4631" y="10491"/>
                    </a:lnTo>
                    <a:lnTo>
                      <a:pt x="4631" y="10625"/>
                    </a:lnTo>
                    <a:lnTo>
                      <a:pt x="3350" y="10045"/>
                    </a:lnTo>
                    <a:lnTo>
                      <a:pt x="4138" y="10268"/>
                    </a:lnTo>
                    <a:lnTo>
                      <a:pt x="4631" y="10045"/>
                    </a:lnTo>
                    <a:lnTo>
                      <a:pt x="3350" y="9710"/>
                    </a:lnTo>
                    <a:lnTo>
                      <a:pt x="3054" y="9353"/>
                    </a:lnTo>
                    <a:lnTo>
                      <a:pt x="2562" y="9129"/>
                    </a:lnTo>
                    <a:lnTo>
                      <a:pt x="1823" y="8996"/>
                    </a:lnTo>
                    <a:lnTo>
                      <a:pt x="1330" y="8996"/>
                    </a:lnTo>
                    <a:lnTo>
                      <a:pt x="0" y="8192"/>
                    </a:lnTo>
                    <a:lnTo>
                      <a:pt x="542" y="8080"/>
                    </a:lnTo>
                    <a:lnTo>
                      <a:pt x="1330" y="8192"/>
                    </a:lnTo>
                    <a:lnTo>
                      <a:pt x="1034" y="703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3" name="Freeform 216"/>
              <p:cNvSpPr>
                <a:spLocks/>
              </p:cNvSpPr>
              <p:nvPr/>
            </p:nvSpPr>
            <p:spPr bwMode="auto">
              <a:xfrm>
                <a:off x="8224838" y="4319588"/>
                <a:ext cx="26987" cy="33337"/>
              </a:xfrm>
              <a:custGeom>
                <a:avLst/>
                <a:gdLst>
                  <a:gd name="T0" fmla="*/ 0 w 20000"/>
                  <a:gd name="T1" fmla="*/ 5769 h 20000"/>
                  <a:gd name="T2" fmla="*/ 11905 w 20000"/>
                  <a:gd name="T3" fmla="*/ 0 h 20000"/>
                  <a:gd name="T4" fmla="*/ 11905 w 20000"/>
                  <a:gd name="T5" fmla="*/ 5769 h 20000"/>
                  <a:gd name="T6" fmla="*/ 19524 w 20000"/>
                  <a:gd name="T7" fmla="*/ 13462 h 20000"/>
                  <a:gd name="T8" fmla="*/ 11905 w 20000"/>
                  <a:gd name="T9" fmla="*/ 13462 h 20000"/>
                  <a:gd name="T10" fmla="*/ 2857 w 20000"/>
                  <a:gd name="T11" fmla="*/ 19615 h 20000"/>
                  <a:gd name="T12" fmla="*/ 0 w 20000"/>
                  <a:gd name="T13" fmla="*/ 5769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5769"/>
                    </a:moveTo>
                    <a:lnTo>
                      <a:pt x="11905" y="0"/>
                    </a:lnTo>
                    <a:lnTo>
                      <a:pt x="11905" y="5769"/>
                    </a:lnTo>
                    <a:lnTo>
                      <a:pt x="19524" y="13462"/>
                    </a:lnTo>
                    <a:lnTo>
                      <a:pt x="11905" y="13462"/>
                    </a:lnTo>
                    <a:lnTo>
                      <a:pt x="2857" y="19615"/>
                    </a:lnTo>
                    <a:lnTo>
                      <a:pt x="0" y="57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4" name="Freeform 215"/>
              <p:cNvSpPr>
                <a:spLocks/>
              </p:cNvSpPr>
              <p:nvPr/>
            </p:nvSpPr>
            <p:spPr bwMode="auto">
              <a:xfrm>
                <a:off x="8340725" y="3689350"/>
                <a:ext cx="50800" cy="115888"/>
              </a:xfrm>
              <a:custGeom>
                <a:avLst/>
                <a:gdLst>
                  <a:gd name="T0" fmla="*/ 10380 w 20000"/>
                  <a:gd name="T1" fmla="*/ 19890 h 20000"/>
                  <a:gd name="T2" fmla="*/ 9114 w 20000"/>
                  <a:gd name="T3" fmla="*/ 19890 h 20000"/>
                  <a:gd name="T4" fmla="*/ 9114 w 20000"/>
                  <a:gd name="T5" fmla="*/ 18132 h 20000"/>
                  <a:gd name="T6" fmla="*/ 4051 w 20000"/>
                  <a:gd name="T7" fmla="*/ 16484 h 20000"/>
                  <a:gd name="T8" fmla="*/ 0 w 20000"/>
                  <a:gd name="T9" fmla="*/ 12967 h 20000"/>
                  <a:gd name="T10" fmla="*/ 0 w 20000"/>
                  <a:gd name="T11" fmla="*/ 10220 h 20000"/>
                  <a:gd name="T12" fmla="*/ 2532 w 20000"/>
                  <a:gd name="T13" fmla="*/ 8022 h 20000"/>
                  <a:gd name="T14" fmla="*/ 9114 w 20000"/>
                  <a:gd name="T15" fmla="*/ 1648 h 20000"/>
                  <a:gd name="T16" fmla="*/ 12911 w 20000"/>
                  <a:gd name="T17" fmla="*/ 0 h 20000"/>
                  <a:gd name="T18" fmla="*/ 19747 w 20000"/>
                  <a:gd name="T19" fmla="*/ 1648 h 20000"/>
                  <a:gd name="T20" fmla="*/ 19747 w 20000"/>
                  <a:gd name="T21" fmla="*/ 4505 h 20000"/>
                  <a:gd name="T22" fmla="*/ 16962 w 20000"/>
                  <a:gd name="T23" fmla="*/ 6264 h 20000"/>
                  <a:gd name="T24" fmla="*/ 15696 w 20000"/>
                  <a:gd name="T25" fmla="*/ 12967 h 20000"/>
                  <a:gd name="T26" fmla="*/ 12911 w 20000"/>
                  <a:gd name="T27" fmla="*/ 16484 h 20000"/>
                  <a:gd name="T28" fmla="*/ 10380 w 20000"/>
                  <a:gd name="T29" fmla="*/ 198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0380" y="19890"/>
                    </a:moveTo>
                    <a:lnTo>
                      <a:pt x="9114" y="19890"/>
                    </a:lnTo>
                    <a:lnTo>
                      <a:pt x="9114" y="18132"/>
                    </a:lnTo>
                    <a:lnTo>
                      <a:pt x="4051" y="16484"/>
                    </a:lnTo>
                    <a:lnTo>
                      <a:pt x="0" y="12967"/>
                    </a:lnTo>
                    <a:lnTo>
                      <a:pt x="0" y="10220"/>
                    </a:lnTo>
                    <a:lnTo>
                      <a:pt x="2532" y="8022"/>
                    </a:lnTo>
                    <a:lnTo>
                      <a:pt x="9114" y="1648"/>
                    </a:lnTo>
                    <a:lnTo>
                      <a:pt x="12911" y="0"/>
                    </a:lnTo>
                    <a:lnTo>
                      <a:pt x="19747" y="1648"/>
                    </a:lnTo>
                    <a:lnTo>
                      <a:pt x="19747" y="4505"/>
                    </a:lnTo>
                    <a:lnTo>
                      <a:pt x="16962" y="6264"/>
                    </a:lnTo>
                    <a:lnTo>
                      <a:pt x="15696" y="12967"/>
                    </a:lnTo>
                    <a:lnTo>
                      <a:pt x="12911" y="16484"/>
                    </a:lnTo>
                    <a:lnTo>
                      <a:pt x="10380" y="198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5" name="Freeform 214"/>
              <p:cNvSpPr>
                <a:spLocks/>
              </p:cNvSpPr>
              <p:nvPr/>
            </p:nvSpPr>
            <p:spPr bwMode="auto">
              <a:xfrm>
                <a:off x="6975475" y="2562225"/>
                <a:ext cx="1555750" cy="1298575"/>
              </a:xfrm>
              <a:custGeom>
                <a:avLst/>
                <a:gdLst>
                  <a:gd name="T0" fmla="*/ 16612 w 20000"/>
                  <a:gd name="T1" fmla="*/ 1418 h 20000"/>
                  <a:gd name="T2" fmla="*/ 18424 w 20000"/>
                  <a:gd name="T3" fmla="*/ 2983 h 20000"/>
                  <a:gd name="T4" fmla="*/ 19992 w 20000"/>
                  <a:gd name="T5" fmla="*/ 3540 h 20000"/>
                  <a:gd name="T6" fmla="*/ 19527 w 20000"/>
                  <a:gd name="T7" fmla="*/ 7139 h 20000"/>
                  <a:gd name="T8" fmla="*/ 18939 w 20000"/>
                  <a:gd name="T9" fmla="*/ 7697 h 20000"/>
                  <a:gd name="T10" fmla="*/ 18220 w 20000"/>
                  <a:gd name="T11" fmla="*/ 7941 h 20000"/>
                  <a:gd name="T12" fmla="*/ 17159 w 20000"/>
                  <a:gd name="T13" fmla="*/ 9418 h 20000"/>
                  <a:gd name="T14" fmla="*/ 16743 w 20000"/>
                  <a:gd name="T15" fmla="*/ 9418 h 20000"/>
                  <a:gd name="T16" fmla="*/ 15853 w 20000"/>
                  <a:gd name="T17" fmla="*/ 9672 h 20000"/>
                  <a:gd name="T18" fmla="*/ 16057 w 20000"/>
                  <a:gd name="T19" fmla="*/ 10836 h 20000"/>
                  <a:gd name="T20" fmla="*/ 17331 w 20000"/>
                  <a:gd name="T21" fmla="*/ 10631 h 20000"/>
                  <a:gd name="T22" fmla="*/ 16400 w 20000"/>
                  <a:gd name="T23" fmla="*/ 12293 h 20000"/>
                  <a:gd name="T24" fmla="*/ 17290 w 20000"/>
                  <a:gd name="T25" fmla="*/ 13819 h 20000"/>
                  <a:gd name="T26" fmla="*/ 17412 w 20000"/>
                  <a:gd name="T27" fmla="*/ 14680 h 20000"/>
                  <a:gd name="T28" fmla="*/ 17837 w 20000"/>
                  <a:gd name="T29" fmla="*/ 14973 h 20000"/>
                  <a:gd name="T30" fmla="*/ 17673 w 20000"/>
                  <a:gd name="T31" fmla="*/ 15531 h 20000"/>
                  <a:gd name="T32" fmla="*/ 17331 w 20000"/>
                  <a:gd name="T33" fmla="*/ 16597 h 20000"/>
                  <a:gd name="T34" fmla="*/ 17078 w 20000"/>
                  <a:gd name="T35" fmla="*/ 17614 h 20000"/>
                  <a:gd name="T36" fmla="*/ 16269 w 20000"/>
                  <a:gd name="T37" fmla="*/ 18670 h 20000"/>
                  <a:gd name="T38" fmla="*/ 15216 w 20000"/>
                  <a:gd name="T39" fmla="*/ 18670 h 20000"/>
                  <a:gd name="T40" fmla="*/ 14416 w 20000"/>
                  <a:gd name="T41" fmla="*/ 19491 h 20000"/>
                  <a:gd name="T42" fmla="*/ 13951 w 20000"/>
                  <a:gd name="T43" fmla="*/ 19491 h 20000"/>
                  <a:gd name="T44" fmla="*/ 13437 w 20000"/>
                  <a:gd name="T45" fmla="*/ 19374 h 20000"/>
                  <a:gd name="T46" fmla="*/ 12433 w 20000"/>
                  <a:gd name="T47" fmla="*/ 18670 h 20000"/>
                  <a:gd name="T48" fmla="*/ 11535 w 20000"/>
                  <a:gd name="T49" fmla="*/ 18826 h 20000"/>
                  <a:gd name="T50" fmla="*/ 11078 w 20000"/>
                  <a:gd name="T51" fmla="*/ 19589 h 20000"/>
                  <a:gd name="T52" fmla="*/ 10441 w 20000"/>
                  <a:gd name="T53" fmla="*/ 19227 h 20000"/>
                  <a:gd name="T54" fmla="*/ 9894 w 20000"/>
                  <a:gd name="T55" fmla="*/ 18171 h 20000"/>
                  <a:gd name="T56" fmla="*/ 9429 w 20000"/>
                  <a:gd name="T57" fmla="*/ 17653 h 20000"/>
                  <a:gd name="T58" fmla="*/ 9510 w 20000"/>
                  <a:gd name="T59" fmla="*/ 16293 h 20000"/>
                  <a:gd name="T60" fmla="*/ 8751 w 20000"/>
                  <a:gd name="T61" fmla="*/ 16039 h 20000"/>
                  <a:gd name="T62" fmla="*/ 8408 w 20000"/>
                  <a:gd name="T63" fmla="*/ 15736 h 20000"/>
                  <a:gd name="T64" fmla="*/ 7445 w 20000"/>
                  <a:gd name="T65" fmla="*/ 16293 h 20000"/>
                  <a:gd name="T66" fmla="*/ 6343 w 20000"/>
                  <a:gd name="T67" fmla="*/ 16450 h 20000"/>
                  <a:gd name="T68" fmla="*/ 4906 w 20000"/>
                  <a:gd name="T69" fmla="*/ 16196 h 20000"/>
                  <a:gd name="T70" fmla="*/ 4139 w 20000"/>
                  <a:gd name="T71" fmla="*/ 15795 h 20000"/>
                  <a:gd name="T72" fmla="*/ 2318 w 20000"/>
                  <a:gd name="T73" fmla="*/ 14416 h 20000"/>
                  <a:gd name="T74" fmla="*/ 2449 w 20000"/>
                  <a:gd name="T75" fmla="*/ 13770 h 20000"/>
                  <a:gd name="T76" fmla="*/ 1437 w 20000"/>
                  <a:gd name="T77" fmla="*/ 12293 h 20000"/>
                  <a:gd name="T78" fmla="*/ 669 w 20000"/>
                  <a:gd name="T79" fmla="*/ 11540 h 20000"/>
                  <a:gd name="T80" fmla="*/ 416 w 20000"/>
                  <a:gd name="T81" fmla="*/ 9917 h 20000"/>
                  <a:gd name="T82" fmla="*/ 2114 w 20000"/>
                  <a:gd name="T83" fmla="*/ 8900 h 20000"/>
                  <a:gd name="T84" fmla="*/ 2449 w 20000"/>
                  <a:gd name="T85" fmla="*/ 6778 h 20000"/>
                  <a:gd name="T86" fmla="*/ 3673 w 20000"/>
                  <a:gd name="T87" fmla="*/ 4606 h 20000"/>
                  <a:gd name="T88" fmla="*/ 4571 w 20000"/>
                  <a:gd name="T89" fmla="*/ 5115 h 20000"/>
                  <a:gd name="T90" fmla="*/ 5322 w 20000"/>
                  <a:gd name="T91" fmla="*/ 6377 h 20000"/>
                  <a:gd name="T92" fmla="*/ 7012 w 20000"/>
                  <a:gd name="T93" fmla="*/ 7394 h 20000"/>
                  <a:gd name="T94" fmla="*/ 8751 w 20000"/>
                  <a:gd name="T95" fmla="*/ 8196 h 20000"/>
                  <a:gd name="T96" fmla="*/ 10784 w 20000"/>
                  <a:gd name="T97" fmla="*/ 8597 h 20000"/>
                  <a:gd name="T98" fmla="*/ 12767 w 20000"/>
                  <a:gd name="T99" fmla="*/ 6885 h 20000"/>
                  <a:gd name="T100" fmla="*/ 13437 w 20000"/>
                  <a:gd name="T101" fmla="*/ 6328 h 20000"/>
                  <a:gd name="T102" fmla="*/ 14286 w 20000"/>
                  <a:gd name="T103" fmla="*/ 5418 h 20000"/>
                  <a:gd name="T104" fmla="*/ 15176 w 20000"/>
                  <a:gd name="T105" fmla="*/ 4919 h 20000"/>
                  <a:gd name="T106" fmla="*/ 13951 w 20000"/>
                  <a:gd name="T107" fmla="*/ 4362 h 20000"/>
                  <a:gd name="T108" fmla="*/ 13567 w 20000"/>
                  <a:gd name="T109" fmla="*/ 3042 h 20000"/>
                  <a:gd name="T110" fmla="*/ 14335 w 20000"/>
                  <a:gd name="T111" fmla="*/ 10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00" h="20000">
                    <a:moveTo>
                      <a:pt x="14841" y="108"/>
                    </a:moveTo>
                    <a:lnTo>
                      <a:pt x="15004" y="0"/>
                    </a:lnTo>
                    <a:lnTo>
                      <a:pt x="15216" y="108"/>
                    </a:lnTo>
                    <a:lnTo>
                      <a:pt x="15641" y="205"/>
                    </a:lnTo>
                    <a:lnTo>
                      <a:pt x="15853" y="254"/>
                    </a:lnTo>
                    <a:lnTo>
                      <a:pt x="15976" y="362"/>
                    </a:lnTo>
                    <a:lnTo>
                      <a:pt x="16612" y="1418"/>
                    </a:lnTo>
                    <a:lnTo>
                      <a:pt x="16873" y="1721"/>
                    </a:lnTo>
                    <a:lnTo>
                      <a:pt x="17078" y="2230"/>
                    </a:lnTo>
                    <a:lnTo>
                      <a:pt x="17208" y="2484"/>
                    </a:lnTo>
                    <a:lnTo>
                      <a:pt x="17331" y="2641"/>
                    </a:lnTo>
                    <a:lnTo>
                      <a:pt x="17673" y="2641"/>
                    </a:lnTo>
                    <a:lnTo>
                      <a:pt x="17878" y="2641"/>
                    </a:lnTo>
                    <a:lnTo>
                      <a:pt x="18424" y="2983"/>
                    </a:lnTo>
                    <a:lnTo>
                      <a:pt x="18776" y="3795"/>
                    </a:lnTo>
                    <a:lnTo>
                      <a:pt x="18939" y="3795"/>
                    </a:lnTo>
                    <a:lnTo>
                      <a:pt x="19273" y="3697"/>
                    </a:lnTo>
                    <a:lnTo>
                      <a:pt x="19396" y="3443"/>
                    </a:lnTo>
                    <a:lnTo>
                      <a:pt x="19739" y="3296"/>
                    </a:lnTo>
                    <a:lnTo>
                      <a:pt x="19992" y="3139"/>
                    </a:lnTo>
                    <a:lnTo>
                      <a:pt x="19992" y="3540"/>
                    </a:lnTo>
                    <a:lnTo>
                      <a:pt x="19992" y="3941"/>
                    </a:lnTo>
                    <a:lnTo>
                      <a:pt x="19951" y="4098"/>
                    </a:lnTo>
                    <a:lnTo>
                      <a:pt x="19951" y="5516"/>
                    </a:lnTo>
                    <a:lnTo>
                      <a:pt x="19527" y="5320"/>
                    </a:lnTo>
                    <a:lnTo>
                      <a:pt x="19314" y="5672"/>
                    </a:lnTo>
                    <a:lnTo>
                      <a:pt x="19608" y="6631"/>
                    </a:lnTo>
                    <a:lnTo>
                      <a:pt x="19527" y="7139"/>
                    </a:lnTo>
                    <a:lnTo>
                      <a:pt x="19527" y="7296"/>
                    </a:lnTo>
                    <a:lnTo>
                      <a:pt x="19396" y="7139"/>
                    </a:lnTo>
                    <a:lnTo>
                      <a:pt x="19273" y="7042"/>
                    </a:lnTo>
                    <a:lnTo>
                      <a:pt x="19273" y="7296"/>
                    </a:lnTo>
                    <a:lnTo>
                      <a:pt x="19110" y="7443"/>
                    </a:lnTo>
                    <a:lnTo>
                      <a:pt x="19061" y="7638"/>
                    </a:lnTo>
                    <a:lnTo>
                      <a:pt x="18939" y="7697"/>
                    </a:lnTo>
                    <a:lnTo>
                      <a:pt x="18776" y="7795"/>
                    </a:lnTo>
                    <a:lnTo>
                      <a:pt x="18776" y="7844"/>
                    </a:lnTo>
                    <a:lnTo>
                      <a:pt x="18857" y="8039"/>
                    </a:lnTo>
                    <a:lnTo>
                      <a:pt x="18727" y="8039"/>
                    </a:lnTo>
                    <a:lnTo>
                      <a:pt x="18514" y="8039"/>
                    </a:lnTo>
                    <a:lnTo>
                      <a:pt x="18392" y="7844"/>
                    </a:lnTo>
                    <a:lnTo>
                      <a:pt x="18220" y="7941"/>
                    </a:lnTo>
                    <a:lnTo>
                      <a:pt x="18220" y="8196"/>
                    </a:lnTo>
                    <a:lnTo>
                      <a:pt x="18180" y="8352"/>
                    </a:lnTo>
                    <a:lnTo>
                      <a:pt x="18049" y="8499"/>
                    </a:lnTo>
                    <a:lnTo>
                      <a:pt x="17755" y="8753"/>
                    </a:lnTo>
                    <a:lnTo>
                      <a:pt x="17624" y="9164"/>
                    </a:lnTo>
                    <a:lnTo>
                      <a:pt x="17331" y="9262"/>
                    </a:lnTo>
                    <a:lnTo>
                      <a:pt x="17159" y="9418"/>
                    </a:lnTo>
                    <a:lnTo>
                      <a:pt x="16955" y="9672"/>
                    </a:lnTo>
                    <a:lnTo>
                      <a:pt x="16743" y="9917"/>
                    </a:lnTo>
                    <a:lnTo>
                      <a:pt x="16653" y="9819"/>
                    </a:lnTo>
                    <a:lnTo>
                      <a:pt x="16776" y="9672"/>
                    </a:lnTo>
                    <a:lnTo>
                      <a:pt x="16776" y="9565"/>
                    </a:lnTo>
                    <a:lnTo>
                      <a:pt x="16873" y="9516"/>
                    </a:lnTo>
                    <a:lnTo>
                      <a:pt x="16743" y="9418"/>
                    </a:lnTo>
                    <a:lnTo>
                      <a:pt x="16653" y="9262"/>
                    </a:lnTo>
                    <a:lnTo>
                      <a:pt x="16873" y="8753"/>
                    </a:lnTo>
                    <a:lnTo>
                      <a:pt x="16612" y="8499"/>
                    </a:lnTo>
                    <a:lnTo>
                      <a:pt x="16318" y="8704"/>
                    </a:lnTo>
                    <a:lnTo>
                      <a:pt x="16106" y="9164"/>
                    </a:lnTo>
                    <a:lnTo>
                      <a:pt x="15894" y="9418"/>
                    </a:lnTo>
                    <a:lnTo>
                      <a:pt x="15853" y="9672"/>
                    </a:lnTo>
                    <a:lnTo>
                      <a:pt x="15722" y="9770"/>
                    </a:lnTo>
                    <a:lnTo>
                      <a:pt x="15429" y="9770"/>
                    </a:lnTo>
                    <a:lnTo>
                      <a:pt x="15510" y="10171"/>
                    </a:lnTo>
                    <a:lnTo>
                      <a:pt x="15641" y="10474"/>
                    </a:lnTo>
                    <a:lnTo>
                      <a:pt x="15771" y="10435"/>
                    </a:lnTo>
                    <a:lnTo>
                      <a:pt x="15976" y="10572"/>
                    </a:lnTo>
                    <a:lnTo>
                      <a:pt x="16057" y="10836"/>
                    </a:lnTo>
                    <a:lnTo>
                      <a:pt x="16188" y="10983"/>
                    </a:lnTo>
                    <a:lnTo>
                      <a:pt x="16318" y="10875"/>
                    </a:lnTo>
                    <a:lnTo>
                      <a:pt x="16522" y="10631"/>
                    </a:lnTo>
                    <a:lnTo>
                      <a:pt x="16653" y="10474"/>
                    </a:lnTo>
                    <a:lnTo>
                      <a:pt x="16955" y="10631"/>
                    </a:lnTo>
                    <a:lnTo>
                      <a:pt x="17159" y="10631"/>
                    </a:lnTo>
                    <a:lnTo>
                      <a:pt x="17331" y="10631"/>
                    </a:lnTo>
                    <a:lnTo>
                      <a:pt x="17331" y="10983"/>
                    </a:lnTo>
                    <a:lnTo>
                      <a:pt x="17159" y="10875"/>
                    </a:lnTo>
                    <a:lnTo>
                      <a:pt x="16776" y="11139"/>
                    </a:lnTo>
                    <a:lnTo>
                      <a:pt x="16873" y="11237"/>
                    </a:lnTo>
                    <a:lnTo>
                      <a:pt x="16612" y="11638"/>
                    </a:lnTo>
                    <a:lnTo>
                      <a:pt x="16400" y="12039"/>
                    </a:lnTo>
                    <a:lnTo>
                      <a:pt x="16400" y="12293"/>
                    </a:lnTo>
                    <a:lnTo>
                      <a:pt x="16776" y="12557"/>
                    </a:lnTo>
                    <a:lnTo>
                      <a:pt x="17078" y="13154"/>
                    </a:lnTo>
                    <a:lnTo>
                      <a:pt x="17208" y="13262"/>
                    </a:lnTo>
                    <a:lnTo>
                      <a:pt x="17290" y="13516"/>
                    </a:lnTo>
                    <a:lnTo>
                      <a:pt x="17494" y="13770"/>
                    </a:lnTo>
                    <a:lnTo>
                      <a:pt x="17624" y="13917"/>
                    </a:lnTo>
                    <a:lnTo>
                      <a:pt x="17290" y="13819"/>
                    </a:lnTo>
                    <a:lnTo>
                      <a:pt x="17159" y="13770"/>
                    </a:lnTo>
                    <a:lnTo>
                      <a:pt x="17078" y="13819"/>
                    </a:lnTo>
                    <a:lnTo>
                      <a:pt x="17208" y="13819"/>
                    </a:lnTo>
                    <a:lnTo>
                      <a:pt x="17412" y="14073"/>
                    </a:lnTo>
                    <a:lnTo>
                      <a:pt x="17673" y="14416"/>
                    </a:lnTo>
                    <a:lnTo>
                      <a:pt x="17494" y="14474"/>
                    </a:lnTo>
                    <a:lnTo>
                      <a:pt x="17412" y="14680"/>
                    </a:lnTo>
                    <a:lnTo>
                      <a:pt x="17208" y="14680"/>
                    </a:lnTo>
                    <a:lnTo>
                      <a:pt x="17159" y="14826"/>
                    </a:lnTo>
                    <a:lnTo>
                      <a:pt x="17290" y="14729"/>
                    </a:lnTo>
                    <a:lnTo>
                      <a:pt x="17290" y="14875"/>
                    </a:lnTo>
                    <a:lnTo>
                      <a:pt x="17543" y="14729"/>
                    </a:lnTo>
                    <a:lnTo>
                      <a:pt x="17755" y="14875"/>
                    </a:lnTo>
                    <a:lnTo>
                      <a:pt x="17837" y="14973"/>
                    </a:lnTo>
                    <a:lnTo>
                      <a:pt x="17673" y="15130"/>
                    </a:lnTo>
                    <a:lnTo>
                      <a:pt x="17837" y="15130"/>
                    </a:lnTo>
                    <a:lnTo>
                      <a:pt x="17837" y="15276"/>
                    </a:lnTo>
                    <a:lnTo>
                      <a:pt x="17673" y="15276"/>
                    </a:lnTo>
                    <a:lnTo>
                      <a:pt x="17755" y="15374"/>
                    </a:lnTo>
                    <a:lnTo>
                      <a:pt x="17755" y="15531"/>
                    </a:lnTo>
                    <a:lnTo>
                      <a:pt x="17673" y="15531"/>
                    </a:lnTo>
                    <a:lnTo>
                      <a:pt x="17673" y="15638"/>
                    </a:lnTo>
                    <a:lnTo>
                      <a:pt x="17837" y="15736"/>
                    </a:lnTo>
                    <a:lnTo>
                      <a:pt x="17673" y="15795"/>
                    </a:lnTo>
                    <a:lnTo>
                      <a:pt x="17673" y="15736"/>
                    </a:lnTo>
                    <a:lnTo>
                      <a:pt x="17624" y="15795"/>
                    </a:lnTo>
                    <a:lnTo>
                      <a:pt x="17494" y="16196"/>
                    </a:lnTo>
                    <a:lnTo>
                      <a:pt x="17331" y="16597"/>
                    </a:lnTo>
                    <a:lnTo>
                      <a:pt x="17208" y="16597"/>
                    </a:lnTo>
                    <a:lnTo>
                      <a:pt x="17208" y="16694"/>
                    </a:lnTo>
                    <a:lnTo>
                      <a:pt x="17290" y="16792"/>
                    </a:lnTo>
                    <a:lnTo>
                      <a:pt x="17208" y="16949"/>
                    </a:lnTo>
                    <a:lnTo>
                      <a:pt x="17208" y="17213"/>
                    </a:lnTo>
                    <a:lnTo>
                      <a:pt x="17208" y="17359"/>
                    </a:lnTo>
                    <a:lnTo>
                      <a:pt x="17078" y="17614"/>
                    </a:lnTo>
                    <a:lnTo>
                      <a:pt x="16955" y="17770"/>
                    </a:lnTo>
                    <a:lnTo>
                      <a:pt x="16743" y="17868"/>
                    </a:lnTo>
                    <a:lnTo>
                      <a:pt x="16776" y="17917"/>
                    </a:lnTo>
                    <a:lnTo>
                      <a:pt x="16612" y="18171"/>
                    </a:lnTo>
                    <a:lnTo>
                      <a:pt x="16441" y="18269"/>
                    </a:lnTo>
                    <a:lnTo>
                      <a:pt x="16400" y="18269"/>
                    </a:lnTo>
                    <a:lnTo>
                      <a:pt x="16269" y="18670"/>
                    </a:lnTo>
                    <a:lnTo>
                      <a:pt x="15976" y="18729"/>
                    </a:lnTo>
                    <a:lnTo>
                      <a:pt x="15894" y="18826"/>
                    </a:lnTo>
                    <a:lnTo>
                      <a:pt x="15771" y="18729"/>
                    </a:lnTo>
                    <a:lnTo>
                      <a:pt x="15722" y="18826"/>
                    </a:lnTo>
                    <a:lnTo>
                      <a:pt x="15641" y="18729"/>
                    </a:lnTo>
                    <a:lnTo>
                      <a:pt x="15429" y="18924"/>
                    </a:lnTo>
                    <a:lnTo>
                      <a:pt x="15216" y="18670"/>
                    </a:lnTo>
                    <a:lnTo>
                      <a:pt x="15306" y="19071"/>
                    </a:lnTo>
                    <a:lnTo>
                      <a:pt x="14955" y="19227"/>
                    </a:lnTo>
                    <a:lnTo>
                      <a:pt x="14873" y="19130"/>
                    </a:lnTo>
                    <a:lnTo>
                      <a:pt x="14873" y="19227"/>
                    </a:lnTo>
                    <a:lnTo>
                      <a:pt x="14751" y="19335"/>
                    </a:lnTo>
                    <a:lnTo>
                      <a:pt x="14620" y="19374"/>
                    </a:lnTo>
                    <a:lnTo>
                      <a:pt x="14416" y="19491"/>
                    </a:lnTo>
                    <a:lnTo>
                      <a:pt x="14204" y="19589"/>
                    </a:lnTo>
                    <a:lnTo>
                      <a:pt x="14204" y="19491"/>
                    </a:lnTo>
                    <a:lnTo>
                      <a:pt x="14122" y="19736"/>
                    </a:lnTo>
                    <a:lnTo>
                      <a:pt x="14286" y="19892"/>
                    </a:lnTo>
                    <a:lnTo>
                      <a:pt x="14073" y="19990"/>
                    </a:lnTo>
                    <a:lnTo>
                      <a:pt x="13992" y="19628"/>
                    </a:lnTo>
                    <a:lnTo>
                      <a:pt x="13951" y="19491"/>
                    </a:lnTo>
                    <a:lnTo>
                      <a:pt x="14073" y="19374"/>
                    </a:lnTo>
                    <a:lnTo>
                      <a:pt x="13869" y="19227"/>
                    </a:lnTo>
                    <a:lnTo>
                      <a:pt x="13780" y="19374"/>
                    </a:lnTo>
                    <a:lnTo>
                      <a:pt x="13649" y="19335"/>
                    </a:lnTo>
                    <a:lnTo>
                      <a:pt x="13527" y="19227"/>
                    </a:lnTo>
                    <a:lnTo>
                      <a:pt x="13437" y="19227"/>
                    </a:lnTo>
                    <a:lnTo>
                      <a:pt x="13437" y="19374"/>
                    </a:lnTo>
                    <a:lnTo>
                      <a:pt x="13314" y="19374"/>
                    </a:lnTo>
                    <a:lnTo>
                      <a:pt x="13233" y="19335"/>
                    </a:lnTo>
                    <a:lnTo>
                      <a:pt x="13061" y="19374"/>
                    </a:lnTo>
                    <a:lnTo>
                      <a:pt x="12767" y="18973"/>
                    </a:lnTo>
                    <a:lnTo>
                      <a:pt x="12849" y="18729"/>
                    </a:lnTo>
                    <a:lnTo>
                      <a:pt x="12767" y="18729"/>
                    </a:lnTo>
                    <a:lnTo>
                      <a:pt x="12433" y="18670"/>
                    </a:lnTo>
                    <a:lnTo>
                      <a:pt x="12302" y="18513"/>
                    </a:lnTo>
                    <a:lnTo>
                      <a:pt x="12090" y="18572"/>
                    </a:lnTo>
                    <a:lnTo>
                      <a:pt x="12090" y="18729"/>
                    </a:lnTo>
                    <a:lnTo>
                      <a:pt x="11878" y="18826"/>
                    </a:lnTo>
                    <a:lnTo>
                      <a:pt x="11796" y="18973"/>
                    </a:lnTo>
                    <a:lnTo>
                      <a:pt x="11665" y="18826"/>
                    </a:lnTo>
                    <a:lnTo>
                      <a:pt x="11535" y="18826"/>
                    </a:lnTo>
                    <a:lnTo>
                      <a:pt x="11453" y="18924"/>
                    </a:lnTo>
                    <a:lnTo>
                      <a:pt x="11331" y="18924"/>
                    </a:lnTo>
                    <a:lnTo>
                      <a:pt x="11282" y="18924"/>
                    </a:lnTo>
                    <a:lnTo>
                      <a:pt x="11200" y="18973"/>
                    </a:lnTo>
                    <a:lnTo>
                      <a:pt x="11078" y="18973"/>
                    </a:lnTo>
                    <a:lnTo>
                      <a:pt x="10988" y="19071"/>
                    </a:lnTo>
                    <a:lnTo>
                      <a:pt x="11078" y="19589"/>
                    </a:lnTo>
                    <a:lnTo>
                      <a:pt x="10865" y="19589"/>
                    </a:lnTo>
                    <a:lnTo>
                      <a:pt x="10865" y="19491"/>
                    </a:lnTo>
                    <a:lnTo>
                      <a:pt x="10653" y="19491"/>
                    </a:lnTo>
                    <a:lnTo>
                      <a:pt x="10531" y="19374"/>
                    </a:lnTo>
                    <a:lnTo>
                      <a:pt x="10441" y="19374"/>
                    </a:lnTo>
                    <a:lnTo>
                      <a:pt x="10441" y="19335"/>
                    </a:lnTo>
                    <a:lnTo>
                      <a:pt x="10441" y="19227"/>
                    </a:lnTo>
                    <a:lnTo>
                      <a:pt x="10098" y="19130"/>
                    </a:lnTo>
                    <a:lnTo>
                      <a:pt x="10180" y="18924"/>
                    </a:lnTo>
                    <a:lnTo>
                      <a:pt x="10180" y="18670"/>
                    </a:lnTo>
                    <a:lnTo>
                      <a:pt x="9976" y="18670"/>
                    </a:lnTo>
                    <a:lnTo>
                      <a:pt x="9894" y="18318"/>
                    </a:lnTo>
                    <a:lnTo>
                      <a:pt x="9845" y="18269"/>
                    </a:lnTo>
                    <a:lnTo>
                      <a:pt x="9894" y="18171"/>
                    </a:lnTo>
                    <a:lnTo>
                      <a:pt x="9682" y="18171"/>
                    </a:lnTo>
                    <a:lnTo>
                      <a:pt x="9633" y="18171"/>
                    </a:lnTo>
                    <a:lnTo>
                      <a:pt x="9510" y="18269"/>
                    </a:lnTo>
                    <a:lnTo>
                      <a:pt x="9429" y="18073"/>
                    </a:lnTo>
                    <a:lnTo>
                      <a:pt x="9347" y="17868"/>
                    </a:lnTo>
                    <a:lnTo>
                      <a:pt x="9510" y="17868"/>
                    </a:lnTo>
                    <a:lnTo>
                      <a:pt x="9429" y="17653"/>
                    </a:lnTo>
                    <a:lnTo>
                      <a:pt x="9633" y="17506"/>
                    </a:lnTo>
                    <a:lnTo>
                      <a:pt x="9682" y="17506"/>
                    </a:lnTo>
                    <a:lnTo>
                      <a:pt x="9682" y="17457"/>
                    </a:lnTo>
                    <a:lnTo>
                      <a:pt x="9763" y="17252"/>
                    </a:lnTo>
                    <a:lnTo>
                      <a:pt x="9633" y="16450"/>
                    </a:lnTo>
                    <a:lnTo>
                      <a:pt x="9510" y="16450"/>
                    </a:lnTo>
                    <a:lnTo>
                      <a:pt x="9510" y="16293"/>
                    </a:lnTo>
                    <a:lnTo>
                      <a:pt x="9347" y="16039"/>
                    </a:lnTo>
                    <a:lnTo>
                      <a:pt x="9127" y="16039"/>
                    </a:lnTo>
                    <a:lnTo>
                      <a:pt x="9127" y="16196"/>
                    </a:lnTo>
                    <a:lnTo>
                      <a:pt x="8996" y="16039"/>
                    </a:lnTo>
                    <a:lnTo>
                      <a:pt x="8873" y="16039"/>
                    </a:lnTo>
                    <a:lnTo>
                      <a:pt x="8873" y="15941"/>
                    </a:lnTo>
                    <a:lnTo>
                      <a:pt x="8751" y="16039"/>
                    </a:lnTo>
                    <a:lnTo>
                      <a:pt x="8792" y="15892"/>
                    </a:lnTo>
                    <a:lnTo>
                      <a:pt x="8792" y="15736"/>
                    </a:lnTo>
                    <a:lnTo>
                      <a:pt x="8661" y="15736"/>
                    </a:lnTo>
                    <a:lnTo>
                      <a:pt x="8751" y="15531"/>
                    </a:lnTo>
                    <a:lnTo>
                      <a:pt x="8661" y="15491"/>
                    </a:lnTo>
                    <a:lnTo>
                      <a:pt x="8539" y="15531"/>
                    </a:lnTo>
                    <a:lnTo>
                      <a:pt x="8408" y="15736"/>
                    </a:lnTo>
                    <a:lnTo>
                      <a:pt x="8073" y="15638"/>
                    </a:lnTo>
                    <a:lnTo>
                      <a:pt x="7910" y="15736"/>
                    </a:lnTo>
                    <a:lnTo>
                      <a:pt x="7861" y="15892"/>
                    </a:lnTo>
                    <a:lnTo>
                      <a:pt x="7559" y="15941"/>
                    </a:lnTo>
                    <a:lnTo>
                      <a:pt x="7559" y="16137"/>
                    </a:lnTo>
                    <a:lnTo>
                      <a:pt x="7527" y="16196"/>
                    </a:lnTo>
                    <a:lnTo>
                      <a:pt x="7445" y="16293"/>
                    </a:lnTo>
                    <a:lnTo>
                      <a:pt x="7224" y="16352"/>
                    </a:lnTo>
                    <a:lnTo>
                      <a:pt x="7094" y="16352"/>
                    </a:lnTo>
                    <a:lnTo>
                      <a:pt x="6971" y="16196"/>
                    </a:lnTo>
                    <a:lnTo>
                      <a:pt x="6890" y="16293"/>
                    </a:lnTo>
                    <a:lnTo>
                      <a:pt x="6637" y="16293"/>
                    </a:lnTo>
                    <a:lnTo>
                      <a:pt x="6424" y="16196"/>
                    </a:lnTo>
                    <a:lnTo>
                      <a:pt x="6343" y="16450"/>
                    </a:lnTo>
                    <a:lnTo>
                      <a:pt x="6122" y="16548"/>
                    </a:lnTo>
                    <a:lnTo>
                      <a:pt x="6122" y="16293"/>
                    </a:lnTo>
                    <a:lnTo>
                      <a:pt x="5918" y="16352"/>
                    </a:lnTo>
                    <a:lnTo>
                      <a:pt x="5535" y="16352"/>
                    </a:lnTo>
                    <a:lnTo>
                      <a:pt x="5322" y="16293"/>
                    </a:lnTo>
                    <a:lnTo>
                      <a:pt x="5241" y="16352"/>
                    </a:lnTo>
                    <a:lnTo>
                      <a:pt x="4906" y="16196"/>
                    </a:lnTo>
                    <a:lnTo>
                      <a:pt x="4776" y="16196"/>
                    </a:lnTo>
                    <a:lnTo>
                      <a:pt x="4776" y="15941"/>
                    </a:lnTo>
                    <a:lnTo>
                      <a:pt x="4653" y="16039"/>
                    </a:lnTo>
                    <a:lnTo>
                      <a:pt x="4441" y="15941"/>
                    </a:lnTo>
                    <a:lnTo>
                      <a:pt x="4351" y="15736"/>
                    </a:lnTo>
                    <a:lnTo>
                      <a:pt x="4220" y="15736"/>
                    </a:lnTo>
                    <a:lnTo>
                      <a:pt x="4139" y="15795"/>
                    </a:lnTo>
                    <a:lnTo>
                      <a:pt x="4016" y="15531"/>
                    </a:lnTo>
                    <a:lnTo>
                      <a:pt x="3420" y="15237"/>
                    </a:lnTo>
                    <a:lnTo>
                      <a:pt x="3208" y="15130"/>
                    </a:lnTo>
                    <a:lnTo>
                      <a:pt x="2751" y="14826"/>
                    </a:lnTo>
                    <a:lnTo>
                      <a:pt x="2669" y="14729"/>
                    </a:lnTo>
                    <a:lnTo>
                      <a:pt x="2449" y="14826"/>
                    </a:lnTo>
                    <a:lnTo>
                      <a:pt x="2318" y="14416"/>
                    </a:lnTo>
                    <a:lnTo>
                      <a:pt x="2318" y="14220"/>
                    </a:lnTo>
                    <a:lnTo>
                      <a:pt x="2237" y="14220"/>
                    </a:lnTo>
                    <a:lnTo>
                      <a:pt x="2196" y="14073"/>
                    </a:lnTo>
                    <a:lnTo>
                      <a:pt x="2237" y="14015"/>
                    </a:lnTo>
                    <a:lnTo>
                      <a:pt x="2367" y="14171"/>
                    </a:lnTo>
                    <a:lnTo>
                      <a:pt x="2571" y="13917"/>
                    </a:lnTo>
                    <a:lnTo>
                      <a:pt x="2449" y="13770"/>
                    </a:lnTo>
                    <a:lnTo>
                      <a:pt x="2318" y="13672"/>
                    </a:lnTo>
                    <a:lnTo>
                      <a:pt x="2237" y="13359"/>
                    </a:lnTo>
                    <a:lnTo>
                      <a:pt x="2196" y="13154"/>
                    </a:lnTo>
                    <a:lnTo>
                      <a:pt x="2114" y="12958"/>
                    </a:lnTo>
                    <a:lnTo>
                      <a:pt x="1853" y="12597"/>
                    </a:lnTo>
                    <a:lnTo>
                      <a:pt x="1771" y="12597"/>
                    </a:lnTo>
                    <a:lnTo>
                      <a:pt x="1437" y="12293"/>
                    </a:lnTo>
                    <a:lnTo>
                      <a:pt x="1224" y="12039"/>
                    </a:lnTo>
                    <a:lnTo>
                      <a:pt x="759" y="11795"/>
                    </a:lnTo>
                    <a:lnTo>
                      <a:pt x="547" y="11892"/>
                    </a:lnTo>
                    <a:lnTo>
                      <a:pt x="465" y="11795"/>
                    </a:lnTo>
                    <a:lnTo>
                      <a:pt x="416" y="11697"/>
                    </a:lnTo>
                    <a:lnTo>
                      <a:pt x="547" y="11697"/>
                    </a:lnTo>
                    <a:lnTo>
                      <a:pt x="669" y="11540"/>
                    </a:lnTo>
                    <a:lnTo>
                      <a:pt x="465" y="10983"/>
                    </a:lnTo>
                    <a:lnTo>
                      <a:pt x="253" y="10875"/>
                    </a:lnTo>
                    <a:lnTo>
                      <a:pt x="131" y="10875"/>
                    </a:lnTo>
                    <a:lnTo>
                      <a:pt x="0" y="10474"/>
                    </a:lnTo>
                    <a:lnTo>
                      <a:pt x="131" y="10474"/>
                    </a:lnTo>
                    <a:lnTo>
                      <a:pt x="82" y="10171"/>
                    </a:lnTo>
                    <a:lnTo>
                      <a:pt x="416" y="9917"/>
                    </a:lnTo>
                    <a:lnTo>
                      <a:pt x="588" y="9819"/>
                    </a:lnTo>
                    <a:lnTo>
                      <a:pt x="669" y="9917"/>
                    </a:lnTo>
                    <a:lnTo>
                      <a:pt x="971" y="9819"/>
                    </a:lnTo>
                    <a:lnTo>
                      <a:pt x="1012" y="9565"/>
                    </a:lnTo>
                    <a:lnTo>
                      <a:pt x="1437" y="9516"/>
                    </a:lnTo>
                    <a:lnTo>
                      <a:pt x="1567" y="9262"/>
                    </a:lnTo>
                    <a:lnTo>
                      <a:pt x="2114" y="8900"/>
                    </a:lnTo>
                    <a:lnTo>
                      <a:pt x="2196" y="8196"/>
                    </a:lnTo>
                    <a:lnTo>
                      <a:pt x="1853" y="7296"/>
                    </a:lnTo>
                    <a:lnTo>
                      <a:pt x="1690" y="7296"/>
                    </a:lnTo>
                    <a:lnTo>
                      <a:pt x="2237" y="6983"/>
                    </a:lnTo>
                    <a:lnTo>
                      <a:pt x="2449" y="7042"/>
                    </a:lnTo>
                    <a:lnTo>
                      <a:pt x="2571" y="6885"/>
                    </a:lnTo>
                    <a:lnTo>
                      <a:pt x="2449" y="6778"/>
                    </a:lnTo>
                    <a:lnTo>
                      <a:pt x="2539" y="5917"/>
                    </a:lnTo>
                    <a:lnTo>
                      <a:pt x="3257" y="5917"/>
                    </a:lnTo>
                    <a:lnTo>
                      <a:pt x="3420" y="5721"/>
                    </a:lnTo>
                    <a:lnTo>
                      <a:pt x="3257" y="5115"/>
                    </a:lnTo>
                    <a:lnTo>
                      <a:pt x="3469" y="5017"/>
                    </a:lnTo>
                    <a:lnTo>
                      <a:pt x="3633" y="4919"/>
                    </a:lnTo>
                    <a:lnTo>
                      <a:pt x="3673" y="4606"/>
                    </a:lnTo>
                    <a:lnTo>
                      <a:pt x="3886" y="4499"/>
                    </a:lnTo>
                    <a:lnTo>
                      <a:pt x="3886" y="4763"/>
                    </a:lnTo>
                    <a:lnTo>
                      <a:pt x="4016" y="4861"/>
                    </a:lnTo>
                    <a:lnTo>
                      <a:pt x="4098" y="4919"/>
                    </a:lnTo>
                    <a:lnTo>
                      <a:pt x="4220" y="5017"/>
                    </a:lnTo>
                    <a:lnTo>
                      <a:pt x="4441" y="5320"/>
                    </a:lnTo>
                    <a:lnTo>
                      <a:pt x="4571" y="5115"/>
                    </a:lnTo>
                    <a:lnTo>
                      <a:pt x="4653" y="5164"/>
                    </a:lnTo>
                    <a:lnTo>
                      <a:pt x="4694" y="5320"/>
                    </a:lnTo>
                    <a:lnTo>
                      <a:pt x="4776" y="5262"/>
                    </a:lnTo>
                    <a:lnTo>
                      <a:pt x="5029" y="5565"/>
                    </a:lnTo>
                    <a:lnTo>
                      <a:pt x="5241" y="5917"/>
                    </a:lnTo>
                    <a:lnTo>
                      <a:pt x="5241" y="6181"/>
                    </a:lnTo>
                    <a:lnTo>
                      <a:pt x="5322" y="6377"/>
                    </a:lnTo>
                    <a:lnTo>
                      <a:pt x="5241" y="6474"/>
                    </a:lnTo>
                    <a:lnTo>
                      <a:pt x="5322" y="6738"/>
                    </a:lnTo>
                    <a:lnTo>
                      <a:pt x="5657" y="6885"/>
                    </a:lnTo>
                    <a:lnTo>
                      <a:pt x="6122" y="6983"/>
                    </a:lnTo>
                    <a:lnTo>
                      <a:pt x="6343" y="6983"/>
                    </a:lnTo>
                    <a:lnTo>
                      <a:pt x="6678" y="7237"/>
                    </a:lnTo>
                    <a:lnTo>
                      <a:pt x="7012" y="7394"/>
                    </a:lnTo>
                    <a:lnTo>
                      <a:pt x="7094" y="7394"/>
                    </a:lnTo>
                    <a:lnTo>
                      <a:pt x="7224" y="7540"/>
                    </a:lnTo>
                    <a:lnTo>
                      <a:pt x="7445" y="8039"/>
                    </a:lnTo>
                    <a:lnTo>
                      <a:pt x="7649" y="8303"/>
                    </a:lnTo>
                    <a:lnTo>
                      <a:pt x="7992" y="8303"/>
                    </a:lnTo>
                    <a:lnTo>
                      <a:pt x="8073" y="8196"/>
                    </a:lnTo>
                    <a:lnTo>
                      <a:pt x="8751" y="8196"/>
                    </a:lnTo>
                    <a:lnTo>
                      <a:pt x="8873" y="8098"/>
                    </a:lnTo>
                    <a:lnTo>
                      <a:pt x="9429" y="8098"/>
                    </a:lnTo>
                    <a:lnTo>
                      <a:pt x="9551" y="8303"/>
                    </a:lnTo>
                    <a:lnTo>
                      <a:pt x="10229" y="8499"/>
                    </a:lnTo>
                    <a:lnTo>
                      <a:pt x="10441" y="8499"/>
                    </a:lnTo>
                    <a:lnTo>
                      <a:pt x="10563" y="8597"/>
                    </a:lnTo>
                    <a:lnTo>
                      <a:pt x="10784" y="8597"/>
                    </a:lnTo>
                    <a:lnTo>
                      <a:pt x="11200" y="8196"/>
                    </a:lnTo>
                    <a:lnTo>
                      <a:pt x="12212" y="8039"/>
                    </a:lnTo>
                    <a:lnTo>
                      <a:pt x="12335" y="7844"/>
                    </a:lnTo>
                    <a:lnTo>
                      <a:pt x="12514" y="7697"/>
                    </a:lnTo>
                    <a:lnTo>
                      <a:pt x="12555" y="7394"/>
                    </a:lnTo>
                    <a:lnTo>
                      <a:pt x="12767" y="7237"/>
                    </a:lnTo>
                    <a:lnTo>
                      <a:pt x="12767" y="6885"/>
                    </a:lnTo>
                    <a:lnTo>
                      <a:pt x="12637" y="6738"/>
                    </a:lnTo>
                    <a:lnTo>
                      <a:pt x="12637" y="6474"/>
                    </a:lnTo>
                    <a:lnTo>
                      <a:pt x="12686" y="6328"/>
                    </a:lnTo>
                    <a:lnTo>
                      <a:pt x="12849" y="6377"/>
                    </a:lnTo>
                    <a:lnTo>
                      <a:pt x="13102" y="6377"/>
                    </a:lnTo>
                    <a:lnTo>
                      <a:pt x="13404" y="6377"/>
                    </a:lnTo>
                    <a:lnTo>
                      <a:pt x="13437" y="6328"/>
                    </a:lnTo>
                    <a:lnTo>
                      <a:pt x="13527" y="5976"/>
                    </a:lnTo>
                    <a:lnTo>
                      <a:pt x="13739" y="5976"/>
                    </a:lnTo>
                    <a:lnTo>
                      <a:pt x="13992" y="5672"/>
                    </a:lnTo>
                    <a:lnTo>
                      <a:pt x="13992" y="5516"/>
                    </a:lnTo>
                    <a:lnTo>
                      <a:pt x="14122" y="5320"/>
                    </a:lnTo>
                    <a:lnTo>
                      <a:pt x="14204" y="5320"/>
                    </a:lnTo>
                    <a:lnTo>
                      <a:pt x="14286" y="5418"/>
                    </a:lnTo>
                    <a:lnTo>
                      <a:pt x="14335" y="5418"/>
                    </a:lnTo>
                    <a:lnTo>
                      <a:pt x="14335" y="5262"/>
                    </a:lnTo>
                    <a:lnTo>
                      <a:pt x="14416" y="5262"/>
                    </a:lnTo>
                    <a:lnTo>
                      <a:pt x="14539" y="5017"/>
                    </a:lnTo>
                    <a:lnTo>
                      <a:pt x="14841" y="4919"/>
                    </a:lnTo>
                    <a:lnTo>
                      <a:pt x="15086" y="5017"/>
                    </a:lnTo>
                    <a:lnTo>
                      <a:pt x="15176" y="4919"/>
                    </a:lnTo>
                    <a:lnTo>
                      <a:pt x="15004" y="4655"/>
                    </a:lnTo>
                    <a:lnTo>
                      <a:pt x="14873" y="4499"/>
                    </a:lnTo>
                    <a:lnTo>
                      <a:pt x="14620" y="4254"/>
                    </a:lnTo>
                    <a:lnTo>
                      <a:pt x="14416" y="4098"/>
                    </a:lnTo>
                    <a:lnTo>
                      <a:pt x="14204" y="4205"/>
                    </a:lnTo>
                    <a:lnTo>
                      <a:pt x="14073" y="4460"/>
                    </a:lnTo>
                    <a:lnTo>
                      <a:pt x="13951" y="4362"/>
                    </a:lnTo>
                    <a:lnTo>
                      <a:pt x="13739" y="4362"/>
                    </a:lnTo>
                    <a:lnTo>
                      <a:pt x="13649" y="4460"/>
                    </a:lnTo>
                    <a:lnTo>
                      <a:pt x="13437" y="4205"/>
                    </a:lnTo>
                    <a:lnTo>
                      <a:pt x="13527" y="4098"/>
                    </a:lnTo>
                    <a:lnTo>
                      <a:pt x="13527" y="3941"/>
                    </a:lnTo>
                    <a:lnTo>
                      <a:pt x="13527" y="3296"/>
                    </a:lnTo>
                    <a:lnTo>
                      <a:pt x="13567" y="3042"/>
                    </a:lnTo>
                    <a:lnTo>
                      <a:pt x="13739" y="3042"/>
                    </a:lnTo>
                    <a:lnTo>
                      <a:pt x="13992" y="3139"/>
                    </a:lnTo>
                    <a:lnTo>
                      <a:pt x="14335" y="2738"/>
                    </a:lnTo>
                    <a:lnTo>
                      <a:pt x="14204" y="2484"/>
                    </a:lnTo>
                    <a:lnTo>
                      <a:pt x="14286" y="1976"/>
                    </a:lnTo>
                    <a:lnTo>
                      <a:pt x="14416" y="1164"/>
                    </a:lnTo>
                    <a:lnTo>
                      <a:pt x="14335" y="1017"/>
                    </a:lnTo>
                    <a:lnTo>
                      <a:pt x="14204" y="822"/>
                    </a:lnTo>
                    <a:lnTo>
                      <a:pt x="14073" y="822"/>
                    </a:lnTo>
                    <a:lnTo>
                      <a:pt x="14204" y="401"/>
                    </a:lnTo>
                    <a:lnTo>
                      <a:pt x="14841" y="1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6" name="Freeform 213"/>
              <p:cNvSpPr>
                <a:spLocks/>
              </p:cNvSpPr>
              <p:nvPr/>
            </p:nvSpPr>
            <p:spPr bwMode="auto">
              <a:xfrm>
                <a:off x="6896100" y="3379788"/>
                <a:ext cx="790575" cy="850900"/>
              </a:xfrm>
              <a:custGeom>
                <a:avLst/>
                <a:gdLst>
                  <a:gd name="T0" fmla="*/ 6318 w 20000"/>
                  <a:gd name="T1" fmla="*/ 850 h 20000"/>
                  <a:gd name="T2" fmla="*/ 7074 w 20000"/>
                  <a:gd name="T3" fmla="*/ 2013 h 20000"/>
                  <a:gd name="T4" fmla="*/ 6415 w 20000"/>
                  <a:gd name="T5" fmla="*/ 2476 h 20000"/>
                  <a:gd name="T6" fmla="*/ 7251 w 20000"/>
                  <a:gd name="T7" fmla="*/ 3236 h 20000"/>
                  <a:gd name="T8" fmla="*/ 7926 w 20000"/>
                  <a:gd name="T9" fmla="*/ 4638 h 20000"/>
                  <a:gd name="T10" fmla="*/ 8585 w 20000"/>
                  <a:gd name="T11" fmla="*/ 5488 h 20000"/>
                  <a:gd name="T12" fmla="*/ 11158 w 20000"/>
                  <a:gd name="T13" fmla="*/ 6249 h 20000"/>
                  <a:gd name="T14" fmla="*/ 12235 w 20000"/>
                  <a:gd name="T15" fmla="*/ 6711 h 20000"/>
                  <a:gd name="T16" fmla="*/ 12990 w 20000"/>
                  <a:gd name="T17" fmla="*/ 6861 h 20000"/>
                  <a:gd name="T18" fmla="*/ 14068 w 20000"/>
                  <a:gd name="T19" fmla="*/ 5638 h 20000"/>
                  <a:gd name="T20" fmla="*/ 14904 w 20000"/>
                  <a:gd name="T21" fmla="*/ 6488 h 20000"/>
                  <a:gd name="T22" fmla="*/ 16238 w 20000"/>
                  <a:gd name="T23" fmla="*/ 6100 h 20000"/>
                  <a:gd name="T24" fmla="*/ 16672 w 20000"/>
                  <a:gd name="T25" fmla="*/ 5638 h 20000"/>
                  <a:gd name="T26" fmla="*/ 17492 w 20000"/>
                  <a:gd name="T27" fmla="*/ 5026 h 20000"/>
                  <a:gd name="T28" fmla="*/ 18810 w 20000"/>
                  <a:gd name="T29" fmla="*/ 4474 h 20000"/>
                  <a:gd name="T30" fmla="*/ 19325 w 20000"/>
                  <a:gd name="T31" fmla="*/ 4787 h 20000"/>
                  <a:gd name="T32" fmla="*/ 19486 w 20000"/>
                  <a:gd name="T33" fmla="*/ 5250 h 20000"/>
                  <a:gd name="T34" fmla="*/ 19727 w 20000"/>
                  <a:gd name="T35" fmla="*/ 5712 h 20000"/>
                  <a:gd name="T36" fmla="*/ 19068 w 20000"/>
                  <a:gd name="T37" fmla="*/ 6249 h 20000"/>
                  <a:gd name="T38" fmla="*/ 18248 w 20000"/>
                  <a:gd name="T39" fmla="*/ 7711 h 20000"/>
                  <a:gd name="T40" fmla="*/ 17588 w 20000"/>
                  <a:gd name="T41" fmla="*/ 9262 h 20000"/>
                  <a:gd name="T42" fmla="*/ 17074 w 20000"/>
                  <a:gd name="T43" fmla="*/ 9650 h 20000"/>
                  <a:gd name="T44" fmla="*/ 16415 w 20000"/>
                  <a:gd name="T45" fmla="*/ 9336 h 20000"/>
                  <a:gd name="T46" fmla="*/ 16158 w 20000"/>
                  <a:gd name="T47" fmla="*/ 8650 h 20000"/>
                  <a:gd name="T48" fmla="*/ 16833 w 20000"/>
                  <a:gd name="T49" fmla="*/ 7875 h 20000"/>
                  <a:gd name="T50" fmla="*/ 15064 w 20000"/>
                  <a:gd name="T51" fmla="*/ 7263 h 20000"/>
                  <a:gd name="T52" fmla="*/ 13842 w 20000"/>
                  <a:gd name="T53" fmla="*/ 7263 h 20000"/>
                  <a:gd name="T54" fmla="*/ 14068 w 20000"/>
                  <a:gd name="T55" fmla="*/ 7711 h 20000"/>
                  <a:gd name="T56" fmla="*/ 14502 w 20000"/>
                  <a:gd name="T57" fmla="*/ 8501 h 20000"/>
                  <a:gd name="T58" fmla="*/ 14502 w 20000"/>
                  <a:gd name="T59" fmla="*/ 10112 h 20000"/>
                  <a:gd name="T60" fmla="*/ 14003 w 20000"/>
                  <a:gd name="T61" fmla="*/ 9963 h 20000"/>
                  <a:gd name="T62" fmla="*/ 13151 w 20000"/>
                  <a:gd name="T63" fmla="*/ 10723 h 20000"/>
                  <a:gd name="T64" fmla="*/ 12910 w 20000"/>
                  <a:gd name="T65" fmla="*/ 11738 h 20000"/>
                  <a:gd name="T66" fmla="*/ 12235 w 20000"/>
                  <a:gd name="T67" fmla="*/ 11887 h 20000"/>
                  <a:gd name="T68" fmla="*/ 10161 w 20000"/>
                  <a:gd name="T69" fmla="*/ 13900 h 20000"/>
                  <a:gd name="T70" fmla="*/ 9244 w 20000"/>
                  <a:gd name="T71" fmla="*/ 14601 h 20000"/>
                  <a:gd name="T72" fmla="*/ 8842 w 20000"/>
                  <a:gd name="T73" fmla="*/ 15600 h 20000"/>
                  <a:gd name="T74" fmla="*/ 9003 w 20000"/>
                  <a:gd name="T75" fmla="*/ 16585 h 20000"/>
                  <a:gd name="T76" fmla="*/ 8328 w 20000"/>
                  <a:gd name="T77" fmla="*/ 18449 h 20000"/>
                  <a:gd name="T78" fmla="*/ 7749 w 20000"/>
                  <a:gd name="T79" fmla="*/ 19224 h 20000"/>
                  <a:gd name="T80" fmla="*/ 6158 w 20000"/>
                  <a:gd name="T81" fmla="*/ 18747 h 20000"/>
                  <a:gd name="T82" fmla="*/ 4839 w 20000"/>
                  <a:gd name="T83" fmla="*/ 16122 h 20000"/>
                  <a:gd name="T84" fmla="*/ 3328 w 20000"/>
                  <a:gd name="T85" fmla="*/ 12349 h 20000"/>
                  <a:gd name="T86" fmla="*/ 3087 w 20000"/>
                  <a:gd name="T87" fmla="*/ 10664 h 20000"/>
                  <a:gd name="T88" fmla="*/ 3167 w 20000"/>
                  <a:gd name="T89" fmla="*/ 10112 h 20000"/>
                  <a:gd name="T90" fmla="*/ 2508 w 20000"/>
                  <a:gd name="T91" fmla="*/ 10336 h 20000"/>
                  <a:gd name="T92" fmla="*/ 1350 w 20000"/>
                  <a:gd name="T93" fmla="*/ 10887 h 20000"/>
                  <a:gd name="T94" fmla="*/ 1350 w 20000"/>
                  <a:gd name="T95" fmla="*/ 9500 h 20000"/>
                  <a:gd name="T96" fmla="*/ 96 w 20000"/>
                  <a:gd name="T97" fmla="*/ 8874 h 20000"/>
                  <a:gd name="T98" fmla="*/ 257 w 20000"/>
                  <a:gd name="T99" fmla="*/ 8650 h 20000"/>
                  <a:gd name="T100" fmla="*/ 1592 w 20000"/>
                  <a:gd name="T101" fmla="*/ 8650 h 20000"/>
                  <a:gd name="T102" fmla="*/ 1093 w 20000"/>
                  <a:gd name="T103" fmla="*/ 7412 h 20000"/>
                  <a:gd name="T104" fmla="*/ 1093 w 20000"/>
                  <a:gd name="T105" fmla="*/ 5861 h 20000"/>
                  <a:gd name="T106" fmla="*/ 2251 w 20000"/>
                  <a:gd name="T107" fmla="*/ 5638 h 20000"/>
                  <a:gd name="T108" fmla="*/ 3087 w 20000"/>
                  <a:gd name="T109" fmla="*/ 4400 h 20000"/>
                  <a:gd name="T110" fmla="*/ 3585 w 20000"/>
                  <a:gd name="T111" fmla="*/ 3013 h 20000"/>
                  <a:gd name="T112" fmla="*/ 3585 w 20000"/>
                  <a:gd name="T113" fmla="*/ 2237 h 20000"/>
                  <a:gd name="T114" fmla="*/ 2830 w 20000"/>
                  <a:gd name="T115" fmla="*/ 850 h 20000"/>
                  <a:gd name="T116" fmla="*/ 4839 w 20000"/>
                  <a:gd name="T117" fmla="*/ 5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5498" y="0"/>
                    </a:moveTo>
                    <a:lnTo>
                      <a:pt x="5659" y="0"/>
                    </a:lnTo>
                    <a:lnTo>
                      <a:pt x="6158" y="552"/>
                    </a:lnTo>
                    <a:lnTo>
                      <a:pt x="6318" y="850"/>
                    </a:lnTo>
                    <a:lnTo>
                      <a:pt x="6415" y="1163"/>
                    </a:lnTo>
                    <a:lnTo>
                      <a:pt x="6576" y="1626"/>
                    </a:lnTo>
                    <a:lnTo>
                      <a:pt x="6833" y="1775"/>
                    </a:lnTo>
                    <a:lnTo>
                      <a:pt x="7074" y="2013"/>
                    </a:lnTo>
                    <a:lnTo>
                      <a:pt x="6672" y="2401"/>
                    </a:lnTo>
                    <a:lnTo>
                      <a:pt x="6415" y="2163"/>
                    </a:lnTo>
                    <a:lnTo>
                      <a:pt x="6318" y="2237"/>
                    </a:lnTo>
                    <a:lnTo>
                      <a:pt x="6415" y="2476"/>
                    </a:lnTo>
                    <a:lnTo>
                      <a:pt x="6576" y="2476"/>
                    </a:lnTo>
                    <a:lnTo>
                      <a:pt x="6576" y="2774"/>
                    </a:lnTo>
                    <a:lnTo>
                      <a:pt x="6833" y="3386"/>
                    </a:lnTo>
                    <a:lnTo>
                      <a:pt x="7251" y="3236"/>
                    </a:lnTo>
                    <a:lnTo>
                      <a:pt x="7412" y="3386"/>
                    </a:lnTo>
                    <a:lnTo>
                      <a:pt x="8328" y="3863"/>
                    </a:lnTo>
                    <a:lnTo>
                      <a:pt x="8087" y="4400"/>
                    </a:lnTo>
                    <a:lnTo>
                      <a:pt x="7926" y="4638"/>
                    </a:lnTo>
                    <a:lnTo>
                      <a:pt x="8087" y="4877"/>
                    </a:lnTo>
                    <a:lnTo>
                      <a:pt x="7749" y="5026"/>
                    </a:lnTo>
                    <a:lnTo>
                      <a:pt x="8087" y="5250"/>
                    </a:lnTo>
                    <a:lnTo>
                      <a:pt x="8585" y="5488"/>
                    </a:lnTo>
                    <a:lnTo>
                      <a:pt x="9164" y="5712"/>
                    </a:lnTo>
                    <a:lnTo>
                      <a:pt x="9662" y="5861"/>
                    </a:lnTo>
                    <a:lnTo>
                      <a:pt x="10498" y="6100"/>
                    </a:lnTo>
                    <a:lnTo>
                      <a:pt x="11158" y="6249"/>
                    </a:lnTo>
                    <a:lnTo>
                      <a:pt x="11254" y="6398"/>
                    </a:lnTo>
                    <a:lnTo>
                      <a:pt x="11672" y="6637"/>
                    </a:lnTo>
                    <a:lnTo>
                      <a:pt x="11913" y="6488"/>
                    </a:lnTo>
                    <a:lnTo>
                      <a:pt x="12235" y="6711"/>
                    </a:lnTo>
                    <a:lnTo>
                      <a:pt x="12331" y="6711"/>
                    </a:lnTo>
                    <a:lnTo>
                      <a:pt x="12749" y="6711"/>
                    </a:lnTo>
                    <a:lnTo>
                      <a:pt x="12990" y="6711"/>
                    </a:lnTo>
                    <a:lnTo>
                      <a:pt x="12990" y="6861"/>
                    </a:lnTo>
                    <a:lnTo>
                      <a:pt x="13650" y="6861"/>
                    </a:lnTo>
                    <a:lnTo>
                      <a:pt x="13585" y="6100"/>
                    </a:lnTo>
                    <a:lnTo>
                      <a:pt x="13650" y="5712"/>
                    </a:lnTo>
                    <a:lnTo>
                      <a:pt x="14068" y="5638"/>
                    </a:lnTo>
                    <a:lnTo>
                      <a:pt x="14068" y="6025"/>
                    </a:lnTo>
                    <a:lnTo>
                      <a:pt x="14068" y="6249"/>
                    </a:lnTo>
                    <a:lnTo>
                      <a:pt x="14405" y="6398"/>
                    </a:lnTo>
                    <a:lnTo>
                      <a:pt x="14904" y="6488"/>
                    </a:lnTo>
                    <a:lnTo>
                      <a:pt x="15322" y="6398"/>
                    </a:lnTo>
                    <a:lnTo>
                      <a:pt x="15322" y="6488"/>
                    </a:lnTo>
                    <a:lnTo>
                      <a:pt x="16415" y="6488"/>
                    </a:lnTo>
                    <a:lnTo>
                      <a:pt x="16238" y="6100"/>
                    </a:lnTo>
                    <a:lnTo>
                      <a:pt x="15981" y="6025"/>
                    </a:lnTo>
                    <a:lnTo>
                      <a:pt x="15981" y="5712"/>
                    </a:lnTo>
                    <a:lnTo>
                      <a:pt x="16238" y="5712"/>
                    </a:lnTo>
                    <a:lnTo>
                      <a:pt x="16672" y="5638"/>
                    </a:lnTo>
                    <a:lnTo>
                      <a:pt x="16833" y="5488"/>
                    </a:lnTo>
                    <a:lnTo>
                      <a:pt x="16897" y="5399"/>
                    </a:lnTo>
                    <a:lnTo>
                      <a:pt x="16897" y="5101"/>
                    </a:lnTo>
                    <a:lnTo>
                      <a:pt x="17492" y="5026"/>
                    </a:lnTo>
                    <a:lnTo>
                      <a:pt x="17588" y="4787"/>
                    </a:lnTo>
                    <a:lnTo>
                      <a:pt x="17910" y="4638"/>
                    </a:lnTo>
                    <a:lnTo>
                      <a:pt x="18569" y="4787"/>
                    </a:lnTo>
                    <a:lnTo>
                      <a:pt x="18810" y="4474"/>
                    </a:lnTo>
                    <a:lnTo>
                      <a:pt x="19068" y="4400"/>
                    </a:lnTo>
                    <a:lnTo>
                      <a:pt x="19244" y="4474"/>
                    </a:lnTo>
                    <a:lnTo>
                      <a:pt x="19068" y="4787"/>
                    </a:lnTo>
                    <a:lnTo>
                      <a:pt x="19325" y="4787"/>
                    </a:lnTo>
                    <a:lnTo>
                      <a:pt x="19325" y="5026"/>
                    </a:lnTo>
                    <a:lnTo>
                      <a:pt x="19244" y="5250"/>
                    </a:lnTo>
                    <a:lnTo>
                      <a:pt x="19486" y="5101"/>
                    </a:lnTo>
                    <a:lnTo>
                      <a:pt x="19486" y="5250"/>
                    </a:lnTo>
                    <a:lnTo>
                      <a:pt x="19727" y="5250"/>
                    </a:lnTo>
                    <a:lnTo>
                      <a:pt x="19984" y="5488"/>
                    </a:lnTo>
                    <a:lnTo>
                      <a:pt x="19904" y="5488"/>
                    </a:lnTo>
                    <a:lnTo>
                      <a:pt x="19727" y="5712"/>
                    </a:lnTo>
                    <a:lnTo>
                      <a:pt x="19904" y="6100"/>
                    </a:lnTo>
                    <a:lnTo>
                      <a:pt x="19727" y="6249"/>
                    </a:lnTo>
                    <a:lnTo>
                      <a:pt x="19662" y="6100"/>
                    </a:lnTo>
                    <a:lnTo>
                      <a:pt x="19068" y="6249"/>
                    </a:lnTo>
                    <a:lnTo>
                      <a:pt x="18569" y="6711"/>
                    </a:lnTo>
                    <a:lnTo>
                      <a:pt x="18569" y="7263"/>
                    </a:lnTo>
                    <a:lnTo>
                      <a:pt x="18248" y="7487"/>
                    </a:lnTo>
                    <a:lnTo>
                      <a:pt x="18248" y="7711"/>
                    </a:lnTo>
                    <a:lnTo>
                      <a:pt x="18248" y="8113"/>
                    </a:lnTo>
                    <a:lnTo>
                      <a:pt x="17990" y="8650"/>
                    </a:lnTo>
                    <a:lnTo>
                      <a:pt x="17588" y="8650"/>
                    </a:lnTo>
                    <a:lnTo>
                      <a:pt x="17588" y="9262"/>
                    </a:lnTo>
                    <a:lnTo>
                      <a:pt x="17331" y="9336"/>
                    </a:lnTo>
                    <a:lnTo>
                      <a:pt x="17492" y="9963"/>
                    </a:lnTo>
                    <a:lnTo>
                      <a:pt x="17235" y="9963"/>
                    </a:lnTo>
                    <a:lnTo>
                      <a:pt x="17074" y="9650"/>
                    </a:lnTo>
                    <a:lnTo>
                      <a:pt x="16833" y="9336"/>
                    </a:lnTo>
                    <a:lnTo>
                      <a:pt x="16833" y="9023"/>
                    </a:lnTo>
                    <a:lnTo>
                      <a:pt x="16495" y="9336"/>
                    </a:lnTo>
                    <a:lnTo>
                      <a:pt x="16415" y="9336"/>
                    </a:lnTo>
                    <a:lnTo>
                      <a:pt x="16238" y="9262"/>
                    </a:lnTo>
                    <a:lnTo>
                      <a:pt x="16158" y="9262"/>
                    </a:lnTo>
                    <a:lnTo>
                      <a:pt x="15981" y="8725"/>
                    </a:lnTo>
                    <a:lnTo>
                      <a:pt x="16158" y="8650"/>
                    </a:lnTo>
                    <a:lnTo>
                      <a:pt x="16238" y="8352"/>
                    </a:lnTo>
                    <a:lnTo>
                      <a:pt x="16672" y="8262"/>
                    </a:lnTo>
                    <a:lnTo>
                      <a:pt x="16672" y="8024"/>
                    </a:lnTo>
                    <a:lnTo>
                      <a:pt x="16833" y="7875"/>
                    </a:lnTo>
                    <a:lnTo>
                      <a:pt x="16672" y="7651"/>
                    </a:lnTo>
                    <a:lnTo>
                      <a:pt x="15064" y="7711"/>
                    </a:lnTo>
                    <a:lnTo>
                      <a:pt x="15161" y="7651"/>
                    </a:lnTo>
                    <a:lnTo>
                      <a:pt x="15064" y="7263"/>
                    </a:lnTo>
                    <a:lnTo>
                      <a:pt x="14662" y="7040"/>
                    </a:lnTo>
                    <a:lnTo>
                      <a:pt x="14244" y="6711"/>
                    </a:lnTo>
                    <a:lnTo>
                      <a:pt x="14003" y="6711"/>
                    </a:lnTo>
                    <a:lnTo>
                      <a:pt x="13842" y="7263"/>
                    </a:lnTo>
                    <a:lnTo>
                      <a:pt x="14068" y="7487"/>
                    </a:lnTo>
                    <a:lnTo>
                      <a:pt x="14244" y="7487"/>
                    </a:lnTo>
                    <a:lnTo>
                      <a:pt x="14502" y="7711"/>
                    </a:lnTo>
                    <a:lnTo>
                      <a:pt x="14068" y="7711"/>
                    </a:lnTo>
                    <a:lnTo>
                      <a:pt x="14068" y="8024"/>
                    </a:lnTo>
                    <a:lnTo>
                      <a:pt x="13842" y="8113"/>
                    </a:lnTo>
                    <a:lnTo>
                      <a:pt x="14068" y="8352"/>
                    </a:lnTo>
                    <a:lnTo>
                      <a:pt x="14502" y="8501"/>
                    </a:lnTo>
                    <a:lnTo>
                      <a:pt x="14405" y="8874"/>
                    </a:lnTo>
                    <a:lnTo>
                      <a:pt x="14904" y="10276"/>
                    </a:lnTo>
                    <a:lnTo>
                      <a:pt x="14502" y="10336"/>
                    </a:lnTo>
                    <a:lnTo>
                      <a:pt x="14502" y="10112"/>
                    </a:lnTo>
                    <a:lnTo>
                      <a:pt x="14244" y="10500"/>
                    </a:lnTo>
                    <a:lnTo>
                      <a:pt x="14068" y="10336"/>
                    </a:lnTo>
                    <a:lnTo>
                      <a:pt x="14068" y="9963"/>
                    </a:lnTo>
                    <a:lnTo>
                      <a:pt x="14003" y="9963"/>
                    </a:lnTo>
                    <a:lnTo>
                      <a:pt x="14003" y="10276"/>
                    </a:lnTo>
                    <a:lnTo>
                      <a:pt x="13408" y="10500"/>
                    </a:lnTo>
                    <a:lnTo>
                      <a:pt x="13151" y="10664"/>
                    </a:lnTo>
                    <a:lnTo>
                      <a:pt x="13151" y="10723"/>
                    </a:lnTo>
                    <a:lnTo>
                      <a:pt x="13328" y="11126"/>
                    </a:lnTo>
                    <a:lnTo>
                      <a:pt x="13151" y="11350"/>
                    </a:lnTo>
                    <a:lnTo>
                      <a:pt x="12990" y="11499"/>
                    </a:lnTo>
                    <a:lnTo>
                      <a:pt x="12910" y="11738"/>
                    </a:lnTo>
                    <a:lnTo>
                      <a:pt x="12331" y="11887"/>
                    </a:lnTo>
                    <a:lnTo>
                      <a:pt x="12331" y="11738"/>
                    </a:lnTo>
                    <a:lnTo>
                      <a:pt x="12074" y="11887"/>
                    </a:lnTo>
                    <a:lnTo>
                      <a:pt x="12235" y="11887"/>
                    </a:lnTo>
                    <a:lnTo>
                      <a:pt x="11576" y="12737"/>
                    </a:lnTo>
                    <a:lnTo>
                      <a:pt x="10997" y="13125"/>
                    </a:lnTo>
                    <a:lnTo>
                      <a:pt x="10498" y="13587"/>
                    </a:lnTo>
                    <a:lnTo>
                      <a:pt x="10161" y="13900"/>
                    </a:lnTo>
                    <a:lnTo>
                      <a:pt x="10322" y="13960"/>
                    </a:lnTo>
                    <a:lnTo>
                      <a:pt x="9839" y="14198"/>
                    </a:lnTo>
                    <a:lnTo>
                      <a:pt x="9502" y="14362"/>
                    </a:lnTo>
                    <a:lnTo>
                      <a:pt x="9244" y="14601"/>
                    </a:lnTo>
                    <a:lnTo>
                      <a:pt x="9164" y="14601"/>
                    </a:lnTo>
                    <a:lnTo>
                      <a:pt x="8842" y="14750"/>
                    </a:lnTo>
                    <a:lnTo>
                      <a:pt x="8746" y="15213"/>
                    </a:lnTo>
                    <a:lnTo>
                      <a:pt x="8842" y="15600"/>
                    </a:lnTo>
                    <a:lnTo>
                      <a:pt x="8842" y="15824"/>
                    </a:lnTo>
                    <a:lnTo>
                      <a:pt x="8842" y="16212"/>
                    </a:lnTo>
                    <a:lnTo>
                      <a:pt x="8746" y="16212"/>
                    </a:lnTo>
                    <a:lnTo>
                      <a:pt x="9003" y="16585"/>
                    </a:lnTo>
                    <a:lnTo>
                      <a:pt x="8746" y="17136"/>
                    </a:lnTo>
                    <a:lnTo>
                      <a:pt x="8585" y="17435"/>
                    </a:lnTo>
                    <a:lnTo>
                      <a:pt x="8746" y="18449"/>
                    </a:lnTo>
                    <a:lnTo>
                      <a:pt x="8328" y="18449"/>
                    </a:lnTo>
                    <a:lnTo>
                      <a:pt x="8087" y="18986"/>
                    </a:lnTo>
                    <a:lnTo>
                      <a:pt x="8424" y="19075"/>
                    </a:lnTo>
                    <a:lnTo>
                      <a:pt x="8328" y="19224"/>
                    </a:lnTo>
                    <a:lnTo>
                      <a:pt x="7749" y="19224"/>
                    </a:lnTo>
                    <a:lnTo>
                      <a:pt x="7492" y="19448"/>
                    </a:lnTo>
                    <a:lnTo>
                      <a:pt x="7492" y="19687"/>
                    </a:lnTo>
                    <a:lnTo>
                      <a:pt x="7074" y="19985"/>
                    </a:lnTo>
                    <a:lnTo>
                      <a:pt x="6158" y="18747"/>
                    </a:lnTo>
                    <a:lnTo>
                      <a:pt x="6318" y="18837"/>
                    </a:lnTo>
                    <a:lnTo>
                      <a:pt x="5756" y="17763"/>
                    </a:lnTo>
                    <a:lnTo>
                      <a:pt x="5338" y="17136"/>
                    </a:lnTo>
                    <a:lnTo>
                      <a:pt x="4839" y="16122"/>
                    </a:lnTo>
                    <a:lnTo>
                      <a:pt x="4582" y="15362"/>
                    </a:lnTo>
                    <a:lnTo>
                      <a:pt x="4180" y="14750"/>
                    </a:lnTo>
                    <a:lnTo>
                      <a:pt x="3489" y="12886"/>
                    </a:lnTo>
                    <a:lnTo>
                      <a:pt x="3328" y="12349"/>
                    </a:lnTo>
                    <a:lnTo>
                      <a:pt x="3167" y="11499"/>
                    </a:lnTo>
                    <a:lnTo>
                      <a:pt x="3167" y="10962"/>
                    </a:lnTo>
                    <a:lnTo>
                      <a:pt x="3087" y="10723"/>
                    </a:lnTo>
                    <a:lnTo>
                      <a:pt x="3087" y="10664"/>
                    </a:lnTo>
                    <a:lnTo>
                      <a:pt x="3167" y="10500"/>
                    </a:lnTo>
                    <a:lnTo>
                      <a:pt x="3087" y="10336"/>
                    </a:lnTo>
                    <a:lnTo>
                      <a:pt x="2926" y="10112"/>
                    </a:lnTo>
                    <a:lnTo>
                      <a:pt x="3167" y="10112"/>
                    </a:lnTo>
                    <a:lnTo>
                      <a:pt x="3167" y="9963"/>
                    </a:lnTo>
                    <a:lnTo>
                      <a:pt x="2830" y="9963"/>
                    </a:lnTo>
                    <a:lnTo>
                      <a:pt x="2830" y="10276"/>
                    </a:lnTo>
                    <a:lnTo>
                      <a:pt x="2508" y="10336"/>
                    </a:lnTo>
                    <a:lnTo>
                      <a:pt x="2830" y="10500"/>
                    </a:lnTo>
                    <a:lnTo>
                      <a:pt x="2669" y="10887"/>
                    </a:lnTo>
                    <a:lnTo>
                      <a:pt x="1849" y="11126"/>
                    </a:lnTo>
                    <a:lnTo>
                      <a:pt x="1350" y="10887"/>
                    </a:lnTo>
                    <a:lnTo>
                      <a:pt x="434" y="9963"/>
                    </a:lnTo>
                    <a:lnTo>
                      <a:pt x="675" y="9963"/>
                    </a:lnTo>
                    <a:lnTo>
                      <a:pt x="1350" y="9724"/>
                    </a:lnTo>
                    <a:lnTo>
                      <a:pt x="1350" y="9500"/>
                    </a:lnTo>
                    <a:lnTo>
                      <a:pt x="756" y="9724"/>
                    </a:lnTo>
                    <a:lnTo>
                      <a:pt x="96" y="9336"/>
                    </a:lnTo>
                    <a:lnTo>
                      <a:pt x="0" y="9023"/>
                    </a:lnTo>
                    <a:lnTo>
                      <a:pt x="96" y="8874"/>
                    </a:lnTo>
                    <a:lnTo>
                      <a:pt x="0" y="8874"/>
                    </a:lnTo>
                    <a:lnTo>
                      <a:pt x="0" y="8725"/>
                    </a:lnTo>
                    <a:lnTo>
                      <a:pt x="257" y="8725"/>
                    </a:lnTo>
                    <a:lnTo>
                      <a:pt x="257" y="8650"/>
                    </a:lnTo>
                    <a:lnTo>
                      <a:pt x="916" y="8650"/>
                    </a:lnTo>
                    <a:lnTo>
                      <a:pt x="1158" y="8650"/>
                    </a:lnTo>
                    <a:lnTo>
                      <a:pt x="1415" y="8501"/>
                    </a:lnTo>
                    <a:lnTo>
                      <a:pt x="1592" y="8650"/>
                    </a:lnTo>
                    <a:lnTo>
                      <a:pt x="1752" y="8501"/>
                    </a:lnTo>
                    <a:lnTo>
                      <a:pt x="1752" y="8352"/>
                    </a:lnTo>
                    <a:lnTo>
                      <a:pt x="1350" y="7487"/>
                    </a:lnTo>
                    <a:lnTo>
                      <a:pt x="1093" y="7412"/>
                    </a:lnTo>
                    <a:lnTo>
                      <a:pt x="1093" y="6711"/>
                    </a:lnTo>
                    <a:lnTo>
                      <a:pt x="498" y="6637"/>
                    </a:lnTo>
                    <a:lnTo>
                      <a:pt x="916" y="6025"/>
                    </a:lnTo>
                    <a:lnTo>
                      <a:pt x="1093" y="5861"/>
                    </a:lnTo>
                    <a:lnTo>
                      <a:pt x="1158" y="5712"/>
                    </a:lnTo>
                    <a:lnTo>
                      <a:pt x="1350" y="6025"/>
                    </a:lnTo>
                    <a:lnTo>
                      <a:pt x="2170" y="5712"/>
                    </a:lnTo>
                    <a:lnTo>
                      <a:pt x="2251" y="5638"/>
                    </a:lnTo>
                    <a:lnTo>
                      <a:pt x="2412" y="5488"/>
                    </a:lnTo>
                    <a:lnTo>
                      <a:pt x="2412" y="5101"/>
                    </a:lnTo>
                    <a:lnTo>
                      <a:pt x="3087" y="4787"/>
                    </a:lnTo>
                    <a:lnTo>
                      <a:pt x="3087" y="4400"/>
                    </a:lnTo>
                    <a:lnTo>
                      <a:pt x="3328" y="4087"/>
                    </a:lnTo>
                    <a:lnTo>
                      <a:pt x="3585" y="3624"/>
                    </a:lnTo>
                    <a:lnTo>
                      <a:pt x="3923" y="3386"/>
                    </a:lnTo>
                    <a:lnTo>
                      <a:pt x="3585" y="3013"/>
                    </a:lnTo>
                    <a:lnTo>
                      <a:pt x="3923" y="2774"/>
                    </a:lnTo>
                    <a:lnTo>
                      <a:pt x="4180" y="2625"/>
                    </a:lnTo>
                    <a:lnTo>
                      <a:pt x="4180" y="2401"/>
                    </a:lnTo>
                    <a:lnTo>
                      <a:pt x="3585" y="2237"/>
                    </a:lnTo>
                    <a:lnTo>
                      <a:pt x="3489" y="2013"/>
                    </a:lnTo>
                    <a:lnTo>
                      <a:pt x="3167" y="1864"/>
                    </a:lnTo>
                    <a:lnTo>
                      <a:pt x="3167" y="1223"/>
                    </a:lnTo>
                    <a:lnTo>
                      <a:pt x="2830" y="850"/>
                    </a:lnTo>
                    <a:lnTo>
                      <a:pt x="3087" y="611"/>
                    </a:lnTo>
                    <a:lnTo>
                      <a:pt x="3746" y="611"/>
                    </a:lnTo>
                    <a:lnTo>
                      <a:pt x="4180" y="776"/>
                    </a:lnTo>
                    <a:lnTo>
                      <a:pt x="4839" y="552"/>
                    </a:lnTo>
                    <a:lnTo>
                      <a:pt x="5338" y="149"/>
                    </a:lnTo>
                    <a:lnTo>
                      <a:pt x="549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7" name="Freeform 212"/>
              <p:cNvSpPr>
                <a:spLocks/>
              </p:cNvSpPr>
              <p:nvPr/>
            </p:nvSpPr>
            <p:spPr bwMode="auto">
              <a:xfrm>
                <a:off x="7683500" y="4303713"/>
                <a:ext cx="309563" cy="334962"/>
              </a:xfrm>
              <a:custGeom>
                <a:avLst/>
                <a:gdLst>
                  <a:gd name="T0" fmla="*/ 16140 w 20000"/>
                  <a:gd name="T1" fmla="*/ 18409 h 20000"/>
                  <a:gd name="T2" fmla="*/ 14661 w 20000"/>
                  <a:gd name="T3" fmla="*/ 17424 h 20000"/>
                  <a:gd name="T4" fmla="*/ 12936 w 20000"/>
                  <a:gd name="T5" fmla="*/ 15871 h 20000"/>
                  <a:gd name="T6" fmla="*/ 10637 w 20000"/>
                  <a:gd name="T7" fmla="*/ 13295 h 20000"/>
                  <a:gd name="T8" fmla="*/ 9569 w 20000"/>
                  <a:gd name="T9" fmla="*/ 11742 h 20000"/>
                  <a:gd name="T10" fmla="*/ 8501 w 20000"/>
                  <a:gd name="T11" fmla="*/ 10152 h 20000"/>
                  <a:gd name="T12" fmla="*/ 7433 w 20000"/>
                  <a:gd name="T13" fmla="*/ 9205 h 20000"/>
                  <a:gd name="T14" fmla="*/ 6776 w 20000"/>
                  <a:gd name="T15" fmla="*/ 6629 h 20000"/>
                  <a:gd name="T16" fmla="*/ 4435 w 20000"/>
                  <a:gd name="T17" fmla="*/ 4886 h 20000"/>
                  <a:gd name="T18" fmla="*/ 2957 w 20000"/>
                  <a:gd name="T19" fmla="*/ 3485 h 20000"/>
                  <a:gd name="T20" fmla="*/ 164 w 20000"/>
                  <a:gd name="T21" fmla="*/ 1553 h 20000"/>
                  <a:gd name="T22" fmla="*/ 0 w 20000"/>
                  <a:gd name="T23" fmla="*/ 0 h 20000"/>
                  <a:gd name="T24" fmla="*/ 2752 w 20000"/>
                  <a:gd name="T25" fmla="*/ 758 h 20000"/>
                  <a:gd name="T26" fmla="*/ 5503 w 20000"/>
                  <a:gd name="T27" fmla="*/ 1932 h 20000"/>
                  <a:gd name="T28" fmla="*/ 7885 w 20000"/>
                  <a:gd name="T29" fmla="*/ 4091 h 20000"/>
                  <a:gd name="T30" fmla="*/ 9979 w 20000"/>
                  <a:gd name="T31" fmla="*/ 6061 h 20000"/>
                  <a:gd name="T32" fmla="*/ 11047 w 20000"/>
                  <a:gd name="T33" fmla="*/ 6061 h 20000"/>
                  <a:gd name="T34" fmla="*/ 11910 w 20000"/>
                  <a:gd name="T35" fmla="*/ 7045 h 20000"/>
                  <a:gd name="T36" fmla="*/ 12936 w 20000"/>
                  <a:gd name="T37" fmla="*/ 8030 h 20000"/>
                  <a:gd name="T38" fmla="*/ 14456 w 20000"/>
                  <a:gd name="T39" fmla="*/ 8977 h 20000"/>
                  <a:gd name="T40" fmla="*/ 14456 w 20000"/>
                  <a:gd name="T41" fmla="*/ 9205 h 20000"/>
                  <a:gd name="T42" fmla="*/ 15524 w 20000"/>
                  <a:gd name="T43" fmla="*/ 9205 h 20000"/>
                  <a:gd name="T44" fmla="*/ 15113 w 20000"/>
                  <a:gd name="T45" fmla="*/ 10152 h 20000"/>
                  <a:gd name="T46" fmla="*/ 15113 w 20000"/>
                  <a:gd name="T47" fmla="*/ 10758 h 20000"/>
                  <a:gd name="T48" fmla="*/ 16797 w 20000"/>
                  <a:gd name="T49" fmla="*/ 11364 h 20000"/>
                  <a:gd name="T50" fmla="*/ 17864 w 20000"/>
                  <a:gd name="T51" fmla="*/ 13295 h 20000"/>
                  <a:gd name="T52" fmla="*/ 18070 w 20000"/>
                  <a:gd name="T53" fmla="*/ 13712 h 20000"/>
                  <a:gd name="T54" fmla="*/ 19548 w 20000"/>
                  <a:gd name="T55" fmla="*/ 14697 h 20000"/>
                  <a:gd name="T56" fmla="*/ 19138 w 20000"/>
                  <a:gd name="T57" fmla="*/ 15871 h 20000"/>
                  <a:gd name="T58" fmla="*/ 19548 w 20000"/>
                  <a:gd name="T59" fmla="*/ 17197 h 20000"/>
                  <a:gd name="T60" fmla="*/ 18070 w 20000"/>
                  <a:gd name="T61" fmla="*/ 18977 h 20000"/>
                  <a:gd name="T62" fmla="*/ 17207 w 20000"/>
                  <a:gd name="T63" fmla="*/ 193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207" y="19962"/>
                    </a:moveTo>
                    <a:lnTo>
                      <a:pt x="16140" y="18409"/>
                    </a:lnTo>
                    <a:lnTo>
                      <a:pt x="15524" y="18030"/>
                    </a:lnTo>
                    <a:lnTo>
                      <a:pt x="14661" y="17424"/>
                    </a:lnTo>
                    <a:lnTo>
                      <a:pt x="12936" y="16439"/>
                    </a:lnTo>
                    <a:lnTo>
                      <a:pt x="12936" y="15871"/>
                    </a:lnTo>
                    <a:lnTo>
                      <a:pt x="11663" y="14848"/>
                    </a:lnTo>
                    <a:lnTo>
                      <a:pt x="10637" y="13295"/>
                    </a:lnTo>
                    <a:lnTo>
                      <a:pt x="10637" y="13106"/>
                    </a:lnTo>
                    <a:lnTo>
                      <a:pt x="9569" y="11742"/>
                    </a:lnTo>
                    <a:lnTo>
                      <a:pt x="9569" y="11364"/>
                    </a:lnTo>
                    <a:lnTo>
                      <a:pt x="8501" y="10152"/>
                    </a:lnTo>
                    <a:lnTo>
                      <a:pt x="8296" y="9583"/>
                    </a:lnTo>
                    <a:lnTo>
                      <a:pt x="7433" y="9205"/>
                    </a:lnTo>
                    <a:lnTo>
                      <a:pt x="6571" y="7045"/>
                    </a:lnTo>
                    <a:lnTo>
                      <a:pt x="6776" y="6629"/>
                    </a:lnTo>
                    <a:lnTo>
                      <a:pt x="4682" y="5644"/>
                    </a:lnTo>
                    <a:lnTo>
                      <a:pt x="4435" y="4886"/>
                    </a:lnTo>
                    <a:lnTo>
                      <a:pt x="4025" y="4886"/>
                    </a:lnTo>
                    <a:lnTo>
                      <a:pt x="2957" y="3485"/>
                    </a:lnTo>
                    <a:lnTo>
                      <a:pt x="2752" y="3485"/>
                    </a:lnTo>
                    <a:lnTo>
                      <a:pt x="164" y="1553"/>
                    </a:lnTo>
                    <a:lnTo>
                      <a:pt x="0" y="758"/>
                    </a:lnTo>
                    <a:lnTo>
                      <a:pt x="0" y="0"/>
                    </a:lnTo>
                    <a:lnTo>
                      <a:pt x="1068" y="0"/>
                    </a:lnTo>
                    <a:lnTo>
                      <a:pt x="2752" y="758"/>
                    </a:lnTo>
                    <a:lnTo>
                      <a:pt x="4025" y="758"/>
                    </a:lnTo>
                    <a:lnTo>
                      <a:pt x="5503" y="1932"/>
                    </a:lnTo>
                    <a:lnTo>
                      <a:pt x="5503" y="2538"/>
                    </a:lnTo>
                    <a:lnTo>
                      <a:pt x="7885" y="4091"/>
                    </a:lnTo>
                    <a:lnTo>
                      <a:pt x="8912" y="4886"/>
                    </a:lnTo>
                    <a:lnTo>
                      <a:pt x="9979" y="6061"/>
                    </a:lnTo>
                    <a:lnTo>
                      <a:pt x="10637" y="5644"/>
                    </a:lnTo>
                    <a:lnTo>
                      <a:pt x="11047" y="6061"/>
                    </a:lnTo>
                    <a:lnTo>
                      <a:pt x="11253" y="7045"/>
                    </a:lnTo>
                    <a:lnTo>
                      <a:pt x="11910" y="7045"/>
                    </a:lnTo>
                    <a:lnTo>
                      <a:pt x="12320" y="7652"/>
                    </a:lnTo>
                    <a:lnTo>
                      <a:pt x="12936" y="8030"/>
                    </a:lnTo>
                    <a:lnTo>
                      <a:pt x="14004" y="8598"/>
                    </a:lnTo>
                    <a:lnTo>
                      <a:pt x="14456" y="8977"/>
                    </a:lnTo>
                    <a:lnTo>
                      <a:pt x="13593" y="9205"/>
                    </a:lnTo>
                    <a:lnTo>
                      <a:pt x="14456" y="9205"/>
                    </a:lnTo>
                    <a:lnTo>
                      <a:pt x="15113" y="8977"/>
                    </a:lnTo>
                    <a:lnTo>
                      <a:pt x="15524" y="9205"/>
                    </a:lnTo>
                    <a:lnTo>
                      <a:pt x="15688" y="9773"/>
                    </a:lnTo>
                    <a:lnTo>
                      <a:pt x="15113" y="10152"/>
                    </a:lnTo>
                    <a:lnTo>
                      <a:pt x="15688" y="10152"/>
                    </a:lnTo>
                    <a:lnTo>
                      <a:pt x="15113" y="10758"/>
                    </a:lnTo>
                    <a:lnTo>
                      <a:pt x="15688" y="11136"/>
                    </a:lnTo>
                    <a:lnTo>
                      <a:pt x="16797" y="11364"/>
                    </a:lnTo>
                    <a:lnTo>
                      <a:pt x="17207" y="12311"/>
                    </a:lnTo>
                    <a:lnTo>
                      <a:pt x="17864" y="13295"/>
                    </a:lnTo>
                    <a:lnTo>
                      <a:pt x="17454" y="13864"/>
                    </a:lnTo>
                    <a:lnTo>
                      <a:pt x="18070" y="13712"/>
                    </a:lnTo>
                    <a:lnTo>
                      <a:pt x="18891" y="13712"/>
                    </a:lnTo>
                    <a:lnTo>
                      <a:pt x="19548" y="14697"/>
                    </a:lnTo>
                    <a:lnTo>
                      <a:pt x="19959" y="14848"/>
                    </a:lnTo>
                    <a:lnTo>
                      <a:pt x="19138" y="15871"/>
                    </a:lnTo>
                    <a:lnTo>
                      <a:pt x="19548" y="16250"/>
                    </a:lnTo>
                    <a:lnTo>
                      <a:pt x="19548" y="17197"/>
                    </a:lnTo>
                    <a:lnTo>
                      <a:pt x="19138" y="19583"/>
                    </a:lnTo>
                    <a:lnTo>
                      <a:pt x="18070" y="18977"/>
                    </a:lnTo>
                    <a:lnTo>
                      <a:pt x="17864" y="19583"/>
                    </a:lnTo>
                    <a:lnTo>
                      <a:pt x="17207" y="19356"/>
                    </a:lnTo>
                    <a:lnTo>
                      <a:pt x="17207" y="199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8" name="Freeform 211"/>
              <p:cNvSpPr>
                <a:spLocks/>
              </p:cNvSpPr>
              <p:nvPr/>
            </p:nvSpPr>
            <p:spPr bwMode="auto">
              <a:xfrm>
                <a:off x="8699500" y="4473575"/>
                <a:ext cx="279400" cy="266700"/>
              </a:xfrm>
              <a:custGeom>
                <a:avLst/>
                <a:gdLst>
                  <a:gd name="T0" fmla="*/ 19683 w 20000"/>
                  <a:gd name="T1" fmla="*/ 19952 h 20000"/>
                  <a:gd name="T2" fmla="*/ 16689 w 20000"/>
                  <a:gd name="T3" fmla="*/ 18000 h 20000"/>
                  <a:gd name="T4" fmla="*/ 15737 w 20000"/>
                  <a:gd name="T5" fmla="*/ 16238 h 20000"/>
                  <a:gd name="T6" fmla="*/ 15057 w 20000"/>
                  <a:gd name="T7" fmla="*/ 14048 h 20000"/>
                  <a:gd name="T8" fmla="*/ 12426 w 20000"/>
                  <a:gd name="T9" fmla="*/ 10810 h 20000"/>
                  <a:gd name="T10" fmla="*/ 8254 w 20000"/>
                  <a:gd name="T11" fmla="*/ 9143 h 20000"/>
                  <a:gd name="T12" fmla="*/ 7800 w 20000"/>
                  <a:gd name="T13" fmla="*/ 8381 h 20000"/>
                  <a:gd name="T14" fmla="*/ 7528 w 20000"/>
                  <a:gd name="T15" fmla="*/ 7905 h 20000"/>
                  <a:gd name="T16" fmla="*/ 6349 w 20000"/>
                  <a:gd name="T17" fmla="*/ 7619 h 20000"/>
                  <a:gd name="T18" fmla="*/ 5170 w 20000"/>
                  <a:gd name="T19" fmla="*/ 7143 h 20000"/>
                  <a:gd name="T20" fmla="*/ 5669 w 20000"/>
                  <a:gd name="T21" fmla="*/ 5905 h 20000"/>
                  <a:gd name="T22" fmla="*/ 4943 w 20000"/>
                  <a:gd name="T23" fmla="*/ 7143 h 20000"/>
                  <a:gd name="T24" fmla="*/ 3810 w 20000"/>
                  <a:gd name="T25" fmla="*/ 8381 h 20000"/>
                  <a:gd name="T26" fmla="*/ 3810 w 20000"/>
                  <a:gd name="T27" fmla="*/ 6619 h 20000"/>
                  <a:gd name="T28" fmla="*/ 2812 w 20000"/>
                  <a:gd name="T29" fmla="*/ 5905 h 20000"/>
                  <a:gd name="T30" fmla="*/ 2585 w 20000"/>
                  <a:gd name="T31" fmla="*/ 5667 h 20000"/>
                  <a:gd name="T32" fmla="*/ 4490 w 20000"/>
                  <a:gd name="T33" fmla="*/ 5143 h 20000"/>
                  <a:gd name="T34" fmla="*/ 5170 w 20000"/>
                  <a:gd name="T35" fmla="*/ 5143 h 20000"/>
                  <a:gd name="T36" fmla="*/ 5170 w 20000"/>
                  <a:gd name="T37" fmla="*/ 4476 h 20000"/>
                  <a:gd name="T38" fmla="*/ 2585 w 20000"/>
                  <a:gd name="T39" fmla="*/ 4667 h 20000"/>
                  <a:gd name="T40" fmla="*/ 2132 w 20000"/>
                  <a:gd name="T41" fmla="*/ 3190 h 20000"/>
                  <a:gd name="T42" fmla="*/ 0 w 20000"/>
                  <a:gd name="T43" fmla="*/ 2429 h 20000"/>
                  <a:gd name="T44" fmla="*/ 272 w 20000"/>
                  <a:gd name="T45" fmla="*/ 1238 h 20000"/>
                  <a:gd name="T46" fmla="*/ 2812 w 20000"/>
                  <a:gd name="T47" fmla="*/ 0 h 20000"/>
                  <a:gd name="T48" fmla="*/ 5669 w 20000"/>
                  <a:gd name="T49" fmla="*/ 1238 h 20000"/>
                  <a:gd name="T50" fmla="*/ 6349 w 20000"/>
                  <a:gd name="T51" fmla="*/ 2714 h 20000"/>
                  <a:gd name="T52" fmla="*/ 6803 w 20000"/>
                  <a:gd name="T53" fmla="*/ 5667 h 20000"/>
                  <a:gd name="T54" fmla="*/ 7075 w 20000"/>
                  <a:gd name="T55" fmla="*/ 5143 h 20000"/>
                  <a:gd name="T56" fmla="*/ 7528 w 20000"/>
                  <a:gd name="T57" fmla="*/ 5905 h 20000"/>
                  <a:gd name="T58" fmla="*/ 8254 w 20000"/>
                  <a:gd name="T59" fmla="*/ 7143 h 20000"/>
                  <a:gd name="T60" fmla="*/ 10567 w 20000"/>
                  <a:gd name="T61" fmla="*/ 4667 h 20000"/>
                  <a:gd name="T62" fmla="*/ 11973 w 20000"/>
                  <a:gd name="T63" fmla="*/ 3714 h 20000"/>
                  <a:gd name="T64" fmla="*/ 16689 w 20000"/>
                  <a:gd name="T65" fmla="*/ 4476 h 20000"/>
                  <a:gd name="T66" fmla="*/ 19955 w 20000"/>
                  <a:gd name="T67" fmla="*/ 566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9955" y="5667"/>
                    </a:moveTo>
                    <a:lnTo>
                      <a:pt x="19683" y="19952"/>
                    </a:lnTo>
                    <a:lnTo>
                      <a:pt x="17642" y="17524"/>
                    </a:lnTo>
                    <a:lnTo>
                      <a:pt x="16689" y="18000"/>
                    </a:lnTo>
                    <a:lnTo>
                      <a:pt x="15737" y="17524"/>
                    </a:lnTo>
                    <a:lnTo>
                      <a:pt x="15737" y="16238"/>
                    </a:lnTo>
                    <a:lnTo>
                      <a:pt x="15057" y="14810"/>
                    </a:lnTo>
                    <a:lnTo>
                      <a:pt x="15057" y="14048"/>
                    </a:lnTo>
                    <a:lnTo>
                      <a:pt x="13832" y="11810"/>
                    </a:lnTo>
                    <a:lnTo>
                      <a:pt x="12426" y="10810"/>
                    </a:lnTo>
                    <a:lnTo>
                      <a:pt x="9841" y="9619"/>
                    </a:lnTo>
                    <a:lnTo>
                      <a:pt x="8254" y="9143"/>
                    </a:lnTo>
                    <a:lnTo>
                      <a:pt x="7528" y="8381"/>
                    </a:lnTo>
                    <a:lnTo>
                      <a:pt x="7800" y="8381"/>
                    </a:lnTo>
                    <a:lnTo>
                      <a:pt x="7800" y="7905"/>
                    </a:lnTo>
                    <a:lnTo>
                      <a:pt x="7528" y="7905"/>
                    </a:lnTo>
                    <a:lnTo>
                      <a:pt x="6349" y="7905"/>
                    </a:lnTo>
                    <a:lnTo>
                      <a:pt x="6349" y="7619"/>
                    </a:lnTo>
                    <a:lnTo>
                      <a:pt x="5850" y="7905"/>
                    </a:lnTo>
                    <a:lnTo>
                      <a:pt x="5170" y="7143"/>
                    </a:lnTo>
                    <a:lnTo>
                      <a:pt x="5669" y="6429"/>
                    </a:lnTo>
                    <a:lnTo>
                      <a:pt x="5669" y="5905"/>
                    </a:lnTo>
                    <a:lnTo>
                      <a:pt x="5170" y="6429"/>
                    </a:lnTo>
                    <a:lnTo>
                      <a:pt x="4943" y="7143"/>
                    </a:lnTo>
                    <a:lnTo>
                      <a:pt x="4490" y="7905"/>
                    </a:lnTo>
                    <a:lnTo>
                      <a:pt x="3810" y="8381"/>
                    </a:lnTo>
                    <a:lnTo>
                      <a:pt x="3265" y="7619"/>
                    </a:lnTo>
                    <a:lnTo>
                      <a:pt x="3810" y="6619"/>
                    </a:lnTo>
                    <a:lnTo>
                      <a:pt x="3265" y="6429"/>
                    </a:lnTo>
                    <a:lnTo>
                      <a:pt x="2812" y="5905"/>
                    </a:lnTo>
                    <a:lnTo>
                      <a:pt x="1859" y="5905"/>
                    </a:lnTo>
                    <a:lnTo>
                      <a:pt x="2585" y="5667"/>
                    </a:lnTo>
                    <a:lnTo>
                      <a:pt x="3265" y="5667"/>
                    </a:lnTo>
                    <a:lnTo>
                      <a:pt x="4490" y="5143"/>
                    </a:lnTo>
                    <a:lnTo>
                      <a:pt x="4943" y="5143"/>
                    </a:lnTo>
                    <a:lnTo>
                      <a:pt x="5170" y="5143"/>
                    </a:lnTo>
                    <a:lnTo>
                      <a:pt x="5669" y="4667"/>
                    </a:lnTo>
                    <a:lnTo>
                      <a:pt x="5170" y="4476"/>
                    </a:lnTo>
                    <a:lnTo>
                      <a:pt x="3991" y="4476"/>
                    </a:lnTo>
                    <a:lnTo>
                      <a:pt x="2585" y="4667"/>
                    </a:lnTo>
                    <a:lnTo>
                      <a:pt x="2132" y="3714"/>
                    </a:lnTo>
                    <a:lnTo>
                      <a:pt x="2132" y="3190"/>
                    </a:lnTo>
                    <a:lnTo>
                      <a:pt x="1406" y="2714"/>
                    </a:lnTo>
                    <a:lnTo>
                      <a:pt x="0" y="2429"/>
                    </a:lnTo>
                    <a:lnTo>
                      <a:pt x="0" y="1952"/>
                    </a:lnTo>
                    <a:lnTo>
                      <a:pt x="272" y="1238"/>
                    </a:lnTo>
                    <a:lnTo>
                      <a:pt x="1406" y="762"/>
                    </a:lnTo>
                    <a:lnTo>
                      <a:pt x="2812" y="0"/>
                    </a:lnTo>
                    <a:lnTo>
                      <a:pt x="3991" y="762"/>
                    </a:lnTo>
                    <a:lnTo>
                      <a:pt x="5669" y="1238"/>
                    </a:lnTo>
                    <a:lnTo>
                      <a:pt x="5850" y="1476"/>
                    </a:lnTo>
                    <a:lnTo>
                      <a:pt x="6349" y="2714"/>
                    </a:lnTo>
                    <a:lnTo>
                      <a:pt x="5850" y="3714"/>
                    </a:lnTo>
                    <a:lnTo>
                      <a:pt x="6803" y="5667"/>
                    </a:lnTo>
                    <a:lnTo>
                      <a:pt x="6803" y="5143"/>
                    </a:lnTo>
                    <a:lnTo>
                      <a:pt x="7075" y="5143"/>
                    </a:lnTo>
                    <a:lnTo>
                      <a:pt x="7528" y="5667"/>
                    </a:lnTo>
                    <a:lnTo>
                      <a:pt x="7528" y="5905"/>
                    </a:lnTo>
                    <a:lnTo>
                      <a:pt x="7528" y="6429"/>
                    </a:lnTo>
                    <a:lnTo>
                      <a:pt x="8254" y="7143"/>
                    </a:lnTo>
                    <a:lnTo>
                      <a:pt x="8934" y="6619"/>
                    </a:lnTo>
                    <a:lnTo>
                      <a:pt x="10567" y="4667"/>
                    </a:lnTo>
                    <a:lnTo>
                      <a:pt x="12426" y="4476"/>
                    </a:lnTo>
                    <a:lnTo>
                      <a:pt x="11973" y="3714"/>
                    </a:lnTo>
                    <a:lnTo>
                      <a:pt x="13651" y="2714"/>
                    </a:lnTo>
                    <a:lnTo>
                      <a:pt x="16689" y="4476"/>
                    </a:lnTo>
                    <a:lnTo>
                      <a:pt x="18549" y="4667"/>
                    </a:lnTo>
                    <a:lnTo>
                      <a:pt x="19955" y="566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39" name="Freeform 210"/>
              <p:cNvSpPr>
                <a:spLocks/>
              </p:cNvSpPr>
              <p:nvPr/>
            </p:nvSpPr>
            <p:spPr bwMode="auto">
              <a:xfrm>
                <a:off x="8347075" y="4414838"/>
                <a:ext cx="184150" cy="217487"/>
              </a:xfrm>
              <a:custGeom>
                <a:avLst/>
                <a:gdLst>
                  <a:gd name="T0" fmla="*/ 2131 w 20000"/>
                  <a:gd name="T1" fmla="*/ 19592 h 20000"/>
                  <a:gd name="T2" fmla="*/ 2818 w 20000"/>
                  <a:gd name="T3" fmla="*/ 17201 h 20000"/>
                  <a:gd name="T4" fmla="*/ 2131 w 20000"/>
                  <a:gd name="T5" fmla="*/ 14227 h 20000"/>
                  <a:gd name="T6" fmla="*/ 412 w 20000"/>
                  <a:gd name="T7" fmla="*/ 12653 h 20000"/>
                  <a:gd name="T8" fmla="*/ 1100 w 20000"/>
                  <a:gd name="T9" fmla="*/ 11778 h 20000"/>
                  <a:gd name="T10" fmla="*/ 2131 w 20000"/>
                  <a:gd name="T11" fmla="*/ 10029 h 20000"/>
                  <a:gd name="T12" fmla="*/ 2131 w 20000"/>
                  <a:gd name="T13" fmla="*/ 7289 h 20000"/>
                  <a:gd name="T14" fmla="*/ 3918 w 20000"/>
                  <a:gd name="T15" fmla="*/ 4898 h 20000"/>
                  <a:gd name="T16" fmla="*/ 4674 w 20000"/>
                  <a:gd name="T17" fmla="*/ 2449 h 20000"/>
                  <a:gd name="T18" fmla="*/ 5704 w 20000"/>
                  <a:gd name="T19" fmla="*/ 3032 h 20000"/>
                  <a:gd name="T20" fmla="*/ 6735 w 20000"/>
                  <a:gd name="T21" fmla="*/ 1574 h 20000"/>
                  <a:gd name="T22" fmla="*/ 8591 w 20000"/>
                  <a:gd name="T23" fmla="*/ 2157 h 20000"/>
                  <a:gd name="T24" fmla="*/ 13883 w 20000"/>
                  <a:gd name="T25" fmla="*/ 2449 h 20000"/>
                  <a:gd name="T26" fmla="*/ 18832 w 20000"/>
                  <a:gd name="T27" fmla="*/ 933 h 20000"/>
                  <a:gd name="T28" fmla="*/ 19931 w 20000"/>
                  <a:gd name="T29" fmla="*/ 641 h 20000"/>
                  <a:gd name="T30" fmla="*/ 18557 w 20000"/>
                  <a:gd name="T31" fmla="*/ 3032 h 20000"/>
                  <a:gd name="T32" fmla="*/ 14914 w 20000"/>
                  <a:gd name="T33" fmla="*/ 3965 h 20000"/>
                  <a:gd name="T34" fmla="*/ 11065 w 20000"/>
                  <a:gd name="T35" fmla="*/ 3965 h 20000"/>
                  <a:gd name="T36" fmla="*/ 7835 w 20000"/>
                  <a:gd name="T37" fmla="*/ 3615 h 20000"/>
                  <a:gd name="T38" fmla="*/ 4948 w 20000"/>
                  <a:gd name="T39" fmla="*/ 3615 h 20000"/>
                  <a:gd name="T40" fmla="*/ 4674 w 20000"/>
                  <a:gd name="T41" fmla="*/ 6939 h 20000"/>
                  <a:gd name="T42" fmla="*/ 6460 w 20000"/>
                  <a:gd name="T43" fmla="*/ 8455 h 20000"/>
                  <a:gd name="T44" fmla="*/ 8591 w 20000"/>
                  <a:gd name="T45" fmla="*/ 6939 h 20000"/>
                  <a:gd name="T46" fmla="*/ 10378 w 20000"/>
                  <a:gd name="T47" fmla="*/ 7289 h 20000"/>
                  <a:gd name="T48" fmla="*/ 12509 w 20000"/>
                  <a:gd name="T49" fmla="*/ 6939 h 20000"/>
                  <a:gd name="T50" fmla="*/ 13883 w 20000"/>
                  <a:gd name="T51" fmla="*/ 6356 h 20000"/>
                  <a:gd name="T52" fmla="*/ 14227 w 20000"/>
                  <a:gd name="T53" fmla="*/ 7289 h 20000"/>
                  <a:gd name="T54" fmla="*/ 11409 w 20000"/>
                  <a:gd name="T55" fmla="*/ 8455 h 20000"/>
                  <a:gd name="T56" fmla="*/ 7835 w 20000"/>
                  <a:gd name="T57" fmla="*/ 10029 h 20000"/>
                  <a:gd name="T58" fmla="*/ 11409 w 20000"/>
                  <a:gd name="T59" fmla="*/ 13586 h 20000"/>
                  <a:gd name="T60" fmla="*/ 12096 w 20000"/>
                  <a:gd name="T61" fmla="*/ 14810 h 20000"/>
                  <a:gd name="T62" fmla="*/ 13196 w 20000"/>
                  <a:gd name="T63" fmla="*/ 15743 h 20000"/>
                  <a:gd name="T64" fmla="*/ 11409 w 20000"/>
                  <a:gd name="T65" fmla="*/ 16618 h 20000"/>
                  <a:gd name="T66" fmla="*/ 10378 w 20000"/>
                  <a:gd name="T67" fmla="*/ 17551 h 20000"/>
                  <a:gd name="T68" fmla="*/ 9278 w 20000"/>
                  <a:gd name="T69" fmla="*/ 15743 h 20000"/>
                  <a:gd name="T70" fmla="*/ 6735 w 20000"/>
                  <a:gd name="T71" fmla="*/ 13586 h 20000"/>
                  <a:gd name="T72" fmla="*/ 6735 w 20000"/>
                  <a:gd name="T73" fmla="*/ 11778 h 20000"/>
                  <a:gd name="T74" fmla="*/ 4948 w 20000"/>
                  <a:gd name="T75" fmla="*/ 12653 h 20000"/>
                  <a:gd name="T76" fmla="*/ 4948 w 20000"/>
                  <a:gd name="T77" fmla="*/ 14810 h 20000"/>
                  <a:gd name="T78" fmla="*/ 4948 w 20000"/>
                  <a:gd name="T79" fmla="*/ 18134 h 20000"/>
                  <a:gd name="T80" fmla="*/ 3918 w 20000"/>
                  <a:gd name="T81" fmla="*/ 195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3574" y="19942"/>
                    </a:moveTo>
                    <a:lnTo>
                      <a:pt x="2131" y="19592"/>
                    </a:lnTo>
                    <a:lnTo>
                      <a:pt x="2131" y="18717"/>
                    </a:lnTo>
                    <a:lnTo>
                      <a:pt x="2818" y="17201"/>
                    </a:lnTo>
                    <a:lnTo>
                      <a:pt x="2131" y="15102"/>
                    </a:lnTo>
                    <a:lnTo>
                      <a:pt x="2131" y="14227"/>
                    </a:lnTo>
                    <a:lnTo>
                      <a:pt x="412" y="14227"/>
                    </a:lnTo>
                    <a:lnTo>
                      <a:pt x="412" y="12653"/>
                    </a:lnTo>
                    <a:lnTo>
                      <a:pt x="0" y="12420"/>
                    </a:lnTo>
                    <a:lnTo>
                      <a:pt x="1100" y="11778"/>
                    </a:lnTo>
                    <a:lnTo>
                      <a:pt x="1787" y="10904"/>
                    </a:lnTo>
                    <a:lnTo>
                      <a:pt x="2131" y="10029"/>
                    </a:lnTo>
                    <a:lnTo>
                      <a:pt x="1787" y="8746"/>
                    </a:lnTo>
                    <a:lnTo>
                      <a:pt x="2131" y="7289"/>
                    </a:lnTo>
                    <a:lnTo>
                      <a:pt x="3574" y="6939"/>
                    </a:lnTo>
                    <a:lnTo>
                      <a:pt x="3918" y="4898"/>
                    </a:lnTo>
                    <a:lnTo>
                      <a:pt x="3918" y="4548"/>
                    </a:lnTo>
                    <a:lnTo>
                      <a:pt x="4674" y="2449"/>
                    </a:lnTo>
                    <a:lnTo>
                      <a:pt x="4948" y="2157"/>
                    </a:lnTo>
                    <a:lnTo>
                      <a:pt x="5704" y="3032"/>
                    </a:lnTo>
                    <a:lnTo>
                      <a:pt x="6460" y="2449"/>
                    </a:lnTo>
                    <a:lnTo>
                      <a:pt x="6735" y="1574"/>
                    </a:lnTo>
                    <a:lnTo>
                      <a:pt x="8591" y="1574"/>
                    </a:lnTo>
                    <a:lnTo>
                      <a:pt x="8591" y="2157"/>
                    </a:lnTo>
                    <a:lnTo>
                      <a:pt x="11065" y="2157"/>
                    </a:lnTo>
                    <a:lnTo>
                      <a:pt x="13883" y="2449"/>
                    </a:lnTo>
                    <a:lnTo>
                      <a:pt x="17113" y="2449"/>
                    </a:lnTo>
                    <a:lnTo>
                      <a:pt x="18832" y="933"/>
                    </a:lnTo>
                    <a:lnTo>
                      <a:pt x="19588" y="0"/>
                    </a:lnTo>
                    <a:lnTo>
                      <a:pt x="19931" y="641"/>
                    </a:lnTo>
                    <a:lnTo>
                      <a:pt x="19588" y="2157"/>
                    </a:lnTo>
                    <a:lnTo>
                      <a:pt x="18557" y="3032"/>
                    </a:lnTo>
                    <a:lnTo>
                      <a:pt x="17801" y="3965"/>
                    </a:lnTo>
                    <a:lnTo>
                      <a:pt x="14914" y="3965"/>
                    </a:lnTo>
                    <a:lnTo>
                      <a:pt x="13883" y="3965"/>
                    </a:lnTo>
                    <a:lnTo>
                      <a:pt x="11065" y="3965"/>
                    </a:lnTo>
                    <a:lnTo>
                      <a:pt x="9278" y="3615"/>
                    </a:lnTo>
                    <a:lnTo>
                      <a:pt x="7835" y="3615"/>
                    </a:lnTo>
                    <a:lnTo>
                      <a:pt x="6460" y="3615"/>
                    </a:lnTo>
                    <a:lnTo>
                      <a:pt x="4948" y="3615"/>
                    </a:lnTo>
                    <a:lnTo>
                      <a:pt x="4674" y="4898"/>
                    </a:lnTo>
                    <a:lnTo>
                      <a:pt x="4674" y="6939"/>
                    </a:lnTo>
                    <a:lnTo>
                      <a:pt x="5704" y="7289"/>
                    </a:lnTo>
                    <a:lnTo>
                      <a:pt x="6460" y="8455"/>
                    </a:lnTo>
                    <a:lnTo>
                      <a:pt x="7491" y="8455"/>
                    </a:lnTo>
                    <a:lnTo>
                      <a:pt x="8591" y="6939"/>
                    </a:lnTo>
                    <a:lnTo>
                      <a:pt x="9622" y="7289"/>
                    </a:lnTo>
                    <a:lnTo>
                      <a:pt x="10378" y="7289"/>
                    </a:lnTo>
                    <a:lnTo>
                      <a:pt x="11065" y="6939"/>
                    </a:lnTo>
                    <a:lnTo>
                      <a:pt x="12509" y="6939"/>
                    </a:lnTo>
                    <a:lnTo>
                      <a:pt x="13196" y="6356"/>
                    </a:lnTo>
                    <a:lnTo>
                      <a:pt x="13883" y="6356"/>
                    </a:lnTo>
                    <a:lnTo>
                      <a:pt x="14914" y="6939"/>
                    </a:lnTo>
                    <a:lnTo>
                      <a:pt x="14227" y="7289"/>
                    </a:lnTo>
                    <a:lnTo>
                      <a:pt x="13196" y="7289"/>
                    </a:lnTo>
                    <a:lnTo>
                      <a:pt x="11409" y="8455"/>
                    </a:lnTo>
                    <a:lnTo>
                      <a:pt x="9278" y="10029"/>
                    </a:lnTo>
                    <a:lnTo>
                      <a:pt x="7835" y="10029"/>
                    </a:lnTo>
                    <a:lnTo>
                      <a:pt x="11409" y="12653"/>
                    </a:lnTo>
                    <a:lnTo>
                      <a:pt x="11409" y="13586"/>
                    </a:lnTo>
                    <a:lnTo>
                      <a:pt x="11065" y="14810"/>
                    </a:lnTo>
                    <a:lnTo>
                      <a:pt x="12096" y="14810"/>
                    </a:lnTo>
                    <a:lnTo>
                      <a:pt x="12096" y="15743"/>
                    </a:lnTo>
                    <a:lnTo>
                      <a:pt x="13196" y="15743"/>
                    </a:lnTo>
                    <a:lnTo>
                      <a:pt x="13196" y="16618"/>
                    </a:lnTo>
                    <a:lnTo>
                      <a:pt x="11409" y="16618"/>
                    </a:lnTo>
                    <a:lnTo>
                      <a:pt x="10378" y="17201"/>
                    </a:lnTo>
                    <a:lnTo>
                      <a:pt x="10378" y="17551"/>
                    </a:lnTo>
                    <a:lnTo>
                      <a:pt x="8591" y="17551"/>
                    </a:lnTo>
                    <a:lnTo>
                      <a:pt x="9278" y="15743"/>
                    </a:lnTo>
                    <a:lnTo>
                      <a:pt x="6735" y="14227"/>
                    </a:lnTo>
                    <a:lnTo>
                      <a:pt x="6735" y="13586"/>
                    </a:lnTo>
                    <a:lnTo>
                      <a:pt x="7491" y="12653"/>
                    </a:lnTo>
                    <a:lnTo>
                      <a:pt x="6735" y="11778"/>
                    </a:lnTo>
                    <a:lnTo>
                      <a:pt x="6460" y="12420"/>
                    </a:lnTo>
                    <a:lnTo>
                      <a:pt x="4948" y="12653"/>
                    </a:lnTo>
                    <a:lnTo>
                      <a:pt x="4948" y="13294"/>
                    </a:lnTo>
                    <a:lnTo>
                      <a:pt x="4948" y="14810"/>
                    </a:lnTo>
                    <a:lnTo>
                      <a:pt x="4948" y="16618"/>
                    </a:lnTo>
                    <a:lnTo>
                      <a:pt x="4948" y="18134"/>
                    </a:lnTo>
                    <a:lnTo>
                      <a:pt x="4948" y="19942"/>
                    </a:lnTo>
                    <a:lnTo>
                      <a:pt x="3918" y="19592"/>
                    </a:lnTo>
                    <a:lnTo>
                      <a:pt x="3574" y="1994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0" name="Freeform 209"/>
              <p:cNvSpPr>
                <a:spLocks/>
              </p:cNvSpPr>
              <p:nvPr/>
            </p:nvSpPr>
            <p:spPr bwMode="auto">
              <a:xfrm>
                <a:off x="7962900" y="4638675"/>
                <a:ext cx="263525" cy="85725"/>
              </a:xfrm>
              <a:custGeom>
                <a:avLst/>
                <a:gdLst>
                  <a:gd name="T0" fmla="*/ 19952 w 20000"/>
                  <a:gd name="T1" fmla="*/ 19853 h 20000"/>
                  <a:gd name="T2" fmla="*/ 18699 w 20000"/>
                  <a:gd name="T3" fmla="*/ 18382 h 20000"/>
                  <a:gd name="T4" fmla="*/ 16916 w 20000"/>
                  <a:gd name="T5" fmla="*/ 16029 h 20000"/>
                  <a:gd name="T6" fmla="*/ 15952 w 20000"/>
                  <a:gd name="T7" fmla="*/ 17500 h 20000"/>
                  <a:gd name="T8" fmla="*/ 14747 w 20000"/>
                  <a:gd name="T9" fmla="*/ 16029 h 20000"/>
                  <a:gd name="T10" fmla="*/ 13687 w 20000"/>
                  <a:gd name="T11" fmla="*/ 16029 h 20000"/>
                  <a:gd name="T12" fmla="*/ 12193 w 20000"/>
                  <a:gd name="T13" fmla="*/ 15294 h 20000"/>
                  <a:gd name="T14" fmla="*/ 10988 w 20000"/>
                  <a:gd name="T15" fmla="*/ 13824 h 20000"/>
                  <a:gd name="T16" fmla="*/ 8482 w 20000"/>
                  <a:gd name="T17" fmla="*/ 11471 h 20000"/>
                  <a:gd name="T18" fmla="*/ 6988 w 20000"/>
                  <a:gd name="T19" fmla="*/ 12059 h 20000"/>
                  <a:gd name="T20" fmla="*/ 5012 w 20000"/>
                  <a:gd name="T21" fmla="*/ 9853 h 20000"/>
                  <a:gd name="T22" fmla="*/ 2458 w 20000"/>
                  <a:gd name="T23" fmla="*/ 8382 h 20000"/>
                  <a:gd name="T24" fmla="*/ 2940 w 20000"/>
                  <a:gd name="T25" fmla="*/ 7647 h 20000"/>
                  <a:gd name="T26" fmla="*/ 1253 w 20000"/>
                  <a:gd name="T27" fmla="*/ 6029 h 20000"/>
                  <a:gd name="T28" fmla="*/ 0 w 20000"/>
                  <a:gd name="T29" fmla="*/ 5441 h 20000"/>
                  <a:gd name="T30" fmla="*/ 482 w 20000"/>
                  <a:gd name="T31" fmla="*/ 5441 h 20000"/>
                  <a:gd name="T32" fmla="*/ 964 w 20000"/>
                  <a:gd name="T33" fmla="*/ 5441 h 20000"/>
                  <a:gd name="T34" fmla="*/ 1735 w 20000"/>
                  <a:gd name="T35" fmla="*/ 2353 h 20000"/>
                  <a:gd name="T36" fmla="*/ 2217 w 20000"/>
                  <a:gd name="T37" fmla="*/ 0 h 20000"/>
                  <a:gd name="T38" fmla="*/ 4241 w 20000"/>
                  <a:gd name="T39" fmla="*/ 1471 h 20000"/>
                  <a:gd name="T40" fmla="*/ 4241 w 20000"/>
                  <a:gd name="T41" fmla="*/ 0 h 20000"/>
                  <a:gd name="T42" fmla="*/ 5012 w 20000"/>
                  <a:gd name="T43" fmla="*/ 0 h 20000"/>
                  <a:gd name="T44" fmla="*/ 5687 w 20000"/>
                  <a:gd name="T45" fmla="*/ 1471 h 20000"/>
                  <a:gd name="T46" fmla="*/ 6217 w 20000"/>
                  <a:gd name="T47" fmla="*/ 2353 h 20000"/>
                  <a:gd name="T48" fmla="*/ 6988 w 20000"/>
                  <a:gd name="T49" fmla="*/ 1471 h 20000"/>
                  <a:gd name="T50" fmla="*/ 7470 w 20000"/>
                  <a:gd name="T51" fmla="*/ 5441 h 20000"/>
                  <a:gd name="T52" fmla="*/ 10699 w 20000"/>
                  <a:gd name="T53" fmla="*/ 6029 h 20000"/>
                  <a:gd name="T54" fmla="*/ 11470 w 20000"/>
                  <a:gd name="T55" fmla="*/ 6029 h 20000"/>
                  <a:gd name="T56" fmla="*/ 11711 w 20000"/>
                  <a:gd name="T57" fmla="*/ 3824 h 20000"/>
                  <a:gd name="T58" fmla="*/ 12723 w 20000"/>
                  <a:gd name="T59" fmla="*/ 3824 h 20000"/>
                  <a:gd name="T60" fmla="*/ 12964 w 20000"/>
                  <a:gd name="T61" fmla="*/ 5441 h 20000"/>
                  <a:gd name="T62" fmla="*/ 13446 w 20000"/>
                  <a:gd name="T63" fmla="*/ 5441 h 20000"/>
                  <a:gd name="T64" fmla="*/ 14747 w 20000"/>
                  <a:gd name="T65" fmla="*/ 5441 h 20000"/>
                  <a:gd name="T66" fmla="*/ 15470 w 20000"/>
                  <a:gd name="T67" fmla="*/ 6029 h 20000"/>
                  <a:gd name="T68" fmla="*/ 16241 w 20000"/>
                  <a:gd name="T69" fmla="*/ 9853 h 20000"/>
                  <a:gd name="T70" fmla="*/ 17494 w 20000"/>
                  <a:gd name="T71" fmla="*/ 12059 h 20000"/>
                  <a:gd name="T72" fmla="*/ 17976 w 20000"/>
                  <a:gd name="T73" fmla="*/ 11471 h 20000"/>
                  <a:gd name="T74" fmla="*/ 18988 w 20000"/>
                  <a:gd name="T75" fmla="*/ 11471 h 20000"/>
                  <a:gd name="T76" fmla="*/ 19952 w 20000"/>
                  <a:gd name="T77" fmla="*/ 12059 h 20000"/>
                  <a:gd name="T78" fmla="*/ 19470 w 20000"/>
                  <a:gd name="T79" fmla="*/ 13824 h 20000"/>
                  <a:gd name="T80" fmla="*/ 19470 w 20000"/>
                  <a:gd name="T81" fmla="*/ 16029 h 20000"/>
                  <a:gd name="T82" fmla="*/ 19952 w 20000"/>
                  <a:gd name="T83" fmla="*/ 18382 h 20000"/>
                  <a:gd name="T84" fmla="*/ 19952 w 20000"/>
                  <a:gd name="T85" fmla="*/ 1985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952" y="19853"/>
                    </a:moveTo>
                    <a:lnTo>
                      <a:pt x="18699" y="18382"/>
                    </a:lnTo>
                    <a:lnTo>
                      <a:pt x="16916" y="16029"/>
                    </a:lnTo>
                    <a:lnTo>
                      <a:pt x="15952" y="17500"/>
                    </a:lnTo>
                    <a:lnTo>
                      <a:pt x="14747" y="16029"/>
                    </a:lnTo>
                    <a:lnTo>
                      <a:pt x="13687" y="16029"/>
                    </a:lnTo>
                    <a:lnTo>
                      <a:pt x="12193" y="15294"/>
                    </a:lnTo>
                    <a:lnTo>
                      <a:pt x="10988" y="13824"/>
                    </a:lnTo>
                    <a:lnTo>
                      <a:pt x="8482" y="11471"/>
                    </a:lnTo>
                    <a:lnTo>
                      <a:pt x="6988" y="12059"/>
                    </a:lnTo>
                    <a:lnTo>
                      <a:pt x="5012" y="9853"/>
                    </a:lnTo>
                    <a:lnTo>
                      <a:pt x="2458" y="8382"/>
                    </a:lnTo>
                    <a:lnTo>
                      <a:pt x="2940" y="7647"/>
                    </a:lnTo>
                    <a:lnTo>
                      <a:pt x="1253" y="6029"/>
                    </a:lnTo>
                    <a:lnTo>
                      <a:pt x="0" y="5441"/>
                    </a:lnTo>
                    <a:lnTo>
                      <a:pt x="482" y="5441"/>
                    </a:lnTo>
                    <a:lnTo>
                      <a:pt x="964" y="5441"/>
                    </a:lnTo>
                    <a:lnTo>
                      <a:pt x="1735" y="2353"/>
                    </a:lnTo>
                    <a:lnTo>
                      <a:pt x="2217" y="0"/>
                    </a:lnTo>
                    <a:lnTo>
                      <a:pt x="4241" y="1471"/>
                    </a:lnTo>
                    <a:lnTo>
                      <a:pt x="4241" y="0"/>
                    </a:lnTo>
                    <a:lnTo>
                      <a:pt x="5012" y="0"/>
                    </a:lnTo>
                    <a:lnTo>
                      <a:pt x="5687" y="1471"/>
                    </a:lnTo>
                    <a:lnTo>
                      <a:pt x="6217" y="2353"/>
                    </a:lnTo>
                    <a:lnTo>
                      <a:pt x="6988" y="1471"/>
                    </a:lnTo>
                    <a:lnTo>
                      <a:pt x="7470" y="5441"/>
                    </a:lnTo>
                    <a:lnTo>
                      <a:pt x="10699" y="6029"/>
                    </a:lnTo>
                    <a:lnTo>
                      <a:pt x="11470" y="6029"/>
                    </a:lnTo>
                    <a:lnTo>
                      <a:pt x="11711" y="3824"/>
                    </a:lnTo>
                    <a:lnTo>
                      <a:pt x="12723" y="3824"/>
                    </a:lnTo>
                    <a:lnTo>
                      <a:pt x="12964" y="5441"/>
                    </a:lnTo>
                    <a:lnTo>
                      <a:pt x="13446" y="5441"/>
                    </a:lnTo>
                    <a:lnTo>
                      <a:pt x="14747" y="5441"/>
                    </a:lnTo>
                    <a:lnTo>
                      <a:pt x="15470" y="6029"/>
                    </a:lnTo>
                    <a:lnTo>
                      <a:pt x="16241" y="9853"/>
                    </a:lnTo>
                    <a:lnTo>
                      <a:pt x="17494" y="12059"/>
                    </a:lnTo>
                    <a:lnTo>
                      <a:pt x="17976" y="11471"/>
                    </a:lnTo>
                    <a:lnTo>
                      <a:pt x="18988" y="11471"/>
                    </a:lnTo>
                    <a:lnTo>
                      <a:pt x="19952" y="12059"/>
                    </a:lnTo>
                    <a:lnTo>
                      <a:pt x="19470" y="13824"/>
                    </a:lnTo>
                    <a:lnTo>
                      <a:pt x="19470" y="16029"/>
                    </a:lnTo>
                    <a:lnTo>
                      <a:pt x="19952" y="18382"/>
                    </a:lnTo>
                    <a:lnTo>
                      <a:pt x="19952" y="1985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1" name="Freeform 208"/>
              <p:cNvSpPr>
                <a:spLocks/>
              </p:cNvSpPr>
              <p:nvPr/>
            </p:nvSpPr>
            <p:spPr bwMode="auto">
              <a:xfrm>
                <a:off x="8474075" y="4713288"/>
                <a:ext cx="112713" cy="60325"/>
              </a:xfrm>
              <a:custGeom>
                <a:avLst/>
                <a:gdLst>
                  <a:gd name="T0" fmla="*/ 2373 w 20000"/>
                  <a:gd name="T1" fmla="*/ 19787 h 20000"/>
                  <a:gd name="T2" fmla="*/ 0 w 20000"/>
                  <a:gd name="T3" fmla="*/ 19787 h 20000"/>
                  <a:gd name="T4" fmla="*/ 678 w 20000"/>
                  <a:gd name="T5" fmla="*/ 15532 h 20000"/>
                  <a:gd name="T6" fmla="*/ 1808 w 20000"/>
                  <a:gd name="T7" fmla="*/ 12128 h 20000"/>
                  <a:gd name="T8" fmla="*/ 4633 w 20000"/>
                  <a:gd name="T9" fmla="*/ 8723 h 20000"/>
                  <a:gd name="T10" fmla="*/ 7684 w 20000"/>
                  <a:gd name="T11" fmla="*/ 6596 h 20000"/>
                  <a:gd name="T12" fmla="*/ 9379 w 20000"/>
                  <a:gd name="T13" fmla="*/ 3404 h 20000"/>
                  <a:gd name="T14" fmla="*/ 14124 w 20000"/>
                  <a:gd name="T15" fmla="*/ 0 h 20000"/>
                  <a:gd name="T16" fmla="*/ 19887 w 20000"/>
                  <a:gd name="T17" fmla="*/ 0 h 20000"/>
                  <a:gd name="T18" fmla="*/ 17627 w 20000"/>
                  <a:gd name="T19" fmla="*/ 3404 h 20000"/>
                  <a:gd name="T20" fmla="*/ 16949 w 20000"/>
                  <a:gd name="T21" fmla="*/ 3404 h 20000"/>
                  <a:gd name="T22" fmla="*/ 14576 w 20000"/>
                  <a:gd name="T23" fmla="*/ 5532 h 20000"/>
                  <a:gd name="T24" fmla="*/ 7684 w 20000"/>
                  <a:gd name="T25" fmla="*/ 12128 h 20000"/>
                  <a:gd name="T26" fmla="*/ 4633 w 20000"/>
                  <a:gd name="T27" fmla="*/ 17660 h 20000"/>
                  <a:gd name="T28" fmla="*/ 3503 w 20000"/>
                  <a:gd name="T29" fmla="*/ 17660 h 20000"/>
                  <a:gd name="T30" fmla="*/ 2373 w 20000"/>
                  <a:gd name="T31" fmla="*/ 197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2373" y="19787"/>
                    </a:moveTo>
                    <a:lnTo>
                      <a:pt x="0" y="19787"/>
                    </a:lnTo>
                    <a:lnTo>
                      <a:pt x="678" y="15532"/>
                    </a:lnTo>
                    <a:lnTo>
                      <a:pt x="1808" y="12128"/>
                    </a:lnTo>
                    <a:lnTo>
                      <a:pt x="4633" y="8723"/>
                    </a:lnTo>
                    <a:lnTo>
                      <a:pt x="7684" y="6596"/>
                    </a:lnTo>
                    <a:lnTo>
                      <a:pt x="9379" y="3404"/>
                    </a:lnTo>
                    <a:lnTo>
                      <a:pt x="14124" y="0"/>
                    </a:lnTo>
                    <a:lnTo>
                      <a:pt x="19887" y="0"/>
                    </a:lnTo>
                    <a:lnTo>
                      <a:pt x="17627" y="3404"/>
                    </a:lnTo>
                    <a:lnTo>
                      <a:pt x="16949" y="3404"/>
                    </a:lnTo>
                    <a:lnTo>
                      <a:pt x="14576" y="5532"/>
                    </a:lnTo>
                    <a:lnTo>
                      <a:pt x="7684" y="12128"/>
                    </a:lnTo>
                    <a:lnTo>
                      <a:pt x="4633" y="17660"/>
                    </a:lnTo>
                    <a:lnTo>
                      <a:pt x="3503" y="17660"/>
                    </a:lnTo>
                    <a:lnTo>
                      <a:pt x="2373" y="197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2" name="Freeform 207"/>
              <p:cNvSpPr>
                <a:spLocks/>
              </p:cNvSpPr>
              <p:nvPr/>
            </p:nvSpPr>
            <p:spPr bwMode="auto">
              <a:xfrm>
                <a:off x="8596313" y="4405313"/>
                <a:ext cx="44450" cy="88900"/>
              </a:xfrm>
              <a:custGeom>
                <a:avLst/>
                <a:gdLst>
                  <a:gd name="T0" fmla="*/ 8986 w 20000"/>
                  <a:gd name="T1" fmla="*/ 19857 h 20000"/>
                  <a:gd name="T2" fmla="*/ 4638 w 20000"/>
                  <a:gd name="T3" fmla="*/ 16857 h 20000"/>
                  <a:gd name="T4" fmla="*/ 1739 w 20000"/>
                  <a:gd name="T5" fmla="*/ 13143 h 20000"/>
                  <a:gd name="T6" fmla="*/ 1739 w 20000"/>
                  <a:gd name="T7" fmla="*/ 11714 h 20000"/>
                  <a:gd name="T8" fmla="*/ 0 w 20000"/>
                  <a:gd name="T9" fmla="*/ 9571 h 20000"/>
                  <a:gd name="T10" fmla="*/ 0 w 20000"/>
                  <a:gd name="T11" fmla="*/ 7286 h 20000"/>
                  <a:gd name="T12" fmla="*/ 1739 w 20000"/>
                  <a:gd name="T13" fmla="*/ 3714 h 20000"/>
                  <a:gd name="T14" fmla="*/ 7536 w 20000"/>
                  <a:gd name="T15" fmla="*/ 0 h 20000"/>
                  <a:gd name="T16" fmla="*/ 4638 w 20000"/>
                  <a:gd name="T17" fmla="*/ 2000 h 20000"/>
                  <a:gd name="T18" fmla="*/ 7536 w 20000"/>
                  <a:gd name="T19" fmla="*/ 5857 h 20000"/>
                  <a:gd name="T20" fmla="*/ 1739 w 20000"/>
                  <a:gd name="T21" fmla="*/ 7286 h 20000"/>
                  <a:gd name="T22" fmla="*/ 4638 w 20000"/>
                  <a:gd name="T23" fmla="*/ 8143 h 20000"/>
                  <a:gd name="T24" fmla="*/ 7536 w 20000"/>
                  <a:gd name="T25" fmla="*/ 7286 h 20000"/>
                  <a:gd name="T26" fmla="*/ 8986 w 20000"/>
                  <a:gd name="T27" fmla="*/ 7286 h 20000"/>
                  <a:gd name="T28" fmla="*/ 8986 w 20000"/>
                  <a:gd name="T29" fmla="*/ 5857 h 20000"/>
                  <a:gd name="T30" fmla="*/ 16522 w 20000"/>
                  <a:gd name="T31" fmla="*/ 4286 h 20000"/>
                  <a:gd name="T32" fmla="*/ 16522 w 20000"/>
                  <a:gd name="T33" fmla="*/ 7286 h 20000"/>
                  <a:gd name="T34" fmla="*/ 8986 w 20000"/>
                  <a:gd name="T35" fmla="*/ 9571 h 20000"/>
                  <a:gd name="T36" fmla="*/ 19710 w 20000"/>
                  <a:gd name="T37" fmla="*/ 13143 h 20000"/>
                  <a:gd name="T38" fmla="*/ 7536 w 20000"/>
                  <a:gd name="T39" fmla="*/ 11714 h 20000"/>
                  <a:gd name="T40" fmla="*/ 7536 w 20000"/>
                  <a:gd name="T41" fmla="*/ 13143 h 20000"/>
                  <a:gd name="T42" fmla="*/ 8986 w 20000"/>
                  <a:gd name="T43" fmla="*/ 1985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8986" y="19857"/>
                    </a:moveTo>
                    <a:lnTo>
                      <a:pt x="4638" y="16857"/>
                    </a:lnTo>
                    <a:lnTo>
                      <a:pt x="1739" y="13143"/>
                    </a:lnTo>
                    <a:lnTo>
                      <a:pt x="1739" y="11714"/>
                    </a:lnTo>
                    <a:lnTo>
                      <a:pt x="0" y="9571"/>
                    </a:lnTo>
                    <a:lnTo>
                      <a:pt x="0" y="7286"/>
                    </a:lnTo>
                    <a:lnTo>
                      <a:pt x="1739" y="3714"/>
                    </a:lnTo>
                    <a:lnTo>
                      <a:pt x="7536" y="0"/>
                    </a:lnTo>
                    <a:lnTo>
                      <a:pt x="4638" y="2000"/>
                    </a:lnTo>
                    <a:lnTo>
                      <a:pt x="7536" y="5857"/>
                    </a:lnTo>
                    <a:lnTo>
                      <a:pt x="1739" y="7286"/>
                    </a:lnTo>
                    <a:lnTo>
                      <a:pt x="4638" y="8143"/>
                    </a:lnTo>
                    <a:lnTo>
                      <a:pt x="7536" y="7286"/>
                    </a:lnTo>
                    <a:lnTo>
                      <a:pt x="8986" y="7286"/>
                    </a:lnTo>
                    <a:lnTo>
                      <a:pt x="8986" y="5857"/>
                    </a:lnTo>
                    <a:lnTo>
                      <a:pt x="16522" y="4286"/>
                    </a:lnTo>
                    <a:lnTo>
                      <a:pt x="16522" y="7286"/>
                    </a:lnTo>
                    <a:lnTo>
                      <a:pt x="8986" y="9571"/>
                    </a:lnTo>
                    <a:lnTo>
                      <a:pt x="19710" y="13143"/>
                    </a:lnTo>
                    <a:lnTo>
                      <a:pt x="7536" y="11714"/>
                    </a:lnTo>
                    <a:lnTo>
                      <a:pt x="7536" y="13143"/>
                    </a:lnTo>
                    <a:lnTo>
                      <a:pt x="8986" y="1985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3" name="Freeform 206"/>
              <p:cNvSpPr>
                <a:spLocks/>
              </p:cNvSpPr>
              <p:nvPr/>
            </p:nvSpPr>
            <p:spPr bwMode="auto">
              <a:xfrm>
                <a:off x="8607425" y="4552950"/>
                <a:ext cx="85725" cy="26988"/>
              </a:xfrm>
              <a:custGeom>
                <a:avLst/>
                <a:gdLst>
                  <a:gd name="T0" fmla="*/ 19853 w 20000"/>
                  <a:gd name="T1" fmla="*/ 19535 h 20000"/>
                  <a:gd name="T2" fmla="*/ 13824 w 20000"/>
                  <a:gd name="T3" fmla="*/ 12093 h 20000"/>
                  <a:gd name="T4" fmla="*/ 11471 w 20000"/>
                  <a:gd name="T5" fmla="*/ 6977 h 20000"/>
                  <a:gd name="T6" fmla="*/ 11471 w 20000"/>
                  <a:gd name="T7" fmla="*/ 12093 h 20000"/>
                  <a:gd name="T8" fmla="*/ 7647 w 20000"/>
                  <a:gd name="T9" fmla="*/ 12093 h 20000"/>
                  <a:gd name="T10" fmla="*/ 7647 w 20000"/>
                  <a:gd name="T11" fmla="*/ 6977 h 20000"/>
                  <a:gd name="T12" fmla="*/ 4559 w 20000"/>
                  <a:gd name="T13" fmla="*/ 12093 h 20000"/>
                  <a:gd name="T14" fmla="*/ 2353 w 20000"/>
                  <a:gd name="T15" fmla="*/ 6977 h 20000"/>
                  <a:gd name="T16" fmla="*/ 1471 w 20000"/>
                  <a:gd name="T17" fmla="*/ 12093 h 20000"/>
                  <a:gd name="T18" fmla="*/ 0 w 20000"/>
                  <a:gd name="T19" fmla="*/ 6977 h 20000"/>
                  <a:gd name="T20" fmla="*/ 2353 w 20000"/>
                  <a:gd name="T21" fmla="*/ 0 h 20000"/>
                  <a:gd name="T22" fmla="*/ 7647 w 20000"/>
                  <a:gd name="T23" fmla="*/ 0 h 20000"/>
                  <a:gd name="T24" fmla="*/ 10000 w 20000"/>
                  <a:gd name="T25" fmla="*/ 0 h 20000"/>
                  <a:gd name="T26" fmla="*/ 11471 w 20000"/>
                  <a:gd name="T27" fmla="*/ 0 h 20000"/>
                  <a:gd name="T28" fmla="*/ 13824 w 20000"/>
                  <a:gd name="T29" fmla="*/ 0 h 20000"/>
                  <a:gd name="T30" fmla="*/ 16029 w 20000"/>
                  <a:gd name="T31" fmla="*/ 0 h 20000"/>
                  <a:gd name="T32" fmla="*/ 18382 w 20000"/>
                  <a:gd name="T33" fmla="*/ 6977 h 20000"/>
                  <a:gd name="T34" fmla="*/ 19853 w 20000"/>
                  <a:gd name="T35" fmla="*/ 12093 h 20000"/>
                  <a:gd name="T36" fmla="*/ 19853 w 20000"/>
                  <a:gd name="T37" fmla="*/ 195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19853" y="19535"/>
                    </a:moveTo>
                    <a:lnTo>
                      <a:pt x="13824" y="12093"/>
                    </a:lnTo>
                    <a:lnTo>
                      <a:pt x="11471" y="6977"/>
                    </a:lnTo>
                    <a:lnTo>
                      <a:pt x="11471" y="12093"/>
                    </a:lnTo>
                    <a:lnTo>
                      <a:pt x="7647" y="12093"/>
                    </a:lnTo>
                    <a:lnTo>
                      <a:pt x="7647" y="6977"/>
                    </a:lnTo>
                    <a:lnTo>
                      <a:pt x="4559" y="12093"/>
                    </a:lnTo>
                    <a:lnTo>
                      <a:pt x="2353" y="6977"/>
                    </a:lnTo>
                    <a:lnTo>
                      <a:pt x="1471" y="12093"/>
                    </a:lnTo>
                    <a:lnTo>
                      <a:pt x="0" y="6977"/>
                    </a:lnTo>
                    <a:lnTo>
                      <a:pt x="2353" y="0"/>
                    </a:lnTo>
                    <a:lnTo>
                      <a:pt x="7647" y="0"/>
                    </a:lnTo>
                    <a:lnTo>
                      <a:pt x="10000" y="0"/>
                    </a:lnTo>
                    <a:lnTo>
                      <a:pt x="11471" y="0"/>
                    </a:lnTo>
                    <a:lnTo>
                      <a:pt x="13824" y="0"/>
                    </a:lnTo>
                    <a:lnTo>
                      <a:pt x="16029" y="0"/>
                    </a:lnTo>
                    <a:lnTo>
                      <a:pt x="18382" y="6977"/>
                    </a:lnTo>
                    <a:lnTo>
                      <a:pt x="19853" y="12093"/>
                    </a:lnTo>
                    <a:lnTo>
                      <a:pt x="19853" y="195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4" name="Freeform 205"/>
              <p:cNvSpPr>
                <a:spLocks/>
              </p:cNvSpPr>
              <p:nvPr/>
            </p:nvSpPr>
            <p:spPr bwMode="auto">
              <a:xfrm>
                <a:off x="8372475" y="4703763"/>
                <a:ext cx="96838" cy="26987"/>
              </a:xfrm>
              <a:custGeom>
                <a:avLst/>
                <a:gdLst>
                  <a:gd name="T0" fmla="*/ 8947 w 20000"/>
                  <a:gd name="T1" fmla="*/ 19524 h 20000"/>
                  <a:gd name="T2" fmla="*/ 5395 w 20000"/>
                  <a:gd name="T3" fmla="*/ 19524 h 20000"/>
                  <a:gd name="T4" fmla="*/ 4079 w 20000"/>
                  <a:gd name="T5" fmla="*/ 14762 h 20000"/>
                  <a:gd name="T6" fmla="*/ 0 w 20000"/>
                  <a:gd name="T7" fmla="*/ 14762 h 20000"/>
                  <a:gd name="T8" fmla="*/ 0 w 20000"/>
                  <a:gd name="T9" fmla="*/ 10000 h 20000"/>
                  <a:gd name="T10" fmla="*/ 1447 w 20000"/>
                  <a:gd name="T11" fmla="*/ 7143 h 20000"/>
                  <a:gd name="T12" fmla="*/ 4079 w 20000"/>
                  <a:gd name="T13" fmla="*/ 2857 h 20000"/>
                  <a:gd name="T14" fmla="*/ 7500 w 20000"/>
                  <a:gd name="T15" fmla="*/ 7143 h 20000"/>
                  <a:gd name="T16" fmla="*/ 9605 w 20000"/>
                  <a:gd name="T17" fmla="*/ 10000 h 20000"/>
                  <a:gd name="T18" fmla="*/ 11053 w 20000"/>
                  <a:gd name="T19" fmla="*/ 7143 h 20000"/>
                  <a:gd name="T20" fmla="*/ 15789 w 20000"/>
                  <a:gd name="T21" fmla="*/ 10000 h 20000"/>
                  <a:gd name="T22" fmla="*/ 16447 w 20000"/>
                  <a:gd name="T23" fmla="*/ 7143 h 20000"/>
                  <a:gd name="T24" fmla="*/ 17763 w 20000"/>
                  <a:gd name="T25" fmla="*/ 7143 h 20000"/>
                  <a:gd name="T26" fmla="*/ 17763 w 20000"/>
                  <a:gd name="T27" fmla="*/ 2857 h 20000"/>
                  <a:gd name="T28" fmla="*/ 18553 w 20000"/>
                  <a:gd name="T29" fmla="*/ 0 h 20000"/>
                  <a:gd name="T30" fmla="*/ 19868 w 20000"/>
                  <a:gd name="T31" fmla="*/ 2857 h 20000"/>
                  <a:gd name="T32" fmla="*/ 17763 w 20000"/>
                  <a:gd name="T33" fmla="*/ 10000 h 20000"/>
                  <a:gd name="T34" fmla="*/ 13026 w 20000"/>
                  <a:gd name="T35" fmla="*/ 14762 h 20000"/>
                  <a:gd name="T36" fmla="*/ 12368 w 20000"/>
                  <a:gd name="T37" fmla="*/ 19524 h 20000"/>
                  <a:gd name="T38" fmla="*/ 9605 w 20000"/>
                  <a:gd name="T39" fmla="*/ 14762 h 20000"/>
                  <a:gd name="T40" fmla="*/ 8947 w 20000"/>
                  <a:gd name="T41"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8947" y="19524"/>
                    </a:moveTo>
                    <a:lnTo>
                      <a:pt x="5395" y="19524"/>
                    </a:lnTo>
                    <a:lnTo>
                      <a:pt x="4079" y="14762"/>
                    </a:lnTo>
                    <a:lnTo>
                      <a:pt x="0" y="14762"/>
                    </a:lnTo>
                    <a:lnTo>
                      <a:pt x="0" y="10000"/>
                    </a:lnTo>
                    <a:lnTo>
                      <a:pt x="1447" y="7143"/>
                    </a:lnTo>
                    <a:lnTo>
                      <a:pt x="4079" y="2857"/>
                    </a:lnTo>
                    <a:lnTo>
                      <a:pt x="7500" y="7143"/>
                    </a:lnTo>
                    <a:lnTo>
                      <a:pt x="9605" y="10000"/>
                    </a:lnTo>
                    <a:lnTo>
                      <a:pt x="11053" y="7143"/>
                    </a:lnTo>
                    <a:lnTo>
                      <a:pt x="15789" y="10000"/>
                    </a:lnTo>
                    <a:lnTo>
                      <a:pt x="16447" y="7143"/>
                    </a:lnTo>
                    <a:lnTo>
                      <a:pt x="17763" y="7143"/>
                    </a:lnTo>
                    <a:lnTo>
                      <a:pt x="17763" y="2857"/>
                    </a:lnTo>
                    <a:lnTo>
                      <a:pt x="18553" y="0"/>
                    </a:lnTo>
                    <a:lnTo>
                      <a:pt x="19868" y="2857"/>
                    </a:lnTo>
                    <a:lnTo>
                      <a:pt x="17763" y="10000"/>
                    </a:lnTo>
                    <a:lnTo>
                      <a:pt x="13026" y="14762"/>
                    </a:lnTo>
                    <a:lnTo>
                      <a:pt x="12368" y="19524"/>
                    </a:lnTo>
                    <a:lnTo>
                      <a:pt x="9605" y="14762"/>
                    </a:lnTo>
                    <a:lnTo>
                      <a:pt x="8947"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5" name="Freeform 204"/>
              <p:cNvSpPr>
                <a:spLocks/>
              </p:cNvSpPr>
              <p:nvPr/>
            </p:nvSpPr>
            <p:spPr bwMode="auto">
              <a:xfrm>
                <a:off x="8288338" y="4703763"/>
                <a:ext cx="69850" cy="26987"/>
              </a:xfrm>
              <a:custGeom>
                <a:avLst/>
                <a:gdLst>
                  <a:gd name="T0" fmla="*/ 0 w 20000"/>
                  <a:gd name="T1" fmla="*/ 19524 h 20000"/>
                  <a:gd name="T2" fmla="*/ 0 w 20000"/>
                  <a:gd name="T3" fmla="*/ 10000 h 20000"/>
                  <a:gd name="T4" fmla="*/ 2569 w 20000"/>
                  <a:gd name="T5" fmla="*/ 7143 h 20000"/>
                  <a:gd name="T6" fmla="*/ 6606 w 20000"/>
                  <a:gd name="T7" fmla="*/ 7143 h 20000"/>
                  <a:gd name="T8" fmla="*/ 7523 w 20000"/>
                  <a:gd name="T9" fmla="*/ 10000 h 20000"/>
                  <a:gd name="T10" fmla="*/ 9358 w 20000"/>
                  <a:gd name="T11" fmla="*/ 10000 h 20000"/>
                  <a:gd name="T12" fmla="*/ 10459 w 20000"/>
                  <a:gd name="T13" fmla="*/ 7143 h 20000"/>
                  <a:gd name="T14" fmla="*/ 7523 w 20000"/>
                  <a:gd name="T15" fmla="*/ 2857 h 20000"/>
                  <a:gd name="T16" fmla="*/ 10459 w 20000"/>
                  <a:gd name="T17" fmla="*/ 0 h 20000"/>
                  <a:gd name="T18" fmla="*/ 12294 w 20000"/>
                  <a:gd name="T19" fmla="*/ 2857 h 20000"/>
                  <a:gd name="T20" fmla="*/ 14128 w 20000"/>
                  <a:gd name="T21" fmla="*/ 2857 h 20000"/>
                  <a:gd name="T22" fmla="*/ 16881 w 20000"/>
                  <a:gd name="T23" fmla="*/ 7143 h 20000"/>
                  <a:gd name="T24" fmla="*/ 17982 w 20000"/>
                  <a:gd name="T25" fmla="*/ 2857 h 20000"/>
                  <a:gd name="T26" fmla="*/ 19817 w 20000"/>
                  <a:gd name="T27" fmla="*/ 14762 h 20000"/>
                  <a:gd name="T28" fmla="*/ 14128 w 20000"/>
                  <a:gd name="T29" fmla="*/ 14762 h 20000"/>
                  <a:gd name="T30" fmla="*/ 14128 w 20000"/>
                  <a:gd name="T31" fmla="*/ 10000 h 20000"/>
                  <a:gd name="T32" fmla="*/ 12294 w 20000"/>
                  <a:gd name="T33" fmla="*/ 10000 h 20000"/>
                  <a:gd name="T34" fmla="*/ 10459 w 20000"/>
                  <a:gd name="T35" fmla="*/ 19524 h 20000"/>
                  <a:gd name="T36" fmla="*/ 7523 w 20000"/>
                  <a:gd name="T37" fmla="*/ 19524 h 20000"/>
                  <a:gd name="T38" fmla="*/ 0 w 20000"/>
                  <a:gd name="T39"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00" h="20000">
                    <a:moveTo>
                      <a:pt x="0" y="19524"/>
                    </a:moveTo>
                    <a:lnTo>
                      <a:pt x="0" y="10000"/>
                    </a:lnTo>
                    <a:lnTo>
                      <a:pt x="2569" y="7143"/>
                    </a:lnTo>
                    <a:lnTo>
                      <a:pt x="6606" y="7143"/>
                    </a:lnTo>
                    <a:lnTo>
                      <a:pt x="7523" y="10000"/>
                    </a:lnTo>
                    <a:lnTo>
                      <a:pt x="9358" y="10000"/>
                    </a:lnTo>
                    <a:lnTo>
                      <a:pt x="10459" y="7143"/>
                    </a:lnTo>
                    <a:lnTo>
                      <a:pt x="7523" y="2857"/>
                    </a:lnTo>
                    <a:lnTo>
                      <a:pt x="10459" y="0"/>
                    </a:lnTo>
                    <a:lnTo>
                      <a:pt x="12294" y="2857"/>
                    </a:lnTo>
                    <a:lnTo>
                      <a:pt x="14128" y="2857"/>
                    </a:lnTo>
                    <a:lnTo>
                      <a:pt x="16881" y="7143"/>
                    </a:lnTo>
                    <a:lnTo>
                      <a:pt x="17982" y="2857"/>
                    </a:lnTo>
                    <a:lnTo>
                      <a:pt x="19817" y="14762"/>
                    </a:lnTo>
                    <a:lnTo>
                      <a:pt x="14128" y="14762"/>
                    </a:lnTo>
                    <a:lnTo>
                      <a:pt x="14128" y="10000"/>
                    </a:lnTo>
                    <a:lnTo>
                      <a:pt x="12294" y="10000"/>
                    </a:lnTo>
                    <a:lnTo>
                      <a:pt x="10459" y="19524"/>
                    </a:lnTo>
                    <a:lnTo>
                      <a:pt x="7523" y="19524"/>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6" name="Freeform 203"/>
              <p:cNvSpPr>
                <a:spLocks/>
              </p:cNvSpPr>
              <p:nvPr/>
            </p:nvSpPr>
            <p:spPr bwMode="auto">
              <a:xfrm>
                <a:off x="7962900" y="4510088"/>
                <a:ext cx="49213" cy="42862"/>
              </a:xfrm>
              <a:custGeom>
                <a:avLst/>
                <a:gdLst>
                  <a:gd name="T0" fmla="*/ 19744 w 20000"/>
                  <a:gd name="T1" fmla="*/ 19706 h 20000"/>
                  <a:gd name="T2" fmla="*/ 11795 w 20000"/>
                  <a:gd name="T3" fmla="*/ 18235 h 20000"/>
                  <a:gd name="T4" fmla="*/ 9231 w 20000"/>
                  <a:gd name="T5" fmla="*/ 10882 h 20000"/>
                  <a:gd name="T6" fmla="*/ 5128 w 20000"/>
                  <a:gd name="T7" fmla="*/ 6176 h 20000"/>
                  <a:gd name="T8" fmla="*/ 0 w 20000"/>
                  <a:gd name="T9" fmla="*/ 6176 h 20000"/>
                  <a:gd name="T10" fmla="*/ 5128 w 20000"/>
                  <a:gd name="T11" fmla="*/ 6176 h 20000"/>
                  <a:gd name="T12" fmla="*/ 5128 w 20000"/>
                  <a:gd name="T13" fmla="*/ 0 h 20000"/>
                  <a:gd name="T14" fmla="*/ 6667 w 20000"/>
                  <a:gd name="T15" fmla="*/ 0 h 20000"/>
                  <a:gd name="T16" fmla="*/ 6667 w 20000"/>
                  <a:gd name="T17" fmla="*/ 2941 h 20000"/>
                  <a:gd name="T18" fmla="*/ 9231 w 20000"/>
                  <a:gd name="T19" fmla="*/ 2941 h 20000"/>
                  <a:gd name="T20" fmla="*/ 9231 w 20000"/>
                  <a:gd name="T21" fmla="*/ 0 h 20000"/>
                  <a:gd name="T22" fmla="*/ 11795 w 20000"/>
                  <a:gd name="T23" fmla="*/ 0 h 20000"/>
                  <a:gd name="T24" fmla="*/ 13077 w 20000"/>
                  <a:gd name="T25" fmla="*/ 2941 h 20000"/>
                  <a:gd name="T26" fmla="*/ 13077 w 20000"/>
                  <a:gd name="T27" fmla="*/ 12059 h 20000"/>
                  <a:gd name="T28" fmla="*/ 19744 w 20000"/>
                  <a:gd name="T29" fmla="*/ 15000 h 20000"/>
                  <a:gd name="T30" fmla="*/ 17179 w 20000"/>
                  <a:gd name="T31" fmla="*/ 18235 h 20000"/>
                  <a:gd name="T32" fmla="*/ 19744 w 20000"/>
                  <a:gd name="T33"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19744" y="19706"/>
                    </a:moveTo>
                    <a:lnTo>
                      <a:pt x="11795" y="18235"/>
                    </a:lnTo>
                    <a:lnTo>
                      <a:pt x="9231" y="10882"/>
                    </a:lnTo>
                    <a:lnTo>
                      <a:pt x="5128" y="6176"/>
                    </a:lnTo>
                    <a:lnTo>
                      <a:pt x="0" y="6176"/>
                    </a:lnTo>
                    <a:lnTo>
                      <a:pt x="5128" y="6176"/>
                    </a:lnTo>
                    <a:lnTo>
                      <a:pt x="5128" y="0"/>
                    </a:lnTo>
                    <a:lnTo>
                      <a:pt x="6667" y="0"/>
                    </a:lnTo>
                    <a:lnTo>
                      <a:pt x="6667" y="2941"/>
                    </a:lnTo>
                    <a:lnTo>
                      <a:pt x="9231" y="2941"/>
                    </a:lnTo>
                    <a:lnTo>
                      <a:pt x="9231" y="0"/>
                    </a:lnTo>
                    <a:lnTo>
                      <a:pt x="11795" y="0"/>
                    </a:lnTo>
                    <a:lnTo>
                      <a:pt x="13077" y="2941"/>
                    </a:lnTo>
                    <a:lnTo>
                      <a:pt x="13077" y="12059"/>
                    </a:lnTo>
                    <a:lnTo>
                      <a:pt x="19744" y="15000"/>
                    </a:lnTo>
                    <a:lnTo>
                      <a:pt x="17179" y="18235"/>
                    </a:lnTo>
                    <a:lnTo>
                      <a:pt x="19744"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7" name="Freeform 202"/>
              <p:cNvSpPr>
                <a:spLocks/>
              </p:cNvSpPr>
              <p:nvPr/>
            </p:nvSpPr>
            <p:spPr bwMode="auto">
              <a:xfrm>
                <a:off x="8875713" y="4687888"/>
                <a:ext cx="41275" cy="30162"/>
              </a:xfrm>
              <a:custGeom>
                <a:avLst/>
                <a:gdLst>
                  <a:gd name="T0" fmla="*/ 0 w 20000"/>
                  <a:gd name="T1" fmla="*/ 19583 h 20000"/>
                  <a:gd name="T2" fmla="*/ 6563 w 20000"/>
                  <a:gd name="T3" fmla="*/ 6667 h 20000"/>
                  <a:gd name="T4" fmla="*/ 16563 w 20000"/>
                  <a:gd name="T5" fmla="*/ 0 h 20000"/>
                  <a:gd name="T6" fmla="*/ 19688 w 20000"/>
                  <a:gd name="T7" fmla="*/ 1667 h 20000"/>
                  <a:gd name="T8" fmla="*/ 19688 w 20000"/>
                  <a:gd name="T9" fmla="*/ 10833 h 20000"/>
                  <a:gd name="T10" fmla="*/ 14688 w 20000"/>
                  <a:gd name="T11" fmla="*/ 17083 h 20000"/>
                  <a:gd name="T12" fmla="*/ 0 w 20000"/>
                  <a:gd name="T13" fmla="*/ 19583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0" y="19583"/>
                    </a:moveTo>
                    <a:lnTo>
                      <a:pt x="6563" y="6667"/>
                    </a:lnTo>
                    <a:lnTo>
                      <a:pt x="16563" y="0"/>
                    </a:lnTo>
                    <a:lnTo>
                      <a:pt x="19688" y="1667"/>
                    </a:lnTo>
                    <a:lnTo>
                      <a:pt x="19688" y="10833"/>
                    </a:lnTo>
                    <a:lnTo>
                      <a:pt x="14688" y="17083"/>
                    </a:lnTo>
                    <a:lnTo>
                      <a:pt x="0" y="1958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8" name="Freeform 201"/>
              <p:cNvSpPr>
                <a:spLocks/>
              </p:cNvSpPr>
              <p:nvPr/>
            </p:nvSpPr>
            <p:spPr bwMode="auto">
              <a:xfrm>
                <a:off x="8350250" y="4740275"/>
                <a:ext cx="49213" cy="33338"/>
              </a:xfrm>
              <a:custGeom>
                <a:avLst/>
                <a:gdLst>
                  <a:gd name="T0" fmla="*/ 15897 w 20000"/>
                  <a:gd name="T1" fmla="*/ 19615 h 20000"/>
                  <a:gd name="T2" fmla="*/ 12051 w 20000"/>
                  <a:gd name="T3" fmla="*/ 11923 h 20000"/>
                  <a:gd name="T4" fmla="*/ 5128 w 20000"/>
                  <a:gd name="T5" fmla="*/ 5769 h 20000"/>
                  <a:gd name="T6" fmla="*/ 0 w 20000"/>
                  <a:gd name="T7" fmla="*/ 5769 h 20000"/>
                  <a:gd name="T8" fmla="*/ 0 w 20000"/>
                  <a:gd name="T9" fmla="*/ 2308 h 20000"/>
                  <a:gd name="T10" fmla="*/ 6667 w 20000"/>
                  <a:gd name="T11" fmla="*/ 2308 h 20000"/>
                  <a:gd name="T12" fmla="*/ 12051 w 20000"/>
                  <a:gd name="T13" fmla="*/ 0 h 20000"/>
                  <a:gd name="T14" fmla="*/ 13077 w 20000"/>
                  <a:gd name="T15" fmla="*/ 5769 h 20000"/>
                  <a:gd name="T16" fmla="*/ 17179 w 20000"/>
                  <a:gd name="T17" fmla="*/ 5769 h 20000"/>
                  <a:gd name="T18" fmla="*/ 19744 w 20000"/>
                  <a:gd name="T19" fmla="*/ 11923 h 20000"/>
                  <a:gd name="T20" fmla="*/ 17179 w 20000"/>
                  <a:gd name="T21" fmla="*/ 15769 h 20000"/>
                  <a:gd name="T22" fmla="*/ 15897 w 20000"/>
                  <a:gd name="T23" fmla="*/ 19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5897" y="19615"/>
                    </a:moveTo>
                    <a:lnTo>
                      <a:pt x="12051" y="11923"/>
                    </a:lnTo>
                    <a:lnTo>
                      <a:pt x="5128" y="5769"/>
                    </a:lnTo>
                    <a:lnTo>
                      <a:pt x="0" y="5769"/>
                    </a:lnTo>
                    <a:lnTo>
                      <a:pt x="0" y="2308"/>
                    </a:lnTo>
                    <a:lnTo>
                      <a:pt x="6667" y="2308"/>
                    </a:lnTo>
                    <a:lnTo>
                      <a:pt x="12051" y="0"/>
                    </a:lnTo>
                    <a:lnTo>
                      <a:pt x="13077" y="5769"/>
                    </a:lnTo>
                    <a:lnTo>
                      <a:pt x="17179" y="5769"/>
                    </a:lnTo>
                    <a:lnTo>
                      <a:pt x="19744" y="11923"/>
                    </a:lnTo>
                    <a:lnTo>
                      <a:pt x="17179" y="15769"/>
                    </a:lnTo>
                    <a:lnTo>
                      <a:pt x="15897"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49" name="Freeform 200"/>
              <p:cNvSpPr>
                <a:spLocks/>
              </p:cNvSpPr>
              <p:nvPr/>
            </p:nvSpPr>
            <p:spPr bwMode="auto">
              <a:xfrm>
                <a:off x="8556625" y="4559300"/>
                <a:ext cx="34925" cy="20638"/>
              </a:xfrm>
              <a:custGeom>
                <a:avLst/>
                <a:gdLst>
                  <a:gd name="T0" fmla="*/ 10000 w 20000"/>
                  <a:gd name="T1" fmla="*/ 19375 h 20000"/>
                  <a:gd name="T2" fmla="*/ 0 w 20000"/>
                  <a:gd name="T3" fmla="*/ 2500 h 20000"/>
                  <a:gd name="T4" fmla="*/ 0 w 20000"/>
                  <a:gd name="T5" fmla="*/ 0 h 20000"/>
                  <a:gd name="T6" fmla="*/ 17407 w 20000"/>
                  <a:gd name="T7" fmla="*/ 0 h 20000"/>
                  <a:gd name="T8" fmla="*/ 19630 w 20000"/>
                  <a:gd name="T9" fmla="*/ 15625 h 20000"/>
                  <a:gd name="T10" fmla="*/ 10000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10000" y="19375"/>
                    </a:moveTo>
                    <a:lnTo>
                      <a:pt x="0" y="2500"/>
                    </a:lnTo>
                    <a:lnTo>
                      <a:pt x="0" y="0"/>
                    </a:lnTo>
                    <a:lnTo>
                      <a:pt x="17407" y="0"/>
                    </a:lnTo>
                    <a:lnTo>
                      <a:pt x="19630" y="15625"/>
                    </a:lnTo>
                    <a:lnTo>
                      <a:pt x="10000"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0" name="Freeform 199"/>
              <p:cNvSpPr>
                <a:spLocks/>
              </p:cNvSpPr>
              <p:nvPr/>
            </p:nvSpPr>
            <p:spPr bwMode="auto">
              <a:xfrm>
                <a:off x="8224838" y="4703763"/>
                <a:ext cx="36512" cy="14287"/>
              </a:xfrm>
              <a:custGeom>
                <a:avLst/>
                <a:gdLst>
                  <a:gd name="T0" fmla="*/ 10690 w 20000"/>
                  <a:gd name="T1" fmla="*/ 19091 h 20000"/>
                  <a:gd name="T2" fmla="*/ 5517 w 20000"/>
                  <a:gd name="T3" fmla="*/ 13636 h 20000"/>
                  <a:gd name="T4" fmla="*/ 0 w 20000"/>
                  <a:gd name="T5" fmla="*/ 13636 h 20000"/>
                  <a:gd name="T6" fmla="*/ 0 w 20000"/>
                  <a:gd name="T7" fmla="*/ 0 h 20000"/>
                  <a:gd name="T8" fmla="*/ 5517 w 20000"/>
                  <a:gd name="T9" fmla="*/ 5455 h 20000"/>
                  <a:gd name="T10" fmla="*/ 10690 w 20000"/>
                  <a:gd name="T11" fmla="*/ 0 h 20000"/>
                  <a:gd name="T12" fmla="*/ 19655 w 20000"/>
                  <a:gd name="T13" fmla="*/ 13636 h 20000"/>
                  <a:gd name="T14" fmla="*/ 10690 w 20000"/>
                  <a:gd name="T15" fmla="*/ 13636 h 20000"/>
                  <a:gd name="T16" fmla="*/ 10690 w 20000"/>
                  <a:gd name="T17" fmla="*/ 1909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0690" y="19091"/>
                    </a:moveTo>
                    <a:lnTo>
                      <a:pt x="5517" y="13636"/>
                    </a:lnTo>
                    <a:lnTo>
                      <a:pt x="0" y="13636"/>
                    </a:lnTo>
                    <a:lnTo>
                      <a:pt x="0" y="0"/>
                    </a:lnTo>
                    <a:lnTo>
                      <a:pt x="5517" y="5455"/>
                    </a:lnTo>
                    <a:lnTo>
                      <a:pt x="10690" y="0"/>
                    </a:lnTo>
                    <a:lnTo>
                      <a:pt x="19655" y="13636"/>
                    </a:lnTo>
                    <a:lnTo>
                      <a:pt x="10690" y="13636"/>
                    </a:lnTo>
                    <a:lnTo>
                      <a:pt x="10690" y="1909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1" name="Freeform 198"/>
              <p:cNvSpPr>
                <a:spLocks/>
              </p:cNvSpPr>
              <p:nvPr/>
            </p:nvSpPr>
            <p:spPr bwMode="auto">
              <a:xfrm>
                <a:off x="8181975" y="4664075"/>
                <a:ext cx="30163" cy="11113"/>
              </a:xfrm>
              <a:custGeom>
                <a:avLst/>
                <a:gdLst>
                  <a:gd name="T0" fmla="*/ 10833 w 20000"/>
                  <a:gd name="T1" fmla="*/ 18824 h 20000"/>
                  <a:gd name="T2" fmla="*/ 0 w 20000"/>
                  <a:gd name="T3" fmla="*/ 12941 h 20000"/>
                  <a:gd name="T4" fmla="*/ 0 w 20000"/>
                  <a:gd name="T5" fmla="*/ 0 h 20000"/>
                  <a:gd name="T6" fmla="*/ 19583 w 20000"/>
                  <a:gd name="T7" fmla="*/ 0 h 20000"/>
                  <a:gd name="T8" fmla="*/ 17083 w 20000"/>
                  <a:gd name="T9" fmla="*/ 12941 h 20000"/>
                  <a:gd name="T10" fmla="*/ 12917 w 20000"/>
                  <a:gd name="T11" fmla="*/ 12941 h 20000"/>
                  <a:gd name="T12" fmla="*/ 10833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0833" y="18824"/>
                    </a:moveTo>
                    <a:lnTo>
                      <a:pt x="0" y="12941"/>
                    </a:lnTo>
                    <a:lnTo>
                      <a:pt x="0" y="0"/>
                    </a:lnTo>
                    <a:lnTo>
                      <a:pt x="19583" y="0"/>
                    </a:lnTo>
                    <a:lnTo>
                      <a:pt x="17083" y="12941"/>
                    </a:lnTo>
                    <a:lnTo>
                      <a:pt x="12917" y="12941"/>
                    </a:lnTo>
                    <a:lnTo>
                      <a:pt x="1083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2" name="Freeform 197"/>
              <p:cNvSpPr>
                <a:spLocks/>
              </p:cNvSpPr>
              <p:nvPr/>
            </p:nvSpPr>
            <p:spPr bwMode="auto">
              <a:xfrm>
                <a:off x="8261350" y="4706938"/>
                <a:ext cx="20638" cy="23812"/>
              </a:xfrm>
              <a:custGeom>
                <a:avLst/>
                <a:gdLst>
                  <a:gd name="T0" fmla="*/ 16250 w 20000"/>
                  <a:gd name="T1" fmla="*/ 19459 h 20000"/>
                  <a:gd name="T2" fmla="*/ 0 w 20000"/>
                  <a:gd name="T3" fmla="*/ 14054 h 20000"/>
                  <a:gd name="T4" fmla="*/ 0 w 20000"/>
                  <a:gd name="T5" fmla="*/ 8649 h 20000"/>
                  <a:gd name="T6" fmla="*/ 9375 w 20000"/>
                  <a:gd name="T7" fmla="*/ 14054 h 20000"/>
                  <a:gd name="T8" fmla="*/ 6875 w 20000"/>
                  <a:gd name="T9" fmla="*/ 5405 h 20000"/>
                  <a:gd name="T10" fmla="*/ 9375 w 20000"/>
                  <a:gd name="T11" fmla="*/ 0 h 20000"/>
                  <a:gd name="T12" fmla="*/ 19375 w 20000"/>
                  <a:gd name="T13" fmla="*/ 0 h 20000"/>
                  <a:gd name="T14" fmla="*/ 16250 w 20000"/>
                  <a:gd name="T15" fmla="*/ 19459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6250" y="19459"/>
                    </a:moveTo>
                    <a:lnTo>
                      <a:pt x="0" y="14054"/>
                    </a:lnTo>
                    <a:lnTo>
                      <a:pt x="0" y="8649"/>
                    </a:lnTo>
                    <a:lnTo>
                      <a:pt x="9375" y="14054"/>
                    </a:lnTo>
                    <a:lnTo>
                      <a:pt x="6875" y="5405"/>
                    </a:lnTo>
                    <a:lnTo>
                      <a:pt x="9375" y="0"/>
                    </a:lnTo>
                    <a:lnTo>
                      <a:pt x="19375" y="0"/>
                    </a:lnTo>
                    <a:lnTo>
                      <a:pt x="16250" y="194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3" name="Freeform 196"/>
              <p:cNvSpPr>
                <a:spLocks/>
              </p:cNvSpPr>
              <p:nvPr/>
            </p:nvSpPr>
            <p:spPr bwMode="auto">
              <a:xfrm>
                <a:off x="8031163" y="4543425"/>
                <a:ext cx="23812" cy="17463"/>
              </a:xfrm>
              <a:custGeom>
                <a:avLst/>
                <a:gdLst>
                  <a:gd name="T0" fmla="*/ 0 w 20000"/>
                  <a:gd name="T1" fmla="*/ 19286 h 20000"/>
                  <a:gd name="T2" fmla="*/ 5263 w 20000"/>
                  <a:gd name="T3" fmla="*/ 0 h 20000"/>
                  <a:gd name="T4" fmla="*/ 19474 w 20000"/>
                  <a:gd name="T5" fmla="*/ 0 h 20000"/>
                  <a:gd name="T6" fmla="*/ 19474 w 20000"/>
                  <a:gd name="T7" fmla="*/ 19286 h 20000"/>
                  <a:gd name="T8" fmla="*/ 11053 w 20000"/>
                  <a:gd name="T9" fmla="*/ 11429 h 20000"/>
                  <a:gd name="T10" fmla="*/ 0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0" y="19286"/>
                    </a:moveTo>
                    <a:lnTo>
                      <a:pt x="5263" y="0"/>
                    </a:lnTo>
                    <a:lnTo>
                      <a:pt x="19474" y="0"/>
                    </a:lnTo>
                    <a:lnTo>
                      <a:pt x="19474" y="19286"/>
                    </a:lnTo>
                    <a:lnTo>
                      <a:pt x="11053" y="11429"/>
                    </a:lnTo>
                    <a:lnTo>
                      <a:pt x="0"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4" name="Freeform 195"/>
              <p:cNvSpPr>
                <a:spLocks/>
              </p:cNvSpPr>
              <p:nvPr/>
            </p:nvSpPr>
            <p:spPr bwMode="auto">
              <a:xfrm>
                <a:off x="7742238" y="4421188"/>
                <a:ext cx="20637" cy="33337"/>
              </a:xfrm>
              <a:custGeom>
                <a:avLst/>
                <a:gdLst>
                  <a:gd name="T0" fmla="*/ 13125 w 20000"/>
                  <a:gd name="T1" fmla="*/ 19615 h 20000"/>
                  <a:gd name="T2" fmla="*/ 0 w 20000"/>
                  <a:gd name="T3" fmla="*/ 1538 h 20000"/>
                  <a:gd name="T4" fmla="*/ 3750 w 20000"/>
                  <a:gd name="T5" fmla="*/ 0 h 20000"/>
                  <a:gd name="T6" fmla="*/ 19375 w 20000"/>
                  <a:gd name="T7" fmla="*/ 9615 h 20000"/>
                  <a:gd name="T8" fmla="*/ 13125 w 20000"/>
                  <a:gd name="T9" fmla="*/ 19615 h 20000"/>
                </a:gdLst>
                <a:ahLst/>
                <a:cxnLst>
                  <a:cxn ang="0">
                    <a:pos x="T0" y="T1"/>
                  </a:cxn>
                  <a:cxn ang="0">
                    <a:pos x="T2" y="T3"/>
                  </a:cxn>
                  <a:cxn ang="0">
                    <a:pos x="T4" y="T5"/>
                  </a:cxn>
                  <a:cxn ang="0">
                    <a:pos x="T6" y="T7"/>
                  </a:cxn>
                  <a:cxn ang="0">
                    <a:pos x="T8" y="T9"/>
                  </a:cxn>
                </a:cxnLst>
                <a:rect l="0" t="0" r="r" b="b"/>
                <a:pathLst>
                  <a:path w="20000" h="20000">
                    <a:moveTo>
                      <a:pt x="13125" y="19615"/>
                    </a:moveTo>
                    <a:lnTo>
                      <a:pt x="0" y="1538"/>
                    </a:lnTo>
                    <a:lnTo>
                      <a:pt x="3750" y="0"/>
                    </a:lnTo>
                    <a:lnTo>
                      <a:pt x="19375" y="9615"/>
                    </a:lnTo>
                    <a:lnTo>
                      <a:pt x="13125"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5" name="Freeform 194"/>
              <p:cNvSpPr>
                <a:spLocks/>
              </p:cNvSpPr>
              <p:nvPr/>
            </p:nvSpPr>
            <p:spPr bwMode="auto">
              <a:xfrm>
                <a:off x="7785100" y="4494213"/>
                <a:ext cx="12700" cy="23812"/>
              </a:xfrm>
              <a:custGeom>
                <a:avLst/>
                <a:gdLst>
                  <a:gd name="T0" fmla="*/ 14286 w 20000"/>
                  <a:gd name="T1" fmla="*/ 19459 h 20000"/>
                  <a:gd name="T2" fmla="*/ 0 w 20000"/>
                  <a:gd name="T3" fmla="*/ 5405 h 20000"/>
                  <a:gd name="T4" fmla="*/ 0 w 20000"/>
                  <a:gd name="T5" fmla="*/ 0 h 20000"/>
                  <a:gd name="T6" fmla="*/ 3810 w 20000"/>
                  <a:gd name="T7" fmla="*/ 0 h 20000"/>
                  <a:gd name="T8" fmla="*/ 19048 w 20000"/>
                  <a:gd name="T9" fmla="*/ 14054 h 20000"/>
                  <a:gd name="T10" fmla="*/ 14286 w 20000"/>
                  <a:gd name="T11" fmla="*/ 19459 h 20000"/>
                </a:gdLst>
                <a:ahLst/>
                <a:cxnLst>
                  <a:cxn ang="0">
                    <a:pos x="T0" y="T1"/>
                  </a:cxn>
                  <a:cxn ang="0">
                    <a:pos x="T2" y="T3"/>
                  </a:cxn>
                  <a:cxn ang="0">
                    <a:pos x="T4" y="T5"/>
                  </a:cxn>
                  <a:cxn ang="0">
                    <a:pos x="T6" y="T7"/>
                  </a:cxn>
                  <a:cxn ang="0">
                    <a:pos x="T8" y="T9"/>
                  </a:cxn>
                  <a:cxn ang="0">
                    <a:pos x="T10" y="T11"/>
                  </a:cxn>
                </a:cxnLst>
                <a:rect l="0" t="0" r="r" b="b"/>
                <a:pathLst>
                  <a:path w="20000" h="20000">
                    <a:moveTo>
                      <a:pt x="14286" y="19459"/>
                    </a:moveTo>
                    <a:lnTo>
                      <a:pt x="0" y="5405"/>
                    </a:lnTo>
                    <a:lnTo>
                      <a:pt x="0" y="0"/>
                    </a:lnTo>
                    <a:lnTo>
                      <a:pt x="3810" y="0"/>
                    </a:lnTo>
                    <a:lnTo>
                      <a:pt x="19048" y="14054"/>
                    </a:lnTo>
                    <a:lnTo>
                      <a:pt x="14286" y="194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6" name="Freeform 193"/>
              <p:cNvSpPr>
                <a:spLocks/>
              </p:cNvSpPr>
              <p:nvPr/>
            </p:nvSpPr>
            <p:spPr bwMode="auto">
              <a:xfrm>
                <a:off x="8693150" y="4673600"/>
                <a:ext cx="20638" cy="30163"/>
              </a:xfrm>
              <a:custGeom>
                <a:avLst/>
                <a:gdLst>
                  <a:gd name="T0" fmla="*/ 6250 w 20000"/>
                  <a:gd name="T1" fmla="*/ 19583 h 20000"/>
                  <a:gd name="T2" fmla="*/ 0 w 20000"/>
                  <a:gd name="T3" fmla="*/ 15417 h 20000"/>
                  <a:gd name="T4" fmla="*/ 15625 w 20000"/>
                  <a:gd name="T5" fmla="*/ 0 h 20000"/>
                  <a:gd name="T6" fmla="*/ 19375 w 20000"/>
                  <a:gd name="T7" fmla="*/ 8750 h 20000"/>
                  <a:gd name="T8" fmla="*/ 6250 w 20000"/>
                  <a:gd name="T9" fmla="*/ 19583 h 20000"/>
                </a:gdLst>
                <a:ahLst/>
                <a:cxnLst>
                  <a:cxn ang="0">
                    <a:pos x="T0" y="T1"/>
                  </a:cxn>
                  <a:cxn ang="0">
                    <a:pos x="T2" y="T3"/>
                  </a:cxn>
                  <a:cxn ang="0">
                    <a:pos x="T4" y="T5"/>
                  </a:cxn>
                  <a:cxn ang="0">
                    <a:pos x="T6" y="T7"/>
                  </a:cxn>
                  <a:cxn ang="0">
                    <a:pos x="T8" y="T9"/>
                  </a:cxn>
                </a:cxnLst>
                <a:rect l="0" t="0" r="r" b="b"/>
                <a:pathLst>
                  <a:path w="20000" h="20000">
                    <a:moveTo>
                      <a:pt x="6250" y="19583"/>
                    </a:moveTo>
                    <a:lnTo>
                      <a:pt x="0" y="15417"/>
                    </a:lnTo>
                    <a:lnTo>
                      <a:pt x="15625" y="0"/>
                    </a:lnTo>
                    <a:lnTo>
                      <a:pt x="19375" y="8750"/>
                    </a:lnTo>
                    <a:lnTo>
                      <a:pt x="6250" y="1958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7" name="Freeform 192"/>
              <p:cNvSpPr>
                <a:spLocks/>
              </p:cNvSpPr>
              <p:nvPr/>
            </p:nvSpPr>
            <p:spPr bwMode="auto">
              <a:xfrm>
                <a:off x="7699375" y="4378325"/>
                <a:ext cx="20638" cy="20638"/>
              </a:xfrm>
              <a:custGeom>
                <a:avLst/>
                <a:gdLst>
                  <a:gd name="T0" fmla="*/ 19375 w 20000"/>
                  <a:gd name="T1" fmla="*/ 19375 h 20000"/>
                  <a:gd name="T2" fmla="*/ 0 w 20000"/>
                  <a:gd name="T3" fmla="*/ 6875 h 20000"/>
                  <a:gd name="T4" fmla="*/ 0 w 20000"/>
                  <a:gd name="T5" fmla="*/ 0 h 20000"/>
                  <a:gd name="T6" fmla="*/ 19375 w 20000"/>
                  <a:gd name="T7" fmla="*/ 16250 h 20000"/>
                  <a:gd name="T8" fmla="*/ 19375 w 20000"/>
                  <a:gd name="T9" fmla="*/ 19375 h 20000"/>
                </a:gdLst>
                <a:ahLst/>
                <a:cxnLst>
                  <a:cxn ang="0">
                    <a:pos x="T0" y="T1"/>
                  </a:cxn>
                  <a:cxn ang="0">
                    <a:pos x="T2" y="T3"/>
                  </a:cxn>
                  <a:cxn ang="0">
                    <a:pos x="T4" y="T5"/>
                  </a:cxn>
                  <a:cxn ang="0">
                    <a:pos x="T6" y="T7"/>
                  </a:cxn>
                  <a:cxn ang="0">
                    <a:pos x="T8" y="T9"/>
                  </a:cxn>
                </a:cxnLst>
                <a:rect l="0" t="0" r="r" b="b"/>
                <a:pathLst>
                  <a:path w="20000" h="20000">
                    <a:moveTo>
                      <a:pt x="19375" y="19375"/>
                    </a:moveTo>
                    <a:lnTo>
                      <a:pt x="0" y="6875"/>
                    </a:lnTo>
                    <a:lnTo>
                      <a:pt x="0" y="0"/>
                    </a:lnTo>
                    <a:lnTo>
                      <a:pt x="19375" y="16250"/>
                    </a:lnTo>
                    <a:lnTo>
                      <a:pt x="19375"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8" name="Freeform 191"/>
              <p:cNvSpPr>
                <a:spLocks/>
              </p:cNvSpPr>
              <p:nvPr/>
            </p:nvSpPr>
            <p:spPr bwMode="auto">
              <a:xfrm>
                <a:off x="8045450" y="4346575"/>
                <a:ext cx="17463" cy="17463"/>
              </a:xfrm>
              <a:custGeom>
                <a:avLst/>
                <a:gdLst>
                  <a:gd name="T0" fmla="*/ 3704 w 20000"/>
                  <a:gd name="T1" fmla="*/ 19259 h 20000"/>
                  <a:gd name="T2" fmla="*/ 0 w 20000"/>
                  <a:gd name="T3" fmla="*/ 7407 h 20000"/>
                  <a:gd name="T4" fmla="*/ 3704 w 20000"/>
                  <a:gd name="T5" fmla="*/ 0 h 20000"/>
                  <a:gd name="T6" fmla="*/ 11852 w 20000"/>
                  <a:gd name="T7" fmla="*/ 7407 h 20000"/>
                  <a:gd name="T8" fmla="*/ 19259 w 20000"/>
                  <a:gd name="T9" fmla="*/ 19259 h 20000"/>
                  <a:gd name="T10" fmla="*/ 3704 w 20000"/>
                  <a:gd name="T11" fmla="*/ 19259 h 20000"/>
                </a:gdLst>
                <a:ahLst/>
                <a:cxnLst>
                  <a:cxn ang="0">
                    <a:pos x="T0" y="T1"/>
                  </a:cxn>
                  <a:cxn ang="0">
                    <a:pos x="T2" y="T3"/>
                  </a:cxn>
                  <a:cxn ang="0">
                    <a:pos x="T4" y="T5"/>
                  </a:cxn>
                  <a:cxn ang="0">
                    <a:pos x="T6" y="T7"/>
                  </a:cxn>
                  <a:cxn ang="0">
                    <a:pos x="T8" y="T9"/>
                  </a:cxn>
                  <a:cxn ang="0">
                    <a:pos x="T10" y="T11"/>
                  </a:cxn>
                </a:cxnLst>
                <a:rect l="0" t="0" r="r" b="b"/>
                <a:pathLst>
                  <a:path w="20000" h="20000">
                    <a:moveTo>
                      <a:pt x="3704" y="19259"/>
                    </a:moveTo>
                    <a:lnTo>
                      <a:pt x="0" y="7407"/>
                    </a:lnTo>
                    <a:lnTo>
                      <a:pt x="3704" y="0"/>
                    </a:lnTo>
                    <a:lnTo>
                      <a:pt x="11852" y="7407"/>
                    </a:lnTo>
                    <a:lnTo>
                      <a:pt x="19259" y="19259"/>
                    </a:lnTo>
                    <a:lnTo>
                      <a:pt x="3704"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59" name="Freeform 190"/>
              <p:cNvSpPr>
                <a:spLocks/>
              </p:cNvSpPr>
              <p:nvPr/>
            </p:nvSpPr>
            <p:spPr bwMode="auto">
              <a:xfrm>
                <a:off x="7916863" y="4424363"/>
                <a:ext cx="9525" cy="7937"/>
              </a:xfrm>
              <a:custGeom>
                <a:avLst/>
                <a:gdLst>
                  <a:gd name="T0" fmla="*/ 0 w 20000"/>
                  <a:gd name="T1" fmla="*/ 0 h 20000"/>
                  <a:gd name="T2" fmla="*/ 12500 w 20000"/>
                  <a:gd name="T3" fmla="*/ 18333 h 20000"/>
                  <a:gd name="T4" fmla="*/ 18750 w 20000"/>
                  <a:gd name="T5" fmla="*/ 0 h 20000"/>
                  <a:gd name="T6" fmla="*/ 12500 w 20000"/>
                  <a:gd name="T7" fmla="*/ 18333 h 20000"/>
                  <a:gd name="T8" fmla="*/ 0 w 20000"/>
                  <a:gd name="T9" fmla="*/ 0 h 20000"/>
                </a:gdLst>
                <a:ahLst/>
                <a:cxnLst>
                  <a:cxn ang="0">
                    <a:pos x="T0" y="T1"/>
                  </a:cxn>
                  <a:cxn ang="0">
                    <a:pos x="T2" y="T3"/>
                  </a:cxn>
                  <a:cxn ang="0">
                    <a:pos x="T4" y="T5"/>
                  </a:cxn>
                  <a:cxn ang="0">
                    <a:pos x="T6" y="T7"/>
                  </a:cxn>
                  <a:cxn ang="0">
                    <a:pos x="T8" y="T9"/>
                  </a:cxn>
                </a:cxnLst>
                <a:rect l="0" t="0" r="r" b="b"/>
                <a:pathLst>
                  <a:path w="20000" h="20000">
                    <a:moveTo>
                      <a:pt x="0" y="0"/>
                    </a:moveTo>
                    <a:lnTo>
                      <a:pt x="12500" y="18333"/>
                    </a:lnTo>
                    <a:lnTo>
                      <a:pt x="18750" y="0"/>
                    </a:lnTo>
                    <a:lnTo>
                      <a:pt x="12500" y="18333"/>
                    </a:lnTo>
                    <a:lnTo>
                      <a:pt x="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0" name="Freeform 189"/>
              <p:cNvSpPr>
                <a:spLocks/>
              </p:cNvSpPr>
              <p:nvPr/>
            </p:nvSpPr>
            <p:spPr bwMode="auto">
              <a:xfrm>
                <a:off x="6051550" y="3333750"/>
                <a:ext cx="269875" cy="263525"/>
              </a:xfrm>
              <a:custGeom>
                <a:avLst/>
                <a:gdLst>
                  <a:gd name="T0" fmla="*/ 6338 w 20000"/>
                  <a:gd name="T1" fmla="*/ 769 h 20000"/>
                  <a:gd name="T2" fmla="*/ 7324 w 20000"/>
                  <a:gd name="T3" fmla="*/ 0 h 20000"/>
                  <a:gd name="T4" fmla="*/ 8545 w 20000"/>
                  <a:gd name="T5" fmla="*/ 288 h 20000"/>
                  <a:gd name="T6" fmla="*/ 10469 w 20000"/>
                  <a:gd name="T7" fmla="*/ 769 h 20000"/>
                  <a:gd name="T8" fmla="*/ 11455 w 20000"/>
                  <a:gd name="T9" fmla="*/ 769 h 20000"/>
                  <a:gd name="T10" fmla="*/ 11690 w 20000"/>
                  <a:gd name="T11" fmla="*/ 1490 h 20000"/>
                  <a:gd name="T12" fmla="*/ 12207 w 20000"/>
                  <a:gd name="T13" fmla="*/ 2260 h 20000"/>
                  <a:gd name="T14" fmla="*/ 12911 w 20000"/>
                  <a:gd name="T15" fmla="*/ 3462 h 20000"/>
                  <a:gd name="T16" fmla="*/ 13662 w 20000"/>
                  <a:gd name="T17" fmla="*/ 3462 h 20000"/>
                  <a:gd name="T18" fmla="*/ 14601 w 20000"/>
                  <a:gd name="T19" fmla="*/ 3462 h 20000"/>
                  <a:gd name="T20" fmla="*/ 14883 w 20000"/>
                  <a:gd name="T21" fmla="*/ 3990 h 20000"/>
                  <a:gd name="T22" fmla="*/ 14131 w 20000"/>
                  <a:gd name="T23" fmla="*/ 4231 h 20000"/>
                  <a:gd name="T24" fmla="*/ 14601 w 20000"/>
                  <a:gd name="T25" fmla="*/ 5481 h 20000"/>
                  <a:gd name="T26" fmla="*/ 13662 w 20000"/>
                  <a:gd name="T27" fmla="*/ 6010 h 20000"/>
                  <a:gd name="T28" fmla="*/ 13662 w 20000"/>
                  <a:gd name="T29" fmla="*/ 6779 h 20000"/>
                  <a:gd name="T30" fmla="*/ 13380 w 20000"/>
                  <a:gd name="T31" fmla="*/ 7260 h 20000"/>
                  <a:gd name="T32" fmla="*/ 13380 w 20000"/>
                  <a:gd name="T33" fmla="*/ 8462 h 20000"/>
                  <a:gd name="T34" fmla="*/ 14601 w 20000"/>
                  <a:gd name="T35" fmla="*/ 9471 h 20000"/>
                  <a:gd name="T36" fmla="*/ 14883 w 20000"/>
                  <a:gd name="T37" fmla="*/ 10433 h 20000"/>
                  <a:gd name="T38" fmla="*/ 16526 w 20000"/>
                  <a:gd name="T39" fmla="*/ 11490 h 20000"/>
                  <a:gd name="T40" fmla="*/ 17559 w 20000"/>
                  <a:gd name="T41" fmla="*/ 11971 h 20000"/>
                  <a:gd name="T42" fmla="*/ 18498 w 20000"/>
                  <a:gd name="T43" fmla="*/ 13750 h 20000"/>
                  <a:gd name="T44" fmla="*/ 18498 w 20000"/>
                  <a:gd name="T45" fmla="*/ 13942 h 20000"/>
                  <a:gd name="T46" fmla="*/ 18498 w 20000"/>
                  <a:gd name="T47" fmla="*/ 15192 h 20000"/>
                  <a:gd name="T48" fmla="*/ 19202 w 20000"/>
                  <a:gd name="T49" fmla="*/ 15721 h 20000"/>
                  <a:gd name="T50" fmla="*/ 19202 w 20000"/>
                  <a:gd name="T51" fmla="*/ 16683 h 20000"/>
                  <a:gd name="T52" fmla="*/ 19953 w 20000"/>
                  <a:gd name="T53" fmla="*/ 17933 h 20000"/>
                  <a:gd name="T54" fmla="*/ 19718 w 20000"/>
                  <a:gd name="T55" fmla="*/ 17933 h 20000"/>
                  <a:gd name="T56" fmla="*/ 18732 w 20000"/>
                  <a:gd name="T57" fmla="*/ 17933 h 20000"/>
                  <a:gd name="T58" fmla="*/ 17559 w 20000"/>
                  <a:gd name="T59" fmla="*/ 17933 h 20000"/>
                  <a:gd name="T60" fmla="*/ 17277 w 20000"/>
                  <a:gd name="T61" fmla="*/ 19183 h 20000"/>
                  <a:gd name="T62" fmla="*/ 16808 w 20000"/>
                  <a:gd name="T63" fmla="*/ 19952 h 20000"/>
                  <a:gd name="T64" fmla="*/ 12911 w 20000"/>
                  <a:gd name="T65" fmla="*/ 19952 h 20000"/>
                  <a:gd name="T66" fmla="*/ 10469 w 20000"/>
                  <a:gd name="T67" fmla="*/ 18942 h 20000"/>
                  <a:gd name="T68" fmla="*/ 10469 w 20000"/>
                  <a:gd name="T69" fmla="*/ 17163 h 20000"/>
                  <a:gd name="T70" fmla="*/ 9249 w 20000"/>
                  <a:gd name="T71" fmla="*/ 16683 h 20000"/>
                  <a:gd name="T72" fmla="*/ 9014 w 20000"/>
                  <a:gd name="T73" fmla="*/ 16442 h 20000"/>
                  <a:gd name="T74" fmla="*/ 7324 w 20000"/>
                  <a:gd name="T75" fmla="*/ 15721 h 20000"/>
                  <a:gd name="T76" fmla="*/ 3192 w 20000"/>
                  <a:gd name="T77" fmla="*/ 13173 h 20000"/>
                  <a:gd name="T78" fmla="*/ 1268 w 20000"/>
                  <a:gd name="T79" fmla="*/ 12692 h 20000"/>
                  <a:gd name="T80" fmla="*/ 0 w 20000"/>
                  <a:gd name="T81" fmla="*/ 9952 h 20000"/>
                  <a:gd name="T82" fmla="*/ 2723 w 20000"/>
                  <a:gd name="T83" fmla="*/ 8462 h 20000"/>
                  <a:gd name="T84" fmla="*/ 4131 w 20000"/>
                  <a:gd name="T85" fmla="*/ 7260 h 20000"/>
                  <a:gd name="T86" fmla="*/ 4648 w 20000"/>
                  <a:gd name="T87" fmla="*/ 6010 h 20000"/>
                  <a:gd name="T88" fmla="*/ 4648 w 20000"/>
                  <a:gd name="T89" fmla="*/ 4231 h 20000"/>
                  <a:gd name="T90" fmla="*/ 4648 w 20000"/>
                  <a:gd name="T91" fmla="*/ 3269 h 20000"/>
                  <a:gd name="T92" fmla="*/ 4648 w 20000"/>
                  <a:gd name="T93" fmla="*/ 2260 h 20000"/>
                  <a:gd name="T94" fmla="*/ 5869 w 20000"/>
                  <a:gd name="T95" fmla="*/ 1490 h 20000"/>
                  <a:gd name="T96" fmla="*/ 6338 w 20000"/>
                  <a:gd name="T97" fmla="*/ 7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6338" y="769"/>
                    </a:moveTo>
                    <a:lnTo>
                      <a:pt x="7324" y="0"/>
                    </a:lnTo>
                    <a:lnTo>
                      <a:pt x="8545" y="288"/>
                    </a:lnTo>
                    <a:lnTo>
                      <a:pt x="10469" y="769"/>
                    </a:lnTo>
                    <a:lnTo>
                      <a:pt x="11455" y="769"/>
                    </a:lnTo>
                    <a:lnTo>
                      <a:pt x="11690" y="1490"/>
                    </a:lnTo>
                    <a:lnTo>
                      <a:pt x="12207" y="2260"/>
                    </a:lnTo>
                    <a:lnTo>
                      <a:pt x="12911" y="3462"/>
                    </a:lnTo>
                    <a:lnTo>
                      <a:pt x="13662" y="3462"/>
                    </a:lnTo>
                    <a:lnTo>
                      <a:pt x="14601" y="3462"/>
                    </a:lnTo>
                    <a:lnTo>
                      <a:pt x="14883" y="3990"/>
                    </a:lnTo>
                    <a:lnTo>
                      <a:pt x="14131" y="4231"/>
                    </a:lnTo>
                    <a:lnTo>
                      <a:pt x="14601" y="5481"/>
                    </a:lnTo>
                    <a:lnTo>
                      <a:pt x="13662" y="6010"/>
                    </a:lnTo>
                    <a:lnTo>
                      <a:pt x="13662" y="6779"/>
                    </a:lnTo>
                    <a:lnTo>
                      <a:pt x="13380" y="7260"/>
                    </a:lnTo>
                    <a:lnTo>
                      <a:pt x="13380" y="8462"/>
                    </a:lnTo>
                    <a:lnTo>
                      <a:pt x="14601" y="9471"/>
                    </a:lnTo>
                    <a:lnTo>
                      <a:pt x="14883" y="10433"/>
                    </a:lnTo>
                    <a:lnTo>
                      <a:pt x="16526" y="11490"/>
                    </a:lnTo>
                    <a:lnTo>
                      <a:pt x="17559" y="11971"/>
                    </a:lnTo>
                    <a:lnTo>
                      <a:pt x="18498" y="13750"/>
                    </a:lnTo>
                    <a:lnTo>
                      <a:pt x="18498" y="13942"/>
                    </a:lnTo>
                    <a:lnTo>
                      <a:pt x="18498" y="15192"/>
                    </a:lnTo>
                    <a:lnTo>
                      <a:pt x="19202" y="15721"/>
                    </a:lnTo>
                    <a:lnTo>
                      <a:pt x="19202" y="16683"/>
                    </a:lnTo>
                    <a:lnTo>
                      <a:pt x="19953" y="17933"/>
                    </a:lnTo>
                    <a:lnTo>
                      <a:pt x="19718" y="17933"/>
                    </a:lnTo>
                    <a:lnTo>
                      <a:pt x="18732" y="17933"/>
                    </a:lnTo>
                    <a:lnTo>
                      <a:pt x="17559" y="17933"/>
                    </a:lnTo>
                    <a:lnTo>
                      <a:pt x="17277" y="19183"/>
                    </a:lnTo>
                    <a:lnTo>
                      <a:pt x="16808" y="19952"/>
                    </a:lnTo>
                    <a:lnTo>
                      <a:pt x="12911" y="19952"/>
                    </a:lnTo>
                    <a:lnTo>
                      <a:pt x="10469" y="18942"/>
                    </a:lnTo>
                    <a:lnTo>
                      <a:pt x="10469" y="17163"/>
                    </a:lnTo>
                    <a:lnTo>
                      <a:pt x="9249" y="16683"/>
                    </a:lnTo>
                    <a:lnTo>
                      <a:pt x="9014" y="16442"/>
                    </a:lnTo>
                    <a:lnTo>
                      <a:pt x="7324" y="15721"/>
                    </a:lnTo>
                    <a:lnTo>
                      <a:pt x="3192" y="13173"/>
                    </a:lnTo>
                    <a:lnTo>
                      <a:pt x="1268" y="12692"/>
                    </a:lnTo>
                    <a:lnTo>
                      <a:pt x="0" y="9952"/>
                    </a:lnTo>
                    <a:lnTo>
                      <a:pt x="2723" y="8462"/>
                    </a:lnTo>
                    <a:lnTo>
                      <a:pt x="4131" y="7260"/>
                    </a:lnTo>
                    <a:lnTo>
                      <a:pt x="4648" y="6010"/>
                    </a:lnTo>
                    <a:lnTo>
                      <a:pt x="4648" y="4231"/>
                    </a:lnTo>
                    <a:lnTo>
                      <a:pt x="4648" y="3269"/>
                    </a:lnTo>
                    <a:lnTo>
                      <a:pt x="4648" y="2260"/>
                    </a:lnTo>
                    <a:lnTo>
                      <a:pt x="5869" y="1490"/>
                    </a:lnTo>
                    <a:lnTo>
                      <a:pt x="6338" y="7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1" name="Freeform 188"/>
              <p:cNvSpPr>
                <a:spLocks/>
              </p:cNvSpPr>
              <p:nvPr/>
            </p:nvSpPr>
            <p:spPr bwMode="auto">
              <a:xfrm>
                <a:off x="6176963" y="3251200"/>
                <a:ext cx="569912" cy="469900"/>
              </a:xfrm>
              <a:custGeom>
                <a:avLst/>
                <a:gdLst>
                  <a:gd name="T0" fmla="*/ 4504 w 20000"/>
                  <a:gd name="T1" fmla="*/ 1808 h 20000"/>
                  <a:gd name="T2" fmla="*/ 5061 w 20000"/>
                  <a:gd name="T3" fmla="*/ 3212 h 20000"/>
                  <a:gd name="T4" fmla="*/ 6800 w 20000"/>
                  <a:gd name="T5" fmla="*/ 4049 h 20000"/>
                  <a:gd name="T6" fmla="*/ 9342 w 20000"/>
                  <a:gd name="T7" fmla="*/ 3914 h 20000"/>
                  <a:gd name="T8" fmla="*/ 9253 w 20000"/>
                  <a:gd name="T9" fmla="*/ 4049 h 20000"/>
                  <a:gd name="T10" fmla="*/ 9810 w 20000"/>
                  <a:gd name="T11" fmla="*/ 4049 h 20000"/>
                  <a:gd name="T12" fmla="*/ 10502 w 20000"/>
                  <a:gd name="T13" fmla="*/ 3212 h 20000"/>
                  <a:gd name="T14" fmla="*/ 11773 w 20000"/>
                  <a:gd name="T15" fmla="*/ 2105 h 20000"/>
                  <a:gd name="T16" fmla="*/ 12910 w 20000"/>
                  <a:gd name="T17" fmla="*/ 2375 h 20000"/>
                  <a:gd name="T18" fmla="*/ 16611 w 20000"/>
                  <a:gd name="T19" fmla="*/ 4049 h 20000"/>
                  <a:gd name="T20" fmla="*/ 16834 w 20000"/>
                  <a:gd name="T21" fmla="*/ 6424 h 20000"/>
                  <a:gd name="T22" fmla="*/ 16834 w 20000"/>
                  <a:gd name="T23" fmla="*/ 7557 h 20000"/>
                  <a:gd name="T24" fmla="*/ 16611 w 20000"/>
                  <a:gd name="T25" fmla="*/ 8394 h 20000"/>
                  <a:gd name="T26" fmla="*/ 16611 w 20000"/>
                  <a:gd name="T27" fmla="*/ 9096 h 20000"/>
                  <a:gd name="T28" fmla="*/ 17101 w 20000"/>
                  <a:gd name="T29" fmla="*/ 11309 h 20000"/>
                  <a:gd name="T30" fmla="*/ 18105 w 20000"/>
                  <a:gd name="T31" fmla="*/ 12308 h 20000"/>
                  <a:gd name="T32" fmla="*/ 17547 w 20000"/>
                  <a:gd name="T33" fmla="*/ 13846 h 20000"/>
                  <a:gd name="T34" fmla="*/ 18930 w 20000"/>
                  <a:gd name="T35" fmla="*/ 15358 h 20000"/>
                  <a:gd name="T36" fmla="*/ 19621 w 20000"/>
                  <a:gd name="T37" fmla="*/ 17031 h 20000"/>
                  <a:gd name="T38" fmla="*/ 19978 w 20000"/>
                  <a:gd name="T39" fmla="*/ 17598 h 20000"/>
                  <a:gd name="T40" fmla="*/ 19844 w 20000"/>
                  <a:gd name="T41" fmla="*/ 17868 h 20000"/>
                  <a:gd name="T42" fmla="*/ 19041 w 20000"/>
                  <a:gd name="T43" fmla="*/ 18273 h 20000"/>
                  <a:gd name="T44" fmla="*/ 18462 w 20000"/>
                  <a:gd name="T45" fmla="*/ 19271 h 20000"/>
                  <a:gd name="T46" fmla="*/ 18016 w 20000"/>
                  <a:gd name="T47" fmla="*/ 19703 h 20000"/>
                  <a:gd name="T48" fmla="*/ 16054 w 20000"/>
                  <a:gd name="T49" fmla="*/ 19406 h 20000"/>
                  <a:gd name="T50" fmla="*/ 14091 w 20000"/>
                  <a:gd name="T51" fmla="*/ 18974 h 20000"/>
                  <a:gd name="T52" fmla="*/ 13177 w 20000"/>
                  <a:gd name="T53" fmla="*/ 17166 h 20000"/>
                  <a:gd name="T54" fmla="*/ 12219 w 20000"/>
                  <a:gd name="T55" fmla="*/ 17598 h 20000"/>
                  <a:gd name="T56" fmla="*/ 11438 w 20000"/>
                  <a:gd name="T57" fmla="*/ 18165 h 20000"/>
                  <a:gd name="T58" fmla="*/ 9922 w 20000"/>
                  <a:gd name="T59" fmla="*/ 17436 h 20000"/>
                  <a:gd name="T60" fmla="*/ 8986 w 20000"/>
                  <a:gd name="T61" fmla="*/ 16491 h 20000"/>
                  <a:gd name="T62" fmla="*/ 7737 w 20000"/>
                  <a:gd name="T63" fmla="*/ 15223 h 20000"/>
                  <a:gd name="T64" fmla="*/ 7157 w 20000"/>
                  <a:gd name="T65" fmla="*/ 14521 h 20000"/>
                  <a:gd name="T66" fmla="*/ 6577 w 20000"/>
                  <a:gd name="T67" fmla="*/ 13117 h 20000"/>
                  <a:gd name="T68" fmla="*/ 5663 w 20000"/>
                  <a:gd name="T69" fmla="*/ 13117 h 20000"/>
                  <a:gd name="T70" fmla="*/ 5418 w 20000"/>
                  <a:gd name="T71" fmla="*/ 12848 h 20000"/>
                  <a:gd name="T72" fmla="*/ 5061 w 20000"/>
                  <a:gd name="T73" fmla="*/ 13522 h 20000"/>
                  <a:gd name="T74" fmla="*/ 4727 w 20000"/>
                  <a:gd name="T75" fmla="*/ 12308 h 20000"/>
                  <a:gd name="T76" fmla="*/ 4370 w 20000"/>
                  <a:gd name="T77" fmla="*/ 11309 h 20000"/>
                  <a:gd name="T78" fmla="*/ 3924 w 20000"/>
                  <a:gd name="T79" fmla="*/ 10202 h 20000"/>
                  <a:gd name="T80" fmla="*/ 2653 w 20000"/>
                  <a:gd name="T81" fmla="*/ 9366 h 20000"/>
                  <a:gd name="T82" fmla="*/ 1962 w 20000"/>
                  <a:gd name="T83" fmla="*/ 8232 h 20000"/>
                  <a:gd name="T84" fmla="*/ 2096 w 20000"/>
                  <a:gd name="T85" fmla="*/ 7287 h 20000"/>
                  <a:gd name="T86" fmla="*/ 2542 w 20000"/>
                  <a:gd name="T87" fmla="*/ 6559 h 20000"/>
                  <a:gd name="T88" fmla="*/ 2653 w 20000"/>
                  <a:gd name="T89" fmla="*/ 5722 h 20000"/>
                  <a:gd name="T90" fmla="*/ 2096 w 20000"/>
                  <a:gd name="T91" fmla="*/ 5452 h 20000"/>
                  <a:gd name="T92" fmla="*/ 1382 w 20000"/>
                  <a:gd name="T93" fmla="*/ 4750 h 20000"/>
                  <a:gd name="T94" fmla="*/ 1048 w 20000"/>
                  <a:gd name="T95" fmla="*/ 3914 h 20000"/>
                  <a:gd name="T96" fmla="*/ 580 w 20000"/>
                  <a:gd name="T97" fmla="*/ 2537 h 20000"/>
                  <a:gd name="T98" fmla="*/ 468 w 20000"/>
                  <a:gd name="T99" fmla="*/ 1673 h 20000"/>
                  <a:gd name="T100" fmla="*/ 468 w 20000"/>
                  <a:gd name="T101" fmla="*/ 0 h 20000"/>
                  <a:gd name="T102" fmla="*/ 2542 w 20000"/>
                  <a:gd name="T103" fmla="*/ 14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00" h="20000">
                    <a:moveTo>
                      <a:pt x="3233" y="1107"/>
                    </a:moveTo>
                    <a:lnTo>
                      <a:pt x="4504" y="1808"/>
                    </a:lnTo>
                    <a:lnTo>
                      <a:pt x="4370" y="2105"/>
                    </a:lnTo>
                    <a:lnTo>
                      <a:pt x="5061" y="3212"/>
                    </a:lnTo>
                    <a:lnTo>
                      <a:pt x="5886" y="3482"/>
                    </a:lnTo>
                    <a:lnTo>
                      <a:pt x="6800" y="4049"/>
                    </a:lnTo>
                    <a:lnTo>
                      <a:pt x="8294" y="4318"/>
                    </a:lnTo>
                    <a:lnTo>
                      <a:pt x="9342" y="3914"/>
                    </a:lnTo>
                    <a:lnTo>
                      <a:pt x="9588" y="3914"/>
                    </a:lnTo>
                    <a:lnTo>
                      <a:pt x="9253" y="4049"/>
                    </a:lnTo>
                    <a:lnTo>
                      <a:pt x="9253" y="4318"/>
                    </a:lnTo>
                    <a:lnTo>
                      <a:pt x="9810" y="4049"/>
                    </a:lnTo>
                    <a:lnTo>
                      <a:pt x="9588" y="3482"/>
                    </a:lnTo>
                    <a:lnTo>
                      <a:pt x="10502" y="3212"/>
                    </a:lnTo>
                    <a:lnTo>
                      <a:pt x="11081" y="2105"/>
                    </a:lnTo>
                    <a:lnTo>
                      <a:pt x="11773" y="2105"/>
                    </a:lnTo>
                    <a:lnTo>
                      <a:pt x="12687" y="1808"/>
                    </a:lnTo>
                    <a:lnTo>
                      <a:pt x="12910" y="2375"/>
                    </a:lnTo>
                    <a:lnTo>
                      <a:pt x="14181" y="2807"/>
                    </a:lnTo>
                    <a:lnTo>
                      <a:pt x="16611" y="4049"/>
                    </a:lnTo>
                    <a:lnTo>
                      <a:pt x="16834" y="5452"/>
                    </a:lnTo>
                    <a:lnTo>
                      <a:pt x="16834" y="6424"/>
                    </a:lnTo>
                    <a:lnTo>
                      <a:pt x="16611" y="7287"/>
                    </a:lnTo>
                    <a:lnTo>
                      <a:pt x="16834" y="7557"/>
                    </a:lnTo>
                    <a:lnTo>
                      <a:pt x="16499" y="7665"/>
                    </a:lnTo>
                    <a:lnTo>
                      <a:pt x="16611" y="8394"/>
                    </a:lnTo>
                    <a:lnTo>
                      <a:pt x="16834" y="8664"/>
                    </a:lnTo>
                    <a:lnTo>
                      <a:pt x="16611" y="9096"/>
                    </a:lnTo>
                    <a:lnTo>
                      <a:pt x="17101" y="10202"/>
                    </a:lnTo>
                    <a:lnTo>
                      <a:pt x="17101" y="11309"/>
                    </a:lnTo>
                    <a:lnTo>
                      <a:pt x="18016" y="11579"/>
                    </a:lnTo>
                    <a:lnTo>
                      <a:pt x="18105" y="12308"/>
                    </a:lnTo>
                    <a:lnTo>
                      <a:pt x="17770" y="12848"/>
                    </a:lnTo>
                    <a:lnTo>
                      <a:pt x="17547" y="13846"/>
                    </a:lnTo>
                    <a:lnTo>
                      <a:pt x="18350" y="15223"/>
                    </a:lnTo>
                    <a:lnTo>
                      <a:pt x="18930" y="15358"/>
                    </a:lnTo>
                    <a:lnTo>
                      <a:pt x="19509" y="16059"/>
                    </a:lnTo>
                    <a:lnTo>
                      <a:pt x="19621" y="17031"/>
                    </a:lnTo>
                    <a:lnTo>
                      <a:pt x="19978" y="17031"/>
                    </a:lnTo>
                    <a:lnTo>
                      <a:pt x="19978" y="17598"/>
                    </a:lnTo>
                    <a:lnTo>
                      <a:pt x="19844" y="17598"/>
                    </a:lnTo>
                    <a:lnTo>
                      <a:pt x="19844" y="17868"/>
                    </a:lnTo>
                    <a:lnTo>
                      <a:pt x="19509" y="17868"/>
                    </a:lnTo>
                    <a:lnTo>
                      <a:pt x="19041" y="18273"/>
                    </a:lnTo>
                    <a:lnTo>
                      <a:pt x="18707" y="18273"/>
                    </a:lnTo>
                    <a:lnTo>
                      <a:pt x="18462" y="19271"/>
                    </a:lnTo>
                    <a:lnTo>
                      <a:pt x="18462" y="19973"/>
                    </a:lnTo>
                    <a:lnTo>
                      <a:pt x="18016" y="19703"/>
                    </a:lnTo>
                    <a:lnTo>
                      <a:pt x="17101" y="19406"/>
                    </a:lnTo>
                    <a:lnTo>
                      <a:pt x="16054" y="19406"/>
                    </a:lnTo>
                    <a:lnTo>
                      <a:pt x="15139" y="19271"/>
                    </a:lnTo>
                    <a:lnTo>
                      <a:pt x="14091" y="18974"/>
                    </a:lnTo>
                    <a:lnTo>
                      <a:pt x="13623" y="17868"/>
                    </a:lnTo>
                    <a:lnTo>
                      <a:pt x="13177" y="17166"/>
                    </a:lnTo>
                    <a:lnTo>
                      <a:pt x="12575" y="17436"/>
                    </a:lnTo>
                    <a:lnTo>
                      <a:pt x="12219" y="17598"/>
                    </a:lnTo>
                    <a:lnTo>
                      <a:pt x="11773" y="17868"/>
                    </a:lnTo>
                    <a:lnTo>
                      <a:pt x="11438" y="18165"/>
                    </a:lnTo>
                    <a:lnTo>
                      <a:pt x="10725" y="17868"/>
                    </a:lnTo>
                    <a:lnTo>
                      <a:pt x="9922" y="17436"/>
                    </a:lnTo>
                    <a:lnTo>
                      <a:pt x="9342" y="17031"/>
                    </a:lnTo>
                    <a:lnTo>
                      <a:pt x="8986" y="16491"/>
                    </a:lnTo>
                    <a:lnTo>
                      <a:pt x="8294" y="16329"/>
                    </a:lnTo>
                    <a:lnTo>
                      <a:pt x="7737" y="15223"/>
                    </a:lnTo>
                    <a:lnTo>
                      <a:pt x="7514" y="14683"/>
                    </a:lnTo>
                    <a:lnTo>
                      <a:pt x="7157" y="14521"/>
                    </a:lnTo>
                    <a:lnTo>
                      <a:pt x="6800" y="13522"/>
                    </a:lnTo>
                    <a:lnTo>
                      <a:pt x="6577" y="13117"/>
                    </a:lnTo>
                    <a:lnTo>
                      <a:pt x="6243" y="13522"/>
                    </a:lnTo>
                    <a:lnTo>
                      <a:pt x="5663" y="13117"/>
                    </a:lnTo>
                    <a:lnTo>
                      <a:pt x="5663" y="12848"/>
                    </a:lnTo>
                    <a:lnTo>
                      <a:pt x="5418" y="12848"/>
                    </a:lnTo>
                    <a:lnTo>
                      <a:pt x="5418" y="13522"/>
                    </a:lnTo>
                    <a:lnTo>
                      <a:pt x="5061" y="13522"/>
                    </a:lnTo>
                    <a:lnTo>
                      <a:pt x="4727" y="12848"/>
                    </a:lnTo>
                    <a:lnTo>
                      <a:pt x="4727" y="12308"/>
                    </a:lnTo>
                    <a:lnTo>
                      <a:pt x="4370" y="12011"/>
                    </a:lnTo>
                    <a:lnTo>
                      <a:pt x="4370" y="11309"/>
                    </a:lnTo>
                    <a:lnTo>
                      <a:pt x="4370" y="11201"/>
                    </a:lnTo>
                    <a:lnTo>
                      <a:pt x="3924" y="10202"/>
                    </a:lnTo>
                    <a:lnTo>
                      <a:pt x="3456" y="9933"/>
                    </a:lnTo>
                    <a:lnTo>
                      <a:pt x="2653" y="9366"/>
                    </a:lnTo>
                    <a:lnTo>
                      <a:pt x="2542" y="8799"/>
                    </a:lnTo>
                    <a:lnTo>
                      <a:pt x="1962" y="8232"/>
                    </a:lnTo>
                    <a:lnTo>
                      <a:pt x="1962" y="7557"/>
                    </a:lnTo>
                    <a:lnTo>
                      <a:pt x="2096" y="7287"/>
                    </a:lnTo>
                    <a:lnTo>
                      <a:pt x="2096" y="6856"/>
                    </a:lnTo>
                    <a:lnTo>
                      <a:pt x="2542" y="6559"/>
                    </a:lnTo>
                    <a:lnTo>
                      <a:pt x="2319" y="5857"/>
                    </a:lnTo>
                    <a:lnTo>
                      <a:pt x="2653" y="5722"/>
                    </a:lnTo>
                    <a:lnTo>
                      <a:pt x="2542" y="5452"/>
                    </a:lnTo>
                    <a:lnTo>
                      <a:pt x="2096" y="5452"/>
                    </a:lnTo>
                    <a:lnTo>
                      <a:pt x="1739" y="5452"/>
                    </a:lnTo>
                    <a:lnTo>
                      <a:pt x="1382" y="4750"/>
                    </a:lnTo>
                    <a:lnTo>
                      <a:pt x="1137" y="4318"/>
                    </a:lnTo>
                    <a:lnTo>
                      <a:pt x="1048" y="3914"/>
                    </a:lnTo>
                    <a:lnTo>
                      <a:pt x="803" y="3212"/>
                    </a:lnTo>
                    <a:lnTo>
                      <a:pt x="580" y="2537"/>
                    </a:lnTo>
                    <a:lnTo>
                      <a:pt x="580" y="2375"/>
                    </a:lnTo>
                    <a:lnTo>
                      <a:pt x="468" y="1673"/>
                    </a:lnTo>
                    <a:lnTo>
                      <a:pt x="0" y="567"/>
                    </a:lnTo>
                    <a:lnTo>
                      <a:pt x="468" y="0"/>
                    </a:lnTo>
                    <a:lnTo>
                      <a:pt x="1137" y="1107"/>
                    </a:lnTo>
                    <a:lnTo>
                      <a:pt x="2542" y="1404"/>
                    </a:lnTo>
                    <a:lnTo>
                      <a:pt x="3233" y="110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2" name="Freeform 187"/>
              <p:cNvSpPr>
                <a:spLocks/>
              </p:cNvSpPr>
              <p:nvPr/>
            </p:nvSpPr>
            <p:spPr bwMode="auto">
              <a:xfrm>
                <a:off x="5934075" y="3471863"/>
                <a:ext cx="36513" cy="122237"/>
              </a:xfrm>
              <a:custGeom>
                <a:avLst/>
                <a:gdLst>
                  <a:gd name="T0" fmla="*/ 8966 w 20000"/>
                  <a:gd name="T1" fmla="*/ 622 h 20000"/>
                  <a:gd name="T2" fmla="*/ 14138 w 20000"/>
                  <a:gd name="T3" fmla="*/ 622 h 20000"/>
                  <a:gd name="T4" fmla="*/ 14138 w 20000"/>
                  <a:gd name="T5" fmla="*/ 0 h 20000"/>
                  <a:gd name="T6" fmla="*/ 19655 w 20000"/>
                  <a:gd name="T7" fmla="*/ 0 h 20000"/>
                  <a:gd name="T8" fmla="*/ 19655 w 20000"/>
                  <a:gd name="T9" fmla="*/ 622 h 20000"/>
                  <a:gd name="T10" fmla="*/ 14138 w 20000"/>
                  <a:gd name="T11" fmla="*/ 3212 h 20000"/>
                  <a:gd name="T12" fmla="*/ 14138 w 20000"/>
                  <a:gd name="T13" fmla="*/ 4249 h 20000"/>
                  <a:gd name="T14" fmla="*/ 12759 w 20000"/>
                  <a:gd name="T15" fmla="*/ 4249 h 20000"/>
                  <a:gd name="T16" fmla="*/ 12759 w 20000"/>
                  <a:gd name="T17" fmla="*/ 5907 h 20000"/>
                  <a:gd name="T18" fmla="*/ 14138 w 20000"/>
                  <a:gd name="T19" fmla="*/ 7565 h 20000"/>
                  <a:gd name="T20" fmla="*/ 14138 w 20000"/>
                  <a:gd name="T21" fmla="*/ 11295 h 20000"/>
                  <a:gd name="T22" fmla="*/ 14138 w 20000"/>
                  <a:gd name="T23" fmla="*/ 14404 h 20000"/>
                  <a:gd name="T24" fmla="*/ 14138 w 20000"/>
                  <a:gd name="T25" fmla="*/ 18238 h 20000"/>
                  <a:gd name="T26" fmla="*/ 8966 w 20000"/>
                  <a:gd name="T27" fmla="*/ 19896 h 20000"/>
                  <a:gd name="T28" fmla="*/ 8966 w 20000"/>
                  <a:gd name="T29" fmla="*/ 16062 h 20000"/>
                  <a:gd name="T30" fmla="*/ 5517 w 20000"/>
                  <a:gd name="T31" fmla="*/ 13368 h 20000"/>
                  <a:gd name="T32" fmla="*/ 0 w 20000"/>
                  <a:gd name="T33" fmla="*/ 11295 h 20000"/>
                  <a:gd name="T34" fmla="*/ 3448 w 20000"/>
                  <a:gd name="T35" fmla="*/ 9119 h 20000"/>
                  <a:gd name="T36" fmla="*/ 0 w 20000"/>
                  <a:gd name="T37" fmla="*/ 7565 h 20000"/>
                  <a:gd name="T38" fmla="*/ 3448 w 20000"/>
                  <a:gd name="T39" fmla="*/ 7047 h 20000"/>
                  <a:gd name="T40" fmla="*/ 5517 w 20000"/>
                  <a:gd name="T41" fmla="*/ 4249 h 20000"/>
                  <a:gd name="T42" fmla="*/ 8966 w 20000"/>
                  <a:gd name="T43" fmla="*/ 62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8966" y="622"/>
                    </a:moveTo>
                    <a:lnTo>
                      <a:pt x="14138" y="622"/>
                    </a:lnTo>
                    <a:lnTo>
                      <a:pt x="14138" y="0"/>
                    </a:lnTo>
                    <a:lnTo>
                      <a:pt x="19655" y="0"/>
                    </a:lnTo>
                    <a:lnTo>
                      <a:pt x="19655" y="622"/>
                    </a:lnTo>
                    <a:lnTo>
                      <a:pt x="14138" y="3212"/>
                    </a:lnTo>
                    <a:lnTo>
                      <a:pt x="14138" y="4249"/>
                    </a:lnTo>
                    <a:lnTo>
                      <a:pt x="12759" y="4249"/>
                    </a:lnTo>
                    <a:lnTo>
                      <a:pt x="12759" y="5907"/>
                    </a:lnTo>
                    <a:lnTo>
                      <a:pt x="14138" y="7565"/>
                    </a:lnTo>
                    <a:lnTo>
                      <a:pt x="14138" y="11295"/>
                    </a:lnTo>
                    <a:lnTo>
                      <a:pt x="14138" y="14404"/>
                    </a:lnTo>
                    <a:lnTo>
                      <a:pt x="14138" y="18238"/>
                    </a:lnTo>
                    <a:lnTo>
                      <a:pt x="8966" y="19896"/>
                    </a:lnTo>
                    <a:lnTo>
                      <a:pt x="8966" y="16062"/>
                    </a:lnTo>
                    <a:lnTo>
                      <a:pt x="5517" y="13368"/>
                    </a:lnTo>
                    <a:lnTo>
                      <a:pt x="0" y="11295"/>
                    </a:lnTo>
                    <a:lnTo>
                      <a:pt x="3448" y="9119"/>
                    </a:lnTo>
                    <a:lnTo>
                      <a:pt x="0" y="7565"/>
                    </a:lnTo>
                    <a:lnTo>
                      <a:pt x="3448" y="7047"/>
                    </a:lnTo>
                    <a:lnTo>
                      <a:pt x="5517" y="4249"/>
                    </a:lnTo>
                    <a:lnTo>
                      <a:pt x="8966" y="62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3" name="Freeform 186"/>
              <p:cNvSpPr>
                <a:spLocks/>
              </p:cNvSpPr>
              <p:nvPr/>
            </p:nvSpPr>
            <p:spPr bwMode="auto">
              <a:xfrm>
                <a:off x="8580438" y="3051175"/>
                <a:ext cx="266700" cy="334963"/>
              </a:xfrm>
              <a:custGeom>
                <a:avLst/>
                <a:gdLst>
                  <a:gd name="T0" fmla="*/ 9857 w 20000"/>
                  <a:gd name="T1" fmla="*/ 19583 h 20000"/>
                  <a:gd name="T2" fmla="*/ 8857 w 20000"/>
                  <a:gd name="T3" fmla="*/ 18598 h 20000"/>
                  <a:gd name="T4" fmla="*/ 9143 w 20000"/>
                  <a:gd name="T5" fmla="*/ 17424 h 20000"/>
                  <a:gd name="T6" fmla="*/ 7619 w 20000"/>
                  <a:gd name="T7" fmla="*/ 17045 h 20000"/>
                  <a:gd name="T8" fmla="*/ 4667 w 20000"/>
                  <a:gd name="T9" fmla="*/ 18030 h 20000"/>
                  <a:gd name="T10" fmla="*/ 3190 w 20000"/>
                  <a:gd name="T11" fmla="*/ 18409 h 20000"/>
                  <a:gd name="T12" fmla="*/ 2714 w 20000"/>
                  <a:gd name="T13" fmla="*/ 18409 h 20000"/>
                  <a:gd name="T14" fmla="*/ 2714 w 20000"/>
                  <a:gd name="T15" fmla="*/ 19394 h 20000"/>
                  <a:gd name="T16" fmla="*/ 1238 w 20000"/>
                  <a:gd name="T17" fmla="*/ 18977 h 20000"/>
                  <a:gd name="T18" fmla="*/ 0 w 20000"/>
                  <a:gd name="T19" fmla="*/ 18409 h 20000"/>
                  <a:gd name="T20" fmla="*/ 1238 w 20000"/>
                  <a:gd name="T21" fmla="*/ 17652 h 20000"/>
                  <a:gd name="T22" fmla="*/ 2429 w 20000"/>
                  <a:gd name="T23" fmla="*/ 16439 h 20000"/>
                  <a:gd name="T24" fmla="*/ 2714 w 20000"/>
                  <a:gd name="T25" fmla="*/ 15492 h 20000"/>
                  <a:gd name="T26" fmla="*/ 3905 w 20000"/>
                  <a:gd name="T27" fmla="*/ 15492 h 20000"/>
                  <a:gd name="T28" fmla="*/ 4667 w 20000"/>
                  <a:gd name="T29" fmla="*/ 15492 h 20000"/>
                  <a:gd name="T30" fmla="*/ 7905 w 20000"/>
                  <a:gd name="T31" fmla="*/ 14470 h 20000"/>
                  <a:gd name="T32" fmla="*/ 8857 w 20000"/>
                  <a:gd name="T33" fmla="*/ 15265 h 20000"/>
                  <a:gd name="T34" fmla="*/ 9857 w 20000"/>
                  <a:gd name="T35" fmla="*/ 14470 h 20000"/>
                  <a:gd name="T36" fmla="*/ 9619 w 20000"/>
                  <a:gd name="T37" fmla="*/ 13333 h 20000"/>
                  <a:gd name="T38" fmla="*/ 9857 w 20000"/>
                  <a:gd name="T39" fmla="*/ 10758 h 20000"/>
                  <a:gd name="T40" fmla="*/ 11095 w 20000"/>
                  <a:gd name="T41" fmla="*/ 10758 h 20000"/>
                  <a:gd name="T42" fmla="*/ 10810 w 20000"/>
                  <a:gd name="T43" fmla="*/ 11364 h 20000"/>
                  <a:gd name="T44" fmla="*/ 11571 w 20000"/>
                  <a:gd name="T45" fmla="*/ 11932 h 20000"/>
                  <a:gd name="T46" fmla="*/ 13571 w 20000"/>
                  <a:gd name="T47" fmla="*/ 11174 h 20000"/>
                  <a:gd name="T48" fmla="*/ 14810 w 20000"/>
                  <a:gd name="T49" fmla="*/ 9205 h 20000"/>
                  <a:gd name="T50" fmla="*/ 15000 w 20000"/>
                  <a:gd name="T51" fmla="*/ 6061 h 20000"/>
                  <a:gd name="T52" fmla="*/ 14810 w 20000"/>
                  <a:gd name="T53" fmla="*/ 4508 h 20000"/>
                  <a:gd name="T54" fmla="*/ 14286 w 20000"/>
                  <a:gd name="T55" fmla="*/ 3712 h 20000"/>
                  <a:gd name="T56" fmla="*/ 14810 w 20000"/>
                  <a:gd name="T57" fmla="*/ 1932 h 20000"/>
                  <a:gd name="T58" fmla="*/ 15000 w 20000"/>
                  <a:gd name="T59" fmla="*/ 985 h 20000"/>
                  <a:gd name="T60" fmla="*/ 16000 w 20000"/>
                  <a:gd name="T61" fmla="*/ 1553 h 20000"/>
                  <a:gd name="T62" fmla="*/ 16286 w 20000"/>
                  <a:gd name="T63" fmla="*/ 985 h 20000"/>
                  <a:gd name="T64" fmla="*/ 15524 w 20000"/>
                  <a:gd name="T65" fmla="*/ 0 h 20000"/>
                  <a:gd name="T66" fmla="*/ 16762 w 20000"/>
                  <a:gd name="T67" fmla="*/ 379 h 20000"/>
                  <a:gd name="T68" fmla="*/ 18000 w 20000"/>
                  <a:gd name="T69" fmla="*/ 2538 h 20000"/>
                  <a:gd name="T70" fmla="*/ 19190 w 20000"/>
                  <a:gd name="T71" fmla="*/ 4697 h 20000"/>
                  <a:gd name="T72" fmla="*/ 19476 w 20000"/>
                  <a:gd name="T73" fmla="*/ 6061 h 20000"/>
                  <a:gd name="T74" fmla="*/ 19476 w 20000"/>
                  <a:gd name="T75" fmla="*/ 7841 h 20000"/>
                  <a:gd name="T76" fmla="*/ 18238 w 20000"/>
                  <a:gd name="T77" fmla="*/ 8220 h 20000"/>
                  <a:gd name="T78" fmla="*/ 19190 w 20000"/>
                  <a:gd name="T79" fmla="*/ 11364 h 20000"/>
                  <a:gd name="T80" fmla="*/ 19952 w 20000"/>
                  <a:gd name="T81" fmla="*/ 14318 h 20000"/>
                  <a:gd name="T82" fmla="*/ 19190 w 20000"/>
                  <a:gd name="T83" fmla="*/ 15492 h 20000"/>
                  <a:gd name="T84" fmla="*/ 18238 w 20000"/>
                  <a:gd name="T85" fmla="*/ 14886 h 20000"/>
                  <a:gd name="T86" fmla="*/ 17524 w 20000"/>
                  <a:gd name="T87" fmla="*/ 15265 h 20000"/>
                  <a:gd name="T88" fmla="*/ 17048 w 20000"/>
                  <a:gd name="T89" fmla="*/ 15265 h 20000"/>
                  <a:gd name="T90" fmla="*/ 16762 w 20000"/>
                  <a:gd name="T91" fmla="*/ 16439 h 20000"/>
                  <a:gd name="T92" fmla="*/ 15524 w 20000"/>
                  <a:gd name="T93" fmla="*/ 15871 h 20000"/>
                  <a:gd name="T94" fmla="*/ 14810 w 20000"/>
                  <a:gd name="T95" fmla="*/ 17045 h 20000"/>
                  <a:gd name="T96" fmla="*/ 12857 w 20000"/>
                  <a:gd name="T97" fmla="*/ 17424 h 20000"/>
                  <a:gd name="T98" fmla="*/ 11810 w 20000"/>
                  <a:gd name="T99" fmla="*/ 16818 h 20000"/>
                  <a:gd name="T100" fmla="*/ 11571 w 20000"/>
                  <a:gd name="T101" fmla="*/ 16061 h 20000"/>
                  <a:gd name="T102" fmla="*/ 12286 w 20000"/>
                  <a:gd name="T103" fmla="*/ 17424 h 20000"/>
                  <a:gd name="T104" fmla="*/ 11095 w 20000"/>
                  <a:gd name="T105" fmla="*/ 1840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0810" y="19962"/>
                    </a:moveTo>
                    <a:lnTo>
                      <a:pt x="9857" y="19583"/>
                    </a:lnTo>
                    <a:lnTo>
                      <a:pt x="8857" y="18977"/>
                    </a:lnTo>
                    <a:lnTo>
                      <a:pt x="8857" y="18598"/>
                    </a:lnTo>
                    <a:lnTo>
                      <a:pt x="8857" y="18030"/>
                    </a:lnTo>
                    <a:lnTo>
                      <a:pt x="9143" y="17424"/>
                    </a:lnTo>
                    <a:lnTo>
                      <a:pt x="8857" y="17045"/>
                    </a:lnTo>
                    <a:lnTo>
                      <a:pt x="7619" y="17045"/>
                    </a:lnTo>
                    <a:lnTo>
                      <a:pt x="6619" y="17424"/>
                    </a:lnTo>
                    <a:lnTo>
                      <a:pt x="4667" y="18030"/>
                    </a:lnTo>
                    <a:lnTo>
                      <a:pt x="3190" y="18598"/>
                    </a:lnTo>
                    <a:lnTo>
                      <a:pt x="3190" y="18409"/>
                    </a:lnTo>
                    <a:lnTo>
                      <a:pt x="2714" y="18030"/>
                    </a:lnTo>
                    <a:lnTo>
                      <a:pt x="2714" y="18409"/>
                    </a:lnTo>
                    <a:lnTo>
                      <a:pt x="2714" y="18977"/>
                    </a:lnTo>
                    <a:lnTo>
                      <a:pt x="2714" y="19394"/>
                    </a:lnTo>
                    <a:lnTo>
                      <a:pt x="1952" y="18977"/>
                    </a:lnTo>
                    <a:lnTo>
                      <a:pt x="1238" y="18977"/>
                    </a:lnTo>
                    <a:lnTo>
                      <a:pt x="0" y="19394"/>
                    </a:lnTo>
                    <a:lnTo>
                      <a:pt x="0" y="18409"/>
                    </a:lnTo>
                    <a:lnTo>
                      <a:pt x="762" y="18030"/>
                    </a:lnTo>
                    <a:lnTo>
                      <a:pt x="1238" y="17652"/>
                    </a:lnTo>
                    <a:lnTo>
                      <a:pt x="1952" y="17424"/>
                    </a:lnTo>
                    <a:lnTo>
                      <a:pt x="2429" y="16439"/>
                    </a:lnTo>
                    <a:lnTo>
                      <a:pt x="3190" y="16061"/>
                    </a:lnTo>
                    <a:lnTo>
                      <a:pt x="2714" y="15492"/>
                    </a:lnTo>
                    <a:lnTo>
                      <a:pt x="3905" y="15265"/>
                    </a:lnTo>
                    <a:lnTo>
                      <a:pt x="3905" y="15492"/>
                    </a:lnTo>
                    <a:lnTo>
                      <a:pt x="4476" y="15492"/>
                    </a:lnTo>
                    <a:lnTo>
                      <a:pt x="4667" y="15492"/>
                    </a:lnTo>
                    <a:lnTo>
                      <a:pt x="7619" y="14886"/>
                    </a:lnTo>
                    <a:lnTo>
                      <a:pt x="7905" y="14470"/>
                    </a:lnTo>
                    <a:lnTo>
                      <a:pt x="8381" y="14886"/>
                    </a:lnTo>
                    <a:lnTo>
                      <a:pt x="8857" y="15265"/>
                    </a:lnTo>
                    <a:lnTo>
                      <a:pt x="9143" y="14886"/>
                    </a:lnTo>
                    <a:lnTo>
                      <a:pt x="9857" y="14470"/>
                    </a:lnTo>
                    <a:lnTo>
                      <a:pt x="9143" y="13939"/>
                    </a:lnTo>
                    <a:lnTo>
                      <a:pt x="9619" y="13333"/>
                    </a:lnTo>
                    <a:lnTo>
                      <a:pt x="10333" y="11932"/>
                    </a:lnTo>
                    <a:lnTo>
                      <a:pt x="9857" y="10758"/>
                    </a:lnTo>
                    <a:lnTo>
                      <a:pt x="11095" y="10152"/>
                    </a:lnTo>
                    <a:lnTo>
                      <a:pt x="11095" y="10758"/>
                    </a:lnTo>
                    <a:lnTo>
                      <a:pt x="10810" y="11174"/>
                    </a:lnTo>
                    <a:lnTo>
                      <a:pt x="10810" y="11364"/>
                    </a:lnTo>
                    <a:lnTo>
                      <a:pt x="11095" y="11932"/>
                    </a:lnTo>
                    <a:lnTo>
                      <a:pt x="11571" y="11932"/>
                    </a:lnTo>
                    <a:lnTo>
                      <a:pt x="11810" y="11742"/>
                    </a:lnTo>
                    <a:lnTo>
                      <a:pt x="13571" y="11174"/>
                    </a:lnTo>
                    <a:lnTo>
                      <a:pt x="14286" y="9205"/>
                    </a:lnTo>
                    <a:lnTo>
                      <a:pt x="14810" y="9205"/>
                    </a:lnTo>
                    <a:lnTo>
                      <a:pt x="14810" y="7652"/>
                    </a:lnTo>
                    <a:lnTo>
                      <a:pt x="15000" y="6061"/>
                    </a:lnTo>
                    <a:lnTo>
                      <a:pt x="14810" y="4091"/>
                    </a:lnTo>
                    <a:lnTo>
                      <a:pt x="14810" y="4508"/>
                    </a:lnTo>
                    <a:lnTo>
                      <a:pt x="14286" y="4091"/>
                    </a:lnTo>
                    <a:lnTo>
                      <a:pt x="14286" y="3712"/>
                    </a:lnTo>
                    <a:lnTo>
                      <a:pt x="14286" y="2538"/>
                    </a:lnTo>
                    <a:lnTo>
                      <a:pt x="14810" y="1932"/>
                    </a:lnTo>
                    <a:lnTo>
                      <a:pt x="14286" y="1174"/>
                    </a:lnTo>
                    <a:lnTo>
                      <a:pt x="15000" y="985"/>
                    </a:lnTo>
                    <a:lnTo>
                      <a:pt x="15524" y="1932"/>
                    </a:lnTo>
                    <a:lnTo>
                      <a:pt x="16000" y="1553"/>
                    </a:lnTo>
                    <a:lnTo>
                      <a:pt x="16286" y="1553"/>
                    </a:lnTo>
                    <a:lnTo>
                      <a:pt x="16286" y="985"/>
                    </a:lnTo>
                    <a:lnTo>
                      <a:pt x="15524" y="985"/>
                    </a:lnTo>
                    <a:lnTo>
                      <a:pt x="15524" y="0"/>
                    </a:lnTo>
                    <a:lnTo>
                      <a:pt x="16000" y="379"/>
                    </a:lnTo>
                    <a:lnTo>
                      <a:pt x="16762" y="379"/>
                    </a:lnTo>
                    <a:lnTo>
                      <a:pt x="17048" y="1932"/>
                    </a:lnTo>
                    <a:lnTo>
                      <a:pt x="18000" y="2538"/>
                    </a:lnTo>
                    <a:lnTo>
                      <a:pt x="18714" y="3712"/>
                    </a:lnTo>
                    <a:lnTo>
                      <a:pt x="19190" y="4697"/>
                    </a:lnTo>
                    <a:lnTo>
                      <a:pt x="19476" y="4697"/>
                    </a:lnTo>
                    <a:lnTo>
                      <a:pt x="19476" y="6061"/>
                    </a:lnTo>
                    <a:lnTo>
                      <a:pt x="18714" y="6667"/>
                    </a:lnTo>
                    <a:lnTo>
                      <a:pt x="19476" y="7841"/>
                    </a:lnTo>
                    <a:lnTo>
                      <a:pt x="18714" y="7841"/>
                    </a:lnTo>
                    <a:lnTo>
                      <a:pt x="18238" y="8220"/>
                    </a:lnTo>
                    <a:lnTo>
                      <a:pt x="18238" y="9205"/>
                    </a:lnTo>
                    <a:lnTo>
                      <a:pt x="19190" y="11364"/>
                    </a:lnTo>
                    <a:lnTo>
                      <a:pt x="19190" y="13485"/>
                    </a:lnTo>
                    <a:lnTo>
                      <a:pt x="19952" y="14318"/>
                    </a:lnTo>
                    <a:lnTo>
                      <a:pt x="19190" y="14470"/>
                    </a:lnTo>
                    <a:lnTo>
                      <a:pt x="19190" y="15492"/>
                    </a:lnTo>
                    <a:lnTo>
                      <a:pt x="18000" y="16061"/>
                    </a:lnTo>
                    <a:lnTo>
                      <a:pt x="18238" y="14886"/>
                    </a:lnTo>
                    <a:lnTo>
                      <a:pt x="17524" y="14470"/>
                    </a:lnTo>
                    <a:lnTo>
                      <a:pt x="17524" y="15265"/>
                    </a:lnTo>
                    <a:lnTo>
                      <a:pt x="17524" y="15492"/>
                    </a:lnTo>
                    <a:lnTo>
                      <a:pt x="17048" y="15265"/>
                    </a:lnTo>
                    <a:lnTo>
                      <a:pt x="16762" y="15492"/>
                    </a:lnTo>
                    <a:lnTo>
                      <a:pt x="16762" y="16439"/>
                    </a:lnTo>
                    <a:lnTo>
                      <a:pt x="16286" y="17045"/>
                    </a:lnTo>
                    <a:lnTo>
                      <a:pt x="15524" y="15871"/>
                    </a:lnTo>
                    <a:lnTo>
                      <a:pt x="15000" y="16061"/>
                    </a:lnTo>
                    <a:lnTo>
                      <a:pt x="14810" y="17045"/>
                    </a:lnTo>
                    <a:lnTo>
                      <a:pt x="14048" y="16818"/>
                    </a:lnTo>
                    <a:lnTo>
                      <a:pt x="12857" y="17424"/>
                    </a:lnTo>
                    <a:lnTo>
                      <a:pt x="13048" y="16818"/>
                    </a:lnTo>
                    <a:lnTo>
                      <a:pt x="11810" y="16818"/>
                    </a:lnTo>
                    <a:lnTo>
                      <a:pt x="11810" y="16061"/>
                    </a:lnTo>
                    <a:lnTo>
                      <a:pt x="11571" y="16061"/>
                    </a:lnTo>
                    <a:lnTo>
                      <a:pt x="11571" y="17045"/>
                    </a:lnTo>
                    <a:lnTo>
                      <a:pt x="12286" y="17424"/>
                    </a:lnTo>
                    <a:lnTo>
                      <a:pt x="12286" y="18030"/>
                    </a:lnTo>
                    <a:lnTo>
                      <a:pt x="11095" y="18409"/>
                    </a:lnTo>
                    <a:lnTo>
                      <a:pt x="10810" y="199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4" name="Freeform 185"/>
              <p:cNvSpPr>
                <a:spLocks/>
              </p:cNvSpPr>
              <p:nvPr/>
            </p:nvSpPr>
            <p:spPr bwMode="auto">
              <a:xfrm>
                <a:off x="8743950" y="2876550"/>
                <a:ext cx="149225" cy="180975"/>
              </a:xfrm>
              <a:custGeom>
                <a:avLst/>
                <a:gdLst>
                  <a:gd name="T0" fmla="*/ 3162 w 20000"/>
                  <a:gd name="T1" fmla="*/ 19930 h 20000"/>
                  <a:gd name="T2" fmla="*/ 2308 w 20000"/>
                  <a:gd name="T3" fmla="*/ 19228 h 20000"/>
                  <a:gd name="T4" fmla="*/ 2308 w 20000"/>
                  <a:gd name="T5" fmla="*/ 17404 h 20000"/>
                  <a:gd name="T6" fmla="*/ 0 w 20000"/>
                  <a:gd name="T7" fmla="*/ 16351 h 20000"/>
                  <a:gd name="T8" fmla="*/ 0 w 20000"/>
                  <a:gd name="T9" fmla="*/ 14526 h 20000"/>
                  <a:gd name="T10" fmla="*/ 1368 w 20000"/>
                  <a:gd name="T11" fmla="*/ 12632 h 20000"/>
                  <a:gd name="T12" fmla="*/ 0 w 20000"/>
                  <a:gd name="T13" fmla="*/ 10877 h 20000"/>
                  <a:gd name="T14" fmla="*/ 940 w 20000"/>
                  <a:gd name="T15" fmla="*/ 10526 h 20000"/>
                  <a:gd name="T16" fmla="*/ 2308 w 20000"/>
                  <a:gd name="T17" fmla="*/ 10877 h 20000"/>
                  <a:gd name="T18" fmla="*/ 4444 w 20000"/>
                  <a:gd name="T19" fmla="*/ 10877 h 20000"/>
                  <a:gd name="T20" fmla="*/ 3504 w 20000"/>
                  <a:gd name="T21" fmla="*/ 8702 h 20000"/>
                  <a:gd name="T22" fmla="*/ 4444 w 20000"/>
                  <a:gd name="T23" fmla="*/ 8702 h 20000"/>
                  <a:gd name="T24" fmla="*/ 3504 w 20000"/>
                  <a:gd name="T25" fmla="*/ 6175 h 20000"/>
                  <a:gd name="T26" fmla="*/ 3162 w 20000"/>
                  <a:gd name="T27" fmla="*/ 2877 h 20000"/>
                  <a:gd name="T28" fmla="*/ 1368 w 20000"/>
                  <a:gd name="T29" fmla="*/ 421 h 20000"/>
                  <a:gd name="T30" fmla="*/ 2308 w 20000"/>
                  <a:gd name="T31" fmla="*/ 0 h 20000"/>
                  <a:gd name="T32" fmla="*/ 4444 w 20000"/>
                  <a:gd name="T33" fmla="*/ 1123 h 20000"/>
                  <a:gd name="T34" fmla="*/ 8034 w 20000"/>
                  <a:gd name="T35" fmla="*/ 4000 h 20000"/>
                  <a:gd name="T36" fmla="*/ 11538 w 20000"/>
                  <a:gd name="T37" fmla="*/ 5754 h 20000"/>
                  <a:gd name="T38" fmla="*/ 12821 w 20000"/>
                  <a:gd name="T39" fmla="*/ 5754 h 20000"/>
                  <a:gd name="T40" fmla="*/ 14188 w 20000"/>
                  <a:gd name="T41" fmla="*/ 6877 h 20000"/>
                  <a:gd name="T42" fmla="*/ 15983 w 20000"/>
                  <a:gd name="T43" fmla="*/ 6877 h 20000"/>
                  <a:gd name="T44" fmla="*/ 16410 w 20000"/>
                  <a:gd name="T45" fmla="*/ 4702 h 20000"/>
                  <a:gd name="T46" fmla="*/ 17265 w 20000"/>
                  <a:gd name="T47" fmla="*/ 5053 h 20000"/>
                  <a:gd name="T48" fmla="*/ 17265 w 20000"/>
                  <a:gd name="T49" fmla="*/ 7579 h 20000"/>
                  <a:gd name="T50" fmla="*/ 18547 w 20000"/>
                  <a:gd name="T51" fmla="*/ 9754 h 20000"/>
                  <a:gd name="T52" fmla="*/ 19915 w 20000"/>
                  <a:gd name="T53" fmla="*/ 9474 h 20000"/>
                  <a:gd name="T54" fmla="*/ 19915 w 20000"/>
                  <a:gd name="T55" fmla="*/ 9754 h 20000"/>
                  <a:gd name="T56" fmla="*/ 18547 w 20000"/>
                  <a:gd name="T57" fmla="*/ 10526 h 20000"/>
                  <a:gd name="T58" fmla="*/ 17692 w 20000"/>
                  <a:gd name="T59" fmla="*/ 10877 h 20000"/>
                  <a:gd name="T60" fmla="*/ 15043 w 20000"/>
                  <a:gd name="T61" fmla="*/ 11579 h 20000"/>
                  <a:gd name="T62" fmla="*/ 13675 w 20000"/>
                  <a:gd name="T63" fmla="*/ 12632 h 20000"/>
                  <a:gd name="T64" fmla="*/ 13675 w 20000"/>
                  <a:gd name="T65" fmla="*/ 15228 h 20000"/>
                  <a:gd name="T66" fmla="*/ 13675 w 20000"/>
                  <a:gd name="T67" fmla="*/ 16351 h 20000"/>
                  <a:gd name="T68" fmla="*/ 8034 w 20000"/>
                  <a:gd name="T69" fmla="*/ 14526 h 20000"/>
                  <a:gd name="T70" fmla="*/ 5812 w 20000"/>
                  <a:gd name="T71" fmla="*/ 13754 h 20000"/>
                  <a:gd name="T72" fmla="*/ 4872 w 20000"/>
                  <a:gd name="T73" fmla="*/ 14526 h 20000"/>
                  <a:gd name="T74" fmla="*/ 4444 w 20000"/>
                  <a:gd name="T75" fmla="*/ 15649 h 20000"/>
                  <a:gd name="T76" fmla="*/ 3504 w 20000"/>
                  <a:gd name="T77" fmla="*/ 14526 h 20000"/>
                  <a:gd name="T78" fmla="*/ 2308 w 20000"/>
                  <a:gd name="T79" fmla="*/ 15228 h 20000"/>
                  <a:gd name="T80" fmla="*/ 2308 w 20000"/>
                  <a:gd name="T81" fmla="*/ 15649 h 20000"/>
                  <a:gd name="T82" fmla="*/ 4444 w 20000"/>
                  <a:gd name="T83" fmla="*/ 16351 h 20000"/>
                  <a:gd name="T84" fmla="*/ 4872 w 20000"/>
                  <a:gd name="T85" fmla="*/ 17404 h 20000"/>
                  <a:gd name="T86" fmla="*/ 5812 w 20000"/>
                  <a:gd name="T87" fmla="*/ 17404 h 20000"/>
                  <a:gd name="T88" fmla="*/ 4872 w 20000"/>
                  <a:gd name="T89" fmla="*/ 18526 h 20000"/>
                  <a:gd name="T90" fmla="*/ 4444 w 20000"/>
                  <a:gd name="T91" fmla="*/ 18526 h 20000"/>
                  <a:gd name="T92" fmla="*/ 3504 w 20000"/>
                  <a:gd name="T93" fmla="*/ 19930 h 20000"/>
                  <a:gd name="T94" fmla="*/ 3162 w 20000"/>
                  <a:gd name="T95" fmla="*/ 199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3162" y="19930"/>
                    </a:moveTo>
                    <a:lnTo>
                      <a:pt x="2308" y="19228"/>
                    </a:lnTo>
                    <a:lnTo>
                      <a:pt x="2308" y="17404"/>
                    </a:lnTo>
                    <a:lnTo>
                      <a:pt x="0" y="16351"/>
                    </a:lnTo>
                    <a:lnTo>
                      <a:pt x="0" y="14526"/>
                    </a:lnTo>
                    <a:lnTo>
                      <a:pt x="1368" y="12632"/>
                    </a:lnTo>
                    <a:lnTo>
                      <a:pt x="0" y="10877"/>
                    </a:lnTo>
                    <a:lnTo>
                      <a:pt x="940" y="10526"/>
                    </a:lnTo>
                    <a:lnTo>
                      <a:pt x="2308" y="10877"/>
                    </a:lnTo>
                    <a:lnTo>
                      <a:pt x="4444" y="10877"/>
                    </a:lnTo>
                    <a:lnTo>
                      <a:pt x="3504" y="8702"/>
                    </a:lnTo>
                    <a:lnTo>
                      <a:pt x="4444" y="8702"/>
                    </a:lnTo>
                    <a:lnTo>
                      <a:pt x="3504" y="6175"/>
                    </a:lnTo>
                    <a:lnTo>
                      <a:pt x="3162" y="2877"/>
                    </a:lnTo>
                    <a:lnTo>
                      <a:pt x="1368" y="421"/>
                    </a:lnTo>
                    <a:lnTo>
                      <a:pt x="2308" y="0"/>
                    </a:lnTo>
                    <a:lnTo>
                      <a:pt x="4444" y="1123"/>
                    </a:lnTo>
                    <a:lnTo>
                      <a:pt x="8034" y="4000"/>
                    </a:lnTo>
                    <a:lnTo>
                      <a:pt x="11538" y="5754"/>
                    </a:lnTo>
                    <a:lnTo>
                      <a:pt x="12821" y="5754"/>
                    </a:lnTo>
                    <a:lnTo>
                      <a:pt x="14188" y="6877"/>
                    </a:lnTo>
                    <a:lnTo>
                      <a:pt x="15983" y="6877"/>
                    </a:lnTo>
                    <a:lnTo>
                      <a:pt x="16410" y="4702"/>
                    </a:lnTo>
                    <a:lnTo>
                      <a:pt x="17265" y="5053"/>
                    </a:lnTo>
                    <a:lnTo>
                      <a:pt x="17265" y="7579"/>
                    </a:lnTo>
                    <a:lnTo>
                      <a:pt x="18547" y="9754"/>
                    </a:lnTo>
                    <a:lnTo>
                      <a:pt x="19915" y="9474"/>
                    </a:lnTo>
                    <a:lnTo>
                      <a:pt x="19915" y="9754"/>
                    </a:lnTo>
                    <a:lnTo>
                      <a:pt x="18547" y="10526"/>
                    </a:lnTo>
                    <a:lnTo>
                      <a:pt x="17692" y="10877"/>
                    </a:lnTo>
                    <a:lnTo>
                      <a:pt x="15043" y="11579"/>
                    </a:lnTo>
                    <a:lnTo>
                      <a:pt x="13675" y="12632"/>
                    </a:lnTo>
                    <a:lnTo>
                      <a:pt x="13675" y="15228"/>
                    </a:lnTo>
                    <a:lnTo>
                      <a:pt x="13675" y="16351"/>
                    </a:lnTo>
                    <a:lnTo>
                      <a:pt x="8034" y="14526"/>
                    </a:lnTo>
                    <a:lnTo>
                      <a:pt x="5812" y="13754"/>
                    </a:lnTo>
                    <a:lnTo>
                      <a:pt x="4872" y="14526"/>
                    </a:lnTo>
                    <a:lnTo>
                      <a:pt x="4444" y="15649"/>
                    </a:lnTo>
                    <a:lnTo>
                      <a:pt x="3504" y="14526"/>
                    </a:lnTo>
                    <a:lnTo>
                      <a:pt x="2308" y="15228"/>
                    </a:lnTo>
                    <a:lnTo>
                      <a:pt x="2308" y="15649"/>
                    </a:lnTo>
                    <a:lnTo>
                      <a:pt x="4444" y="16351"/>
                    </a:lnTo>
                    <a:lnTo>
                      <a:pt x="4872" y="17404"/>
                    </a:lnTo>
                    <a:lnTo>
                      <a:pt x="5812" y="17404"/>
                    </a:lnTo>
                    <a:lnTo>
                      <a:pt x="4872" y="18526"/>
                    </a:lnTo>
                    <a:lnTo>
                      <a:pt x="4444" y="18526"/>
                    </a:lnTo>
                    <a:lnTo>
                      <a:pt x="3504" y="19930"/>
                    </a:lnTo>
                    <a:lnTo>
                      <a:pt x="3162" y="199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5" name="Freeform 184"/>
              <p:cNvSpPr>
                <a:spLocks/>
              </p:cNvSpPr>
              <p:nvPr/>
            </p:nvSpPr>
            <p:spPr bwMode="auto">
              <a:xfrm>
                <a:off x="8543925" y="3635375"/>
                <a:ext cx="12700" cy="26988"/>
              </a:xfrm>
              <a:custGeom>
                <a:avLst/>
                <a:gdLst>
                  <a:gd name="T0" fmla="*/ 0 w 20000"/>
                  <a:gd name="T1" fmla="*/ 19524 h 20000"/>
                  <a:gd name="T2" fmla="*/ 0 w 20000"/>
                  <a:gd name="T3" fmla="*/ 14762 h 20000"/>
                  <a:gd name="T4" fmla="*/ 5714 w 20000"/>
                  <a:gd name="T5" fmla="*/ 7143 h 20000"/>
                  <a:gd name="T6" fmla="*/ 5714 w 20000"/>
                  <a:gd name="T7" fmla="*/ 2857 h 20000"/>
                  <a:gd name="T8" fmla="*/ 14286 w 20000"/>
                  <a:gd name="T9" fmla="*/ 2857 h 20000"/>
                  <a:gd name="T10" fmla="*/ 19048 w 20000"/>
                  <a:gd name="T11" fmla="*/ 0 h 20000"/>
                  <a:gd name="T12" fmla="*/ 5714 w 20000"/>
                  <a:gd name="T13" fmla="*/ 14762 h 20000"/>
                  <a:gd name="T14" fmla="*/ 14286 w 20000"/>
                  <a:gd name="T15" fmla="*/ 19524 h 20000"/>
                  <a:gd name="T16" fmla="*/ 0 w 20000"/>
                  <a:gd name="T17" fmla="*/ 195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9524"/>
                    </a:moveTo>
                    <a:lnTo>
                      <a:pt x="0" y="14762"/>
                    </a:lnTo>
                    <a:lnTo>
                      <a:pt x="5714" y="7143"/>
                    </a:lnTo>
                    <a:lnTo>
                      <a:pt x="5714" y="2857"/>
                    </a:lnTo>
                    <a:lnTo>
                      <a:pt x="14286" y="2857"/>
                    </a:lnTo>
                    <a:lnTo>
                      <a:pt x="19048" y="0"/>
                    </a:lnTo>
                    <a:lnTo>
                      <a:pt x="5714" y="14762"/>
                    </a:lnTo>
                    <a:lnTo>
                      <a:pt x="14286" y="19524"/>
                    </a:lnTo>
                    <a:lnTo>
                      <a:pt x="0"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6" name="Freeform 183"/>
              <p:cNvSpPr>
                <a:spLocks/>
              </p:cNvSpPr>
              <p:nvPr/>
            </p:nvSpPr>
            <p:spPr bwMode="auto">
              <a:xfrm>
                <a:off x="8574088" y="3576638"/>
                <a:ext cx="17462" cy="11112"/>
              </a:xfrm>
              <a:custGeom>
                <a:avLst/>
                <a:gdLst>
                  <a:gd name="T0" fmla="*/ 7407 w 20000"/>
                  <a:gd name="T1" fmla="*/ 18824 h 20000"/>
                  <a:gd name="T2" fmla="*/ 0 w 20000"/>
                  <a:gd name="T3" fmla="*/ 11765 h 20000"/>
                  <a:gd name="T4" fmla="*/ 19259 w 20000"/>
                  <a:gd name="T5" fmla="*/ 0 h 20000"/>
                  <a:gd name="T6" fmla="*/ 14815 w 20000"/>
                  <a:gd name="T7" fmla="*/ 11765 h 20000"/>
                  <a:gd name="T8" fmla="*/ 7407 w 20000"/>
                  <a:gd name="T9" fmla="*/ 18824 h 20000"/>
                </a:gdLst>
                <a:ahLst/>
                <a:cxnLst>
                  <a:cxn ang="0">
                    <a:pos x="T0" y="T1"/>
                  </a:cxn>
                  <a:cxn ang="0">
                    <a:pos x="T2" y="T3"/>
                  </a:cxn>
                  <a:cxn ang="0">
                    <a:pos x="T4" y="T5"/>
                  </a:cxn>
                  <a:cxn ang="0">
                    <a:pos x="T6" y="T7"/>
                  </a:cxn>
                  <a:cxn ang="0">
                    <a:pos x="T8" y="T9"/>
                  </a:cxn>
                </a:cxnLst>
                <a:rect l="0" t="0" r="r" b="b"/>
                <a:pathLst>
                  <a:path w="20000" h="20000">
                    <a:moveTo>
                      <a:pt x="7407" y="18824"/>
                    </a:moveTo>
                    <a:lnTo>
                      <a:pt x="0" y="11765"/>
                    </a:lnTo>
                    <a:lnTo>
                      <a:pt x="19259" y="0"/>
                    </a:lnTo>
                    <a:lnTo>
                      <a:pt x="14815" y="11765"/>
                    </a:lnTo>
                    <a:lnTo>
                      <a:pt x="7407"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7" name="Freeform 182"/>
              <p:cNvSpPr>
                <a:spLocks/>
              </p:cNvSpPr>
              <p:nvPr/>
            </p:nvSpPr>
            <p:spPr bwMode="auto">
              <a:xfrm>
                <a:off x="5949950" y="3465513"/>
                <a:ext cx="119063" cy="131762"/>
              </a:xfrm>
              <a:custGeom>
                <a:avLst/>
                <a:gdLst>
                  <a:gd name="T0" fmla="*/ 1702 w 20000"/>
                  <a:gd name="T1" fmla="*/ 3942 h 20000"/>
                  <a:gd name="T2" fmla="*/ 4468 w 20000"/>
                  <a:gd name="T3" fmla="*/ 3942 h 20000"/>
                  <a:gd name="T4" fmla="*/ 5532 w 20000"/>
                  <a:gd name="T5" fmla="*/ 4904 h 20000"/>
                  <a:gd name="T6" fmla="*/ 6064 w 20000"/>
                  <a:gd name="T7" fmla="*/ 4904 h 20000"/>
                  <a:gd name="T8" fmla="*/ 8298 w 20000"/>
                  <a:gd name="T9" fmla="*/ 4904 h 20000"/>
                  <a:gd name="T10" fmla="*/ 12660 w 20000"/>
                  <a:gd name="T11" fmla="*/ 2981 h 20000"/>
                  <a:gd name="T12" fmla="*/ 17021 w 20000"/>
                  <a:gd name="T13" fmla="*/ 0 h 20000"/>
                  <a:gd name="T14" fmla="*/ 19894 w 20000"/>
                  <a:gd name="T15" fmla="*/ 5481 h 20000"/>
                  <a:gd name="T16" fmla="*/ 15957 w 20000"/>
                  <a:gd name="T17" fmla="*/ 7500 h 20000"/>
                  <a:gd name="T18" fmla="*/ 9894 w 20000"/>
                  <a:gd name="T19" fmla="*/ 8846 h 20000"/>
                  <a:gd name="T20" fmla="*/ 9894 w 20000"/>
                  <a:gd name="T21" fmla="*/ 9423 h 20000"/>
                  <a:gd name="T22" fmla="*/ 14362 w 20000"/>
                  <a:gd name="T23" fmla="*/ 13365 h 20000"/>
                  <a:gd name="T24" fmla="*/ 13298 w 20000"/>
                  <a:gd name="T25" fmla="*/ 14327 h 20000"/>
                  <a:gd name="T26" fmla="*/ 12660 w 20000"/>
                  <a:gd name="T27" fmla="*/ 15865 h 20000"/>
                  <a:gd name="T28" fmla="*/ 10532 w 20000"/>
                  <a:gd name="T29" fmla="*/ 16923 h 20000"/>
                  <a:gd name="T30" fmla="*/ 9894 w 20000"/>
                  <a:gd name="T31" fmla="*/ 16923 h 20000"/>
                  <a:gd name="T32" fmla="*/ 6064 w 20000"/>
                  <a:gd name="T33" fmla="*/ 19904 h 20000"/>
                  <a:gd name="T34" fmla="*/ 0 w 20000"/>
                  <a:gd name="T35" fmla="*/ 19327 h 20000"/>
                  <a:gd name="T36" fmla="*/ 1702 w 20000"/>
                  <a:gd name="T37" fmla="*/ 17885 h 20000"/>
                  <a:gd name="T38" fmla="*/ 1702 w 20000"/>
                  <a:gd name="T39" fmla="*/ 14327 h 20000"/>
                  <a:gd name="T40" fmla="*/ 1702 w 20000"/>
                  <a:gd name="T41" fmla="*/ 11442 h 20000"/>
                  <a:gd name="T42" fmla="*/ 1702 w 20000"/>
                  <a:gd name="T43" fmla="*/ 7885 h 20000"/>
                  <a:gd name="T44" fmla="*/ 1170 w 20000"/>
                  <a:gd name="T45" fmla="*/ 6442 h 20000"/>
                  <a:gd name="T46" fmla="*/ 1170 w 20000"/>
                  <a:gd name="T47" fmla="*/ 4904 h 20000"/>
                  <a:gd name="T48" fmla="*/ 1702 w 20000"/>
                  <a:gd name="T49" fmla="*/ 4904 h 20000"/>
                  <a:gd name="T50" fmla="*/ 1702 w 20000"/>
                  <a:gd name="T51" fmla="*/ 394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1702" y="3942"/>
                    </a:moveTo>
                    <a:lnTo>
                      <a:pt x="4468" y="3942"/>
                    </a:lnTo>
                    <a:lnTo>
                      <a:pt x="5532" y="4904"/>
                    </a:lnTo>
                    <a:lnTo>
                      <a:pt x="6064" y="4904"/>
                    </a:lnTo>
                    <a:lnTo>
                      <a:pt x="8298" y="4904"/>
                    </a:lnTo>
                    <a:lnTo>
                      <a:pt x="12660" y="2981"/>
                    </a:lnTo>
                    <a:lnTo>
                      <a:pt x="17021" y="0"/>
                    </a:lnTo>
                    <a:lnTo>
                      <a:pt x="19894" y="5481"/>
                    </a:lnTo>
                    <a:lnTo>
                      <a:pt x="15957" y="7500"/>
                    </a:lnTo>
                    <a:lnTo>
                      <a:pt x="9894" y="8846"/>
                    </a:lnTo>
                    <a:lnTo>
                      <a:pt x="9894" y="9423"/>
                    </a:lnTo>
                    <a:lnTo>
                      <a:pt x="14362" y="13365"/>
                    </a:lnTo>
                    <a:lnTo>
                      <a:pt x="13298" y="14327"/>
                    </a:lnTo>
                    <a:lnTo>
                      <a:pt x="12660" y="15865"/>
                    </a:lnTo>
                    <a:lnTo>
                      <a:pt x="10532" y="16923"/>
                    </a:lnTo>
                    <a:lnTo>
                      <a:pt x="9894" y="16923"/>
                    </a:lnTo>
                    <a:lnTo>
                      <a:pt x="6064" y="19904"/>
                    </a:lnTo>
                    <a:lnTo>
                      <a:pt x="0" y="19327"/>
                    </a:lnTo>
                    <a:lnTo>
                      <a:pt x="1702" y="17885"/>
                    </a:lnTo>
                    <a:lnTo>
                      <a:pt x="1702" y="14327"/>
                    </a:lnTo>
                    <a:lnTo>
                      <a:pt x="1702" y="11442"/>
                    </a:lnTo>
                    <a:lnTo>
                      <a:pt x="1702" y="7885"/>
                    </a:lnTo>
                    <a:lnTo>
                      <a:pt x="1170" y="6442"/>
                    </a:lnTo>
                    <a:lnTo>
                      <a:pt x="1170" y="4904"/>
                    </a:lnTo>
                    <a:lnTo>
                      <a:pt x="1702" y="4904"/>
                    </a:lnTo>
                    <a:lnTo>
                      <a:pt x="1702" y="394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8" name="Freeform 181"/>
              <p:cNvSpPr>
                <a:spLocks/>
              </p:cNvSpPr>
              <p:nvPr/>
            </p:nvSpPr>
            <p:spPr bwMode="auto">
              <a:xfrm>
                <a:off x="7874000" y="4033838"/>
                <a:ext cx="149225" cy="128587"/>
              </a:xfrm>
              <a:custGeom>
                <a:avLst/>
                <a:gdLst>
                  <a:gd name="T0" fmla="*/ 10684 w 20000"/>
                  <a:gd name="T1" fmla="*/ 1576 h 20000"/>
                  <a:gd name="T2" fmla="*/ 10684 w 20000"/>
                  <a:gd name="T3" fmla="*/ 3054 h 20000"/>
                  <a:gd name="T4" fmla="*/ 12821 w 20000"/>
                  <a:gd name="T5" fmla="*/ 3054 h 20000"/>
                  <a:gd name="T6" fmla="*/ 13675 w 20000"/>
                  <a:gd name="T7" fmla="*/ 4039 h 20000"/>
                  <a:gd name="T8" fmla="*/ 14188 w 20000"/>
                  <a:gd name="T9" fmla="*/ 3054 h 20000"/>
                  <a:gd name="T10" fmla="*/ 14188 w 20000"/>
                  <a:gd name="T11" fmla="*/ 985 h 20000"/>
                  <a:gd name="T12" fmla="*/ 15897 w 20000"/>
                  <a:gd name="T13" fmla="*/ 0 h 20000"/>
                  <a:gd name="T14" fmla="*/ 17265 w 20000"/>
                  <a:gd name="T15" fmla="*/ 1576 h 20000"/>
                  <a:gd name="T16" fmla="*/ 19487 w 20000"/>
                  <a:gd name="T17" fmla="*/ 1576 h 20000"/>
                  <a:gd name="T18" fmla="*/ 19487 w 20000"/>
                  <a:gd name="T19" fmla="*/ 3054 h 20000"/>
                  <a:gd name="T20" fmla="*/ 19915 w 20000"/>
                  <a:gd name="T21" fmla="*/ 7192 h 20000"/>
                  <a:gd name="T22" fmla="*/ 19915 w 20000"/>
                  <a:gd name="T23" fmla="*/ 10640 h 20000"/>
                  <a:gd name="T24" fmla="*/ 18547 w 20000"/>
                  <a:gd name="T25" fmla="*/ 11724 h 20000"/>
                  <a:gd name="T26" fmla="*/ 17265 w 20000"/>
                  <a:gd name="T27" fmla="*/ 12217 h 20000"/>
                  <a:gd name="T28" fmla="*/ 15043 w 20000"/>
                  <a:gd name="T29" fmla="*/ 13300 h 20000"/>
                  <a:gd name="T30" fmla="*/ 13675 w 20000"/>
                  <a:gd name="T31" fmla="*/ 13695 h 20000"/>
                  <a:gd name="T32" fmla="*/ 14188 w 20000"/>
                  <a:gd name="T33" fmla="*/ 15862 h 20000"/>
                  <a:gd name="T34" fmla="*/ 14188 w 20000"/>
                  <a:gd name="T35" fmla="*/ 17340 h 20000"/>
                  <a:gd name="T36" fmla="*/ 11966 w 20000"/>
                  <a:gd name="T37" fmla="*/ 17833 h 20000"/>
                  <a:gd name="T38" fmla="*/ 8376 w 20000"/>
                  <a:gd name="T39" fmla="*/ 19901 h 20000"/>
                  <a:gd name="T40" fmla="*/ 6667 w 20000"/>
                  <a:gd name="T41" fmla="*/ 18916 h 20000"/>
                  <a:gd name="T42" fmla="*/ 5812 w 20000"/>
                  <a:gd name="T43" fmla="*/ 18916 h 20000"/>
                  <a:gd name="T44" fmla="*/ 5812 w 20000"/>
                  <a:gd name="T45" fmla="*/ 17340 h 20000"/>
                  <a:gd name="T46" fmla="*/ 4872 w 20000"/>
                  <a:gd name="T47" fmla="*/ 16355 h 20000"/>
                  <a:gd name="T48" fmla="*/ 4444 w 20000"/>
                  <a:gd name="T49" fmla="*/ 17340 h 20000"/>
                  <a:gd name="T50" fmla="*/ 2650 w 20000"/>
                  <a:gd name="T51" fmla="*/ 15862 h 20000"/>
                  <a:gd name="T52" fmla="*/ 2650 w 20000"/>
                  <a:gd name="T53" fmla="*/ 13695 h 20000"/>
                  <a:gd name="T54" fmla="*/ 855 w 20000"/>
                  <a:gd name="T55" fmla="*/ 9261 h 20000"/>
                  <a:gd name="T56" fmla="*/ 0 w 20000"/>
                  <a:gd name="T57" fmla="*/ 6601 h 20000"/>
                  <a:gd name="T58" fmla="*/ 2222 w 20000"/>
                  <a:gd name="T59" fmla="*/ 5025 h 20000"/>
                  <a:gd name="T60" fmla="*/ 2222 w 20000"/>
                  <a:gd name="T61" fmla="*/ 1576 h 20000"/>
                  <a:gd name="T62" fmla="*/ 4872 w 20000"/>
                  <a:gd name="T63" fmla="*/ 985 h 20000"/>
                  <a:gd name="T64" fmla="*/ 8034 w 20000"/>
                  <a:gd name="T65" fmla="*/ 1576 h 20000"/>
                  <a:gd name="T66" fmla="*/ 8376 w 20000"/>
                  <a:gd name="T67" fmla="*/ 985 h 20000"/>
                  <a:gd name="T68" fmla="*/ 10171 w 20000"/>
                  <a:gd name="T69" fmla="*/ 1576 h 20000"/>
                  <a:gd name="T70" fmla="*/ 10684 w 20000"/>
                  <a:gd name="T71" fmla="*/ 15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10684" y="1576"/>
                    </a:moveTo>
                    <a:lnTo>
                      <a:pt x="10684" y="3054"/>
                    </a:lnTo>
                    <a:lnTo>
                      <a:pt x="12821" y="3054"/>
                    </a:lnTo>
                    <a:lnTo>
                      <a:pt x="13675" y="4039"/>
                    </a:lnTo>
                    <a:lnTo>
                      <a:pt x="14188" y="3054"/>
                    </a:lnTo>
                    <a:lnTo>
                      <a:pt x="14188" y="985"/>
                    </a:lnTo>
                    <a:lnTo>
                      <a:pt x="15897" y="0"/>
                    </a:lnTo>
                    <a:lnTo>
                      <a:pt x="17265" y="1576"/>
                    </a:lnTo>
                    <a:lnTo>
                      <a:pt x="19487" y="1576"/>
                    </a:lnTo>
                    <a:lnTo>
                      <a:pt x="19487" y="3054"/>
                    </a:lnTo>
                    <a:lnTo>
                      <a:pt x="19915" y="7192"/>
                    </a:lnTo>
                    <a:lnTo>
                      <a:pt x="19915" y="10640"/>
                    </a:lnTo>
                    <a:lnTo>
                      <a:pt x="18547" y="11724"/>
                    </a:lnTo>
                    <a:lnTo>
                      <a:pt x="17265" y="12217"/>
                    </a:lnTo>
                    <a:lnTo>
                      <a:pt x="15043" y="13300"/>
                    </a:lnTo>
                    <a:lnTo>
                      <a:pt x="13675" y="13695"/>
                    </a:lnTo>
                    <a:lnTo>
                      <a:pt x="14188" y="15862"/>
                    </a:lnTo>
                    <a:lnTo>
                      <a:pt x="14188" y="17340"/>
                    </a:lnTo>
                    <a:lnTo>
                      <a:pt x="11966" y="17833"/>
                    </a:lnTo>
                    <a:lnTo>
                      <a:pt x="8376" y="19901"/>
                    </a:lnTo>
                    <a:lnTo>
                      <a:pt x="6667" y="18916"/>
                    </a:lnTo>
                    <a:lnTo>
                      <a:pt x="5812" y="18916"/>
                    </a:lnTo>
                    <a:lnTo>
                      <a:pt x="5812" y="17340"/>
                    </a:lnTo>
                    <a:lnTo>
                      <a:pt x="4872" y="16355"/>
                    </a:lnTo>
                    <a:lnTo>
                      <a:pt x="4444" y="17340"/>
                    </a:lnTo>
                    <a:lnTo>
                      <a:pt x="2650" y="15862"/>
                    </a:lnTo>
                    <a:lnTo>
                      <a:pt x="2650" y="13695"/>
                    </a:lnTo>
                    <a:lnTo>
                      <a:pt x="855" y="9261"/>
                    </a:lnTo>
                    <a:lnTo>
                      <a:pt x="0" y="6601"/>
                    </a:lnTo>
                    <a:lnTo>
                      <a:pt x="2222" y="5025"/>
                    </a:lnTo>
                    <a:lnTo>
                      <a:pt x="2222" y="1576"/>
                    </a:lnTo>
                    <a:lnTo>
                      <a:pt x="4872" y="985"/>
                    </a:lnTo>
                    <a:lnTo>
                      <a:pt x="8034" y="1576"/>
                    </a:lnTo>
                    <a:lnTo>
                      <a:pt x="8376" y="985"/>
                    </a:lnTo>
                    <a:lnTo>
                      <a:pt x="10171" y="1576"/>
                    </a:lnTo>
                    <a:lnTo>
                      <a:pt x="10684" y="157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69" name="Freeform 180"/>
              <p:cNvSpPr>
                <a:spLocks/>
              </p:cNvSpPr>
              <p:nvPr/>
            </p:nvSpPr>
            <p:spPr bwMode="auto">
              <a:xfrm>
                <a:off x="6397625" y="3695700"/>
                <a:ext cx="20638" cy="47625"/>
              </a:xfrm>
              <a:custGeom>
                <a:avLst/>
                <a:gdLst>
                  <a:gd name="T0" fmla="*/ 3750 w 20000"/>
                  <a:gd name="T1" fmla="*/ 17027 h 20000"/>
                  <a:gd name="T2" fmla="*/ 0 w 20000"/>
                  <a:gd name="T3" fmla="*/ 5405 h 20000"/>
                  <a:gd name="T4" fmla="*/ 3750 w 20000"/>
                  <a:gd name="T5" fmla="*/ 4324 h 20000"/>
                  <a:gd name="T6" fmla="*/ 9375 w 20000"/>
                  <a:gd name="T7" fmla="*/ 0 h 20000"/>
                  <a:gd name="T8" fmla="*/ 19375 w 20000"/>
                  <a:gd name="T9" fmla="*/ 4324 h 20000"/>
                  <a:gd name="T10" fmla="*/ 19375 w 20000"/>
                  <a:gd name="T11" fmla="*/ 11081 h 20000"/>
                  <a:gd name="T12" fmla="*/ 19375 w 20000"/>
                  <a:gd name="T13" fmla="*/ 17027 h 20000"/>
                  <a:gd name="T14" fmla="*/ 15625 w 20000"/>
                  <a:gd name="T15" fmla="*/ 19730 h 20000"/>
                  <a:gd name="T16" fmla="*/ 9375 w 20000"/>
                  <a:gd name="T17" fmla="*/ 17027 h 20000"/>
                  <a:gd name="T18" fmla="*/ 3750 w 20000"/>
                  <a:gd name="T19" fmla="*/ 170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3750" y="17027"/>
                    </a:moveTo>
                    <a:lnTo>
                      <a:pt x="0" y="5405"/>
                    </a:lnTo>
                    <a:lnTo>
                      <a:pt x="3750" y="4324"/>
                    </a:lnTo>
                    <a:lnTo>
                      <a:pt x="9375" y="0"/>
                    </a:lnTo>
                    <a:lnTo>
                      <a:pt x="19375" y="4324"/>
                    </a:lnTo>
                    <a:lnTo>
                      <a:pt x="19375" y="11081"/>
                    </a:lnTo>
                    <a:lnTo>
                      <a:pt x="19375" y="17027"/>
                    </a:lnTo>
                    <a:lnTo>
                      <a:pt x="15625" y="19730"/>
                    </a:lnTo>
                    <a:lnTo>
                      <a:pt x="9375" y="17027"/>
                    </a:lnTo>
                    <a:lnTo>
                      <a:pt x="3750" y="1702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0" name="Freeform 179"/>
              <p:cNvSpPr>
                <a:spLocks/>
              </p:cNvSpPr>
              <p:nvPr/>
            </p:nvSpPr>
            <p:spPr bwMode="auto">
              <a:xfrm>
                <a:off x="8347075" y="3019425"/>
                <a:ext cx="149225" cy="220663"/>
              </a:xfrm>
              <a:custGeom>
                <a:avLst/>
                <a:gdLst>
                  <a:gd name="T0" fmla="*/ 19915 w 20000"/>
                  <a:gd name="T1" fmla="*/ 1494 h 20000"/>
                  <a:gd name="T2" fmla="*/ 19915 w 20000"/>
                  <a:gd name="T3" fmla="*/ 2069 h 20000"/>
                  <a:gd name="T4" fmla="*/ 19060 w 20000"/>
                  <a:gd name="T5" fmla="*/ 2356 h 20000"/>
                  <a:gd name="T6" fmla="*/ 18547 w 20000"/>
                  <a:gd name="T7" fmla="*/ 3851 h 20000"/>
                  <a:gd name="T8" fmla="*/ 17692 w 20000"/>
                  <a:gd name="T9" fmla="*/ 5920 h 20000"/>
                  <a:gd name="T10" fmla="*/ 18547 w 20000"/>
                  <a:gd name="T11" fmla="*/ 5920 h 20000"/>
                  <a:gd name="T12" fmla="*/ 19060 w 20000"/>
                  <a:gd name="T13" fmla="*/ 7701 h 20000"/>
                  <a:gd name="T14" fmla="*/ 17692 w 20000"/>
                  <a:gd name="T15" fmla="*/ 8563 h 20000"/>
                  <a:gd name="T16" fmla="*/ 17265 w 20000"/>
                  <a:gd name="T17" fmla="*/ 9195 h 20000"/>
                  <a:gd name="T18" fmla="*/ 15556 w 20000"/>
                  <a:gd name="T19" fmla="*/ 10057 h 20000"/>
                  <a:gd name="T20" fmla="*/ 15556 w 20000"/>
                  <a:gd name="T21" fmla="*/ 10690 h 20000"/>
                  <a:gd name="T22" fmla="*/ 13675 w 20000"/>
                  <a:gd name="T23" fmla="*/ 10977 h 20000"/>
                  <a:gd name="T24" fmla="*/ 12821 w 20000"/>
                  <a:gd name="T25" fmla="*/ 12529 h 20000"/>
                  <a:gd name="T26" fmla="*/ 12821 w 20000"/>
                  <a:gd name="T27" fmla="*/ 13678 h 20000"/>
                  <a:gd name="T28" fmla="*/ 11966 w 20000"/>
                  <a:gd name="T29" fmla="*/ 13678 h 20000"/>
                  <a:gd name="T30" fmla="*/ 13675 w 20000"/>
                  <a:gd name="T31" fmla="*/ 14540 h 20000"/>
                  <a:gd name="T32" fmla="*/ 16410 w 20000"/>
                  <a:gd name="T33" fmla="*/ 16034 h 20000"/>
                  <a:gd name="T34" fmla="*/ 17265 w 20000"/>
                  <a:gd name="T35" fmla="*/ 16034 h 20000"/>
                  <a:gd name="T36" fmla="*/ 17265 w 20000"/>
                  <a:gd name="T37" fmla="*/ 16897 h 20000"/>
                  <a:gd name="T38" fmla="*/ 13675 w 20000"/>
                  <a:gd name="T39" fmla="*/ 17816 h 20000"/>
                  <a:gd name="T40" fmla="*/ 11966 w 20000"/>
                  <a:gd name="T41" fmla="*/ 19310 h 20000"/>
                  <a:gd name="T42" fmla="*/ 9744 w 20000"/>
                  <a:gd name="T43" fmla="*/ 19943 h 20000"/>
                  <a:gd name="T44" fmla="*/ 8376 w 20000"/>
                  <a:gd name="T45" fmla="*/ 18736 h 20000"/>
                  <a:gd name="T46" fmla="*/ 8034 w 20000"/>
                  <a:gd name="T47" fmla="*/ 18736 h 20000"/>
                  <a:gd name="T48" fmla="*/ 8034 w 20000"/>
                  <a:gd name="T49" fmla="*/ 19943 h 20000"/>
                  <a:gd name="T50" fmla="*/ 7009 w 20000"/>
                  <a:gd name="T51" fmla="*/ 19310 h 20000"/>
                  <a:gd name="T52" fmla="*/ 5812 w 20000"/>
                  <a:gd name="T53" fmla="*/ 19310 h 20000"/>
                  <a:gd name="T54" fmla="*/ 6154 w 20000"/>
                  <a:gd name="T55" fmla="*/ 18391 h 20000"/>
                  <a:gd name="T56" fmla="*/ 4444 w 20000"/>
                  <a:gd name="T57" fmla="*/ 18391 h 20000"/>
                  <a:gd name="T58" fmla="*/ 4872 w 20000"/>
                  <a:gd name="T59" fmla="*/ 16897 h 20000"/>
                  <a:gd name="T60" fmla="*/ 5812 w 20000"/>
                  <a:gd name="T61" fmla="*/ 16322 h 20000"/>
                  <a:gd name="T62" fmla="*/ 6154 w 20000"/>
                  <a:gd name="T63" fmla="*/ 16322 h 20000"/>
                  <a:gd name="T64" fmla="*/ 4872 w 20000"/>
                  <a:gd name="T65" fmla="*/ 16034 h 20000"/>
                  <a:gd name="T66" fmla="*/ 4872 w 20000"/>
                  <a:gd name="T67" fmla="*/ 14540 h 20000"/>
                  <a:gd name="T68" fmla="*/ 5812 w 20000"/>
                  <a:gd name="T69" fmla="*/ 13678 h 20000"/>
                  <a:gd name="T70" fmla="*/ 4872 w 20000"/>
                  <a:gd name="T71" fmla="*/ 13103 h 20000"/>
                  <a:gd name="T72" fmla="*/ 4444 w 20000"/>
                  <a:gd name="T73" fmla="*/ 13103 h 20000"/>
                  <a:gd name="T74" fmla="*/ 2222 w 20000"/>
                  <a:gd name="T75" fmla="*/ 12529 h 20000"/>
                  <a:gd name="T76" fmla="*/ 2222 w 20000"/>
                  <a:gd name="T77" fmla="*/ 13103 h 20000"/>
                  <a:gd name="T78" fmla="*/ 1368 w 20000"/>
                  <a:gd name="T79" fmla="*/ 13103 h 20000"/>
                  <a:gd name="T80" fmla="*/ 0 w 20000"/>
                  <a:gd name="T81" fmla="*/ 12529 h 20000"/>
                  <a:gd name="T82" fmla="*/ 1368 w 20000"/>
                  <a:gd name="T83" fmla="*/ 10057 h 20000"/>
                  <a:gd name="T84" fmla="*/ 4444 w 20000"/>
                  <a:gd name="T85" fmla="*/ 8563 h 20000"/>
                  <a:gd name="T86" fmla="*/ 5812 w 20000"/>
                  <a:gd name="T87" fmla="*/ 7701 h 20000"/>
                  <a:gd name="T88" fmla="*/ 6154 w 20000"/>
                  <a:gd name="T89" fmla="*/ 6782 h 20000"/>
                  <a:gd name="T90" fmla="*/ 6154 w 20000"/>
                  <a:gd name="T91" fmla="*/ 5345 h 20000"/>
                  <a:gd name="T92" fmla="*/ 8034 w 20000"/>
                  <a:gd name="T93" fmla="*/ 4770 h 20000"/>
                  <a:gd name="T94" fmla="*/ 9316 w 20000"/>
                  <a:gd name="T95" fmla="*/ 5920 h 20000"/>
                  <a:gd name="T96" fmla="*/ 11538 w 20000"/>
                  <a:gd name="T97" fmla="*/ 5920 h 20000"/>
                  <a:gd name="T98" fmla="*/ 12821 w 20000"/>
                  <a:gd name="T99" fmla="*/ 5920 h 20000"/>
                  <a:gd name="T100" fmla="*/ 11966 w 20000"/>
                  <a:gd name="T101" fmla="*/ 4770 h 20000"/>
                  <a:gd name="T102" fmla="*/ 11966 w 20000"/>
                  <a:gd name="T103" fmla="*/ 4425 h 20000"/>
                  <a:gd name="T104" fmla="*/ 13675 w 20000"/>
                  <a:gd name="T105" fmla="*/ 3851 h 20000"/>
                  <a:gd name="T106" fmla="*/ 15043 w 20000"/>
                  <a:gd name="T107" fmla="*/ 3506 h 20000"/>
                  <a:gd name="T108" fmla="*/ 15556 w 20000"/>
                  <a:gd name="T109" fmla="*/ 2356 h 20000"/>
                  <a:gd name="T110" fmla="*/ 17265 w 20000"/>
                  <a:gd name="T111" fmla="*/ 1494 h 20000"/>
                  <a:gd name="T112" fmla="*/ 17265 w 20000"/>
                  <a:gd name="T113" fmla="*/ 0 h 20000"/>
                  <a:gd name="T114" fmla="*/ 18547 w 20000"/>
                  <a:gd name="T115" fmla="*/ 575 h 20000"/>
                  <a:gd name="T116" fmla="*/ 19915 w 20000"/>
                  <a:gd name="T117" fmla="*/ 149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19915" y="1494"/>
                    </a:moveTo>
                    <a:lnTo>
                      <a:pt x="19915" y="2069"/>
                    </a:lnTo>
                    <a:lnTo>
                      <a:pt x="19060" y="2356"/>
                    </a:lnTo>
                    <a:lnTo>
                      <a:pt x="18547" y="3851"/>
                    </a:lnTo>
                    <a:lnTo>
                      <a:pt x="17692" y="5920"/>
                    </a:lnTo>
                    <a:lnTo>
                      <a:pt x="18547" y="5920"/>
                    </a:lnTo>
                    <a:lnTo>
                      <a:pt x="19060" y="7701"/>
                    </a:lnTo>
                    <a:lnTo>
                      <a:pt x="17692" y="8563"/>
                    </a:lnTo>
                    <a:lnTo>
                      <a:pt x="17265" y="9195"/>
                    </a:lnTo>
                    <a:lnTo>
                      <a:pt x="15556" y="10057"/>
                    </a:lnTo>
                    <a:lnTo>
                      <a:pt x="15556" y="10690"/>
                    </a:lnTo>
                    <a:lnTo>
                      <a:pt x="13675" y="10977"/>
                    </a:lnTo>
                    <a:lnTo>
                      <a:pt x="12821" y="12529"/>
                    </a:lnTo>
                    <a:lnTo>
                      <a:pt x="12821" y="13678"/>
                    </a:lnTo>
                    <a:lnTo>
                      <a:pt x="11966" y="13678"/>
                    </a:lnTo>
                    <a:lnTo>
                      <a:pt x="13675" y="14540"/>
                    </a:lnTo>
                    <a:lnTo>
                      <a:pt x="16410" y="16034"/>
                    </a:lnTo>
                    <a:lnTo>
                      <a:pt x="17265" y="16034"/>
                    </a:lnTo>
                    <a:lnTo>
                      <a:pt x="17265" y="16897"/>
                    </a:lnTo>
                    <a:lnTo>
                      <a:pt x="13675" y="17816"/>
                    </a:lnTo>
                    <a:lnTo>
                      <a:pt x="11966" y="19310"/>
                    </a:lnTo>
                    <a:lnTo>
                      <a:pt x="9744" y="19943"/>
                    </a:lnTo>
                    <a:lnTo>
                      <a:pt x="8376" y="18736"/>
                    </a:lnTo>
                    <a:lnTo>
                      <a:pt x="8034" y="18736"/>
                    </a:lnTo>
                    <a:lnTo>
                      <a:pt x="8034" y="19943"/>
                    </a:lnTo>
                    <a:lnTo>
                      <a:pt x="7009" y="19310"/>
                    </a:lnTo>
                    <a:lnTo>
                      <a:pt x="5812" y="19310"/>
                    </a:lnTo>
                    <a:lnTo>
                      <a:pt x="6154" y="18391"/>
                    </a:lnTo>
                    <a:lnTo>
                      <a:pt x="4444" y="18391"/>
                    </a:lnTo>
                    <a:lnTo>
                      <a:pt x="4872" y="16897"/>
                    </a:lnTo>
                    <a:lnTo>
                      <a:pt x="5812" y="16322"/>
                    </a:lnTo>
                    <a:lnTo>
                      <a:pt x="6154" y="16322"/>
                    </a:lnTo>
                    <a:lnTo>
                      <a:pt x="4872" y="16034"/>
                    </a:lnTo>
                    <a:lnTo>
                      <a:pt x="4872" y="14540"/>
                    </a:lnTo>
                    <a:lnTo>
                      <a:pt x="5812" y="13678"/>
                    </a:lnTo>
                    <a:lnTo>
                      <a:pt x="4872" y="13103"/>
                    </a:lnTo>
                    <a:lnTo>
                      <a:pt x="4444" y="13103"/>
                    </a:lnTo>
                    <a:lnTo>
                      <a:pt x="2222" y="12529"/>
                    </a:lnTo>
                    <a:lnTo>
                      <a:pt x="2222" y="13103"/>
                    </a:lnTo>
                    <a:lnTo>
                      <a:pt x="1368" y="13103"/>
                    </a:lnTo>
                    <a:lnTo>
                      <a:pt x="0" y="12529"/>
                    </a:lnTo>
                    <a:lnTo>
                      <a:pt x="1368" y="10057"/>
                    </a:lnTo>
                    <a:lnTo>
                      <a:pt x="4444" y="8563"/>
                    </a:lnTo>
                    <a:lnTo>
                      <a:pt x="5812" y="7701"/>
                    </a:lnTo>
                    <a:lnTo>
                      <a:pt x="6154" y="6782"/>
                    </a:lnTo>
                    <a:lnTo>
                      <a:pt x="6154" y="5345"/>
                    </a:lnTo>
                    <a:lnTo>
                      <a:pt x="8034" y="4770"/>
                    </a:lnTo>
                    <a:lnTo>
                      <a:pt x="9316" y="5920"/>
                    </a:lnTo>
                    <a:lnTo>
                      <a:pt x="11538" y="5920"/>
                    </a:lnTo>
                    <a:lnTo>
                      <a:pt x="12821" y="5920"/>
                    </a:lnTo>
                    <a:lnTo>
                      <a:pt x="11966" y="4770"/>
                    </a:lnTo>
                    <a:lnTo>
                      <a:pt x="11966" y="4425"/>
                    </a:lnTo>
                    <a:lnTo>
                      <a:pt x="13675" y="3851"/>
                    </a:lnTo>
                    <a:lnTo>
                      <a:pt x="15043" y="3506"/>
                    </a:lnTo>
                    <a:lnTo>
                      <a:pt x="15556" y="2356"/>
                    </a:lnTo>
                    <a:lnTo>
                      <a:pt x="17265" y="1494"/>
                    </a:lnTo>
                    <a:lnTo>
                      <a:pt x="17265" y="0"/>
                    </a:lnTo>
                    <a:lnTo>
                      <a:pt x="18547" y="575"/>
                    </a:lnTo>
                    <a:lnTo>
                      <a:pt x="19915" y="149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1" name="Freeform 178"/>
              <p:cNvSpPr>
                <a:spLocks/>
              </p:cNvSpPr>
              <p:nvPr/>
            </p:nvSpPr>
            <p:spPr bwMode="auto">
              <a:xfrm>
                <a:off x="8426450" y="3195638"/>
                <a:ext cx="103188" cy="168275"/>
              </a:xfrm>
              <a:custGeom>
                <a:avLst/>
                <a:gdLst>
                  <a:gd name="T0" fmla="*/ 1975 w 20000"/>
                  <a:gd name="T1" fmla="*/ 4302 h 20000"/>
                  <a:gd name="T2" fmla="*/ 4444 w 20000"/>
                  <a:gd name="T3" fmla="*/ 2340 h 20000"/>
                  <a:gd name="T4" fmla="*/ 9506 w 20000"/>
                  <a:gd name="T5" fmla="*/ 1208 h 20000"/>
                  <a:gd name="T6" fmla="*/ 9506 w 20000"/>
                  <a:gd name="T7" fmla="*/ 0 h 20000"/>
                  <a:gd name="T8" fmla="*/ 14568 w 20000"/>
                  <a:gd name="T9" fmla="*/ 5132 h 20000"/>
                  <a:gd name="T10" fmla="*/ 18519 w 20000"/>
                  <a:gd name="T11" fmla="*/ 8604 h 20000"/>
                  <a:gd name="T12" fmla="*/ 18519 w 20000"/>
                  <a:gd name="T13" fmla="*/ 11698 h 20000"/>
                  <a:gd name="T14" fmla="*/ 19877 w 20000"/>
                  <a:gd name="T15" fmla="*/ 12528 h 20000"/>
                  <a:gd name="T16" fmla="*/ 19877 w 20000"/>
                  <a:gd name="T17" fmla="*/ 14491 h 20000"/>
                  <a:gd name="T18" fmla="*/ 18519 w 20000"/>
                  <a:gd name="T19" fmla="*/ 16377 h 20000"/>
                  <a:gd name="T20" fmla="*/ 16543 w 20000"/>
                  <a:gd name="T21" fmla="*/ 16377 h 20000"/>
                  <a:gd name="T22" fmla="*/ 15309 w 20000"/>
                  <a:gd name="T23" fmla="*/ 16377 h 20000"/>
                  <a:gd name="T24" fmla="*/ 15309 w 20000"/>
                  <a:gd name="T25" fmla="*/ 17585 h 20000"/>
                  <a:gd name="T26" fmla="*/ 13333 w 20000"/>
                  <a:gd name="T27" fmla="*/ 16830 h 20000"/>
                  <a:gd name="T28" fmla="*/ 13333 w 20000"/>
                  <a:gd name="T29" fmla="*/ 16377 h 20000"/>
                  <a:gd name="T30" fmla="*/ 12099 w 20000"/>
                  <a:gd name="T31" fmla="*/ 17585 h 20000"/>
                  <a:gd name="T32" fmla="*/ 12099 w 20000"/>
                  <a:gd name="T33" fmla="*/ 17962 h 20000"/>
                  <a:gd name="T34" fmla="*/ 11481 w 20000"/>
                  <a:gd name="T35" fmla="*/ 17585 h 20000"/>
                  <a:gd name="T36" fmla="*/ 10247 w 20000"/>
                  <a:gd name="T37" fmla="*/ 17962 h 20000"/>
                  <a:gd name="T38" fmla="*/ 11481 w 20000"/>
                  <a:gd name="T39" fmla="*/ 18717 h 20000"/>
                  <a:gd name="T40" fmla="*/ 10247 w 20000"/>
                  <a:gd name="T41" fmla="*/ 19472 h 20000"/>
                  <a:gd name="T42" fmla="*/ 9506 w 20000"/>
                  <a:gd name="T43" fmla="*/ 18717 h 20000"/>
                  <a:gd name="T44" fmla="*/ 8272 w 20000"/>
                  <a:gd name="T45" fmla="*/ 19472 h 20000"/>
                  <a:gd name="T46" fmla="*/ 6296 w 20000"/>
                  <a:gd name="T47" fmla="*/ 19925 h 20000"/>
                  <a:gd name="T48" fmla="*/ 6296 w 20000"/>
                  <a:gd name="T49" fmla="*/ 17585 h 20000"/>
                  <a:gd name="T50" fmla="*/ 5062 w 20000"/>
                  <a:gd name="T51" fmla="*/ 17962 h 20000"/>
                  <a:gd name="T52" fmla="*/ 4444 w 20000"/>
                  <a:gd name="T53" fmla="*/ 15623 h 20000"/>
                  <a:gd name="T54" fmla="*/ 5062 w 20000"/>
                  <a:gd name="T55" fmla="*/ 14868 h 20000"/>
                  <a:gd name="T56" fmla="*/ 4444 w 20000"/>
                  <a:gd name="T57" fmla="*/ 14491 h 20000"/>
                  <a:gd name="T58" fmla="*/ 4444 w 20000"/>
                  <a:gd name="T59" fmla="*/ 13660 h 20000"/>
                  <a:gd name="T60" fmla="*/ 5062 w 20000"/>
                  <a:gd name="T61" fmla="*/ 13283 h 20000"/>
                  <a:gd name="T62" fmla="*/ 5062 w 20000"/>
                  <a:gd name="T63" fmla="*/ 12528 h 20000"/>
                  <a:gd name="T64" fmla="*/ 4444 w 20000"/>
                  <a:gd name="T65" fmla="*/ 11698 h 20000"/>
                  <a:gd name="T66" fmla="*/ 1975 w 20000"/>
                  <a:gd name="T67" fmla="*/ 9434 h 20000"/>
                  <a:gd name="T68" fmla="*/ 1235 w 20000"/>
                  <a:gd name="T69" fmla="*/ 8604 h 20000"/>
                  <a:gd name="T70" fmla="*/ 1235 w 20000"/>
                  <a:gd name="T71" fmla="*/ 8226 h 20000"/>
                  <a:gd name="T72" fmla="*/ 4444 w 20000"/>
                  <a:gd name="T73" fmla="*/ 8604 h 20000"/>
                  <a:gd name="T74" fmla="*/ 3210 w 20000"/>
                  <a:gd name="T75" fmla="*/ 7396 h 20000"/>
                  <a:gd name="T76" fmla="*/ 1975 w 20000"/>
                  <a:gd name="T77" fmla="*/ 6642 h 20000"/>
                  <a:gd name="T78" fmla="*/ 1235 w 20000"/>
                  <a:gd name="T79" fmla="*/ 5434 h 20000"/>
                  <a:gd name="T80" fmla="*/ 0 w 20000"/>
                  <a:gd name="T81" fmla="*/ 5132 h 20000"/>
                  <a:gd name="T82" fmla="*/ 1975 w 20000"/>
                  <a:gd name="T83" fmla="*/ 5132 h 20000"/>
                  <a:gd name="T84" fmla="*/ 1975 w 20000"/>
                  <a:gd name="T85" fmla="*/ 430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75" y="4302"/>
                    </a:moveTo>
                    <a:lnTo>
                      <a:pt x="4444" y="2340"/>
                    </a:lnTo>
                    <a:lnTo>
                      <a:pt x="9506" y="1208"/>
                    </a:lnTo>
                    <a:lnTo>
                      <a:pt x="9506" y="0"/>
                    </a:lnTo>
                    <a:lnTo>
                      <a:pt x="14568" y="5132"/>
                    </a:lnTo>
                    <a:lnTo>
                      <a:pt x="18519" y="8604"/>
                    </a:lnTo>
                    <a:lnTo>
                      <a:pt x="18519" y="11698"/>
                    </a:lnTo>
                    <a:lnTo>
                      <a:pt x="19877" y="12528"/>
                    </a:lnTo>
                    <a:lnTo>
                      <a:pt x="19877" y="14491"/>
                    </a:lnTo>
                    <a:lnTo>
                      <a:pt x="18519" y="16377"/>
                    </a:lnTo>
                    <a:lnTo>
                      <a:pt x="16543" y="16377"/>
                    </a:lnTo>
                    <a:lnTo>
                      <a:pt x="15309" y="16377"/>
                    </a:lnTo>
                    <a:lnTo>
                      <a:pt x="15309" y="17585"/>
                    </a:lnTo>
                    <a:lnTo>
                      <a:pt x="13333" y="16830"/>
                    </a:lnTo>
                    <a:lnTo>
                      <a:pt x="13333" y="16377"/>
                    </a:lnTo>
                    <a:lnTo>
                      <a:pt x="12099" y="17585"/>
                    </a:lnTo>
                    <a:lnTo>
                      <a:pt x="12099" y="17962"/>
                    </a:lnTo>
                    <a:lnTo>
                      <a:pt x="11481" y="17585"/>
                    </a:lnTo>
                    <a:lnTo>
                      <a:pt x="10247" y="17962"/>
                    </a:lnTo>
                    <a:lnTo>
                      <a:pt x="11481" y="18717"/>
                    </a:lnTo>
                    <a:lnTo>
                      <a:pt x="10247" y="19472"/>
                    </a:lnTo>
                    <a:lnTo>
                      <a:pt x="9506" y="18717"/>
                    </a:lnTo>
                    <a:lnTo>
                      <a:pt x="8272" y="19472"/>
                    </a:lnTo>
                    <a:lnTo>
                      <a:pt x="6296" y="19925"/>
                    </a:lnTo>
                    <a:lnTo>
                      <a:pt x="6296" y="17585"/>
                    </a:lnTo>
                    <a:lnTo>
                      <a:pt x="5062" y="17962"/>
                    </a:lnTo>
                    <a:lnTo>
                      <a:pt x="4444" y="15623"/>
                    </a:lnTo>
                    <a:lnTo>
                      <a:pt x="5062" y="14868"/>
                    </a:lnTo>
                    <a:lnTo>
                      <a:pt x="4444" y="14491"/>
                    </a:lnTo>
                    <a:lnTo>
                      <a:pt x="4444" y="13660"/>
                    </a:lnTo>
                    <a:lnTo>
                      <a:pt x="5062" y="13283"/>
                    </a:lnTo>
                    <a:lnTo>
                      <a:pt x="5062" y="12528"/>
                    </a:lnTo>
                    <a:lnTo>
                      <a:pt x="4444" y="11698"/>
                    </a:lnTo>
                    <a:lnTo>
                      <a:pt x="1975" y="9434"/>
                    </a:lnTo>
                    <a:lnTo>
                      <a:pt x="1235" y="8604"/>
                    </a:lnTo>
                    <a:lnTo>
                      <a:pt x="1235" y="8226"/>
                    </a:lnTo>
                    <a:lnTo>
                      <a:pt x="4444" y="8604"/>
                    </a:lnTo>
                    <a:lnTo>
                      <a:pt x="3210" y="7396"/>
                    </a:lnTo>
                    <a:lnTo>
                      <a:pt x="1975" y="6642"/>
                    </a:lnTo>
                    <a:lnTo>
                      <a:pt x="1235" y="5434"/>
                    </a:lnTo>
                    <a:lnTo>
                      <a:pt x="0" y="5132"/>
                    </a:lnTo>
                    <a:lnTo>
                      <a:pt x="1975" y="5132"/>
                    </a:lnTo>
                    <a:lnTo>
                      <a:pt x="1975" y="430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2" name="Freeform 177"/>
              <p:cNvSpPr>
                <a:spLocks/>
              </p:cNvSpPr>
              <p:nvPr/>
            </p:nvSpPr>
            <p:spPr bwMode="auto">
              <a:xfrm>
                <a:off x="6278563" y="3570288"/>
                <a:ext cx="42862" cy="44450"/>
              </a:xfrm>
              <a:custGeom>
                <a:avLst/>
                <a:gdLst>
                  <a:gd name="T0" fmla="*/ 0 w 20000"/>
                  <a:gd name="T1" fmla="*/ 12174 h 20000"/>
                  <a:gd name="T2" fmla="*/ 2941 w 20000"/>
                  <a:gd name="T3" fmla="*/ 7826 h 20000"/>
                  <a:gd name="T4" fmla="*/ 4706 w 20000"/>
                  <a:gd name="T5" fmla="*/ 0 h 20000"/>
                  <a:gd name="T6" fmla="*/ 12059 w 20000"/>
                  <a:gd name="T7" fmla="*/ 0 h 20000"/>
                  <a:gd name="T8" fmla="*/ 15000 w 20000"/>
                  <a:gd name="T9" fmla="*/ 3188 h 20000"/>
                  <a:gd name="T10" fmla="*/ 18235 w 20000"/>
                  <a:gd name="T11" fmla="*/ 3188 h 20000"/>
                  <a:gd name="T12" fmla="*/ 18235 w 20000"/>
                  <a:gd name="T13" fmla="*/ 6087 h 20000"/>
                  <a:gd name="T14" fmla="*/ 12059 w 20000"/>
                  <a:gd name="T15" fmla="*/ 7826 h 20000"/>
                  <a:gd name="T16" fmla="*/ 15000 w 20000"/>
                  <a:gd name="T17" fmla="*/ 10725 h 20000"/>
                  <a:gd name="T18" fmla="*/ 19706 w 20000"/>
                  <a:gd name="T19" fmla="*/ 19710 h 20000"/>
                  <a:gd name="T20" fmla="*/ 12059 w 20000"/>
                  <a:gd name="T21" fmla="*/ 19710 h 20000"/>
                  <a:gd name="T22" fmla="*/ 10588 w 20000"/>
                  <a:gd name="T23" fmla="*/ 15072 h 20000"/>
                  <a:gd name="T24" fmla="*/ 0 w 20000"/>
                  <a:gd name="T25" fmla="*/ 1217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0" y="12174"/>
                    </a:moveTo>
                    <a:lnTo>
                      <a:pt x="2941" y="7826"/>
                    </a:lnTo>
                    <a:lnTo>
                      <a:pt x="4706" y="0"/>
                    </a:lnTo>
                    <a:lnTo>
                      <a:pt x="12059" y="0"/>
                    </a:lnTo>
                    <a:lnTo>
                      <a:pt x="15000" y="3188"/>
                    </a:lnTo>
                    <a:lnTo>
                      <a:pt x="18235" y="3188"/>
                    </a:lnTo>
                    <a:lnTo>
                      <a:pt x="18235" y="6087"/>
                    </a:lnTo>
                    <a:lnTo>
                      <a:pt x="12059" y="7826"/>
                    </a:lnTo>
                    <a:lnTo>
                      <a:pt x="15000" y="10725"/>
                    </a:lnTo>
                    <a:lnTo>
                      <a:pt x="19706" y="19710"/>
                    </a:lnTo>
                    <a:lnTo>
                      <a:pt x="12059" y="19710"/>
                    </a:lnTo>
                    <a:lnTo>
                      <a:pt x="10588" y="15072"/>
                    </a:lnTo>
                    <a:lnTo>
                      <a:pt x="0" y="1217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3" name="Freeform 176"/>
              <p:cNvSpPr>
                <a:spLocks/>
              </p:cNvSpPr>
              <p:nvPr/>
            </p:nvSpPr>
            <p:spPr bwMode="auto">
              <a:xfrm>
                <a:off x="7794625" y="3794125"/>
                <a:ext cx="223838" cy="266700"/>
              </a:xfrm>
              <a:custGeom>
                <a:avLst/>
                <a:gdLst>
                  <a:gd name="T0" fmla="*/ 2323 w 20000"/>
                  <a:gd name="T1" fmla="*/ 2952 h 20000"/>
                  <a:gd name="T2" fmla="*/ 3229 w 20000"/>
                  <a:gd name="T3" fmla="*/ 476 h 20000"/>
                  <a:gd name="T4" fmla="*/ 4646 w 20000"/>
                  <a:gd name="T5" fmla="*/ 0 h 20000"/>
                  <a:gd name="T6" fmla="*/ 6459 w 20000"/>
                  <a:gd name="T7" fmla="*/ 1238 h 20000"/>
                  <a:gd name="T8" fmla="*/ 6459 w 20000"/>
                  <a:gd name="T9" fmla="*/ 2952 h 20000"/>
                  <a:gd name="T10" fmla="*/ 10198 w 20000"/>
                  <a:gd name="T11" fmla="*/ 3714 h 20000"/>
                  <a:gd name="T12" fmla="*/ 11445 w 20000"/>
                  <a:gd name="T13" fmla="*/ 4476 h 20000"/>
                  <a:gd name="T14" fmla="*/ 11671 w 20000"/>
                  <a:gd name="T15" fmla="*/ 6429 h 20000"/>
                  <a:gd name="T16" fmla="*/ 9972 w 20000"/>
                  <a:gd name="T17" fmla="*/ 6429 h 20000"/>
                  <a:gd name="T18" fmla="*/ 12578 w 20000"/>
                  <a:gd name="T19" fmla="*/ 8857 h 20000"/>
                  <a:gd name="T20" fmla="*/ 14051 w 20000"/>
                  <a:gd name="T21" fmla="*/ 10095 h 20000"/>
                  <a:gd name="T22" fmla="*/ 16431 w 20000"/>
                  <a:gd name="T23" fmla="*/ 12286 h 20000"/>
                  <a:gd name="T24" fmla="*/ 19320 w 20000"/>
                  <a:gd name="T25" fmla="*/ 14810 h 20000"/>
                  <a:gd name="T26" fmla="*/ 19943 w 20000"/>
                  <a:gd name="T27" fmla="*/ 16238 h 20000"/>
                  <a:gd name="T28" fmla="*/ 19943 w 20000"/>
                  <a:gd name="T29" fmla="*/ 18000 h 20000"/>
                  <a:gd name="T30" fmla="*/ 18414 w 20000"/>
                  <a:gd name="T31" fmla="*/ 18714 h 20000"/>
                  <a:gd name="T32" fmla="*/ 16431 w 20000"/>
                  <a:gd name="T33" fmla="*/ 18476 h 20000"/>
                  <a:gd name="T34" fmla="*/ 16091 w 20000"/>
                  <a:gd name="T35" fmla="*/ 19952 h 20000"/>
                  <a:gd name="T36" fmla="*/ 14051 w 20000"/>
                  <a:gd name="T37" fmla="*/ 19476 h 20000"/>
                  <a:gd name="T38" fmla="*/ 14618 w 20000"/>
                  <a:gd name="T39" fmla="*/ 18000 h 20000"/>
                  <a:gd name="T40" fmla="*/ 14618 w 20000"/>
                  <a:gd name="T41" fmla="*/ 15524 h 20000"/>
                  <a:gd name="T42" fmla="*/ 14051 w 20000"/>
                  <a:gd name="T43" fmla="*/ 14810 h 20000"/>
                  <a:gd name="T44" fmla="*/ 12578 w 20000"/>
                  <a:gd name="T45" fmla="*/ 13333 h 20000"/>
                  <a:gd name="T46" fmla="*/ 12295 w 20000"/>
                  <a:gd name="T47" fmla="*/ 12095 h 20000"/>
                  <a:gd name="T48" fmla="*/ 9972 w 20000"/>
                  <a:gd name="T49" fmla="*/ 9619 h 20000"/>
                  <a:gd name="T50" fmla="*/ 7875 w 20000"/>
                  <a:gd name="T51" fmla="*/ 10095 h 20000"/>
                  <a:gd name="T52" fmla="*/ 6459 w 20000"/>
                  <a:gd name="T53" fmla="*/ 10333 h 20000"/>
                  <a:gd name="T54" fmla="*/ 4646 w 20000"/>
                  <a:gd name="T55" fmla="*/ 10333 h 20000"/>
                  <a:gd name="T56" fmla="*/ 3229 w 20000"/>
                  <a:gd name="T57" fmla="*/ 11095 h 20000"/>
                  <a:gd name="T58" fmla="*/ 2606 w 20000"/>
                  <a:gd name="T59" fmla="*/ 9143 h 20000"/>
                  <a:gd name="T60" fmla="*/ 2606 w 20000"/>
                  <a:gd name="T61" fmla="*/ 7143 h 20000"/>
                  <a:gd name="T62" fmla="*/ 1473 w 20000"/>
                  <a:gd name="T63" fmla="*/ 6905 h 20000"/>
                  <a:gd name="T64" fmla="*/ 1473 w 20000"/>
                  <a:gd name="T65" fmla="*/ 5667 h 20000"/>
                  <a:gd name="T66" fmla="*/ 0 w 20000"/>
                  <a:gd name="T67" fmla="*/ 5190 h 20000"/>
                  <a:gd name="T68" fmla="*/ 227 w 20000"/>
                  <a:gd name="T69" fmla="*/ 3905 h 20000"/>
                  <a:gd name="T70" fmla="*/ 907 w 20000"/>
                  <a:gd name="T71" fmla="*/ 3190 h 20000"/>
                  <a:gd name="T72" fmla="*/ 2323 w 20000"/>
                  <a:gd name="T73" fmla="*/ 24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2323" y="2476"/>
                    </a:moveTo>
                    <a:lnTo>
                      <a:pt x="2323" y="2952"/>
                    </a:lnTo>
                    <a:lnTo>
                      <a:pt x="3796" y="2952"/>
                    </a:lnTo>
                    <a:lnTo>
                      <a:pt x="3229" y="476"/>
                    </a:lnTo>
                    <a:lnTo>
                      <a:pt x="3796" y="0"/>
                    </a:lnTo>
                    <a:lnTo>
                      <a:pt x="4646" y="0"/>
                    </a:lnTo>
                    <a:lnTo>
                      <a:pt x="5212" y="762"/>
                    </a:lnTo>
                    <a:lnTo>
                      <a:pt x="6459" y="1238"/>
                    </a:lnTo>
                    <a:lnTo>
                      <a:pt x="6459" y="1762"/>
                    </a:lnTo>
                    <a:lnTo>
                      <a:pt x="6459" y="2952"/>
                    </a:lnTo>
                    <a:lnTo>
                      <a:pt x="8442" y="3714"/>
                    </a:lnTo>
                    <a:lnTo>
                      <a:pt x="10198" y="3714"/>
                    </a:lnTo>
                    <a:lnTo>
                      <a:pt x="10878" y="4476"/>
                    </a:lnTo>
                    <a:lnTo>
                      <a:pt x="11445" y="4476"/>
                    </a:lnTo>
                    <a:lnTo>
                      <a:pt x="11671" y="5190"/>
                    </a:lnTo>
                    <a:lnTo>
                      <a:pt x="11671" y="6429"/>
                    </a:lnTo>
                    <a:lnTo>
                      <a:pt x="10878" y="6429"/>
                    </a:lnTo>
                    <a:lnTo>
                      <a:pt x="9972" y="6429"/>
                    </a:lnTo>
                    <a:lnTo>
                      <a:pt x="9972" y="7143"/>
                    </a:lnTo>
                    <a:lnTo>
                      <a:pt x="12578" y="8857"/>
                    </a:lnTo>
                    <a:lnTo>
                      <a:pt x="13201" y="9143"/>
                    </a:lnTo>
                    <a:lnTo>
                      <a:pt x="14051" y="10095"/>
                    </a:lnTo>
                    <a:lnTo>
                      <a:pt x="14958" y="11095"/>
                    </a:lnTo>
                    <a:lnTo>
                      <a:pt x="16431" y="12286"/>
                    </a:lnTo>
                    <a:lnTo>
                      <a:pt x="17564" y="13524"/>
                    </a:lnTo>
                    <a:lnTo>
                      <a:pt x="19320" y="14810"/>
                    </a:lnTo>
                    <a:lnTo>
                      <a:pt x="19320" y="16238"/>
                    </a:lnTo>
                    <a:lnTo>
                      <a:pt x="19943" y="16238"/>
                    </a:lnTo>
                    <a:lnTo>
                      <a:pt x="19943" y="17238"/>
                    </a:lnTo>
                    <a:lnTo>
                      <a:pt x="19943" y="18000"/>
                    </a:lnTo>
                    <a:lnTo>
                      <a:pt x="19943" y="18714"/>
                    </a:lnTo>
                    <a:lnTo>
                      <a:pt x="18414" y="18714"/>
                    </a:lnTo>
                    <a:lnTo>
                      <a:pt x="17564" y="18000"/>
                    </a:lnTo>
                    <a:lnTo>
                      <a:pt x="16431" y="18476"/>
                    </a:lnTo>
                    <a:lnTo>
                      <a:pt x="16431" y="19476"/>
                    </a:lnTo>
                    <a:lnTo>
                      <a:pt x="16091" y="19952"/>
                    </a:lnTo>
                    <a:lnTo>
                      <a:pt x="15524" y="19476"/>
                    </a:lnTo>
                    <a:lnTo>
                      <a:pt x="14051" y="19476"/>
                    </a:lnTo>
                    <a:lnTo>
                      <a:pt x="14051" y="18714"/>
                    </a:lnTo>
                    <a:lnTo>
                      <a:pt x="14618" y="18000"/>
                    </a:lnTo>
                    <a:lnTo>
                      <a:pt x="14618" y="16238"/>
                    </a:lnTo>
                    <a:lnTo>
                      <a:pt x="14618" y="15524"/>
                    </a:lnTo>
                    <a:lnTo>
                      <a:pt x="14051" y="15286"/>
                    </a:lnTo>
                    <a:lnTo>
                      <a:pt x="14051" y="14810"/>
                    </a:lnTo>
                    <a:lnTo>
                      <a:pt x="13201" y="14286"/>
                    </a:lnTo>
                    <a:lnTo>
                      <a:pt x="12578" y="13333"/>
                    </a:lnTo>
                    <a:lnTo>
                      <a:pt x="12295" y="12286"/>
                    </a:lnTo>
                    <a:lnTo>
                      <a:pt x="12295" y="12095"/>
                    </a:lnTo>
                    <a:lnTo>
                      <a:pt x="10878" y="10333"/>
                    </a:lnTo>
                    <a:lnTo>
                      <a:pt x="9972" y="9619"/>
                    </a:lnTo>
                    <a:lnTo>
                      <a:pt x="8442" y="9143"/>
                    </a:lnTo>
                    <a:lnTo>
                      <a:pt x="7875" y="10095"/>
                    </a:lnTo>
                    <a:lnTo>
                      <a:pt x="7025" y="10095"/>
                    </a:lnTo>
                    <a:lnTo>
                      <a:pt x="6459" y="10333"/>
                    </a:lnTo>
                    <a:lnTo>
                      <a:pt x="5552" y="9619"/>
                    </a:lnTo>
                    <a:lnTo>
                      <a:pt x="4646" y="10333"/>
                    </a:lnTo>
                    <a:lnTo>
                      <a:pt x="4079" y="10333"/>
                    </a:lnTo>
                    <a:lnTo>
                      <a:pt x="3229" y="11095"/>
                    </a:lnTo>
                    <a:lnTo>
                      <a:pt x="2606" y="10810"/>
                    </a:lnTo>
                    <a:lnTo>
                      <a:pt x="2606" y="9143"/>
                    </a:lnTo>
                    <a:lnTo>
                      <a:pt x="3229" y="7619"/>
                    </a:lnTo>
                    <a:lnTo>
                      <a:pt x="2606" y="7143"/>
                    </a:lnTo>
                    <a:lnTo>
                      <a:pt x="2323" y="6429"/>
                    </a:lnTo>
                    <a:lnTo>
                      <a:pt x="1473" y="6905"/>
                    </a:lnTo>
                    <a:lnTo>
                      <a:pt x="907" y="6429"/>
                    </a:lnTo>
                    <a:lnTo>
                      <a:pt x="1473" y="5667"/>
                    </a:lnTo>
                    <a:lnTo>
                      <a:pt x="227" y="4952"/>
                    </a:lnTo>
                    <a:lnTo>
                      <a:pt x="0" y="5190"/>
                    </a:lnTo>
                    <a:lnTo>
                      <a:pt x="0" y="4476"/>
                    </a:lnTo>
                    <a:lnTo>
                      <a:pt x="227" y="3905"/>
                    </a:lnTo>
                    <a:lnTo>
                      <a:pt x="1473" y="3714"/>
                    </a:lnTo>
                    <a:lnTo>
                      <a:pt x="907" y="3190"/>
                    </a:lnTo>
                    <a:lnTo>
                      <a:pt x="1473" y="2952"/>
                    </a:lnTo>
                    <a:lnTo>
                      <a:pt x="2323" y="247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4" name="Freeform 175"/>
              <p:cNvSpPr>
                <a:spLocks/>
              </p:cNvSpPr>
              <p:nvPr/>
            </p:nvSpPr>
            <p:spPr bwMode="auto">
              <a:xfrm>
                <a:off x="5949950" y="3422650"/>
                <a:ext cx="36513" cy="53975"/>
              </a:xfrm>
              <a:custGeom>
                <a:avLst/>
                <a:gdLst>
                  <a:gd name="T0" fmla="*/ 9310 w 20000"/>
                  <a:gd name="T1" fmla="*/ 2381 h 20000"/>
                  <a:gd name="T2" fmla="*/ 19655 w 20000"/>
                  <a:gd name="T3" fmla="*/ 0 h 20000"/>
                  <a:gd name="T4" fmla="*/ 19655 w 20000"/>
                  <a:gd name="T5" fmla="*/ 3571 h 20000"/>
                  <a:gd name="T6" fmla="*/ 19655 w 20000"/>
                  <a:gd name="T7" fmla="*/ 8571 h 20000"/>
                  <a:gd name="T8" fmla="*/ 14483 w 20000"/>
                  <a:gd name="T9" fmla="*/ 12381 h 20000"/>
                  <a:gd name="T10" fmla="*/ 14483 w 20000"/>
                  <a:gd name="T11" fmla="*/ 13571 h 20000"/>
                  <a:gd name="T12" fmla="*/ 10690 w 20000"/>
                  <a:gd name="T13" fmla="*/ 18333 h 20000"/>
                  <a:gd name="T14" fmla="*/ 5517 w 20000"/>
                  <a:gd name="T15" fmla="*/ 18333 h 20000"/>
                  <a:gd name="T16" fmla="*/ 5517 w 20000"/>
                  <a:gd name="T17" fmla="*/ 19762 h 20000"/>
                  <a:gd name="T18" fmla="*/ 0 w 20000"/>
                  <a:gd name="T19" fmla="*/ 19762 h 20000"/>
                  <a:gd name="T20" fmla="*/ 0 w 20000"/>
                  <a:gd name="T21" fmla="*/ 15952 h 20000"/>
                  <a:gd name="T22" fmla="*/ 3793 w 20000"/>
                  <a:gd name="T23" fmla="*/ 12381 h 20000"/>
                  <a:gd name="T24" fmla="*/ 5517 w 20000"/>
                  <a:gd name="T25" fmla="*/ 6190 h 20000"/>
                  <a:gd name="T26" fmla="*/ 9310 w 20000"/>
                  <a:gd name="T27" fmla="*/ 238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9310" y="2381"/>
                    </a:moveTo>
                    <a:lnTo>
                      <a:pt x="19655" y="0"/>
                    </a:lnTo>
                    <a:lnTo>
                      <a:pt x="19655" y="3571"/>
                    </a:lnTo>
                    <a:lnTo>
                      <a:pt x="19655" y="8571"/>
                    </a:lnTo>
                    <a:lnTo>
                      <a:pt x="14483" y="12381"/>
                    </a:lnTo>
                    <a:lnTo>
                      <a:pt x="14483" y="13571"/>
                    </a:lnTo>
                    <a:lnTo>
                      <a:pt x="10690" y="18333"/>
                    </a:lnTo>
                    <a:lnTo>
                      <a:pt x="5517" y="18333"/>
                    </a:lnTo>
                    <a:lnTo>
                      <a:pt x="5517" y="19762"/>
                    </a:lnTo>
                    <a:lnTo>
                      <a:pt x="0" y="19762"/>
                    </a:lnTo>
                    <a:lnTo>
                      <a:pt x="0" y="15952"/>
                    </a:lnTo>
                    <a:lnTo>
                      <a:pt x="3793" y="12381"/>
                    </a:lnTo>
                    <a:lnTo>
                      <a:pt x="5517" y="6190"/>
                    </a:lnTo>
                    <a:lnTo>
                      <a:pt x="9310" y="23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5" name="Freeform 174"/>
              <p:cNvSpPr>
                <a:spLocks/>
              </p:cNvSpPr>
              <p:nvPr/>
            </p:nvSpPr>
            <p:spPr bwMode="auto">
              <a:xfrm>
                <a:off x="7821613" y="4273550"/>
                <a:ext cx="115887" cy="152400"/>
              </a:xfrm>
              <a:custGeom>
                <a:avLst/>
                <a:gdLst>
                  <a:gd name="T0" fmla="*/ 0 w 20000"/>
                  <a:gd name="T1" fmla="*/ 335 h 20000"/>
                  <a:gd name="T2" fmla="*/ 440 w 20000"/>
                  <a:gd name="T3" fmla="*/ 0 h 20000"/>
                  <a:gd name="T4" fmla="*/ 4505 w 20000"/>
                  <a:gd name="T5" fmla="*/ 1674 h 20000"/>
                  <a:gd name="T6" fmla="*/ 3407 w 20000"/>
                  <a:gd name="T7" fmla="*/ 3431 h 20000"/>
                  <a:gd name="T8" fmla="*/ 5604 w 20000"/>
                  <a:gd name="T9" fmla="*/ 3431 h 20000"/>
                  <a:gd name="T10" fmla="*/ 6264 w 20000"/>
                  <a:gd name="T11" fmla="*/ 1674 h 20000"/>
                  <a:gd name="T12" fmla="*/ 7363 w 20000"/>
                  <a:gd name="T13" fmla="*/ 2594 h 20000"/>
                  <a:gd name="T14" fmla="*/ 8022 w 20000"/>
                  <a:gd name="T15" fmla="*/ 1674 h 20000"/>
                  <a:gd name="T16" fmla="*/ 9121 w 20000"/>
                  <a:gd name="T17" fmla="*/ 1674 h 20000"/>
                  <a:gd name="T18" fmla="*/ 15385 w 20000"/>
                  <a:gd name="T19" fmla="*/ 7364 h 20000"/>
                  <a:gd name="T20" fmla="*/ 15385 w 20000"/>
                  <a:gd name="T21" fmla="*/ 10879 h 20000"/>
                  <a:gd name="T22" fmla="*/ 16593 w 20000"/>
                  <a:gd name="T23" fmla="*/ 12971 h 20000"/>
                  <a:gd name="T24" fmla="*/ 16593 w 20000"/>
                  <a:gd name="T25" fmla="*/ 14728 h 20000"/>
                  <a:gd name="T26" fmla="*/ 18132 w 20000"/>
                  <a:gd name="T27" fmla="*/ 15146 h 20000"/>
                  <a:gd name="T28" fmla="*/ 19890 w 20000"/>
                  <a:gd name="T29" fmla="*/ 19916 h 20000"/>
                  <a:gd name="T30" fmla="*/ 19341 w 20000"/>
                  <a:gd name="T31" fmla="*/ 18577 h 20000"/>
                  <a:gd name="T32" fmla="*/ 16593 w 20000"/>
                  <a:gd name="T33" fmla="*/ 19498 h 20000"/>
                  <a:gd name="T34" fmla="*/ 16593 w 20000"/>
                  <a:gd name="T35" fmla="*/ 19916 h 20000"/>
                  <a:gd name="T36" fmla="*/ 13626 w 20000"/>
                  <a:gd name="T37" fmla="*/ 18243 h 20000"/>
                  <a:gd name="T38" fmla="*/ 10220 w 20000"/>
                  <a:gd name="T39" fmla="*/ 16485 h 20000"/>
                  <a:gd name="T40" fmla="*/ 6264 w 20000"/>
                  <a:gd name="T41" fmla="*/ 13808 h 20000"/>
                  <a:gd name="T42" fmla="*/ 5604 w 20000"/>
                  <a:gd name="T43" fmla="*/ 12552 h 20000"/>
                  <a:gd name="T44" fmla="*/ 2857 w 20000"/>
                  <a:gd name="T45" fmla="*/ 10377 h 20000"/>
                  <a:gd name="T46" fmla="*/ 2857 w 20000"/>
                  <a:gd name="T47" fmla="*/ 9038 h 20000"/>
                  <a:gd name="T48" fmla="*/ 2857 w 20000"/>
                  <a:gd name="T49" fmla="*/ 6946 h 20000"/>
                  <a:gd name="T50" fmla="*/ 1758 w 20000"/>
                  <a:gd name="T51" fmla="*/ 6109 h 20000"/>
                  <a:gd name="T52" fmla="*/ 440 w 20000"/>
                  <a:gd name="T53" fmla="*/ 3431 h 20000"/>
                  <a:gd name="T54" fmla="*/ 0 w 20000"/>
                  <a:gd name="T55" fmla="*/ 33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0" y="335"/>
                    </a:moveTo>
                    <a:lnTo>
                      <a:pt x="440" y="0"/>
                    </a:lnTo>
                    <a:lnTo>
                      <a:pt x="4505" y="1674"/>
                    </a:lnTo>
                    <a:lnTo>
                      <a:pt x="3407" y="3431"/>
                    </a:lnTo>
                    <a:lnTo>
                      <a:pt x="5604" y="3431"/>
                    </a:lnTo>
                    <a:lnTo>
                      <a:pt x="6264" y="1674"/>
                    </a:lnTo>
                    <a:lnTo>
                      <a:pt x="7363" y="2594"/>
                    </a:lnTo>
                    <a:lnTo>
                      <a:pt x="8022" y="1674"/>
                    </a:lnTo>
                    <a:lnTo>
                      <a:pt x="9121" y="1674"/>
                    </a:lnTo>
                    <a:lnTo>
                      <a:pt x="15385" y="7364"/>
                    </a:lnTo>
                    <a:lnTo>
                      <a:pt x="15385" y="10879"/>
                    </a:lnTo>
                    <a:lnTo>
                      <a:pt x="16593" y="12971"/>
                    </a:lnTo>
                    <a:lnTo>
                      <a:pt x="16593" y="14728"/>
                    </a:lnTo>
                    <a:lnTo>
                      <a:pt x="18132" y="15146"/>
                    </a:lnTo>
                    <a:lnTo>
                      <a:pt x="19890" y="19916"/>
                    </a:lnTo>
                    <a:lnTo>
                      <a:pt x="19341" y="18577"/>
                    </a:lnTo>
                    <a:lnTo>
                      <a:pt x="16593" y="19498"/>
                    </a:lnTo>
                    <a:lnTo>
                      <a:pt x="16593" y="19916"/>
                    </a:lnTo>
                    <a:lnTo>
                      <a:pt x="13626" y="18243"/>
                    </a:lnTo>
                    <a:lnTo>
                      <a:pt x="10220" y="16485"/>
                    </a:lnTo>
                    <a:lnTo>
                      <a:pt x="6264" y="13808"/>
                    </a:lnTo>
                    <a:lnTo>
                      <a:pt x="5604" y="12552"/>
                    </a:lnTo>
                    <a:lnTo>
                      <a:pt x="2857" y="10377"/>
                    </a:lnTo>
                    <a:lnTo>
                      <a:pt x="2857" y="9038"/>
                    </a:lnTo>
                    <a:lnTo>
                      <a:pt x="2857" y="6946"/>
                    </a:lnTo>
                    <a:lnTo>
                      <a:pt x="1758" y="6109"/>
                    </a:lnTo>
                    <a:lnTo>
                      <a:pt x="440" y="3431"/>
                    </a:lnTo>
                    <a:lnTo>
                      <a:pt x="0" y="33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6" name="Freeform 173"/>
              <p:cNvSpPr>
                <a:spLocks/>
              </p:cNvSpPr>
              <p:nvPr/>
            </p:nvSpPr>
            <p:spPr bwMode="auto">
              <a:xfrm>
                <a:off x="7278688" y="2713038"/>
                <a:ext cx="879475" cy="407987"/>
              </a:xfrm>
              <a:custGeom>
                <a:avLst/>
                <a:gdLst>
                  <a:gd name="T0" fmla="*/ 5853 w 20000"/>
                  <a:gd name="T1" fmla="*/ 0 h 20000"/>
                  <a:gd name="T2" fmla="*/ 8613 w 20000"/>
                  <a:gd name="T3" fmla="*/ 3053 h 20000"/>
                  <a:gd name="T4" fmla="*/ 10260 w 20000"/>
                  <a:gd name="T5" fmla="*/ 2243 h 20000"/>
                  <a:gd name="T6" fmla="*/ 11821 w 20000"/>
                  <a:gd name="T7" fmla="*/ 3364 h 20000"/>
                  <a:gd name="T8" fmla="*/ 12413 w 20000"/>
                  <a:gd name="T9" fmla="*/ 4330 h 20000"/>
                  <a:gd name="T10" fmla="*/ 13685 w 20000"/>
                  <a:gd name="T11" fmla="*/ 4330 h 20000"/>
                  <a:gd name="T12" fmla="*/ 15347 w 20000"/>
                  <a:gd name="T13" fmla="*/ 1464 h 20000"/>
                  <a:gd name="T14" fmla="*/ 17139 w 20000"/>
                  <a:gd name="T15" fmla="*/ 2243 h 20000"/>
                  <a:gd name="T16" fmla="*/ 17066 w 20000"/>
                  <a:gd name="T17" fmla="*/ 5140 h 20000"/>
                  <a:gd name="T18" fmla="*/ 16908 w 20000"/>
                  <a:gd name="T19" fmla="*/ 5981 h 20000"/>
                  <a:gd name="T20" fmla="*/ 17442 w 20000"/>
                  <a:gd name="T21" fmla="*/ 6449 h 20000"/>
                  <a:gd name="T22" fmla="*/ 18035 w 20000"/>
                  <a:gd name="T23" fmla="*/ 6760 h 20000"/>
                  <a:gd name="T24" fmla="*/ 18627 w 20000"/>
                  <a:gd name="T25" fmla="*/ 5639 h 20000"/>
                  <a:gd name="T26" fmla="*/ 19451 w 20000"/>
                  <a:gd name="T27" fmla="*/ 6916 h 20000"/>
                  <a:gd name="T28" fmla="*/ 19986 w 20000"/>
                  <a:gd name="T29" fmla="*/ 8224 h 20000"/>
                  <a:gd name="T30" fmla="*/ 19393 w 20000"/>
                  <a:gd name="T31" fmla="*/ 8224 h 20000"/>
                  <a:gd name="T32" fmla="*/ 18627 w 20000"/>
                  <a:gd name="T33" fmla="*/ 9346 h 20000"/>
                  <a:gd name="T34" fmla="*/ 18483 w 20000"/>
                  <a:gd name="T35" fmla="*/ 9813 h 20000"/>
                  <a:gd name="T36" fmla="*/ 18266 w 20000"/>
                  <a:gd name="T37" fmla="*/ 9502 h 20000"/>
                  <a:gd name="T38" fmla="*/ 17890 w 20000"/>
                  <a:gd name="T39" fmla="*/ 10125 h 20000"/>
                  <a:gd name="T40" fmla="*/ 17442 w 20000"/>
                  <a:gd name="T41" fmla="*/ 11589 h 20000"/>
                  <a:gd name="T42" fmla="*/ 16908 w 20000"/>
                  <a:gd name="T43" fmla="*/ 12741 h 20000"/>
                  <a:gd name="T44" fmla="*/ 16315 w 20000"/>
                  <a:gd name="T45" fmla="*/ 12897 h 20000"/>
                  <a:gd name="T46" fmla="*/ 15578 w 20000"/>
                  <a:gd name="T47" fmla="*/ 12741 h 20000"/>
                  <a:gd name="T48" fmla="*/ 15491 w 20000"/>
                  <a:gd name="T49" fmla="*/ 14019 h 20000"/>
                  <a:gd name="T50" fmla="*/ 15723 w 20000"/>
                  <a:gd name="T51" fmla="*/ 15639 h 20000"/>
                  <a:gd name="T52" fmla="*/ 15260 w 20000"/>
                  <a:gd name="T53" fmla="*/ 17072 h 20000"/>
                  <a:gd name="T54" fmla="*/ 14740 w 20000"/>
                  <a:gd name="T55" fmla="*/ 18193 h 20000"/>
                  <a:gd name="T56" fmla="*/ 12211 w 20000"/>
                  <a:gd name="T57" fmla="*/ 19969 h 20000"/>
                  <a:gd name="T58" fmla="*/ 11590 w 20000"/>
                  <a:gd name="T59" fmla="*/ 19657 h 20000"/>
                  <a:gd name="T60" fmla="*/ 10029 w 20000"/>
                  <a:gd name="T61" fmla="*/ 19034 h 20000"/>
                  <a:gd name="T62" fmla="*/ 8829 w 20000"/>
                  <a:gd name="T63" fmla="*/ 18380 h 20000"/>
                  <a:gd name="T64" fmla="*/ 7413 w 20000"/>
                  <a:gd name="T65" fmla="*/ 18692 h 20000"/>
                  <a:gd name="T66" fmla="*/ 6662 w 20000"/>
                  <a:gd name="T67" fmla="*/ 19034 h 20000"/>
                  <a:gd name="T68" fmla="*/ 5910 w 20000"/>
                  <a:gd name="T69" fmla="*/ 16604 h 20000"/>
                  <a:gd name="T70" fmla="*/ 5535 w 20000"/>
                  <a:gd name="T71" fmla="*/ 16106 h 20000"/>
                  <a:gd name="T72" fmla="*/ 4350 w 20000"/>
                  <a:gd name="T73" fmla="*/ 14829 h 20000"/>
                  <a:gd name="T74" fmla="*/ 3136 w 20000"/>
                  <a:gd name="T75" fmla="*/ 14517 h 20000"/>
                  <a:gd name="T76" fmla="*/ 2399 w 20000"/>
                  <a:gd name="T77" fmla="*/ 13209 h 20000"/>
                  <a:gd name="T78" fmla="*/ 2399 w 20000"/>
                  <a:gd name="T79" fmla="*/ 12243 h 20000"/>
                  <a:gd name="T80" fmla="*/ 2023 w 20000"/>
                  <a:gd name="T81" fmla="*/ 10312 h 20000"/>
                  <a:gd name="T82" fmla="*/ 1431 w 20000"/>
                  <a:gd name="T83" fmla="*/ 9502 h 20000"/>
                  <a:gd name="T84" fmla="*/ 1214 w 20000"/>
                  <a:gd name="T85" fmla="*/ 8847 h 20000"/>
                  <a:gd name="T86" fmla="*/ 592 w 20000"/>
                  <a:gd name="T87" fmla="*/ 8536 h 20000"/>
                  <a:gd name="T88" fmla="*/ 231 w 20000"/>
                  <a:gd name="T89" fmla="*/ 8069 h 20000"/>
                  <a:gd name="T90" fmla="*/ 0 w 20000"/>
                  <a:gd name="T91" fmla="*/ 6916 h 20000"/>
                  <a:gd name="T92" fmla="*/ 983 w 20000"/>
                  <a:gd name="T93" fmla="*/ 5639 h 20000"/>
                  <a:gd name="T94" fmla="*/ 1358 w 20000"/>
                  <a:gd name="T95" fmla="*/ 4330 h 20000"/>
                  <a:gd name="T96" fmla="*/ 1806 w 20000"/>
                  <a:gd name="T97" fmla="*/ 3551 h 20000"/>
                  <a:gd name="T98" fmla="*/ 2775 w 20000"/>
                  <a:gd name="T99" fmla="*/ 3863 h 20000"/>
                  <a:gd name="T100" fmla="*/ 3584 w 20000"/>
                  <a:gd name="T101" fmla="*/ 4330 h 20000"/>
                  <a:gd name="T102" fmla="*/ 4942 w 20000"/>
                  <a:gd name="T103" fmla="*/ 4642 h 20000"/>
                  <a:gd name="T104" fmla="*/ 5853 w 20000"/>
                  <a:gd name="T105" fmla="*/ 3551 h 20000"/>
                  <a:gd name="T106" fmla="*/ 5462 w 20000"/>
                  <a:gd name="T107" fmla="*/ 1464 h 20000"/>
                  <a:gd name="T108" fmla="*/ 5853 w 20000"/>
                  <a:gd name="T109" fmla="*/ 4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5853" y="498"/>
                    </a:moveTo>
                    <a:lnTo>
                      <a:pt x="5853" y="0"/>
                    </a:lnTo>
                    <a:lnTo>
                      <a:pt x="7717" y="966"/>
                    </a:lnTo>
                    <a:lnTo>
                      <a:pt x="8613" y="3053"/>
                    </a:lnTo>
                    <a:lnTo>
                      <a:pt x="9205" y="3053"/>
                    </a:lnTo>
                    <a:lnTo>
                      <a:pt x="10260" y="2243"/>
                    </a:lnTo>
                    <a:lnTo>
                      <a:pt x="10766" y="2555"/>
                    </a:lnTo>
                    <a:lnTo>
                      <a:pt x="11821" y="3364"/>
                    </a:lnTo>
                    <a:lnTo>
                      <a:pt x="11980" y="3863"/>
                    </a:lnTo>
                    <a:lnTo>
                      <a:pt x="12413" y="4330"/>
                    </a:lnTo>
                    <a:lnTo>
                      <a:pt x="12803" y="4330"/>
                    </a:lnTo>
                    <a:lnTo>
                      <a:pt x="13685" y="4330"/>
                    </a:lnTo>
                    <a:lnTo>
                      <a:pt x="14957" y="3364"/>
                    </a:lnTo>
                    <a:lnTo>
                      <a:pt x="15347" y="1464"/>
                    </a:lnTo>
                    <a:lnTo>
                      <a:pt x="16460" y="2243"/>
                    </a:lnTo>
                    <a:lnTo>
                      <a:pt x="17139" y="2243"/>
                    </a:lnTo>
                    <a:lnTo>
                      <a:pt x="17066" y="3053"/>
                    </a:lnTo>
                    <a:lnTo>
                      <a:pt x="17066" y="5140"/>
                    </a:lnTo>
                    <a:lnTo>
                      <a:pt x="17066" y="5639"/>
                    </a:lnTo>
                    <a:lnTo>
                      <a:pt x="16908" y="5981"/>
                    </a:lnTo>
                    <a:lnTo>
                      <a:pt x="17283" y="6760"/>
                    </a:lnTo>
                    <a:lnTo>
                      <a:pt x="17442" y="6449"/>
                    </a:lnTo>
                    <a:lnTo>
                      <a:pt x="17803" y="6449"/>
                    </a:lnTo>
                    <a:lnTo>
                      <a:pt x="18035" y="6760"/>
                    </a:lnTo>
                    <a:lnTo>
                      <a:pt x="18266" y="5981"/>
                    </a:lnTo>
                    <a:lnTo>
                      <a:pt x="18627" y="5639"/>
                    </a:lnTo>
                    <a:lnTo>
                      <a:pt x="19003" y="6106"/>
                    </a:lnTo>
                    <a:lnTo>
                      <a:pt x="19451" y="6916"/>
                    </a:lnTo>
                    <a:lnTo>
                      <a:pt x="19682" y="7383"/>
                    </a:lnTo>
                    <a:lnTo>
                      <a:pt x="19986" y="8224"/>
                    </a:lnTo>
                    <a:lnTo>
                      <a:pt x="19827" y="8536"/>
                    </a:lnTo>
                    <a:lnTo>
                      <a:pt x="19393" y="8224"/>
                    </a:lnTo>
                    <a:lnTo>
                      <a:pt x="18858" y="8536"/>
                    </a:lnTo>
                    <a:lnTo>
                      <a:pt x="18627" y="9346"/>
                    </a:lnTo>
                    <a:lnTo>
                      <a:pt x="18483" y="9346"/>
                    </a:lnTo>
                    <a:lnTo>
                      <a:pt x="18483" y="9813"/>
                    </a:lnTo>
                    <a:lnTo>
                      <a:pt x="18410" y="9813"/>
                    </a:lnTo>
                    <a:lnTo>
                      <a:pt x="18266" y="9502"/>
                    </a:lnTo>
                    <a:lnTo>
                      <a:pt x="18121" y="9502"/>
                    </a:lnTo>
                    <a:lnTo>
                      <a:pt x="17890" y="10125"/>
                    </a:lnTo>
                    <a:lnTo>
                      <a:pt x="17890" y="10623"/>
                    </a:lnTo>
                    <a:lnTo>
                      <a:pt x="17442" y="11589"/>
                    </a:lnTo>
                    <a:lnTo>
                      <a:pt x="17066" y="11589"/>
                    </a:lnTo>
                    <a:lnTo>
                      <a:pt x="16908" y="12741"/>
                    </a:lnTo>
                    <a:lnTo>
                      <a:pt x="16850" y="12897"/>
                    </a:lnTo>
                    <a:lnTo>
                      <a:pt x="16315" y="12897"/>
                    </a:lnTo>
                    <a:lnTo>
                      <a:pt x="15867" y="12897"/>
                    </a:lnTo>
                    <a:lnTo>
                      <a:pt x="15578" y="12741"/>
                    </a:lnTo>
                    <a:lnTo>
                      <a:pt x="15491" y="13209"/>
                    </a:lnTo>
                    <a:lnTo>
                      <a:pt x="15491" y="14019"/>
                    </a:lnTo>
                    <a:lnTo>
                      <a:pt x="15723" y="14517"/>
                    </a:lnTo>
                    <a:lnTo>
                      <a:pt x="15723" y="15639"/>
                    </a:lnTo>
                    <a:lnTo>
                      <a:pt x="15347" y="16106"/>
                    </a:lnTo>
                    <a:lnTo>
                      <a:pt x="15260" y="17072"/>
                    </a:lnTo>
                    <a:lnTo>
                      <a:pt x="14957" y="17570"/>
                    </a:lnTo>
                    <a:lnTo>
                      <a:pt x="14740" y="18193"/>
                    </a:lnTo>
                    <a:lnTo>
                      <a:pt x="12948" y="18692"/>
                    </a:lnTo>
                    <a:lnTo>
                      <a:pt x="12211" y="19969"/>
                    </a:lnTo>
                    <a:lnTo>
                      <a:pt x="11821" y="19969"/>
                    </a:lnTo>
                    <a:lnTo>
                      <a:pt x="11590" y="19657"/>
                    </a:lnTo>
                    <a:lnTo>
                      <a:pt x="11228" y="19657"/>
                    </a:lnTo>
                    <a:lnTo>
                      <a:pt x="10029" y="19034"/>
                    </a:lnTo>
                    <a:lnTo>
                      <a:pt x="9812" y="18380"/>
                    </a:lnTo>
                    <a:lnTo>
                      <a:pt x="8829" y="18380"/>
                    </a:lnTo>
                    <a:lnTo>
                      <a:pt x="8613" y="18692"/>
                    </a:lnTo>
                    <a:lnTo>
                      <a:pt x="7413" y="18692"/>
                    </a:lnTo>
                    <a:lnTo>
                      <a:pt x="7269" y="19034"/>
                    </a:lnTo>
                    <a:lnTo>
                      <a:pt x="6662" y="19034"/>
                    </a:lnTo>
                    <a:lnTo>
                      <a:pt x="6301" y="18193"/>
                    </a:lnTo>
                    <a:lnTo>
                      <a:pt x="5910" y="16604"/>
                    </a:lnTo>
                    <a:lnTo>
                      <a:pt x="5679" y="16106"/>
                    </a:lnTo>
                    <a:lnTo>
                      <a:pt x="5535" y="16106"/>
                    </a:lnTo>
                    <a:lnTo>
                      <a:pt x="4942" y="15639"/>
                    </a:lnTo>
                    <a:lnTo>
                      <a:pt x="4350" y="14829"/>
                    </a:lnTo>
                    <a:lnTo>
                      <a:pt x="3960" y="14829"/>
                    </a:lnTo>
                    <a:lnTo>
                      <a:pt x="3136" y="14517"/>
                    </a:lnTo>
                    <a:lnTo>
                      <a:pt x="2543" y="14019"/>
                    </a:lnTo>
                    <a:lnTo>
                      <a:pt x="2399" y="13209"/>
                    </a:lnTo>
                    <a:lnTo>
                      <a:pt x="2543" y="12897"/>
                    </a:lnTo>
                    <a:lnTo>
                      <a:pt x="2399" y="12243"/>
                    </a:lnTo>
                    <a:lnTo>
                      <a:pt x="2399" y="11433"/>
                    </a:lnTo>
                    <a:lnTo>
                      <a:pt x="2023" y="10312"/>
                    </a:lnTo>
                    <a:lnTo>
                      <a:pt x="1575" y="9346"/>
                    </a:lnTo>
                    <a:lnTo>
                      <a:pt x="1431" y="9502"/>
                    </a:lnTo>
                    <a:lnTo>
                      <a:pt x="1358" y="9034"/>
                    </a:lnTo>
                    <a:lnTo>
                      <a:pt x="1214" y="8847"/>
                    </a:lnTo>
                    <a:lnTo>
                      <a:pt x="983" y="9502"/>
                    </a:lnTo>
                    <a:lnTo>
                      <a:pt x="592" y="8536"/>
                    </a:lnTo>
                    <a:lnTo>
                      <a:pt x="376" y="8224"/>
                    </a:lnTo>
                    <a:lnTo>
                      <a:pt x="231" y="8069"/>
                    </a:lnTo>
                    <a:lnTo>
                      <a:pt x="0" y="7757"/>
                    </a:lnTo>
                    <a:lnTo>
                      <a:pt x="0" y="6916"/>
                    </a:lnTo>
                    <a:lnTo>
                      <a:pt x="159" y="6449"/>
                    </a:lnTo>
                    <a:lnTo>
                      <a:pt x="983" y="5639"/>
                    </a:lnTo>
                    <a:lnTo>
                      <a:pt x="983" y="5140"/>
                    </a:lnTo>
                    <a:lnTo>
                      <a:pt x="1358" y="4330"/>
                    </a:lnTo>
                    <a:lnTo>
                      <a:pt x="1431" y="4019"/>
                    </a:lnTo>
                    <a:lnTo>
                      <a:pt x="1806" y="3551"/>
                    </a:lnTo>
                    <a:lnTo>
                      <a:pt x="2543" y="3364"/>
                    </a:lnTo>
                    <a:lnTo>
                      <a:pt x="2775" y="3863"/>
                    </a:lnTo>
                    <a:lnTo>
                      <a:pt x="3526" y="3551"/>
                    </a:lnTo>
                    <a:lnTo>
                      <a:pt x="3584" y="4330"/>
                    </a:lnTo>
                    <a:lnTo>
                      <a:pt x="4118" y="4642"/>
                    </a:lnTo>
                    <a:lnTo>
                      <a:pt x="4942" y="4642"/>
                    </a:lnTo>
                    <a:lnTo>
                      <a:pt x="6069" y="4330"/>
                    </a:lnTo>
                    <a:lnTo>
                      <a:pt x="5853" y="3551"/>
                    </a:lnTo>
                    <a:lnTo>
                      <a:pt x="5679" y="2741"/>
                    </a:lnTo>
                    <a:lnTo>
                      <a:pt x="5462" y="1464"/>
                    </a:lnTo>
                    <a:lnTo>
                      <a:pt x="5535" y="1277"/>
                    </a:lnTo>
                    <a:lnTo>
                      <a:pt x="5853" y="49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7" name="Freeform 172"/>
              <p:cNvSpPr>
                <a:spLocks/>
              </p:cNvSpPr>
              <p:nvPr/>
            </p:nvSpPr>
            <p:spPr bwMode="auto">
              <a:xfrm>
                <a:off x="7202488" y="3543300"/>
                <a:ext cx="234950" cy="128588"/>
              </a:xfrm>
              <a:custGeom>
                <a:avLst/>
                <a:gdLst>
                  <a:gd name="T0" fmla="*/ 2005 w 20000"/>
                  <a:gd name="T1" fmla="*/ 0 h 20000"/>
                  <a:gd name="T2" fmla="*/ 3360 w 20000"/>
                  <a:gd name="T3" fmla="*/ 1084 h 20000"/>
                  <a:gd name="T4" fmla="*/ 7317 w 20000"/>
                  <a:gd name="T5" fmla="*/ 4039 h 20000"/>
                  <a:gd name="T6" fmla="*/ 8130 w 20000"/>
                  <a:gd name="T7" fmla="*/ 6700 h 20000"/>
                  <a:gd name="T8" fmla="*/ 8726 w 20000"/>
                  <a:gd name="T9" fmla="*/ 6108 h 20000"/>
                  <a:gd name="T10" fmla="*/ 9539 w 20000"/>
                  <a:gd name="T11" fmla="*/ 6108 h 20000"/>
                  <a:gd name="T12" fmla="*/ 10136 w 20000"/>
                  <a:gd name="T13" fmla="*/ 8276 h 20000"/>
                  <a:gd name="T14" fmla="*/ 11545 w 20000"/>
                  <a:gd name="T15" fmla="*/ 9261 h 20000"/>
                  <a:gd name="T16" fmla="*/ 12412 w 20000"/>
                  <a:gd name="T17" fmla="*/ 8276 h 20000"/>
                  <a:gd name="T18" fmla="*/ 12412 w 20000"/>
                  <a:gd name="T19" fmla="*/ 10739 h 20000"/>
                  <a:gd name="T20" fmla="*/ 13225 w 20000"/>
                  <a:gd name="T21" fmla="*/ 10739 h 20000"/>
                  <a:gd name="T22" fmla="*/ 15447 w 20000"/>
                  <a:gd name="T23" fmla="*/ 12315 h 20000"/>
                  <a:gd name="T24" fmla="*/ 15989 w 20000"/>
                  <a:gd name="T25" fmla="*/ 11724 h 20000"/>
                  <a:gd name="T26" fmla="*/ 17398 w 20000"/>
                  <a:gd name="T27" fmla="*/ 12315 h 20000"/>
                  <a:gd name="T28" fmla="*/ 19946 w 20000"/>
                  <a:gd name="T29" fmla="*/ 12315 h 20000"/>
                  <a:gd name="T30" fmla="*/ 19675 w 20000"/>
                  <a:gd name="T31" fmla="*/ 14877 h 20000"/>
                  <a:gd name="T32" fmla="*/ 19946 w 20000"/>
                  <a:gd name="T33" fmla="*/ 19901 h 20000"/>
                  <a:gd name="T34" fmla="*/ 17724 w 20000"/>
                  <a:gd name="T35" fmla="*/ 19901 h 20000"/>
                  <a:gd name="T36" fmla="*/ 17724 w 20000"/>
                  <a:gd name="T37" fmla="*/ 18916 h 20000"/>
                  <a:gd name="T38" fmla="*/ 16856 w 20000"/>
                  <a:gd name="T39" fmla="*/ 18916 h 20000"/>
                  <a:gd name="T40" fmla="*/ 15447 w 20000"/>
                  <a:gd name="T41" fmla="*/ 18916 h 20000"/>
                  <a:gd name="T42" fmla="*/ 15176 w 20000"/>
                  <a:gd name="T43" fmla="*/ 18916 h 20000"/>
                  <a:gd name="T44" fmla="*/ 14092 w 20000"/>
                  <a:gd name="T45" fmla="*/ 17340 h 20000"/>
                  <a:gd name="T46" fmla="*/ 13225 w 20000"/>
                  <a:gd name="T47" fmla="*/ 18325 h 20000"/>
                  <a:gd name="T48" fmla="*/ 11870 w 20000"/>
                  <a:gd name="T49" fmla="*/ 16847 h 20000"/>
                  <a:gd name="T50" fmla="*/ 11545 w 20000"/>
                  <a:gd name="T51" fmla="*/ 15862 h 20000"/>
                  <a:gd name="T52" fmla="*/ 9322 w 20000"/>
                  <a:gd name="T53" fmla="*/ 14877 h 20000"/>
                  <a:gd name="T54" fmla="*/ 6450 w 20000"/>
                  <a:gd name="T55" fmla="*/ 13300 h 20000"/>
                  <a:gd name="T56" fmla="*/ 4770 w 20000"/>
                  <a:gd name="T57" fmla="*/ 12315 h 20000"/>
                  <a:gd name="T58" fmla="*/ 2818 w 20000"/>
                  <a:gd name="T59" fmla="*/ 10739 h 20000"/>
                  <a:gd name="T60" fmla="*/ 1138 w 20000"/>
                  <a:gd name="T61" fmla="*/ 9261 h 20000"/>
                  <a:gd name="T62" fmla="*/ 0 w 20000"/>
                  <a:gd name="T63" fmla="*/ 7685 h 20000"/>
                  <a:gd name="T64" fmla="*/ 1138 w 20000"/>
                  <a:gd name="T65" fmla="*/ 6700 h 20000"/>
                  <a:gd name="T66" fmla="*/ 596 w 20000"/>
                  <a:gd name="T67" fmla="*/ 5123 h 20000"/>
                  <a:gd name="T68" fmla="*/ 1138 w 20000"/>
                  <a:gd name="T69" fmla="*/ 3645 h 20000"/>
                  <a:gd name="T70" fmla="*/ 2005 w 20000"/>
                  <a:gd name="T7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2005" y="0"/>
                    </a:moveTo>
                    <a:lnTo>
                      <a:pt x="3360" y="1084"/>
                    </a:lnTo>
                    <a:lnTo>
                      <a:pt x="7317" y="4039"/>
                    </a:lnTo>
                    <a:lnTo>
                      <a:pt x="8130" y="6700"/>
                    </a:lnTo>
                    <a:lnTo>
                      <a:pt x="8726" y="6108"/>
                    </a:lnTo>
                    <a:lnTo>
                      <a:pt x="9539" y="6108"/>
                    </a:lnTo>
                    <a:lnTo>
                      <a:pt x="10136" y="8276"/>
                    </a:lnTo>
                    <a:lnTo>
                      <a:pt x="11545" y="9261"/>
                    </a:lnTo>
                    <a:lnTo>
                      <a:pt x="12412" y="8276"/>
                    </a:lnTo>
                    <a:lnTo>
                      <a:pt x="12412" y="10739"/>
                    </a:lnTo>
                    <a:lnTo>
                      <a:pt x="13225" y="10739"/>
                    </a:lnTo>
                    <a:lnTo>
                      <a:pt x="15447" y="12315"/>
                    </a:lnTo>
                    <a:lnTo>
                      <a:pt x="15989" y="11724"/>
                    </a:lnTo>
                    <a:lnTo>
                      <a:pt x="17398" y="12315"/>
                    </a:lnTo>
                    <a:lnTo>
                      <a:pt x="19946" y="12315"/>
                    </a:lnTo>
                    <a:lnTo>
                      <a:pt x="19675" y="14877"/>
                    </a:lnTo>
                    <a:lnTo>
                      <a:pt x="19946" y="19901"/>
                    </a:lnTo>
                    <a:lnTo>
                      <a:pt x="17724" y="19901"/>
                    </a:lnTo>
                    <a:lnTo>
                      <a:pt x="17724" y="18916"/>
                    </a:lnTo>
                    <a:lnTo>
                      <a:pt x="16856" y="18916"/>
                    </a:lnTo>
                    <a:lnTo>
                      <a:pt x="15447" y="18916"/>
                    </a:lnTo>
                    <a:lnTo>
                      <a:pt x="15176" y="18916"/>
                    </a:lnTo>
                    <a:lnTo>
                      <a:pt x="14092" y="17340"/>
                    </a:lnTo>
                    <a:lnTo>
                      <a:pt x="13225" y="18325"/>
                    </a:lnTo>
                    <a:lnTo>
                      <a:pt x="11870" y="16847"/>
                    </a:lnTo>
                    <a:lnTo>
                      <a:pt x="11545" y="15862"/>
                    </a:lnTo>
                    <a:lnTo>
                      <a:pt x="9322" y="14877"/>
                    </a:lnTo>
                    <a:lnTo>
                      <a:pt x="6450" y="13300"/>
                    </a:lnTo>
                    <a:lnTo>
                      <a:pt x="4770" y="12315"/>
                    </a:lnTo>
                    <a:lnTo>
                      <a:pt x="2818" y="10739"/>
                    </a:lnTo>
                    <a:lnTo>
                      <a:pt x="1138" y="9261"/>
                    </a:lnTo>
                    <a:lnTo>
                      <a:pt x="0" y="7685"/>
                    </a:lnTo>
                    <a:lnTo>
                      <a:pt x="1138" y="6700"/>
                    </a:lnTo>
                    <a:lnTo>
                      <a:pt x="596" y="5123"/>
                    </a:lnTo>
                    <a:lnTo>
                      <a:pt x="1138" y="3645"/>
                    </a:lnTo>
                    <a:lnTo>
                      <a:pt x="200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8" name="Freeform 171"/>
              <p:cNvSpPr>
                <a:spLocks/>
              </p:cNvSpPr>
              <p:nvPr/>
            </p:nvSpPr>
            <p:spPr bwMode="auto">
              <a:xfrm>
                <a:off x="6450013" y="3721100"/>
                <a:ext cx="207962" cy="254000"/>
              </a:xfrm>
              <a:custGeom>
                <a:avLst/>
                <a:gdLst>
                  <a:gd name="T0" fmla="*/ 8196 w 20000"/>
                  <a:gd name="T1" fmla="*/ 6216 h 20000"/>
                  <a:gd name="T2" fmla="*/ 8196 w 20000"/>
                  <a:gd name="T3" fmla="*/ 4411 h 20000"/>
                  <a:gd name="T4" fmla="*/ 8563 w 20000"/>
                  <a:gd name="T5" fmla="*/ 3609 h 20000"/>
                  <a:gd name="T6" fmla="*/ 8563 w 20000"/>
                  <a:gd name="T7" fmla="*/ 2857 h 20000"/>
                  <a:gd name="T8" fmla="*/ 9847 w 20000"/>
                  <a:gd name="T9" fmla="*/ 2857 h 20000"/>
                  <a:gd name="T10" fmla="*/ 10092 w 20000"/>
                  <a:gd name="T11" fmla="*/ 2857 h 20000"/>
                  <a:gd name="T12" fmla="*/ 9847 w 20000"/>
                  <a:gd name="T13" fmla="*/ 2055 h 20000"/>
                  <a:gd name="T14" fmla="*/ 9174 w 20000"/>
                  <a:gd name="T15" fmla="*/ 2055 h 20000"/>
                  <a:gd name="T16" fmla="*/ 8563 w 20000"/>
                  <a:gd name="T17" fmla="*/ 301 h 20000"/>
                  <a:gd name="T18" fmla="*/ 9174 w 20000"/>
                  <a:gd name="T19" fmla="*/ 0 h 20000"/>
                  <a:gd name="T20" fmla="*/ 9847 w 20000"/>
                  <a:gd name="T21" fmla="*/ 0 h 20000"/>
                  <a:gd name="T22" fmla="*/ 11682 w 20000"/>
                  <a:gd name="T23" fmla="*/ 2356 h 20000"/>
                  <a:gd name="T24" fmla="*/ 15229 w 20000"/>
                  <a:gd name="T25" fmla="*/ 3358 h 20000"/>
                  <a:gd name="T26" fmla="*/ 16820 w 20000"/>
                  <a:gd name="T27" fmla="*/ 3609 h 20000"/>
                  <a:gd name="T28" fmla="*/ 18960 w 20000"/>
                  <a:gd name="T29" fmla="*/ 5714 h 20000"/>
                  <a:gd name="T30" fmla="*/ 19939 w 20000"/>
                  <a:gd name="T31" fmla="*/ 6216 h 20000"/>
                  <a:gd name="T32" fmla="*/ 18960 w 20000"/>
                  <a:gd name="T33" fmla="*/ 8822 h 20000"/>
                  <a:gd name="T34" fmla="*/ 16820 w 20000"/>
                  <a:gd name="T35" fmla="*/ 11178 h 20000"/>
                  <a:gd name="T36" fmla="*/ 16453 w 20000"/>
                  <a:gd name="T37" fmla="*/ 11178 h 20000"/>
                  <a:gd name="T38" fmla="*/ 15841 w 20000"/>
                  <a:gd name="T39" fmla="*/ 10877 h 20000"/>
                  <a:gd name="T40" fmla="*/ 15229 w 20000"/>
                  <a:gd name="T41" fmla="*/ 11880 h 20000"/>
                  <a:gd name="T42" fmla="*/ 14862 w 20000"/>
                  <a:gd name="T43" fmla="*/ 13233 h 20000"/>
                  <a:gd name="T44" fmla="*/ 15229 w 20000"/>
                  <a:gd name="T45" fmla="*/ 14536 h 20000"/>
                  <a:gd name="T46" fmla="*/ 12599 w 20000"/>
                  <a:gd name="T47" fmla="*/ 15038 h 20000"/>
                  <a:gd name="T48" fmla="*/ 11682 w 20000"/>
                  <a:gd name="T49" fmla="*/ 15789 h 20000"/>
                  <a:gd name="T50" fmla="*/ 11682 w 20000"/>
                  <a:gd name="T51" fmla="*/ 16591 h 20000"/>
                  <a:gd name="T52" fmla="*/ 11070 w 20000"/>
                  <a:gd name="T53" fmla="*/ 17093 h 20000"/>
                  <a:gd name="T54" fmla="*/ 8563 w 20000"/>
                  <a:gd name="T55" fmla="*/ 17393 h 20000"/>
                  <a:gd name="T56" fmla="*/ 8563 w 20000"/>
                  <a:gd name="T57" fmla="*/ 18647 h 20000"/>
                  <a:gd name="T58" fmla="*/ 8196 w 20000"/>
                  <a:gd name="T59" fmla="*/ 19148 h 20000"/>
                  <a:gd name="T60" fmla="*/ 7217 w 20000"/>
                  <a:gd name="T61" fmla="*/ 19148 h 20000"/>
                  <a:gd name="T62" fmla="*/ 4465 w 20000"/>
                  <a:gd name="T63" fmla="*/ 19699 h 20000"/>
                  <a:gd name="T64" fmla="*/ 3119 w 20000"/>
                  <a:gd name="T65" fmla="*/ 19950 h 20000"/>
                  <a:gd name="T66" fmla="*/ 0 w 20000"/>
                  <a:gd name="T67" fmla="*/ 14536 h 20000"/>
                  <a:gd name="T68" fmla="*/ 8196 w 20000"/>
                  <a:gd name="T69" fmla="*/ 11880 h 20000"/>
                  <a:gd name="T70" fmla="*/ 9174 w 20000"/>
                  <a:gd name="T71" fmla="*/ 7519 h 20000"/>
                  <a:gd name="T72" fmla="*/ 8196 w 20000"/>
                  <a:gd name="T73" fmla="*/ 621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8196" y="6216"/>
                    </a:moveTo>
                    <a:lnTo>
                      <a:pt x="8196" y="4411"/>
                    </a:lnTo>
                    <a:lnTo>
                      <a:pt x="8563" y="3609"/>
                    </a:lnTo>
                    <a:lnTo>
                      <a:pt x="8563" y="2857"/>
                    </a:lnTo>
                    <a:lnTo>
                      <a:pt x="9847" y="2857"/>
                    </a:lnTo>
                    <a:lnTo>
                      <a:pt x="10092" y="2857"/>
                    </a:lnTo>
                    <a:lnTo>
                      <a:pt x="9847" y="2055"/>
                    </a:lnTo>
                    <a:lnTo>
                      <a:pt x="9174" y="2055"/>
                    </a:lnTo>
                    <a:lnTo>
                      <a:pt x="8563" y="301"/>
                    </a:lnTo>
                    <a:lnTo>
                      <a:pt x="9174" y="0"/>
                    </a:lnTo>
                    <a:lnTo>
                      <a:pt x="9847" y="0"/>
                    </a:lnTo>
                    <a:lnTo>
                      <a:pt x="11682" y="2356"/>
                    </a:lnTo>
                    <a:lnTo>
                      <a:pt x="15229" y="3358"/>
                    </a:lnTo>
                    <a:lnTo>
                      <a:pt x="16820" y="3609"/>
                    </a:lnTo>
                    <a:lnTo>
                      <a:pt x="18960" y="5714"/>
                    </a:lnTo>
                    <a:lnTo>
                      <a:pt x="19939" y="6216"/>
                    </a:lnTo>
                    <a:lnTo>
                      <a:pt x="18960" y="8822"/>
                    </a:lnTo>
                    <a:lnTo>
                      <a:pt x="16820" y="11178"/>
                    </a:lnTo>
                    <a:lnTo>
                      <a:pt x="16453" y="11178"/>
                    </a:lnTo>
                    <a:lnTo>
                      <a:pt x="15841" y="10877"/>
                    </a:lnTo>
                    <a:lnTo>
                      <a:pt x="15229" y="11880"/>
                    </a:lnTo>
                    <a:lnTo>
                      <a:pt x="14862" y="13233"/>
                    </a:lnTo>
                    <a:lnTo>
                      <a:pt x="15229" y="14536"/>
                    </a:lnTo>
                    <a:lnTo>
                      <a:pt x="12599" y="15038"/>
                    </a:lnTo>
                    <a:lnTo>
                      <a:pt x="11682" y="15789"/>
                    </a:lnTo>
                    <a:lnTo>
                      <a:pt x="11682" y="16591"/>
                    </a:lnTo>
                    <a:lnTo>
                      <a:pt x="11070" y="17093"/>
                    </a:lnTo>
                    <a:lnTo>
                      <a:pt x="8563" y="17393"/>
                    </a:lnTo>
                    <a:lnTo>
                      <a:pt x="8563" y="18647"/>
                    </a:lnTo>
                    <a:lnTo>
                      <a:pt x="8196" y="19148"/>
                    </a:lnTo>
                    <a:lnTo>
                      <a:pt x="7217" y="19148"/>
                    </a:lnTo>
                    <a:lnTo>
                      <a:pt x="4465" y="19699"/>
                    </a:lnTo>
                    <a:lnTo>
                      <a:pt x="3119" y="19950"/>
                    </a:lnTo>
                    <a:lnTo>
                      <a:pt x="0" y="14536"/>
                    </a:lnTo>
                    <a:lnTo>
                      <a:pt x="8196" y="11880"/>
                    </a:lnTo>
                    <a:lnTo>
                      <a:pt x="9174" y="7519"/>
                    </a:lnTo>
                    <a:lnTo>
                      <a:pt x="8196" y="621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79" name="Freeform 170"/>
              <p:cNvSpPr>
                <a:spLocks/>
              </p:cNvSpPr>
              <p:nvPr/>
            </p:nvSpPr>
            <p:spPr bwMode="auto">
              <a:xfrm>
                <a:off x="6677025" y="3327400"/>
                <a:ext cx="438150" cy="438150"/>
              </a:xfrm>
              <a:custGeom>
                <a:avLst/>
                <a:gdLst>
                  <a:gd name="T0" fmla="*/ 16348 w 20000"/>
                  <a:gd name="T1" fmla="*/ 0 h 20000"/>
                  <a:gd name="T2" fmla="*/ 18783 w 20000"/>
                  <a:gd name="T3" fmla="*/ 1480 h 20000"/>
                  <a:gd name="T4" fmla="*/ 19681 w 20000"/>
                  <a:gd name="T5" fmla="*/ 2700 h 20000"/>
                  <a:gd name="T6" fmla="*/ 17565 w 20000"/>
                  <a:gd name="T7" fmla="*/ 3919 h 20000"/>
                  <a:gd name="T8" fmla="*/ 15594 w 20000"/>
                  <a:gd name="T9" fmla="*/ 3599 h 20000"/>
                  <a:gd name="T10" fmla="*/ 15768 w 20000"/>
                  <a:gd name="T11" fmla="*/ 4790 h 20000"/>
                  <a:gd name="T12" fmla="*/ 16348 w 20000"/>
                  <a:gd name="T13" fmla="*/ 6299 h 20000"/>
                  <a:gd name="T14" fmla="*/ 17565 w 20000"/>
                  <a:gd name="T15" fmla="*/ 7054 h 20000"/>
                  <a:gd name="T16" fmla="*/ 17130 w 20000"/>
                  <a:gd name="T17" fmla="*/ 7808 h 20000"/>
                  <a:gd name="T18" fmla="*/ 17130 w 20000"/>
                  <a:gd name="T19" fmla="*/ 8999 h 20000"/>
                  <a:gd name="T20" fmla="*/ 16058 w 20000"/>
                  <a:gd name="T21" fmla="*/ 10363 h 20000"/>
                  <a:gd name="T22" fmla="*/ 15594 w 20000"/>
                  <a:gd name="T23" fmla="*/ 11727 h 20000"/>
                  <a:gd name="T24" fmla="*/ 14406 w 20000"/>
                  <a:gd name="T25" fmla="*/ 13062 h 20000"/>
                  <a:gd name="T26" fmla="*/ 13971 w 20000"/>
                  <a:gd name="T27" fmla="*/ 13527 h 20000"/>
                  <a:gd name="T28" fmla="*/ 12145 w 20000"/>
                  <a:gd name="T29" fmla="*/ 13527 h 20000"/>
                  <a:gd name="T30" fmla="*/ 11710 w 20000"/>
                  <a:gd name="T31" fmla="*/ 14107 h 20000"/>
                  <a:gd name="T32" fmla="*/ 12029 w 20000"/>
                  <a:gd name="T33" fmla="*/ 15472 h 20000"/>
                  <a:gd name="T34" fmla="*/ 12464 w 20000"/>
                  <a:gd name="T35" fmla="*/ 16952 h 20000"/>
                  <a:gd name="T36" fmla="*/ 13217 w 20000"/>
                  <a:gd name="T37" fmla="*/ 18926 h 20000"/>
                  <a:gd name="T38" fmla="*/ 12609 w 20000"/>
                  <a:gd name="T39" fmla="*/ 18926 h 20000"/>
                  <a:gd name="T40" fmla="*/ 11710 w 20000"/>
                  <a:gd name="T41" fmla="*/ 19216 h 20000"/>
                  <a:gd name="T42" fmla="*/ 10493 w 20000"/>
                  <a:gd name="T43" fmla="*/ 19390 h 20000"/>
                  <a:gd name="T44" fmla="*/ 10058 w 20000"/>
                  <a:gd name="T45" fmla="*/ 19681 h 20000"/>
                  <a:gd name="T46" fmla="*/ 8551 w 20000"/>
                  <a:gd name="T47" fmla="*/ 19390 h 20000"/>
                  <a:gd name="T48" fmla="*/ 8116 w 20000"/>
                  <a:gd name="T49" fmla="*/ 18200 h 20000"/>
                  <a:gd name="T50" fmla="*/ 7362 w 20000"/>
                  <a:gd name="T51" fmla="*/ 17417 h 20000"/>
                  <a:gd name="T52" fmla="*/ 6290 w 20000"/>
                  <a:gd name="T53" fmla="*/ 17417 h 20000"/>
                  <a:gd name="T54" fmla="*/ 4957 w 20000"/>
                  <a:gd name="T55" fmla="*/ 18026 h 20000"/>
                  <a:gd name="T56" fmla="*/ 3913 w 20000"/>
                  <a:gd name="T57" fmla="*/ 17417 h 20000"/>
                  <a:gd name="T58" fmla="*/ 1942 w 20000"/>
                  <a:gd name="T59" fmla="*/ 17736 h 20000"/>
                  <a:gd name="T60" fmla="*/ 1188 w 20000"/>
                  <a:gd name="T61" fmla="*/ 17271 h 20000"/>
                  <a:gd name="T62" fmla="*/ 1942 w 20000"/>
                  <a:gd name="T63" fmla="*/ 16226 h 20000"/>
                  <a:gd name="T64" fmla="*/ 3014 w 20000"/>
                  <a:gd name="T65" fmla="*/ 15762 h 20000"/>
                  <a:gd name="T66" fmla="*/ 3159 w 20000"/>
                  <a:gd name="T67" fmla="*/ 15472 h 20000"/>
                  <a:gd name="T68" fmla="*/ 2725 w 20000"/>
                  <a:gd name="T69" fmla="*/ 14862 h 20000"/>
                  <a:gd name="T70" fmla="*/ 1797 w 20000"/>
                  <a:gd name="T71" fmla="*/ 13062 h 20000"/>
                  <a:gd name="T72" fmla="*/ 0 w 20000"/>
                  <a:gd name="T73" fmla="*/ 11437 h 20000"/>
                  <a:gd name="T74" fmla="*/ 2725 w 20000"/>
                  <a:gd name="T75" fmla="*/ 11872 h 20000"/>
                  <a:gd name="T76" fmla="*/ 3913 w 20000"/>
                  <a:gd name="T77" fmla="*/ 11727 h 20000"/>
                  <a:gd name="T78" fmla="*/ 6638 w 20000"/>
                  <a:gd name="T79" fmla="*/ 10972 h 20000"/>
                  <a:gd name="T80" fmla="*/ 6928 w 20000"/>
                  <a:gd name="T81" fmla="*/ 9173 h 20000"/>
                  <a:gd name="T82" fmla="*/ 7362 w 20000"/>
                  <a:gd name="T83" fmla="*/ 8999 h 20000"/>
                  <a:gd name="T84" fmla="*/ 8261 w 20000"/>
                  <a:gd name="T85" fmla="*/ 8563 h 20000"/>
                  <a:gd name="T86" fmla="*/ 9014 w 20000"/>
                  <a:gd name="T87" fmla="*/ 8563 h 20000"/>
                  <a:gd name="T88" fmla="*/ 9768 w 20000"/>
                  <a:gd name="T89" fmla="*/ 8708 h 20000"/>
                  <a:gd name="T90" fmla="*/ 10058 w 20000"/>
                  <a:gd name="T91" fmla="*/ 7518 h 20000"/>
                  <a:gd name="T92" fmla="*/ 10203 w 20000"/>
                  <a:gd name="T93" fmla="*/ 6299 h 20000"/>
                  <a:gd name="T94" fmla="*/ 10812 w 20000"/>
                  <a:gd name="T95" fmla="*/ 5399 h 20000"/>
                  <a:gd name="T96" fmla="*/ 10957 w 20000"/>
                  <a:gd name="T97" fmla="*/ 4790 h 20000"/>
                  <a:gd name="T98" fmla="*/ 11710 w 20000"/>
                  <a:gd name="T99" fmla="*/ 4035 h 20000"/>
                  <a:gd name="T100" fmla="*/ 12145 w 20000"/>
                  <a:gd name="T101" fmla="*/ 2700 h 20000"/>
                  <a:gd name="T102" fmla="*/ 12145 w 20000"/>
                  <a:gd name="T103" fmla="*/ 900 h 20000"/>
                  <a:gd name="T104" fmla="*/ 13681 w 20000"/>
                  <a:gd name="T105" fmla="*/ 2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15594" y="290"/>
                    </a:moveTo>
                    <a:lnTo>
                      <a:pt x="16348" y="0"/>
                    </a:lnTo>
                    <a:lnTo>
                      <a:pt x="18029" y="755"/>
                    </a:lnTo>
                    <a:lnTo>
                      <a:pt x="18783" y="1480"/>
                    </a:lnTo>
                    <a:lnTo>
                      <a:pt x="19971" y="2409"/>
                    </a:lnTo>
                    <a:lnTo>
                      <a:pt x="19681" y="2700"/>
                    </a:lnTo>
                    <a:lnTo>
                      <a:pt x="18783" y="3454"/>
                    </a:lnTo>
                    <a:lnTo>
                      <a:pt x="17565" y="3919"/>
                    </a:lnTo>
                    <a:lnTo>
                      <a:pt x="16812" y="3599"/>
                    </a:lnTo>
                    <a:lnTo>
                      <a:pt x="15594" y="3599"/>
                    </a:lnTo>
                    <a:lnTo>
                      <a:pt x="15159" y="4035"/>
                    </a:lnTo>
                    <a:lnTo>
                      <a:pt x="15768" y="4790"/>
                    </a:lnTo>
                    <a:lnTo>
                      <a:pt x="15768" y="6009"/>
                    </a:lnTo>
                    <a:lnTo>
                      <a:pt x="16348" y="6299"/>
                    </a:lnTo>
                    <a:lnTo>
                      <a:pt x="16522" y="6763"/>
                    </a:lnTo>
                    <a:lnTo>
                      <a:pt x="17565" y="7054"/>
                    </a:lnTo>
                    <a:lnTo>
                      <a:pt x="17565" y="7518"/>
                    </a:lnTo>
                    <a:lnTo>
                      <a:pt x="17130" y="7808"/>
                    </a:lnTo>
                    <a:lnTo>
                      <a:pt x="16522" y="8244"/>
                    </a:lnTo>
                    <a:lnTo>
                      <a:pt x="17130" y="8999"/>
                    </a:lnTo>
                    <a:lnTo>
                      <a:pt x="16522" y="9463"/>
                    </a:lnTo>
                    <a:lnTo>
                      <a:pt x="16058" y="10363"/>
                    </a:lnTo>
                    <a:lnTo>
                      <a:pt x="15594" y="10972"/>
                    </a:lnTo>
                    <a:lnTo>
                      <a:pt x="15594" y="11727"/>
                    </a:lnTo>
                    <a:lnTo>
                      <a:pt x="14406" y="12337"/>
                    </a:lnTo>
                    <a:lnTo>
                      <a:pt x="14406" y="13062"/>
                    </a:lnTo>
                    <a:lnTo>
                      <a:pt x="14116" y="13353"/>
                    </a:lnTo>
                    <a:lnTo>
                      <a:pt x="13971" y="13527"/>
                    </a:lnTo>
                    <a:lnTo>
                      <a:pt x="12464" y="14107"/>
                    </a:lnTo>
                    <a:lnTo>
                      <a:pt x="12145" y="13527"/>
                    </a:lnTo>
                    <a:lnTo>
                      <a:pt x="12029" y="13817"/>
                    </a:lnTo>
                    <a:lnTo>
                      <a:pt x="11710" y="14107"/>
                    </a:lnTo>
                    <a:lnTo>
                      <a:pt x="10957" y="15298"/>
                    </a:lnTo>
                    <a:lnTo>
                      <a:pt x="12029" y="15472"/>
                    </a:lnTo>
                    <a:lnTo>
                      <a:pt x="12029" y="16836"/>
                    </a:lnTo>
                    <a:lnTo>
                      <a:pt x="12464" y="16952"/>
                    </a:lnTo>
                    <a:lnTo>
                      <a:pt x="13217" y="18636"/>
                    </a:lnTo>
                    <a:lnTo>
                      <a:pt x="13217" y="18926"/>
                    </a:lnTo>
                    <a:lnTo>
                      <a:pt x="12928" y="19216"/>
                    </a:lnTo>
                    <a:lnTo>
                      <a:pt x="12609" y="18926"/>
                    </a:lnTo>
                    <a:lnTo>
                      <a:pt x="12145" y="19216"/>
                    </a:lnTo>
                    <a:lnTo>
                      <a:pt x="11710" y="19216"/>
                    </a:lnTo>
                    <a:lnTo>
                      <a:pt x="10493" y="19216"/>
                    </a:lnTo>
                    <a:lnTo>
                      <a:pt x="10493" y="19390"/>
                    </a:lnTo>
                    <a:lnTo>
                      <a:pt x="10058" y="19390"/>
                    </a:lnTo>
                    <a:lnTo>
                      <a:pt x="10058" y="19681"/>
                    </a:lnTo>
                    <a:lnTo>
                      <a:pt x="9768" y="19971"/>
                    </a:lnTo>
                    <a:lnTo>
                      <a:pt x="8551" y="19390"/>
                    </a:lnTo>
                    <a:lnTo>
                      <a:pt x="8261" y="18636"/>
                    </a:lnTo>
                    <a:lnTo>
                      <a:pt x="8116" y="18200"/>
                    </a:lnTo>
                    <a:lnTo>
                      <a:pt x="7507" y="18200"/>
                    </a:lnTo>
                    <a:lnTo>
                      <a:pt x="7362" y="17417"/>
                    </a:lnTo>
                    <a:lnTo>
                      <a:pt x="6928" y="17271"/>
                    </a:lnTo>
                    <a:lnTo>
                      <a:pt x="6290" y="17417"/>
                    </a:lnTo>
                    <a:lnTo>
                      <a:pt x="4957" y="17736"/>
                    </a:lnTo>
                    <a:lnTo>
                      <a:pt x="4957" y="18026"/>
                    </a:lnTo>
                    <a:lnTo>
                      <a:pt x="4348" y="17736"/>
                    </a:lnTo>
                    <a:lnTo>
                      <a:pt x="3913" y="17417"/>
                    </a:lnTo>
                    <a:lnTo>
                      <a:pt x="3014" y="17736"/>
                    </a:lnTo>
                    <a:lnTo>
                      <a:pt x="1942" y="17736"/>
                    </a:lnTo>
                    <a:lnTo>
                      <a:pt x="1188" y="18026"/>
                    </a:lnTo>
                    <a:lnTo>
                      <a:pt x="1188" y="17271"/>
                    </a:lnTo>
                    <a:lnTo>
                      <a:pt x="1507" y="16226"/>
                    </a:lnTo>
                    <a:lnTo>
                      <a:pt x="1942" y="16226"/>
                    </a:lnTo>
                    <a:lnTo>
                      <a:pt x="2551" y="15762"/>
                    </a:lnTo>
                    <a:lnTo>
                      <a:pt x="3014" y="15762"/>
                    </a:lnTo>
                    <a:lnTo>
                      <a:pt x="3014" y="15472"/>
                    </a:lnTo>
                    <a:lnTo>
                      <a:pt x="3159" y="15472"/>
                    </a:lnTo>
                    <a:lnTo>
                      <a:pt x="3159" y="14862"/>
                    </a:lnTo>
                    <a:lnTo>
                      <a:pt x="2725" y="14862"/>
                    </a:lnTo>
                    <a:lnTo>
                      <a:pt x="2551" y="13817"/>
                    </a:lnTo>
                    <a:lnTo>
                      <a:pt x="1797" y="13062"/>
                    </a:lnTo>
                    <a:lnTo>
                      <a:pt x="1072" y="12917"/>
                    </a:lnTo>
                    <a:lnTo>
                      <a:pt x="0" y="11437"/>
                    </a:lnTo>
                    <a:lnTo>
                      <a:pt x="1797" y="11872"/>
                    </a:lnTo>
                    <a:lnTo>
                      <a:pt x="2725" y="11872"/>
                    </a:lnTo>
                    <a:lnTo>
                      <a:pt x="3449" y="11872"/>
                    </a:lnTo>
                    <a:lnTo>
                      <a:pt x="3913" y="11727"/>
                    </a:lnTo>
                    <a:lnTo>
                      <a:pt x="5101" y="11437"/>
                    </a:lnTo>
                    <a:lnTo>
                      <a:pt x="6638" y="10972"/>
                    </a:lnTo>
                    <a:lnTo>
                      <a:pt x="6638" y="9463"/>
                    </a:lnTo>
                    <a:lnTo>
                      <a:pt x="6928" y="9173"/>
                    </a:lnTo>
                    <a:lnTo>
                      <a:pt x="7043" y="8999"/>
                    </a:lnTo>
                    <a:lnTo>
                      <a:pt x="7362" y="8999"/>
                    </a:lnTo>
                    <a:lnTo>
                      <a:pt x="8116" y="8999"/>
                    </a:lnTo>
                    <a:lnTo>
                      <a:pt x="8261" y="8563"/>
                    </a:lnTo>
                    <a:lnTo>
                      <a:pt x="8551" y="8244"/>
                    </a:lnTo>
                    <a:lnTo>
                      <a:pt x="9014" y="8563"/>
                    </a:lnTo>
                    <a:lnTo>
                      <a:pt x="9304" y="8563"/>
                    </a:lnTo>
                    <a:lnTo>
                      <a:pt x="9768" y="8708"/>
                    </a:lnTo>
                    <a:lnTo>
                      <a:pt x="10203" y="8244"/>
                    </a:lnTo>
                    <a:lnTo>
                      <a:pt x="10058" y="7518"/>
                    </a:lnTo>
                    <a:lnTo>
                      <a:pt x="10203" y="7054"/>
                    </a:lnTo>
                    <a:lnTo>
                      <a:pt x="10203" y="6299"/>
                    </a:lnTo>
                    <a:lnTo>
                      <a:pt x="10957" y="5864"/>
                    </a:lnTo>
                    <a:lnTo>
                      <a:pt x="10812" y="5399"/>
                    </a:lnTo>
                    <a:lnTo>
                      <a:pt x="10493" y="4790"/>
                    </a:lnTo>
                    <a:lnTo>
                      <a:pt x="10957" y="4790"/>
                    </a:lnTo>
                    <a:lnTo>
                      <a:pt x="12029" y="4790"/>
                    </a:lnTo>
                    <a:lnTo>
                      <a:pt x="11710" y="4035"/>
                    </a:lnTo>
                    <a:lnTo>
                      <a:pt x="12029" y="3599"/>
                    </a:lnTo>
                    <a:lnTo>
                      <a:pt x="12145" y="2700"/>
                    </a:lnTo>
                    <a:lnTo>
                      <a:pt x="12029" y="1480"/>
                    </a:lnTo>
                    <a:lnTo>
                      <a:pt x="12145" y="900"/>
                    </a:lnTo>
                    <a:lnTo>
                      <a:pt x="12928" y="464"/>
                    </a:lnTo>
                    <a:lnTo>
                      <a:pt x="13681" y="290"/>
                    </a:lnTo>
                    <a:lnTo>
                      <a:pt x="15594" y="2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0" name="Freeform 169"/>
              <p:cNvSpPr>
                <a:spLocks/>
              </p:cNvSpPr>
              <p:nvPr/>
            </p:nvSpPr>
            <p:spPr bwMode="auto">
              <a:xfrm>
                <a:off x="8356600" y="3914775"/>
                <a:ext cx="131763" cy="187325"/>
              </a:xfrm>
              <a:custGeom>
                <a:avLst/>
                <a:gdLst>
                  <a:gd name="T0" fmla="*/ 19904 w 20000"/>
                  <a:gd name="T1" fmla="*/ 19932 h 20000"/>
                  <a:gd name="T2" fmla="*/ 19327 w 20000"/>
                  <a:gd name="T3" fmla="*/ 18915 h 20000"/>
                  <a:gd name="T4" fmla="*/ 17885 w 20000"/>
                  <a:gd name="T5" fmla="*/ 18169 h 20000"/>
                  <a:gd name="T6" fmla="*/ 16923 w 20000"/>
                  <a:gd name="T7" fmla="*/ 17492 h 20000"/>
                  <a:gd name="T8" fmla="*/ 15385 w 20000"/>
                  <a:gd name="T9" fmla="*/ 16475 h 20000"/>
                  <a:gd name="T10" fmla="*/ 14423 w 20000"/>
                  <a:gd name="T11" fmla="*/ 16068 h 20000"/>
                  <a:gd name="T12" fmla="*/ 13942 w 20000"/>
                  <a:gd name="T13" fmla="*/ 14712 h 20000"/>
                  <a:gd name="T14" fmla="*/ 12981 w 20000"/>
                  <a:gd name="T15" fmla="*/ 15390 h 20000"/>
                  <a:gd name="T16" fmla="*/ 14423 w 20000"/>
                  <a:gd name="T17" fmla="*/ 17492 h 20000"/>
                  <a:gd name="T18" fmla="*/ 13942 w 20000"/>
                  <a:gd name="T19" fmla="*/ 17492 h 20000"/>
                  <a:gd name="T20" fmla="*/ 12019 w 20000"/>
                  <a:gd name="T21" fmla="*/ 16068 h 20000"/>
                  <a:gd name="T22" fmla="*/ 8942 w 20000"/>
                  <a:gd name="T23" fmla="*/ 15390 h 20000"/>
                  <a:gd name="T24" fmla="*/ 7885 w 20000"/>
                  <a:gd name="T25" fmla="*/ 16068 h 20000"/>
                  <a:gd name="T26" fmla="*/ 7500 w 20000"/>
                  <a:gd name="T27" fmla="*/ 16068 h 20000"/>
                  <a:gd name="T28" fmla="*/ 6442 w 20000"/>
                  <a:gd name="T29" fmla="*/ 15390 h 20000"/>
                  <a:gd name="T30" fmla="*/ 5000 w 20000"/>
                  <a:gd name="T31" fmla="*/ 14712 h 20000"/>
                  <a:gd name="T32" fmla="*/ 5481 w 20000"/>
                  <a:gd name="T33" fmla="*/ 13627 h 20000"/>
                  <a:gd name="T34" fmla="*/ 5481 w 20000"/>
                  <a:gd name="T35" fmla="*/ 12610 h 20000"/>
                  <a:gd name="T36" fmla="*/ 5000 w 20000"/>
                  <a:gd name="T37" fmla="*/ 12610 h 20000"/>
                  <a:gd name="T38" fmla="*/ 3942 w 20000"/>
                  <a:gd name="T39" fmla="*/ 13627 h 20000"/>
                  <a:gd name="T40" fmla="*/ 3558 w 20000"/>
                  <a:gd name="T41" fmla="*/ 13288 h 20000"/>
                  <a:gd name="T42" fmla="*/ 1538 w 20000"/>
                  <a:gd name="T43" fmla="*/ 9831 h 20000"/>
                  <a:gd name="T44" fmla="*/ 0 w 20000"/>
                  <a:gd name="T45" fmla="*/ 7322 h 20000"/>
                  <a:gd name="T46" fmla="*/ 1538 w 20000"/>
                  <a:gd name="T47" fmla="*/ 8068 h 20000"/>
                  <a:gd name="T48" fmla="*/ 2500 w 20000"/>
                  <a:gd name="T49" fmla="*/ 8746 h 20000"/>
                  <a:gd name="T50" fmla="*/ 3558 w 20000"/>
                  <a:gd name="T51" fmla="*/ 8068 h 20000"/>
                  <a:gd name="T52" fmla="*/ 2500 w 20000"/>
                  <a:gd name="T53" fmla="*/ 5966 h 20000"/>
                  <a:gd name="T54" fmla="*/ 2500 w 20000"/>
                  <a:gd name="T55" fmla="*/ 3458 h 20000"/>
                  <a:gd name="T56" fmla="*/ 3558 w 20000"/>
                  <a:gd name="T57" fmla="*/ 0 h 20000"/>
                  <a:gd name="T58" fmla="*/ 5000 w 20000"/>
                  <a:gd name="T59" fmla="*/ 0 h 20000"/>
                  <a:gd name="T60" fmla="*/ 7885 w 20000"/>
                  <a:gd name="T61" fmla="*/ 678 h 20000"/>
                  <a:gd name="T62" fmla="*/ 8942 w 20000"/>
                  <a:gd name="T63" fmla="*/ 0 h 20000"/>
                  <a:gd name="T64" fmla="*/ 9423 w 20000"/>
                  <a:gd name="T65" fmla="*/ 678 h 20000"/>
                  <a:gd name="T66" fmla="*/ 9423 w 20000"/>
                  <a:gd name="T67" fmla="*/ 1763 h 20000"/>
                  <a:gd name="T68" fmla="*/ 9423 w 20000"/>
                  <a:gd name="T69" fmla="*/ 3458 h 20000"/>
                  <a:gd name="T70" fmla="*/ 11442 w 20000"/>
                  <a:gd name="T71" fmla="*/ 4542 h 20000"/>
                  <a:gd name="T72" fmla="*/ 11442 w 20000"/>
                  <a:gd name="T73" fmla="*/ 5966 h 20000"/>
                  <a:gd name="T74" fmla="*/ 10481 w 20000"/>
                  <a:gd name="T75" fmla="*/ 8068 h 20000"/>
                  <a:gd name="T76" fmla="*/ 7885 w 20000"/>
                  <a:gd name="T77" fmla="*/ 8746 h 20000"/>
                  <a:gd name="T78" fmla="*/ 7500 w 20000"/>
                  <a:gd name="T79" fmla="*/ 10102 h 20000"/>
                  <a:gd name="T80" fmla="*/ 8942 w 20000"/>
                  <a:gd name="T81" fmla="*/ 11932 h 20000"/>
                  <a:gd name="T82" fmla="*/ 8942 w 20000"/>
                  <a:gd name="T83" fmla="*/ 12610 h 20000"/>
                  <a:gd name="T84" fmla="*/ 8942 w 20000"/>
                  <a:gd name="T85" fmla="*/ 13627 h 20000"/>
                  <a:gd name="T86" fmla="*/ 11442 w 20000"/>
                  <a:gd name="T87" fmla="*/ 14712 h 20000"/>
                  <a:gd name="T88" fmla="*/ 12019 w 20000"/>
                  <a:gd name="T89" fmla="*/ 14373 h 20000"/>
                  <a:gd name="T90" fmla="*/ 12019 w 20000"/>
                  <a:gd name="T91" fmla="*/ 13627 h 20000"/>
                  <a:gd name="T92" fmla="*/ 14423 w 20000"/>
                  <a:gd name="T93" fmla="*/ 13627 h 20000"/>
                  <a:gd name="T94" fmla="*/ 15385 w 20000"/>
                  <a:gd name="T95" fmla="*/ 15390 h 20000"/>
                  <a:gd name="T96" fmla="*/ 15962 w 20000"/>
                  <a:gd name="T97" fmla="*/ 15390 h 20000"/>
                  <a:gd name="T98" fmla="*/ 15962 w 20000"/>
                  <a:gd name="T99" fmla="*/ 14712 h 20000"/>
                  <a:gd name="T100" fmla="*/ 19327 w 20000"/>
                  <a:gd name="T101" fmla="*/ 15390 h 20000"/>
                  <a:gd name="T102" fmla="*/ 17885 w 20000"/>
                  <a:gd name="T103" fmla="*/ 16068 h 20000"/>
                  <a:gd name="T104" fmla="*/ 18365 w 20000"/>
                  <a:gd name="T105" fmla="*/ 17153 h 20000"/>
                  <a:gd name="T106" fmla="*/ 19904 w 20000"/>
                  <a:gd name="T107" fmla="*/ 17492 h 20000"/>
                  <a:gd name="T108" fmla="*/ 19904 w 20000"/>
                  <a:gd name="T109" fmla="*/ 199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19904" y="19932"/>
                    </a:moveTo>
                    <a:lnTo>
                      <a:pt x="19327" y="18915"/>
                    </a:lnTo>
                    <a:lnTo>
                      <a:pt x="17885" y="18169"/>
                    </a:lnTo>
                    <a:lnTo>
                      <a:pt x="16923" y="17492"/>
                    </a:lnTo>
                    <a:lnTo>
                      <a:pt x="15385" y="16475"/>
                    </a:lnTo>
                    <a:lnTo>
                      <a:pt x="14423" y="16068"/>
                    </a:lnTo>
                    <a:lnTo>
                      <a:pt x="13942" y="14712"/>
                    </a:lnTo>
                    <a:lnTo>
                      <a:pt x="12981" y="15390"/>
                    </a:lnTo>
                    <a:lnTo>
                      <a:pt x="14423" y="17492"/>
                    </a:lnTo>
                    <a:lnTo>
                      <a:pt x="13942" y="17492"/>
                    </a:lnTo>
                    <a:lnTo>
                      <a:pt x="12019" y="16068"/>
                    </a:lnTo>
                    <a:lnTo>
                      <a:pt x="8942" y="15390"/>
                    </a:lnTo>
                    <a:lnTo>
                      <a:pt x="7885" y="16068"/>
                    </a:lnTo>
                    <a:lnTo>
                      <a:pt x="7500" y="16068"/>
                    </a:lnTo>
                    <a:lnTo>
                      <a:pt x="6442" y="15390"/>
                    </a:lnTo>
                    <a:lnTo>
                      <a:pt x="5000" y="14712"/>
                    </a:lnTo>
                    <a:lnTo>
                      <a:pt x="5481" y="13627"/>
                    </a:lnTo>
                    <a:lnTo>
                      <a:pt x="5481" y="12610"/>
                    </a:lnTo>
                    <a:lnTo>
                      <a:pt x="5000" y="12610"/>
                    </a:lnTo>
                    <a:lnTo>
                      <a:pt x="3942" y="13627"/>
                    </a:lnTo>
                    <a:lnTo>
                      <a:pt x="3558" y="13288"/>
                    </a:lnTo>
                    <a:lnTo>
                      <a:pt x="1538" y="9831"/>
                    </a:lnTo>
                    <a:lnTo>
                      <a:pt x="0" y="7322"/>
                    </a:lnTo>
                    <a:lnTo>
                      <a:pt x="1538" y="8068"/>
                    </a:lnTo>
                    <a:lnTo>
                      <a:pt x="2500" y="8746"/>
                    </a:lnTo>
                    <a:lnTo>
                      <a:pt x="3558" y="8068"/>
                    </a:lnTo>
                    <a:lnTo>
                      <a:pt x="2500" y="5966"/>
                    </a:lnTo>
                    <a:lnTo>
                      <a:pt x="2500" y="3458"/>
                    </a:lnTo>
                    <a:lnTo>
                      <a:pt x="3558" y="0"/>
                    </a:lnTo>
                    <a:lnTo>
                      <a:pt x="5000" y="0"/>
                    </a:lnTo>
                    <a:lnTo>
                      <a:pt x="7885" y="678"/>
                    </a:lnTo>
                    <a:lnTo>
                      <a:pt x="8942" y="0"/>
                    </a:lnTo>
                    <a:lnTo>
                      <a:pt x="9423" y="678"/>
                    </a:lnTo>
                    <a:lnTo>
                      <a:pt x="9423" y="1763"/>
                    </a:lnTo>
                    <a:lnTo>
                      <a:pt x="9423" y="3458"/>
                    </a:lnTo>
                    <a:lnTo>
                      <a:pt x="11442" y="4542"/>
                    </a:lnTo>
                    <a:lnTo>
                      <a:pt x="11442" y="5966"/>
                    </a:lnTo>
                    <a:lnTo>
                      <a:pt x="10481" y="8068"/>
                    </a:lnTo>
                    <a:lnTo>
                      <a:pt x="7885" y="8746"/>
                    </a:lnTo>
                    <a:lnTo>
                      <a:pt x="7500" y="10102"/>
                    </a:lnTo>
                    <a:lnTo>
                      <a:pt x="8942" y="11932"/>
                    </a:lnTo>
                    <a:lnTo>
                      <a:pt x="8942" y="12610"/>
                    </a:lnTo>
                    <a:lnTo>
                      <a:pt x="8942" y="13627"/>
                    </a:lnTo>
                    <a:lnTo>
                      <a:pt x="11442" y="14712"/>
                    </a:lnTo>
                    <a:lnTo>
                      <a:pt x="12019" y="14373"/>
                    </a:lnTo>
                    <a:lnTo>
                      <a:pt x="12019" y="13627"/>
                    </a:lnTo>
                    <a:lnTo>
                      <a:pt x="14423" y="13627"/>
                    </a:lnTo>
                    <a:lnTo>
                      <a:pt x="15385" y="15390"/>
                    </a:lnTo>
                    <a:lnTo>
                      <a:pt x="15962" y="15390"/>
                    </a:lnTo>
                    <a:lnTo>
                      <a:pt x="15962" y="14712"/>
                    </a:lnTo>
                    <a:lnTo>
                      <a:pt x="19327" y="15390"/>
                    </a:lnTo>
                    <a:lnTo>
                      <a:pt x="17885" y="16068"/>
                    </a:lnTo>
                    <a:lnTo>
                      <a:pt x="18365" y="17153"/>
                    </a:lnTo>
                    <a:lnTo>
                      <a:pt x="19904" y="17492"/>
                    </a:lnTo>
                    <a:lnTo>
                      <a:pt x="19904" y="1993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1" name="Freeform 168"/>
              <p:cNvSpPr>
                <a:spLocks/>
              </p:cNvSpPr>
              <p:nvPr/>
            </p:nvSpPr>
            <p:spPr bwMode="auto">
              <a:xfrm>
                <a:off x="8442325" y="4181475"/>
                <a:ext cx="128588" cy="128588"/>
              </a:xfrm>
              <a:custGeom>
                <a:avLst/>
                <a:gdLst>
                  <a:gd name="T0" fmla="*/ 14877 w 20000"/>
                  <a:gd name="T1" fmla="*/ 19901 h 20000"/>
                  <a:gd name="T2" fmla="*/ 13695 w 20000"/>
                  <a:gd name="T3" fmla="*/ 18916 h 20000"/>
                  <a:gd name="T4" fmla="*/ 13695 w 20000"/>
                  <a:gd name="T5" fmla="*/ 18325 h 20000"/>
                  <a:gd name="T6" fmla="*/ 13695 w 20000"/>
                  <a:gd name="T7" fmla="*/ 17340 h 20000"/>
                  <a:gd name="T8" fmla="*/ 13300 w 20000"/>
                  <a:gd name="T9" fmla="*/ 18325 h 20000"/>
                  <a:gd name="T10" fmla="*/ 9655 w 20000"/>
                  <a:gd name="T11" fmla="*/ 17340 h 20000"/>
                  <a:gd name="T12" fmla="*/ 8177 w 20000"/>
                  <a:gd name="T13" fmla="*/ 13300 h 20000"/>
                  <a:gd name="T14" fmla="*/ 9163 w 20000"/>
                  <a:gd name="T15" fmla="*/ 11724 h 20000"/>
                  <a:gd name="T16" fmla="*/ 8177 w 20000"/>
                  <a:gd name="T17" fmla="*/ 10246 h 20000"/>
                  <a:gd name="T18" fmla="*/ 5616 w 20000"/>
                  <a:gd name="T19" fmla="*/ 9163 h 20000"/>
                  <a:gd name="T20" fmla="*/ 6601 w 20000"/>
                  <a:gd name="T21" fmla="*/ 11724 h 20000"/>
                  <a:gd name="T22" fmla="*/ 5025 w 20000"/>
                  <a:gd name="T23" fmla="*/ 10640 h 20000"/>
                  <a:gd name="T24" fmla="*/ 4039 w 20000"/>
                  <a:gd name="T25" fmla="*/ 10246 h 20000"/>
                  <a:gd name="T26" fmla="*/ 4039 w 20000"/>
                  <a:gd name="T27" fmla="*/ 10640 h 20000"/>
                  <a:gd name="T28" fmla="*/ 3054 w 20000"/>
                  <a:gd name="T29" fmla="*/ 10640 h 20000"/>
                  <a:gd name="T30" fmla="*/ 2562 w 20000"/>
                  <a:gd name="T31" fmla="*/ 9163 h 20000"/>
                  <a:gd name="T32" fmla="*/ 985 w 20000"/>
                  <a:gd name="T33" fmla="*/ 10640 h 20000"/>
                  <a:gd name="T34" fmla="*/ 0 w 20000"/>
                  <a:gd name="T35" fmla="*/ 13300 h 20000"/>
                  <a:gd name="T36" fmla="*/ 0 w 20000"/>
                  <a:gd name="T37" fmla="*/ 11724 h 20000"/>
                  <a:gd name="T38" fmla="*/ 0 w 20000"/>
                  <a:gd name="T39" fmla="*/ 8177 h 20000"/>
                  <a:gd name="T40" fmla="*/ 3054 w 20000"/>
                  <a:gd name="T41" fmla="*/ 7586 h 20000"/>
                  <a:gd name="T42" fmla="*/ 4039 w 20000"/>
                  <a:gd name="T43" fmla="*/ 5616 h 20000"/>
                  <a:gd name="T44" fmla="*/ 6601 w 20000"/>
                  <a:gd name="T45" fmla="*/ 5025 h 20000"/>
                  <a:gd name="T46" fmla="*/ 7192 w 20000"/>
                  <a:gd name="T47" fmla="*/ 6601 h 20000"/>
                  <a:gd name="T48" fmla="*/ 6601 w 20000"/>
                  <a:gd name="T49" fmla="*/ 7586 h 20000"/>
                  <a:gd name="T50" fmla="*/ 6601 w 20000"/>
                  <a:gd name="T51" fmla="*/ 8177 h 20000"/>
                  <a:gd name="T52" fmla="*/ 9163 w 20000"/>
                  <a:gd name="T53" fmla="*/ 6601 h 20000"/>
                  <a:gd name="T54" fmla="*/ 9655 w 20000"/>
                  <a:gd name="T55" fmla="*/ 5025 h 20000"/>
                  <a:gd name="T56" fmla="*/ 11724 w 20000"/>
                  <a:gd name="T57" fmla="*/ 5616 h 20000"/>
                  <a:gd name="T58" fmla="*/ 11724 w 20000"/>
                  <a:gd name="T59" fmla="*/ 3547 h 20000"/>
                  <a:gd name="T60" fmla="*/ 12217 w 20000"/>
                  <a:gd name="T61" fmla="*/ 4039 h 20000"/>
                  <a:gd name="T62" fmla="*/ 13300 w 20000"/>
                  <a:gd name="T63" fmla="*/ 3547 h 20000"/>
                  <a:gd name="T64" fmla="*/ 14877 w 20000"/>
                  <a:gd name="T65" fmla="*/ 3547 h 20000"/>
                  <a:gd name="T66" fmla="*/ 13695 w 20000"/>
                  <a:gd name="T67" fmla="*/ 0 h 20000"/>
                  <a:gd name="T68" fmla="*/ 16355 w 20000"/>
                  <a:gd name="T69" fmla="*/ 1576 h 20000"/>
                  <a:gd name="T70" fmla="*/ 17833 w 20000"/>
                  <a:gd name="T71" fmla="*/ 2562 h 20000"/>
                  <a:gd name="T72" fmla="*/ 17833 w 20000"/>
                  <a:gd name="T73" fmla="*/ 5025 h 20000"/>
                  <a:gd name="T74" fmla="*/ 17340 w 20000"/>
                  <a:gd name="T75" fmla="*/ 5616 h 20000"/>
                  <a:gd name="T76" fmla="*/ 18916 w 20000"/>
                  <a:gd name="T77" fmla="*/ 5616 h 20000"/>
                  <a:gd name="T78" fmla="*/ 18916 w 20000"/>
                  <a:gd name="T79" fmla="*/ 9163 h 20000"/>
                  <a:gd name="T80" fmla="*/ 19901 w 20000"/>
                  <a:gd name="T81" fmla="*/ 11724 h 20000"/>
                  <a:gd name="T82" fmla="*/ 17833 w 20000"/>
                  <a:gd name="T83" fmla="*/ 12217 h 20000"/>
                  <a:gd name="T84" fmla="*/ 18916 w 20000"/>
                  <a:gd name="T85" fmla="*/ 15862 h 20000"/>
                  <a:gd name="T86" fmla="*/ 17833 w 20000"/>
                  <a:gd name="T87" fmla="*/ 15862 h 20000"/>
                  <a:gd name="T88" fmla="*/ 16355 w 20000"/>
                  <a:gd name="T89" fmla="*/ 11724 h 20000"/>
                  <a:gd name="T90" fmla="*/ 13695 w 20000"/>
                  <a:gd name="T91" fmla="*/ 14286 h 20000"/>
                  <a:gd name="T92" fmla="*/ 15862 w 20000"/>
                  <a:gd name="T93" fmla="*/ 16256 h 20000"/>
                  <a:gd name="T94" fmla="*/ 14877 w 20000"/>
                  <a:gd name="T95" fmla="*/ 19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4877" y="19901"/>
                    </a:moveTo>
                    <a:lnTo>
                      <a:pt x="13695" y="18916"/>
                    </a:lnTo>
                    <a:lnTo>
                      <a:pt x="13695" y="18325"/>
                    </a:lnTo>
                    <a:lnTo>
                      <a:pt x="13695" y="17340"/>
                    </a:lnTo>
                    <a:lnTo>
                      <a:pt x="13300" y="18325"/>
                    </a:lnTo>
                    <a:lnTo>
                      <a:pt x="9655" y="17340"/>
                    </a:lnTo>
                    <a:lnTo>
                      <a:pt x="8177" y="13300"/>
                    </a:lnTo>
                    <a:lnTo>
                      <a:pt x="9163" y="11724"/>
                    </a:lnTo>
                    <a:lnTo>
                      <a:pt x="8177" y="10246"/>
                    </a:lnTo>
                    <a:lnTo>
                      <a:pt x="5616" y="9163"/>
                    </a:lnTo>
                    <a:lnTo>
                      <a:pt x="6601" y="11724"/>
                    </a:lnTo>
                    <a:lnTo>
                      <a:pt x="5025" y="10640"/>
                    </a:lnTo>
                    <a:lnTo>
                      <a:pt x="4039" y="10246"/>
                    </a:lnTo>
                    <a:lnTo>
                      <a:pt x="4039" y="10640"/>
                    </a:lnTo>
                    <a:lnTo>
                      <a:pt x="3054" y="10640"/>
                    </a:lnTo>
                    <a:lnTo>
                      <a:pt x="2562" y="9163"/>
                    </a:lnTo>
                    <a:lnTo>
                      <a:pt x="985" y="10640"/>
                    </a:lnTo>
                    <a:lnTo>
                      <a:pt x="0" y="13300"/>
                    </a:lnTo>
                    <a:lnTo>
                      <a:pt x="0" y="11724"/>
                    </a:lnTo>
                    <a:lnTo>
                      <a:pt x="0" y="8177"/>
                    </a:lnTo>
                    <a:lnTo>
                      <a:pt x="3054" y="7586"/>
                    </a:lnTo>
                    <a:lnTo>
                      <a:pt x="4039" y="5616"/>
                    </a:lnTo>
                    <a:lnTo>
                      <a:pt x="6601" y="5025"/>
                    </a:lnTo>
                    <a:lnTo>
                      <a:pt x="7192" y="6601"/>
                    </a:lnTo>
                    <a:lnTo>
                      <a:pt x="6601" y="7586"/>
                    </a:lnTo>
                    <a:lnTo>
                      <a:pt x="6601" y="8177"/>
                    </a:lnTo>
                    <a:lnTo>
                      <a:pt x="9163" y="6601"/>
                    </a:lnTo>
                    <a:lnTo>
                      <a:pt x="9655" y="5025"/>
                    </a:lnTo>
                    <a:lnTo>
                      <a:pt x="11724" y="5616"/>
                    </a:lnTo>
                    <a:lnTo>
                      <a:pt x="11724" y="3547"/>
                    </a:lnTo>
                    <a:lnTo>
                      <a:pt x="12217" y="4039"/>
                    </a:lnTo>
                    <a:lnTo>
                      <a:pt x="13300" y="3547"/>
                    </a:lnTo>
                    <a:lnTo>
                      <a:pt x="14877" y="3547"/>
                    </a:lnTo>
                    <a:lnTo>
                      <a:pt x="13695" y="0"/>
                    </a:lnTo>
                    <a:lnTo>
                      <a:pt x="16355" y="1576"/>
                    </a:lnTo>
                    <a:lnTo>
                      <a:pt x="17833" y="2562"/>
                    </a:lnTo>
                    <a:lnTo>
                      <a:pt x="17833" y="5025"/>
                    </a:lnTo>
                    <a:lnTo>
                      <a:pt x="17340" y="5616"/>
                    </a:lnTo>
                    <a:lnTo>
                      <a:pt x="18916" y="5616"/>
                    </a:lnTo>
                    <a:lnTo>
                      <a:pt x="18916" y="9163"/>
                    </a:lnTo>
                    <a:lnTo>
                      <a:pt x="19901" y="11724"/>
                    </a:lnTo>
                    <a:lnTo>
                      <a:pt x="17833" y="12217"/>
                    </a:lnTo>
                    <a:lnTo>
                      <a:pt x="18916" y="15862"/>
                    </a:lnTo>
                    <a:lnTo>
                      <a:pt x="17833" y="15862"/>
                    </a:lnTo>
                    <a:lnTo>
                      <a:pt x="16355" y="11724"/>
                    </a:lnTo>
                    <a:lnTo>
                      <a:pt x="13695" y="14286"/>
                    </a:lnTo>
                    <a:lnTo>
                      <a:pt x="15862" y="16256"/>
                    </a:lnTo>
                    <a:lnTo>
                      <a:pt x="14877" y="1990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2" name="Freeform 167"/>
              <p:cNvSpPr>
                <a:spLocks/>
              </p:cNvSpPr>
              <p:nvPr/>
            </p:nvSpPr>
            <p:spPr bwMode="auto">
              <a:xfrm>
                <a:off x="8432800" y="4119563"/>
                <a:ext cx="30163" cy="47625"/>
              </a:xfrm>
              <a:custGeom>
                <a:avLst/>
                <a:gdLst>
                  <a:gd name="T0" fmla="*/ 0 w 20000"/>
                  <a:gd name="T1" fmla="*/ 19730 h 20000"/>
                  <a:gd name="T2" fmla="*/ 0 w 20000"/>
                  <a:gd name="T3" fmla="*/ 7027 h 20000"/>
                  <a:gd name="T4" fmla="*/ 0 w 20000"/>
                  <a:gd name="T5" fmla="*/ 0 h 20000"/>
                  <a:gd name="T6" fmla="*/ 6667 w 20000"/>
                  <a:gd name="T7" fmla="*/ 0 h 20000"/>
                  <a:gd name="T8" fmla="*/ 10833 w 20000"/>
                  <a:gd name="T9" fmla="*/ 4324 h 20000"/>
                  <a:gd name="T10" fmla="*/ 12917 w 20000"/>
                  <a:gd name="T11" fmla="*/ 1081 h 20000"/>
                  <a:gd name="T12" fmla="*/ 19583 w 20000"/>
                  <a:gd name="T13" fmla="*/ 4324 h 20000"/>
                  <a:gd name="T14" fmla="*/ 19583 w 20000"/>
                  <a:gd name="T15" fmla="*/ 8378 h 20000"/>
                  <a:gd name="T16" fmla="*/ 17083 w 20000"/>
                  <a:gd name="T17" fmla="*/ 11081 h 20000"/>
                  <a:gd name="T18" fmla="*/ 0 w 20000"/>
                  <a:gd name="T19" fmla="*/ 197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0" y="19730"/>
                    </a:moveTo>
                    <a:lnTo>
                      <a:pt x="0" y="7027"/>
                    </a:lnTo>
                    <a:lnTo>
                      <a:pt x="0" y="0"/>
                    </a:lnTo>
                    <a:lnTo>
                      <a:pt x="6667" y="0"/>
                    </a:lnTo>
                    <a:lnTo>
                      <a:pt x="10833" y="4324"/>
                    </a:lnTo>
                    <a:lnTo>
                      <a:pt x="12917" y="1081"/>
                    </a:lnTo>
                    <a:lnTo>
                      <a:pt x="19583" y="4324"/>
                    </a:lnTo>
                    <a:lnTo>
                      <a:pt x="19583" y="8378"/>
                    </a:lnTo>
                    <a:lnTo>
                      <a:pt x="17083" y="11081"/>
                    </a:lnTo>
                    <a:lnTo>
                      <a:pt x="0" y="197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3" name="Freeform 166"/>
              <p:cNvSpPr>
                <a:spLocks/>
              </p:cNvSpPr>
              <p:nvPr/>
            </p:nvSpPr>
            <p:spPr bwMode="auto">
              <a:xfrm>
                <a:off x="8297863" y="4129088"/>
                <a:ext cx="69850" cy="88900"/>
              </a:xfrm>
              <a:custGeom>
                <a:avLst/>
                <a:gdLst>
                  <a:gd name="T0" fmla="*/ 0 w 20000"/>
                  <a:gd name="T1" fmla="*/ 19857 h 20000"/>
                  <a:gd name="T2" fmla="*/ 4909 w 20000"/>
                  <a:gd name="T3" fmla="*/ 16857 h 20000"/>
                  <a:gd name="T4" fmla="*/ 7636 w 20000"/>
                  <a:gd name="T5" fmla="*/ 15429 h 20000"/>
                  <a:gd name="T6" fmla="*/ 11273 w 20000"/>
                  <a:gd name="T7" fmla="*/ 11000 h 20000"/>
                  <a:gd name="T8" fmla="*/ 14182 w 20000"/>
                  <a:gd name="T9" fmla="*/ 8143 h 20000"/>
                  <a:gd name="T10" fmla="*/ 16909 w 20000"/>
                  <a:gd name="T11" fmla="*/ 7286 h 20000"/>
                  <a:gd name="T12" fmla="*/ 16909 w 20000"/>
                  <a:gd name="T13" fmla="*/ 3714 h 20000"/>
                  <a:gd name="T14" fmla="*/ 18727 w 20000"/>
                  <a:gd name="T15" fmla="*/ 0 h 20000"/>
                  <a:gd name="T16" fmla="*/ 18727 w 20000"/>
                  <a:gd name="T17" fmla="*/ 2286 h 20000"/>
                  <a:gd name="T18" fmla="*/ 18727 w 20000"/>
                  <a:gd name="T19" fmla="*/ 3714 h 20000"/>
                  <a:gd name="T20" fmla="*/ 19818 w 20000"/>
                  <a:gd name="T21" fmla="*/ 7286 h 20000"/>
                  <a:gd name="T22" fmla="*/ 16909 w 20000"/>
                  <a:gd name="T23" fmla="*/ 8143 h 20000"/>
                  <a:gd name="T24" fmla="*/ 16909 w 20000"/>
                  <a:gd name="T25" fmla="*/ 11000 h 20000"/>
                  <a:gd name="T26" fmla="*/ 14182 w 20000"/>
                  <a:gd name="T27" fmla="*/ 11714 h 20000"/>
                  <a:gd name="T28" fmla="*/ 11273 w 20000"/>
                  <a:gd name="T29" fmla="*/ 15429 h 20000"/>
                  <a:gd name="T30" fmla="*/ 7636 w 20000"/>
                  <a:gd name="T31" fmla="*/ 16857 h 20000"/>
                  <a:gd name="T32" fmla="*/ 3818 w 20000"/>
                  <a:gd name="T33" fmla="*/ 19000 h 20000"/>
                  <a:gd name="T34" fmla="*/ 0 w 20000"/>
                  <a:gd name="T35" fmla="*/ 1985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0" y="19857"/>
                    </a:moveTo>
                    <a:lnTo>
                      <a:pt x="4909" y="16857"/>
                    </a:lnTo>
                    <a:lnTo>
                      <a:pt x="7636" y="15429"/>
                    </a:lnTo>
                    <a:lnTo>
                      <a:pt x="11273" y="11000"/>
                    </a:lnTo>
                    <a:lnTo>
                      <a:pt x="14182" y="8143"/>
                    </a:lnTo>
                    <a:lnTo>
                      <a:pt x="16909" y="7286"/>
                    </a:lnTo>
                    <a:lnTo>
                      <a:pt x="16909" y="3714"/>
                    </a:lnTo>
                    <a:lnTo>
                      <a:pt x="18727" y="0"/>
                    </a:lnTo>
                    <a:lnTo>
                      <a:pt x="18727" y="2286"/>
                    </a:lnTo>
                    <a:lnTo>
                      <a:pt x="18727" y="3714"/>
                    </a:lnTo>
                    <a:lnTo>
                      <a:pt x="19818" y="7286"/>
                    </a:lnTo>
                    <a:lnTo>
                      <a:pt x="16909" y="8143"/>
                    </a:lnTo>
                    <a:lnTo>
                      <a:pt x="16909" y="11000"/>
                    </a:lnTo>
                    <a:lnTo>
                      <a:pt x="14182" y="11714"/>
                    </a:lnTo>
                    <a:lnTo>
                      <a:pt x="11273" y="15429"/>
                    </a:lnTo>
                    <a:lnTo>
                      <a:pt x="7636" y="16857"/>
                    </a:lnTo>
                    <a:lnTo>
                      <a:pt x="3818" y="19000"/>
                    </a:lnTo>
                    <a:lnTo>
                      <a:pt x="0" y="1985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4" name="Freeform 165"/>
              <p:cNvSpPr>
                <a:spLocks/>
              </p:cNvSpPr>
              <p:nvPr/>
            </p:nvSpPr>
            <p:spPr bwMode="auto">
              <a:xfrm>
                <a:off x="8494713" y="4095750"/>
                <a:ext cx="44450" cy="50800"/>
              </a:xfrm>
              <a:custGeom>
                <a:avLst/>
                <a:gdLst>
                  <a:gd name="T0" fmla="*/ 19710 w 20000"/>
                  <a:gd name="T1" fmla="*/ 19747 h 20000"/>
                  <a:gd name="T2" fmla="*/ 15072 w 20000"/>
                  <a:gd name="T3" fmla="*/ 17215 h 20000"/>
                  <a:gd name="T4" fmla="*/ 10725 w 20000"/>
                  <a:gd name="T5" fmla="*/ 10380 h 20000"/>
                  <a:gd name="T6" fmla="*/ 4638 w 20000"/>
                  <a:gd name="T7" fmla="*/ 9367 h 20000"/>
                  <a:gd name="T8" fmla="*/ 0 w 20000"/>
                  <a:gd name="T9" fmla="*/ 2532 h 20000"/>
                  <a:gd name="T10" fmla="*/ 11884 w 20000"/>
                  <a:gd name="T11" fmla="*/ 0 h 20000"/>
                  <a:gd name="T12" fmla="*/ 15072 w 20000"/>
                  <a:gd name="T13" fmla="*/ 2532 h 20000"/>
                  <a:gd name="T14" fmla="*/ 16522 w 20000"/>
                  <a:gd name="T15" fmla="*/ 5316 h 20000"/>
                  <a:gd name="T16" fmla="*/ 15072 w 20000"/>
                  <a:gd name="T17" fmla="*/ 9367 h 20000"/>
                  <a:gd name="T18" fmla="*/ 19710 w 20000"/>
                  <a:gd name="T19" fmla="*/ 1974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19710" y="19747"/>
                    </a:moveTo>
                    <a:lnTo>
                      <a:pt x="15072" y="17215"/>
                    </a:lnTo>
                    <a:lnTo>
                      <a:pt x="10725" y="10380"/>
                    </a:lnTo>
                    <a:lnTo>
                      <a:pt x="4638" y="9367"/>
                    </a:lnTo>
                    <a:lnTo>
                      <a:pt x="0" y="2532"/>
                    </a:lnTo>
                    <a:lnTo>
                      <a:pt x="11884" y="0"/>
                    </a:lnTo>
                    <a:lnTo>
                      <a:pt x="15072" y="2532"/>
                    </a:lnTo>
                    <a:lnTo>
                      <a:pt x="16522" y="5316"/>
                    </a:lnTo>
                    <a:lnTo>
                      <a:pt x="15072" y="9367"/>
                    </a:lnTo>
                    <a:lnTo>
                      <a:pt x="19710" y="1974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5" name="Freeform 164"/>
              <p:cNvSpPr>
                <a:spLocks/>
              </p:cNvSpPr>
              <p:nvPr/>
            </p:nvSpPr>
            <p:spPr bwMode="auto">
              <a:xfrm>
                <a:off x="8448675" y="4144963"/>
                <a:ext cx="30163" cy="60325"/>
              </a:xfrm>
              <a:custGeom>
                <a:avLst/>
                <a:gdLst>
                  <a:gd name="T0" fmla="*/ 12917 w 20000"/>
                  <a:gd name="T1" fmla="*/ 19787 h 20000"/>
                  <a:gd name="T2" fmla="*/ 6667 w 20000"/>
                  <a:gd name="T3" fmla="*/ 15532 h 20000"/>
                  <a:gd name="T4" fmla="*/ 2500 w 20000"/>
                  <a:gd name="T5" fmla="*/ 15532 h 20000"/>
                  <a:gd name="T6" fmla="*/ 0 w 20000"/>
                  <a:gd name="T7" fmla="*/ 10851 h 20000"/>
                  <a:gd name="T8" fmla="*/ 6667 w 20000"/>
                  <a:gd name="T9" fmla="*/ 8723 h 20000"/>
                  <a:gd name="T10" fmla="*/ 12917 w 20000"/>
                  <a:gd name="T11" fmla="*/ 851 h 20000"/>
                  <a:gd name="T12" fmla="*/ 17083 w 20000"/>
                  <a:gd name="T13" fmla="*/ 0 h 20000"/>
                  <a:gd name="T14" fmla="*/ 19583 w 20000"/>
                  <a:gd name="T15" fmla="*/ 851 h 20000"/>
                  <a:gd name="T16" fmla="*/ 17083 w 20000"/>
                  <a:gd name="T17" fmla="*/ 6596 h 20000"/>
                  <a:gd name="T18" fmla="*/ 12917 w 20000"/>
                  <a:gd name="T19" fmla="*/ 14255 h 20000"/>
                  <a:gd name="T20" fmla="*/ 17083 w 20000"/>
                  <a:gd name="T21" fmla="*/ 19787 h 20000"/>
                  <a:gd name="T22" fmla="*/ 12917 w 20000"/>
                  <a:gd name="T23" fmla="*/ 197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2917" y="19787"/>
                    </a:moveTo>
                    <a:lnTo>
                      <a:pt x="6667" y="15532"/>
                    </a:lnTo>
                    <a:lnTo>
                      <a:pt x="2500" y="15532"/>
                    </a:lnTo>
                    <a:lnTo>
                      <a:pt x="0" y="10851"/>
                    </a:lnTo>
                    <a:lnTo>
                      <a:pt x="6667" y="8723"/>
                    </a:lnTo>
                    <a:lnTo>
                      <a:pt x="12917" y="851"/>
                    </a:lnTo>
                    <a:lnTo>
                      <a:pt x="17083" y="0"/>
                    </a:lnTo>
                    <a:lnTo>
                      <a:pt x="19583" y="851"/>
                    </a:lnTo>
                    <a:lnTo>
                      <a:pt x="17083" y="6596"/>
                    </a:lnTo>
                    <a:lnTo>
                      <a:pt x="12917" y="14255"/>
                    </a:lnTo>
                    <a:lnTo>
                      <a:pt x="17083" y="19787"/>
                    </a:lnTo>
                    <a:lnTo>
                      <a:pt x="12917" y="197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6" name="Freeform 163"/>
              <p:cNvSpPr>
                <a:spLocks/>
              </p:cNvSpPr>
              <p:nvPr/>
            </p:nvSpPr>
            <p:spPr bwMode="auto">
              <a:xfrm>
                <a:off x="8501063" y="4129088"/>
                <a:ext cx="26987" cy="42862"/>
              </a:xfrm>
              <a:custGeom>
                <a:avLst/>
                <a:gdLst>
                  <a:gd name="T0" fmla="*/ 14419 w 20000"/>
                  <a:gd name="T1" fmla="*/ 19706 h 20000"/>
                  <a:gd name="T2" fmla="*/ 6977 w 20000"/>
                  <a:gd name="T3" fmla="*/ 7647 h 20000"/>
                  <a:gd name="T4" fmla="*/ 2791 w 20000"/>
                  <a:gd name="T5" fmla="*/ 7647 h 20000"/>
                  <a:gd name="T6" fmla="*/ 0 w 20000"/>
                  <a:gd name="T7" fmla="*/ 0 h 20000"/>
                  <a:gd name="T8" fmla="*/ 2791 w 20000"/>
                  <a:gd name="T9" fmla="*/ 2941 h 20000"/>
                  <a:gd name="T10" fmla="*/ 12093 w 20000"/>
                  <a:gd name="T11" fmla="*/ 2941 h 20000"/>
                  <a:gd name="T12" fmla="*/ 12093 w 20000"/>
                  <a:gd name="T13" fmla="*/ 7647 h 20000"/>
                  <a:gd name="T14" fmla="*/ 19535 w 20000"/>
                  <a:gd name="T15" fmla="*/ 16765 h 20000"/>
                  <a:gd name="T16" fmla="*/ 14419 w 20000"/>
                  <a:gd name="T17"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4419" y="19706"/>
                    </a:moveTo>
                    <a:lnTo>
                      <a:pt x="6977" y="7647"/>
                    </a:lnTo>
                    <a:lnTo>
                      <a:pt x="2791" y="7647"/>
                    </a:lnTo>
                    <a:lnTo>
                      <a:pt x="0" y="0"/>
                    </a:lnTo>
                    <a:lnTo>
                      <a:pt x="2791" y="2941"/>
                    </a:lnTo>
                    <a:lnTo>
                      <a:pt x="12093" y="2941"/>
                    </a:lnTo>
                    <a:lnTo>
                      <a:pt x="12093" y="7647"/>
                    </a:lnTo>
                    <a:lnTo>
                      <a:pt x="19535" y="16765"/>
                    </a:lnTo>
                    <a:lnTo>
                      <a:pt x="14419"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7" name="Freeform 162"/>
              <p:cNvSpPr>
                <a:spLocks/>
              </p:cNvSpPr>
              <p:nvPr/>
            </p:nvSpPr>
            <p:spPr bwMode="auto">
              <a:xfrm>
                <a:off x="8474075" y="4138613"/>
                <a:ext cx="14288" cy="49212"/>
              </a:xfrm>
              <a:custGeom>
                <a:avLst/>
                <a:gdLst>
                  <a:gd name="T0" fmla="*/ 5455 w 20000"/>
                  <a:gd name="T1" fmla="*/ 19744 h 20000"/>
                  <a:gd name="T2" fmla="*/ 0 w 20000"/>
                  <a:gd name="T3" fmla="*/ 19744 h 20000"/>
                  <a:gd name="T4" fmla="*/ 13636 w 20000"/>
                  <a:gd name="T5" fmla="*/ 9231 h 20000"/>
                  <a:gd name="T6" fmla="*/ 19091 w 20000"/>
                  <a:gd name="T7" fmla="*/ 0 h 20000"/>
                  <a:gd name="T8" fmla="*/ 19091 w 20000"/>
                  <a:gd name="T9" fmla="*/ 10513 h 20000"/>
                  <a:gd name="T10" fmla="*/ 13636 w 20000"/>
                  <a:gd name="T11" fmla="*/ 13077 h 20000"/>
                  <a:gd name="T12" fmla="*/ 5455 w 20000"/>
                  <a:gd name="T13" fmla="*/ 1974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455" y="19744"/>
                    </a:moveTo>
                    <a:lnTo>
                      <a:pt x="0" y="19744"/>
                    </a:lnTo>
                    <a:lnTo>
                      <a:pt x="13636" y="9231"/>
                    </a:lnTo>
                    <a:lnTo>
                      <a:pt x="19091" y="0"/>
                    </a:lnTo>
                    <a:lnTo>
                      <a:pt x="19091" y="10513"/>
                    </a:lnTo>
                    <a:lnTo>
                      <a:pt x="13636" y="13077"/>
                    </a:lnTo>
                    <a:lnTo>
                      <a:pt x="5455" y="1974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8" name="Freeform 161"/>
              <p:cNvSpPr>
                <a:spLocks/>
              </p:cNvSpPr>
              <p:nvPr/>
            </p:nvSpPr>
            <p:spPr bwMode="auto">
              <a:xfrm>
                <a:off x="8488363" y="4171950"/>
                <a:ext cx="23812" cy="17463"/>
              </a:xfrm>
              <a:custGeom>
                <a:avLst/>
                <a:gdLst>
                  <a:gd name="T0" fmla="*/ 14054 w 20000"/>
                  <a:gd name="T1" fmla="*/ 19259 h 20000"/>
                  <a:gd name="T2" fmla="*/ 0 w 20000"/>
                  <a:gd name="T3" fmla="*/ 11852 h 20000"/>
                  <a:gd name="T4" fmla="*/ 5405 w 20000"/>
                  <a:gd name="T5" fmla="*/ 7407 h 20000"/>
                  <a:gd name="T6" fmla="*/ 14054 w 20000"/>
                  <a:gd name="T7" fmla="*/ 0 h 20000"/>
                  <a:gd name="T8" fmla="*/ 19459 w 20000"/>
                  <a:gd name="T9" fmla="*/ 7407 h 20000"/>
                  <a:gd name="T10" fmla="*/ 14054 w 20000"/>
                  <a:gd name="T11" fmla="*/ 19259 h 20000"/>
                </a:gdLst>
                <a:ahLst/>
                <a:cxnLst>
                  <a:cxn ang="0">
                    <a:pos x="T0" y="T1"/>
                  </a:cxn>
                  <a:cxn ang="0">
                    <a:pos x="T2" y="T3"/>
                  </a:cxn>
                  <a:cxn ang="0">
                    <a:pos x="T4" y="T5"/>
                  </a:cxn>
                  <a:cxn ang="0">
                    <a:pos x="T6" y="T7"/>
                  </a:cxn>
                  <a:cxn ang="0">
                    <a:pos x="T8" y="T9"/>
                  </a:cxn>
                  <a:cxn ang="0">
                    <a:pos x="T10" y="T11"/>
                  </a:cxn>
                </a:cxnLst>
                <a:rect l="0" t="0" r="r" b="b"/>
                <a:pathLst>
                  <a:path w="20000" h="20000">
                    <a:moveTo>
                      <a:pt x="14054" y="19259"/>
                    </a:moveTo>
                    <a:lnTo>
                      <a:pt x="0" y="11852"/>
                    </a:lnTo>
                    <a:lnTo>
                      <a:pt x="5405" y="7407"/>
                    </a:lnTo>
                    <a:lnTo>
                      <a:pt x="14054" y="0"/>
                    </a:lnTo>
                    <a:lnTo>
                      <a:pt x="19459" y="7407"/>
                    </a:lnTo>
                    <a:lnTo>
                      <a:pt x="14054"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89" name="Freeform 160"/>
              <p:cNvSpPr>
                <a:spLocks/>
              </p:cNvSpPr>
              <p:nvPr/>
            </p:nvSpPr>
            <p:spPr bwMode="auto">
              <a:xfrm>
                <a:off x="5943600" y="3502025"/>
                <a:ext cx="603250" cy="496888"/>
              </a:xfrm>
              <a:custGeom>
                <a:avLst/>
                <a:gdLst>
                  <a:gd name="T0" fmla="*/ 1412 w 20000"/>
                  <a:gd name="T1" fmla="*/ 3836 h 20000"/>
                  <a:gd name="T2" fmla="*/ 2297 w 20000"/>
                  <a:gd name="T3" fmla="*/ 3043 h 20000"/>
                  <a:gd name="T4" fmla="*/ 2845 w 20000"/>
                  <a:gd name="T5" fmla="*/ 2353 h 20000"/>
                  <a:gd name="T6" fmla="*/ 2192 w 20000"/>
                  <a:gd name="T7" fmla="*/ 1049 h 20000"/>
                  <a:gd name="T8" fmla="*/ 3393 w 20000"/>
                  <a:gd name="T9" fmla="*/ 537 h 20000"/>
                  <a:gd name="T10" fmla="*/ 5037 w 20000"/>
                  <a:gd name="T11" fmla="*/ 256 h 20000"/>
                  <a:gd name="T12" fmla="*/ 7629 w 20000"/>
                  <a:gd name="T13" fmla="*/ 1995 h 20000"/>
                  <a:gd name="T14" fmla="*/ 8303 w 20000"/>
                  <a:gd name="T15" fmla="*/ 2353 h 20000"/>
                  <a:gd name="T16" fmla="*/ 9399 w 20000"/>
                  <a:gd name="T17" fmla="*/ 3836 h 20000"/>
                  <a:gd name="T18" fmla="*/ 11886 w 20000"/>
                  <a:gd name="T19" fmla="*/ 4092 h 20000"/>
                  <a:gd name="T20" fmla="*/ 12540 w 20000"/>
                  <a:gd name="T21" fmla="*/ 4501 h 20000"/>
                  <a:gd name="T22" fmla="*/ 13109 w 20000"/>
                  <a:gd name="T23" fmla="*/ 5422 h 20000"/>
                  <a:gd name="T24" fmla="*/ 13446 w 20000"/>
                  <a:gd name="T25" fmla="*/ 5806 h 20000"/>
                  <a:gd name="T26" fmla="*/ 13741 w 20000"/>
                  <a:gd name="T27" fmla="*/ 6471 h 20000"/>
                  <a:gd name="T28" fmla="*/ 14310 w 20000"/>
                  <a:gd name="T29" fmla="*/ 7263 h 20000"/>
                  <a:gd name="T30" fmla="*/ 14204 w 20000"/>
                  <a:gd name="T31" fmla="*/ 7545 h 20000"/>
                  <a:gd name="T32" fmla="*/ 14521 w 20000"/>
                  <a:gd name="T33" fmla="*/ 8312 h 20000"/>
                  <a:gd name="T34" fmla="*/ 15174 w 20000"/>
                  <a:gd name="T35" fmla="*/ 9412 h 20000"/>
                  <a:gd name="T36" fmla="*/ 15595 w 20000"/>
                  <a:gd name="T37" fmla="*/ 9668 h 20000"/>
                  <a:gd name="T38" fmla="*/ 16059 w 20000"/>
                  <a:gd name="T39" fmla="*/ 10563 h 20000"/>
                  <a:gd name="T40" fmla="*/ 16586 w 20000"/>
                  <a:gd name="T41" fmla="*/ 11611 h 20000"/>
                  <a:gd name="T42" fmla="*/ 19642 w 20000"/>
                  <a:gd name="T43" fmla="*/ 12020 h 20000"/>
                  <a:gd name="T44" fmla="*/ 19642 w 20000"/>
                  <a:gd name="T45" fmla="*/ 14936 h 20000"/>
                  <a:gd name="T46" fmla="*/ 13741 w 20000"/>
                  <a:gd name="T47" fmla="*/ 17187 h 20000"/>
                  <a:gd name="T48" fmla="*/ 11675 w 20000"/>
                  <a:gd name="T49" fmla="*/ 19974 h 20000"/>
                  <a:gd name="T50" fmla="*/ 9947 w 20000"/>
                  <a:gd name="T51" fmla="*/ 17980 h 20000"/>
                  <a:gd name="T52" fmla="*/ 8830 w 20000"/>
                  <a:gd name="T53" fmla="*/ 18261 h 20000"/>
                  <a:gd name="T54" fmla="*/ 8746 w 20000"/>
                  <a:gd name="T55" fmla="*/ 19028 h 20000"/>
                  <a:gd name="T56" fmla="*/ 7629 w 20000"/>
                  <a:gd name="T57" fmla="*/ 18261 h 20000"/>
                  <a:gd name="T58" fmla="*/ 6238 w 20000"/>
                  <a:gd name="T59" fmla="*/ 15857 h 20000"/>
                  <a:gd name="T60" fmla="*/ 5037 w 20000"/>
                  <a:gd name="T61" fmla="*/ 14552 h 20000"/>
                  <a:gd name="T62" fmla="*/ 4489 w 20000"/>
                  <a:gd name="T63" fmla="*/ 12711 h 20000"/>
                  <a:gd name="T64" fmla="*/ 3604 w 20000"/>
                  <a:gd name="T65" fmla="*/ 10307 h 20000"/>
                  <a:gd name="T66" fmla="*/ 2508 w 20000"/>
                  <a:gd name="T67" fmla="*/ 9258 h 20000"/>
                  <a:gd name="T68" fmla="*/ 1981 w 20000"/>
                  <a:gd name="T69" fmla="*/ 7928 h 20000"/>
                  <a:gd name="T70" fmla="*/ 780 w 20000"/>
                  <a:gd name="T71" fmla="*/ 5422 h 20000"/>
                  <a:gd name="T72" fmla="*/ 0 w 20000"/>
                  <a:gd name="T73" fmla="*/ 5166 h 20000"/>
                  <a:gd name="T74" fmla="*/ 211 w 20000"/>
                  <a:gd name="T75" fmla="*/ 37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211" y="3708"/>
                    </a:moveTo>
                    <a:lnTo>
                      <a:pt x="1412" y="3836"/>
                    </a:lnTo>
                    <a:lnTo>
                      <a:pt x="2192" y="3043"/>
                    </a:lnTo>
                    <a:lnTo>
                      <a:pt x="2297" y="3043"/>
                    </a:lnTo>
                    <a:lnTo>
                      <a:pt x="2719" y="2762"/>
                    </a:lnTo>
                    <a:lnTo>
                      <a:pt x="2845" y="2353"/>
                    </a:lnTo>
                    <a:lnTo>
                      <a:pt x="3056" y="2097"/>
                    </a:lnTo>
                    <a:lnTo>
                      <a:pt x="2192" y="1049"/>
                    </a:lnTo>
                    <a:lnTo>
                      <a:pt x="2192" y="921"/>
                    </a:lnTo>
                    <a:lnTo>
                      <a:pt x="3393" y="537"/>
                    </a:lnTo>
                    <a:lnTo>
                      <a:pt x="4152" y="0"/>
                    </a:lnTo>
                    <a:lnTo>
                      <a:pt x="5037" y="256"/>
                    </a:lnTo>
                    <a:lnTo>
                      <a:pt x="6891" y="1586"/>
                    </a:lnTo>
                    <a:lnTo>
                      <a:pt x="7629" y="1995"/>
                    </a:lnTo>
                    <a:lnTo>
                      <a:pt x="7756" y="2097"/>
                    </a:lnTo>
                    <a:lnTo>
                      <a:pt x="8303" y="2353"/>
                    </a:lnTo>
                    <a:lnTo>
                      <a:pt x="8303" y="3299"/>
                    </a:lnTo>
                    <a:lnTo>
                      <a:pt x="9399" y="3836"/>
                    </a:lnTo>
                    <a:lnTo>
                      <a:pt x="11149" y="3836"/>
                    </a:lnTo>
                    <a:lnTo>
                      <a:pt x="11886" y="4092"/>
                    </a:lnTo>
                    <a:lnTo>
                      <a:pt x="12013" y="4501"/>
                    </a:lnTo>
                    <a:lnTo>
                      <a:pt x="12540" y="4501"/>
                    </a:lnTo>
                    <a:lnTo>
                      <a:pt x="12792" y="5166"/>
                    </a:lnTo>
                    <a:lnTo>
                      <a:pt x="13109" y="5422"/>
                    </a:lnTo>
                    <a:lnTo>
                      <a:pt x="13109" y="5806"/>
                    </a:lnTo>
                    <a:lnTo>
                      <a:pt x="13446" y="5806"/>
                    </a:lnTo>
                    <a:lnTo>
                      <a:pt x="13446" y="6061"/>
                    </a:lnTo>
                    <a:lnTo>
                      <a:pt x="13741" y="6471"/>
                    </a:lnTo>
                    <a:lnTo>
                      <a:pt x="14204" y="6598"/>
                    </a:lnTo>
                    <a:lnTo>
                      <a:pt x="14310" y="7263"/>
                    </a:lnTo>
                    <a:lnTo>
                      <a:pt x="14310" y="7545"/>
                    </a:lnTo>
                    <a:lnTo>
                      <a:pt x="14204" y="7545"/>
                    </a:lnTo>
                    <a:lnTo>
                      <a:pt x="14310" y="7928"/>
                    </a:lnTo>
                    <a:lnTo>
                      <a:pt x="14521" y="8312"/>
                    </a:lnTo>
                    <a:lnTo>
                      <a:pt x="14858" y="8849"/>
                    </a:lnTo>
                    <a:lnTo>
                      <a:pt x="15174" y="9412"/>
                    </a:lnTo>
                    <a:lnTo>
                      <a:pt x="15385" y="9412"/>
                    </a:lnTo>
                    <a:lnTo>
                      <a:pt x="15595" y="9668"/>
                    </a:lnTo>
                    <a:lnTo>
                      <a:pt x="15722" y="10051"/>
                    </a:lnTo>
                    <a:lnTo>
                      <a:pt x="16059" y="10563"/>
                    </a:lnTo>
                    <a:lnTo>
                      <a:pt x="16502" y="11100"/>
                    </a:lnTo>
                    <a:lnTo>
                      <a:pt x="16586" y="11611"/>
                    </a:lnTo>
                    <a:lnTo>
                      <a:pt x="19431" y="12174"/>
                    </a:lnTo>
                    <a:lnTo>
                      <a:pt x="19642" y="12020"/>
                    </a:lnTo>
                    <a:lnTo>
                      <a:pt x="19979" y="12711"/>
                    </a:lnTo>
                    <a:lnTo>
                      <a:pt x="19642" y="14936"/>
                    </a:lnTo>
                    <a:lnTo>
                      <a:pt x="16818" y="16266"/>
                    </a:lnTo>
                    <a:lnTo>
                      <a:pt x="13741" y="17187"/>
                    </a:lnTo>
                    <a:lnTo>
                      <a:pt x="12223" y="19719"/>
                    </a:lnTo>
                    <a:lnTo>
                      <a:pt x="11675" y="19974"/>
                    </a:lnTo>
                    <a:lnTo>
                      <a:pt x="11675" y="19028"/>
                    </a:lnTo>
                    <a:lnTo>
                      <a:pt x="9947" y="17980"/>
                    </a:lnTo>
                    <a:lnTo>
                      <a:pt x="9168" y="18261"/>
                    </a:lnTo>
                    <a:lnTo>
                      <a:pt x="8830" y="18261"/>
                    </a:lnTo>
                    <a:lnTo>
                      <a:pt x="8746" y="18261"/>
                    </a:lnTo>
                    <a:lnTo>
                      <a:pt x="8746" y="19028"/>
                    </a:lnTo>
                    <a:lnTo>
                      <a:pt x="8198" y="19437"/>
                    </a:lnTo>
                    <a:lnTo>
                      <a:pt x="7629" y="18261"/>
                    </a:lnTo>
                    <a:lnTo>
                      <a:pt x="7102" y="17570"/>
                    </a:lnTo>
                    <a:lnTo>
                      <a:pt x="6238" y="15857"/>
                    </a:lnTo>
                    <a:lnTo>
                      <a:pt x="5690" y="14808"/>
                    </a:lnTo>
                    <a:lnTo>
                      <a:pt x="5037" y="14552"/>
                    </a:lnTo>
                    <a:lnTo>
                      <a:pt x="4489" y="13478"/>
                    </a:lnTo>
                    <a:lnTo>
                      <a:pt x="4489" y="12711"/>
                    </a:lnTo>
                    <a:lnTo>
                      <a:pt x="4489" y="12174"/>
                    </a:lnTo>
                    <a:lnTo>
                      <a:pt x="3604" y="10307"/>
                    </a:lnTo>
                    <a:lnTo>
                      <a:pt x="2845" y="9923"/>
                    </a:lnTo>
                    <a:lnTo>
                      <a:pt x="2508" y="9258"/>
                    </a:lnTo>
                    <a:lnTo>
                      <a:pt x="2719" y="9003"/>
                    </a:lnTo>
                    <a:lnTo>
                      <a:pt x="1981" y="7928"/>
                    </a:lnTo>
                    <a:lnTo>
                      <a:pt x="1307" y="6471"/>
                    </a:lnTo>
                    <a:lnTo>
                      <a:pt x="780" y="5422"/>
                    </a:lnTo>
                    <a:lnTo>
                      <a:pt x="443" y="5166"/>
                    </a:lnTo>
                    <a:lnTo>
                      <a:pt x="0" y="5166"/>
                    </a:lnTo>
                    <a:lnTo>
                      <a:pt x="211" y="4348"/>
                    </a:lnTo>
                    <a:lnTo>
                      <a:pt x="211" y="37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0" name="Freeform 159"/>
              <p:cNvSpPr>
                <a:spLocks/>
              </p:cNvSpPr>
              <p:nvPr/>
            </p:nvSpPr>
            <p:spPr bwMode="auto">
              <a:xfrm>
                <a:off x="7235825" y="4181475"/>
                <a:ext cx="63500" cy="112713"/>
              </a:xfrm>
              <a:custGeom>
                <a:avLst/>
                <a:gdLst>
                  <a:gd name="T0" fmla="*/ 8283 w 20000"/>
                  <a:gd name="T1" fmla="*/ 19887 h 20000"/>
                  <a:gd name="T2" fmla="*/ 5253 w 20000"/>
                  <a:gd name="T3" fmla="*/ 16836 h 20000"/>
                  <a:gd name="T4" fmla="*/ 3232 w 20000"/>
                  <a:gd name="T5" fmla="*/ 12203 h 20000"/>
                  <a:gd name="T6" fmla="*/ 0 w 20000"/>
                  <a:gd name="T7" fmla="*/ 8701 h 20000"/>
                  <a:gd name="T8" fmla="*/ 2020 w 20000"/>
                  <a:gd name="T9" fmla="*/ 8701 h 20000"/>
                  <a:gd name="T10" fmla="*/ 3232 w 20000"/>
                  <a:gd name="T11" fmla="*/ 4633 h 20000"/>
                  <a:gd name="T12" fmla="*/ 2020 w 20000"/>
                  <a:gd name="T13" fmla="*/ 4068 h 20000"/>
                  <a:gd name="T14" fmla="*/ 3232 w 20000"/>
                  <a:gd name="T15" fmla="*/ 2938 h 20000"/>
                  <a:gd name="T16" fmla="*/ 5253 w 20000"/>
                  <a:gd name="T17" fmla="*/ 1130 h 20000"/>
                  <a:gd name="T18" fmla="*/ 3232 w 20000"/>
                  <a:gd name="T19" fmla="*/ 0 h 20000"/>
                  <a:gd name="T20" fmla="*/ 11515 w 20000"/>
                  <a:gd name="T21" fmla="*/ 2938 h 20000"/>
                  <a:gd name="T22" fmla="*/ 11515 w 20000"/>
                  <a:gd name="T23" fmla="*/ 4068 h 20000"/>
                  <a:gd name="T24" fmla="*/ 15758 w 20000"/>
                  <a:gd name="T25" fmla="*/ 6441 h 20000"/>
                  <a:gd name="T26" fmla="*/ 19798 w 20000"/>
                  <a:gd name="T27" fmla="*/ 11751 h 20000"/>
                  <a:gd name="T28" fmla="*/ 18586 w 20000"/>
                  <a:gd name="T29" fmla="*/ 16836 h 20000"/>
                  <a:gd name="T30" fmla="*/ 8283 w 20000"/>
                  <a:gd name="T31" fmla="*/ 198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00" h="20000">
                    <a:moveTo>
                      <a:pt x="8283" y="19887"/>
                    </a:moveTo>
                    <a:lnTo>
                      <a:pt x="5253" y="16836"/>
                    </a:lnTo>
                    <a:lnTo>
                      <a:pt x="3232" y="12203"/>
                    </a:lnTo>
                    <a:lnTo>
                      <a:pt x="0" y="8701"/>
                    </a:lnTo>
                    <a:lnTo>
                      <a:pt x="2020" y="8701"/>
                    </a:lnTo>
                    <a:lnTo>
                      <a:pt x="3232" y="4633"/>
                    </a:lnTo>
                    <a:lnTo>
                      <a:pt x="2020" y="4068"/>
                    </a:lnTo>
                    <a:lnTo>
                      <a:pt x="3232" y="2938"/>
                    </a:lnTo>
                    <a:lnTo>
                      <a:pt x="5253" y="1130"/>
                    </a:lnTo>
                    <a:lnTo>
                      <a:pt x="3232" y="0"/>
                    </a:lnTo>
                    <a:lnTo>
                      <a:pt x="11515" y="2938"/>
                    </a:lnTo>
                    <a:lnTo>
                      <a:pt x="11515" y="4068"/>
                    </a:lnTo>
                    <a:lnTo>
                      <a:pt x="15758" y="6441"/>
                    </a:lnTo>
                    <a:lnTo>
                      <a:pt x="19798" y="11751"/>
                    </a:lnTo>
                    <a:lnTo>
                      <a:pt x="18586" y="16836"/>
                    </a:lnTo>
                    <a:lnTo>
                      <a:pt x="8283" y="198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1" name="Freeform 158"/>
              <p:cNvSpPr>
                <a:spLocks/>
              </p:cNvSpPr>
              <p:nvPr/>
            </p:nvSpPr>
            <p:spPr bwMode="auto">
              <a:xfrm>
                <a:off x="5959475" y="3336925"/>
                <a:ext cx="177800" cy="161925"/>
              </a:xfrm>
              <a:custGeom>
                <a:avLst/>
                <a:gdLst>
                  <a:gd name="T0" fmla="*/ 783 w 20000"/>
                  <a:gd name="T1" fmla="*/ 5276 h 20000"/>
                  <a:gd name="T2" fmla="*/ 1139 w 20000"/>
                  <a:gd name="T3" fmla="*/ 6063 h 20000"/>
                  <a:gd name="T4" fmla="*/ 2633 w 20000"/>
                  <a:gd name="T5" fmla="*/ 5276 h 20000"/>
                  <a:gd name="T6" fmla="*/ 2918 w 20000"/>
                  <a:gd name="T7" fmla="*/ 4882 h 20000"/>
                  <a:gd name="T8" fmla="*/ 2918 w 20000"/>
                  <a:gd name="T9" fmla="*/ 4016 h 20000"/>
                  <a:gd name="T10" fmla="*/ 2918 w 20000"/>
                  <a:gd name="T11" fmla="*/ 2047 h 20000"/>
                  <a:gd name="T12" fmla="*/ 3701 w 20000"/>
                  <a:gd name="T13" fmla="*/ 2047 h 20000"/>
                  <a:gd name="T14" fmla="*/ 4413 w 20000"/>
                  <a:gd name="T15" fmla="*/ 2835 h 20000"/>
                  <a:gd name="T16" fmla="*/ 5979 w 20000"/>
                  <a:gd name="T17" fmla="*/ 2835 h 20000"/>
                  <a:gd name="T18" fmla="*/ 7758 w 20000"/>
                  <a:gd name="T19" fmla="*/ 2047 h 20000"/>
                  <a:gd name="T20" fmla="*/ 10320 w 20000"/>
                  <a:gd name="T21" fmla="*/ 2835 h 20000"/>
                  <a:gd name="T22" fmla="*/ 12527 w 20000"/>
                  <a:gd name="T23" fmla="*/ 2835 h 20000"/>
                  <a:gd name="T24" fmla="*/ 15160 w 20000"/>
                  <a:gd name="T25" fmla="*/ 787 h 20000"/>
                  <a:gd name="T26" fmla="*/ 16584 w 20000"/>
                  <a:gd name="T27" fmla="*/ 787 h 20000"/>
                  <a:gd name="T28" fmla="*/ 18078 w 20000"/>
                  <a:gd name="T29" fmla="*/ 787 h 20000"/>
                  <a:gd name="T30" fmla="*/ 19217 w 20000"/>
                  <a:gd name="T31" fmla="*/ 0 h 20000"/>
                  <a:gd name="T32" fmla="*/ 19929 w 20000"/>
                  <a:gd name="T33" fmla="*/ 787 h 20000"/>
                  <a:gd name="T34" fmla="*/ 19217 w 20000"/>
                  <a:gd name="T35" fmla="*/ 2047 h 20000"/>
                  <a:gd name="T36" fmla="*/ 17367 w 20000"/>
                  <a:gd name="T37" fmla="*/ 3228 h 20000"/>
                  <a:gd name="T38" fmla="*/ 17367 w 20000"/>
                  <a:gd name="T39" fmla="*/ 4882 h 20000"/>
                  <a:gd name="T40" fmla="*/ 17367 w 20000"/>
                  <a:gd name="T41" fmla="*/ 6457 h 20000"/>
                  <a:gd name="T42" fmla="*/ 17367 w 20000"/>
                  <a:gd name="T43" fmla="*/ 9370 h 20000"/>
                  <a:gd name="T44" fmla="*/ 16584 w 20000"/>
                  <a:gd name="T45" fmla="*/ 11417 h 20000"/>
                  <a:gd name="T46" fmla="*/ 14448 w 20000"/>
                  <a:gd name="T47" fmla="*/ 13386 h 20000"/>
                  <a:gd name="T48" fmla="*/ 10320 w 20000"/>
                  <a:gd name="T49" fmla="*/ 15906 h 20000"/>
                  <a:gd name="T50" fmla="*/ 7402 w 20000"/>
                  <a:gd name="T51" fmla="*/ 18346 h 20000"/>
                  <a:gd name="T52" fmla="*/ 4413 w 20000"/>
                  <a:gd name="T53" fmla="*/ 19921 h 20000"/>
                  <a:gd name="T54" fmla="*/ 2918 w 20000"/>
                  <a:gd name="T55" fmla="*/ 19921 h 20000"/>
                  <a:gd name="T56" fmla="*/ 2633 w 20000"/>
                  <a:gd name="T57" fmla="*/ 19921 h 20000"/>
                  <a:gd name="T58" fmla="*/ 1922 w 20000"/>
                  <a:gd name="T59" fmla="*/ 19134 h 20000"/>
                  <a:gd name="T60" fmla="*/ 0 w 20000"/>
                  <a:gd name="T61" fmla="*/ 19134 h 20000"/>
                  <a:gd name="T62" fmla="*/ 1139 w 20000"/>
                  <a:gd name="T63" fmla="*/ 17087 h 20000"/>
                  <a:gd name="T64" fmla="*/ 1139 w 20000"/>
                  <a:gd name="T65" fmla="*/ 16693 h 20000"/>
                  <a:gd name="T66" fmla="*/ 1922 w 20000"/>
                  <a:gd name="T67" fmla="*/ 15118 h 20000"/>
                  <a:gd name="T68" fmla="*/ 1922 w 20000"/>
                  <a:gd name="T69" fmla="*/ 14646 h 20000"/>
                  <a:gd name="T70" fmla="*/ 2918 w 20000"/>
                  <a:gd name="T71" fmla="*/ 13386 h 20000"/>
                  <a:gd name="T72" fmla="*/ 2918 w 20000"/>
                  <a:gd name="T73" fmla="*/ 11732 h 20000"/>
                  <a:gd name="T74" fmla="*/ 2918 w 20000"/>
                  <a:gd name="T75" fmla="*/ 10630 h 20000"/>
                  <a:gd name="T76" fmla="*/ 783 w 20000"/>
                  <a:gd name="T77" fmla="*/ 11417 h 20000"/>
                  <a:gd name="T78" fmla="*/ 783 w 20000"/>
                  <a:gd name="T79" fmla="*/ 9764 h 20000"/>
                  <a:gd name="T80" fmla="*/ 783 w 20000"/>
                  <a:gd name="T81" fmla="*/ 8504 h 20000"/>
                  <a:gd name="T82" fmla="*/ 0 w 20000"/>
                  <a:gd name="T83" fmla="*/ 7244 h 20000"/>
                  <a:gd name="T84" fmla="*/ 783 w 20000"/>
                  <a:gd name="T85" fmla="*/ 527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783" y="5276"/>
                    </a:moveTo>
                    <a:lnTo>
                      <a:pt x="1139" y="6063"/>
                    </a:lnTo>
                    <a:lnTo>
                      <a:pt x="2633" y="5276"/>
                    </a:lnTo>
                    <a:lnTo>
                      <a:pt x="2918" y="4882"/>
                    </a:lnTo>
                    <a:lnTo>
                      <a:pt x="2918" y="4016"/>
                    </a:lnTo>
                    <a:lnTo>
                      <a:pt x="2918" y="2047"/>
                    </a:lnTo>
                    <a:lnTo>
                      <a:pt x="3701" y="2047"/>
                    </a:lnTo>
                    <a:lnTo>
                      <a:pt x="4413" y="2835"/>
                    </a:lnTo>
                    <a:lnTo>
                      <a:pt x="5979" y="2835"/>
                    </a:lnTo>
                    <a:lnTo>
                      <a:pt x="7758" y="2047"/>
                    </a:lnTo>
                    <a:lnTo>
                      <a:pt x="10320" y="2835"/>
                    </a:lnTo>
                    <a:lnTo>
                      <a:pt x="12527" y="2835"/>
                    </a:lnTo>
                    <a:lnTo>
                      <a:pt x="15160" y="787"/>
                    </a:lnTo>
                    <a:lnTo>
                      <a:pt x="16584" y="787"/>
                    </a:lnTo>
                    <a:lnTo>
                      <a:pt x="18078" y="787"/>
                    </a:lnTo>
                    <a:lnTo>
                      <a:pt x="19217" y="0"/>
                    </a:lnTo>
                    <a:lnTo>
                      <a:pt x="19929" y="787"/>
                    </a:lnTo>
                    <a:lnTo>
                      <a:pt x="19217" y="2047"/>
                    </a:lnTo>
                    <a:lnTo>
                      <a:pt x="17367" y="3228"/>
                    </a:lnTo>
                    <a:lnTo>
                      <a:pt x="17367" y="4882"/>
                    </a:lnTo>
                    <a:lnTo>
                      <a:pt x="17367" y="6457"/>
                    </a:lnTo>
                    <a:lnTo>
                      <a:pt x="17367" y="9370"/>
                    </a:lnTo>
                    <a:lnTo>
                      <a:pt x="16584" y="11417"/>
                    </a:lnTo>
                    <a:lnTo>
                      <a:pt x="14448" y="13386"/>
                    </a:lnTo>
                    <a:lnTo>
                      <a:pt x="10320" y="15906"/>
                    </a:lnTo>
                    <a:lnTo>
                      <a:pt x="7402" y="18346"/>
                    </a:lnTo>
                    <a:lnTo>
                      <a:pt x="4413" y="19921"/>
                    </a:lnTo>
                    <a:lnTo>
                      <a:pt x="2918" y="19921"/>
                    </a:lnTo>
                    <a:lnTo>
                      <a:pt x="2633" y="19921"/>
                    </a:lnTo>
                    <a:lnTo>
                      <a:pt x="1922" y="19134"/>
                    </a:lnTo>
                    <a:lnTo>
                      <a:pt x="0" y="19134"/>
                    </a:lnTo>
                    <a:lnTo>
                      <a:pt x="1139" y="17087"/>
                    </a:lnTo>
                    <a:lnTo>
                      <a:pt x="1139" y="16693"/>
                    </a:lnTo>
                    <a:lnTo>
                      <a:pt x="1922" y="15118"/>
                    </a:lnTo>
                    <a:lnTo>
                      <a:pt x="1922" y="14646"/>
                    </a:lnTo>
                    <a:lnTo>
                      <a:pt x="2918" y="13386"/>
                    </a:lnTo>
                    <a:lnTo>
                      <a:pt x="2918" y="11732"/>
                    </a:lnTo>
                    <a:lnTo>
                      <a:pt x="2918" y="10630"/>
                    </a:lnTo>
                    <a:lnTo>
                      <a:pt x="783" y="11417"/>
                    </a:lnTo>
                    <a:lnTo>
                      <a:pt x="783" y="9764"/>
                    </a:lnTo>
                    <a:lnTo>
                      <a:pt x="783" y="8504"/>
                    </a:lnTo>
                    <a:lnTo>
                      <a:pt x="0" y="7244"/>
                    </a:lnTo>
                    <a:lnTo>
                      <a:pt x="783" y="527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2" name="Freeform 157"/>
              <p:cNvSpPr>
                <a:spLocks/>
              </p:cNvSpPr>
              <p:nvPr/>
            </p:nvSpPr>
            <p:spPr bwMode="auto">
              <a:xfrm>
                <a:off x="7724775" y="3852863"/>
                <a:ext cx="234950" cy="447675"/>
              </a:xfrm>
              <a:custGeom>
                <a:avLst/>
                <a:gdLst>
                  <a:gd name="T0" fmla="*/ 5908 w 20000"/>
                  <a:gd name="T1" fmla="*/ 455 h 20000"/>
                  <a:gd name="T2" fmla="*/ 7317 w 20000"/>
                  <a:gd name="T3" fmla="*/ 739 h 20000"/>
                  <a:gd name="T4" fmla="*/ 7317 w 20000"/>
                  <a:gd name="T5" fmla="*/ 1449 h 20000"/>
                  <a:gd name="T6" fmla="*/ 8401 w 20000"/>
                  <a:gd name="T7" fmla="*/ 1619 h 20000"/>
                  <a:gd name="T8" fmla="*/ 8401 w 20000"/>
                  <a:gd name="T9" fmla="*/ 2784 h 20000"/>
                  <a:gd name="T10" fmla="*/ 8997 w 20000"/>
                  <a:gd name="T11" fmla="*/ 3949 h 20000"/>
                  <a:gd name="T12" fmla="*/ 10407 w 20000"/>
                  <a:gd name="T13" fmla="*/ 3523 h 20000"/>
                  <a:gd name="T14" fmla="*/ 12087 w 20000"/>
                  <a:gd name="T15" fmla="*/ 3523 h 20000"/>
                  <a:gd name="T16" fmla="*/ 13496 w 20000"/>
                  <a:gd name="T17" fmla="*/ 3352 h 20000"/>
                  <a:gd name="T18" fmla="*/ 15447 w 20000"/>
                  <a:gd name="T19" fmla="*/ 3068 h 20000"/>
                  <a:gd name="T20" fmla="*/ 17724 w 20000"/>
                  <a:gd name="T21" fmla="*/ 4545 h 20000"/>
                  <a:gd name="T22" fmla="*/ 17940 w 20000"/>
                  <a:gd name="T23" fmla="*/ 5284 h 20000"/>
                  <a:gd name="T24" fmla="*/ 19404 w 20000"/>
                  <a:gd name="T25" fmla="*/ 6165 h 20000"/>
                  <a:gd name="T26" fmla="*/ 19946 w 20000"/>
                  <a:gd name="T27" fmla="*/ 6619 h 20000"/>
                  <a:gd name="T28" fmla="*/ 19946 w 20000"/>
                  <a:gd name="T29" fmla="*/ 8068 h 20000"/>
                  <a:gd name="T30" fmla="*/ 19079 w 20000"/>
                  <a:gd name="T31" fmla="*/ 8523 h 20000"/>
                  <a:gd name="T32" fmla="*/ 17724 w 20000"/>
                  <a:gd name="T33" fmla="*/ 8523 h 20000"/>
                  <a:gd name="T34" fmla="*/ 14038 w 20000"/>
                  <a:gd name="T35" fmla="*/ 8523 h 20000"/>
                  <a:gd name="T36" fmla="*/ 12629 w 20000"/>
                  <a:gd name="T37" fmla="*/ 9972 h 20000"/>
                  <a:gd name="T38" fmla="*/ 14309 w 20000"/>
                  <a:gd name="T39" fmla="*/ 12017 h 20000"/>
                  <a:gd name="T40" fmla="*/ 11220 w 20000"/>
                  <a:gd name="T41" fmla="*/ 10852 h 20000"/>
                  <a:gd name="T42" fmla="*/ 9539 w 20000"/>
                  <a:gd name="T43" fmla="*/ 9688 h 20000"/>
                  <a:gd name="T44" fmla="*/ 7317 w 20000"/>
                  <a:gd name="T45" fmla="*/ 10852 h 20000"/>
                  <a:gd name="T46" fmla="*/ 6179 w 20000"/>
                  <a:gd name="T47" fmla="*/ 12614 h 20000"/>
                  <a:gd name="T48" fmla="*/ 5312 w 20000"/>
                  <a:gd name="T49" fmla="*/ 14233 h 20000"/>
                  <a:gd name="T50" fmla="*/ 7317 w 20000"/>
                  <a:gd name="T51" fmla="*/ 15398 h 20000"/>
                  <a:gd name="T52" fmla="*/ 8130 w 20000"/>
                  <a:gd name="T53" fmla="*/ 16307 h 20000"/>
                  <a:gd name="T54" fmla="*/ 10407 w 20000"/>
                  <a:gd name="T55" fmla="*/ 18523 h 20000"/>
                  <a:gd name="T56" fmla="*/ 12629 w 20000"/>
                  <a:gd name="T57" fmla="*/ 19375 h 20000"/>
                  <a:gd name="T58" fmla="*/ 11762 w 20000"/>
                  <a:gd name="T59" fmla="*/ 19688 h 20000"/>
                  <a:gd name="T60" fmla="*/ 10949 w 20000"/>
                  <a:gd name="T61" fmla="*/ 19972 h 20000"/>
                  <a:gd name="T62" fmla="*/ 10407 w 20000"/>
                  <a:gd name="T63" fmla="*/ 19375 h 20000"/>
                  <a:gd name="T64" fmla="*/ 8130 w 20000"/>
                  <a:gd name="T65" fmla="*/ 18920 h 20000"/>
                  <a:gd name="T66" fmla="*/ 6179 w 20000"/>
                  <a:gd name="T67" fmla="*/ 17756 h 20000"/>
                  <a:gd name="T68" fmla="*/ 4444 w 20000"/>
                  <a:gd name="T69" fmla="*/ 16307 h 20000"/>
                  <a:gd name="T70" fmla="*/ 3902 w 20000"/>
                  <a:gd name="T71" fmla="*/ 17017 h 20000"/>
                  <a:gd name="T72" fmla="*/ 3089 w 20000"/>
                  <a:gd name="T73" fmla="*/ 15852 h 20000"/>
                  <a:gd name="T74" fmla="*/ 3902 w 20000"/>
                  <a:gd name="T75" fmla="*/ 14517 h 20000"/>
                  <a:gd name="T76" fmla="*/ 4444 w 20000"/>
                  <a:gd name="T77" fmla="*/ 13949 h 20000"/>
                  <a:gd name="T78" fmla="*/ 5312 w 20000"/>
                  <a:gd name="T79" fmla="*/ 12330 h 20000"/>
                  <a:gd name="T80" fmla="*/ 5095 w 20000"/>
                  <a:gd name="T81" fmla="*/ 10114 h 20000"/>
                  <a:gd name="T82" fmla="*/ 2547 w 20000"/>
                  <a:gd name="T83" fmla="*/ 8068 h 20000"/>
                  <a:gd name="T84" fmla="*/ 3089 w 20000"/>
                  <a:gd name="T85" fmla="*/ 7017 h 20000"/>
                  <a:gd name="T86" fmla="*/ 3631 w 20000"/>
                  <a:gd name="T87" fmla="*/ 6165 h 20000"/>
                  <a:gd name="T88" fmla="*/ 2547 w 20000"/>
                  <a:gd name="T89" fmla="*/ 4972 h 20000"/>
                  <a:gd name="T90" fmla="*/ 325 w 20000"/>
                  <a:gd name="T91" fmla="*/ 3068 h 20000"/>
                  <a:gd name="T92" fmla="*/ 0 w 20000"/>
                  <a:gd name="T93" fmla="*/ 2784 h 20000"/>
                  <a:gd name="T94" fmla="*/ 325 w 20000"/>
                  <a:gd name="T95" fmla="*/ 1903 h 20000"/>
                  <a:gd name="T96" fmla="*/ 1409 w 20000"/>
                  <a:gd name="T97" fmla="*/ 1165 h 20000"/>
                  <a:gd name="T98" fmla="*/ 3089 w 20000"/>
                  <a:gd name="T99" fmla="*/ 455 h 20000"/>
                  <a:gd name="T100" fmla="*/ 4444 w 20000"/>
                  <a:gd name="T101" fmla="*/ 2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5908" y="0"/>
                    </a:moveTo>
                    <a:lnTo>
                      <a:pt x="5908" y="455"/>
                    </a:lnTo>
                    <a:lnTo>
                      <a:pt x="6179" y="284"/>
                    </a:lnTo>
                    <a:lnTo>
                      <a:pt x="7317" y="739"/>
                    </a:lnTo>
                    <a:lnTo>
                      <a:pt x="6775" y="1165"/>
                    </a:lnTo>
                    <a:lnTo>
                      <a:pt x="7317" y="1449"/>
                    </a:lnTo>
                    <a:lnTo>
                      <a:pt x="8130" y="1165"/>
                    </a:lnTo>
                    <a:lnTo>
                      <a:pt x="8401" y="1619"/>
                    </a:lnTo>
                    <a:lnTo>
                      <a:pt x="8997" y="1903"/>
                    </a:lnTo>
                    <a:lnTo>
                      <a:pt x="8401" y="2784"/>
                    </a:lnTo>
                    <a:lnTo>
                      <a:pt x="8401" y="3807"/>
                    </a:lnTo>
                    <a:lnTo>
                      <a:pt x="8997" y="3949"/>
                    </a:lnTo>
                    <a:lnTo>
                      <a:pt x="9864" y="3523"/>
                    </a:lnTo>
                    <a:lnTo>
                      <a:pt x="10407" y="3523"/>
                    </a:lnTo>
                    <a:lnTo>
                      <a:pt x="11220" y="3068"/>
                    </a:lnTo>
                    <a:lnTo>
                      <a:pt x="12087" y="3523"/>
                    </a:lnTo>
                    <a:lnTo>
                      <a:pt x="12629" y="3352"/>
                    </a:lnTo>
                    <a:lnTo>
                      <a:pt x="13496" y="3352"/>
                    </a:lnTo>
                    <a:lnTo>
                      <a:pt x="14038" y="2784"/>
                    </a:lnTo>
                    <a:lnTo>
                      <a:pt x="15447" y="3068"/>
                    </a:lnTo>
                    <a:lnTo>
                      <a:pt x="16314" y="3523"/>
                    </a:lnTo>
                    <a:lnTo>
                      <a:pt x="17724" y="4545"/>
                    </a:lnTo>
                    <a:lnTo>
                      <a:pt x="17724" y="4688"/>
                    </a:lnTo>
                    <a:lnTo>
                      <a:pt x="17940" y="5284"/>
                    </a:lnTo>
                    <a:lnTo>
                      <a:pt x="18537" y="5852"/>
                    </a:lnTo>
                    <a:lnTo>
                      <a:pt x="19404" y="6165"/>
                    </a:lnTo>
                    <a:lnTo>
                      <a:pt x="19404" y="6449"/>
                    </a:lnTo>
                    <a:lnTo>
                      <a:pt x="19946" y="6619"/>
                    </a:lnTo>
                    <a:lnTo>
                      <a:pt x="19946" y="7017"/>
                    </a:lnTo>
                    <a:lnTo>
                      <a:pt x="19946" y="8068"/>
                    </a:lnTo>
                    <a:lnTo>
                      <a:pt x="19404" y="8523"/>
                    </a:lnTo>
                    <a:lnTo>
                      <a:pt x="19079" y="8523"/>
                    </a:lnTo>
                    <a:lnTo>
                      <a:pt x="17940" y="8352"/>
                    </a:lnTo>
                    <a:lnTo>
                      <a:pt x="17724" y="8523"/>
                    </a:lnTo>
                    <a:lnTo>
                      <a:pt x="15718" y="8352"/>
                    </a:lnTo>
                    <a:lnTo>
                      <a:pt x="14038" y="8523"/>
                    </a:lnTo>
                    <a:lnTo>
                      <a:pt x="14038" y="9517"/>
                    </a:lnTo>
                    <a:lnTo>
                      <a:pt x="12629" y="9972"/>
                    </a:lnTo>
                    <a:lnTo>
                      <a:pt x="13171" y="10739"/>
                    </a:lnTo>
                    <a:lnTo>
                      <a:pt x="14309" y="12017"/>
                    </a:lnTo>
                    <a:lnTo>
                      <a:pt x="13496" y="11591"/>
                    </a:lnTo>
                    <a:lnTo>
                      <a:pt x="11220" y="10852"/>
                    </a:lnTo>
                    <a:lnTo>
                      <a:pt x="8997" y="10739"/>
                    </a:lnTo>
                    <a:lnTo>
                      <a:pt x="9539" y="9688"/>
                    </a:lnTo>
                    <a:lnTo>
                      <a:pt x="7317" y="9972"/>
                    </a:lnTo>
                    <a:lnTo>
                      <a:pt x="7317" y="10852"/>
                    </a:lnTo>
                    <a:lnTo>
                      <a:pt x="7317" y="11591"/>
                    </a:lnTo>
                    <a:lnTo>
                      <a:pt x="6179" y="12614"/>
                    </a:lnTo>
                    <a:lnTo>
                      <a:pt x="5908" y="13807"/>
                    </a:lnTo>
                    <a:lnTo>
                      <a:pt x="5312" y="14233"/>
                    </a:lnTo>
                    <a:lnTo>
                      <a:pt x="5908" y="15710"/>
                    </a:lnTo>
                    <a:lnTo>
                      <a:pt x="7317" y="15398"/>
                    </a:lnTo>
                    <a:lnTo>
                      <a:pt x="7588" y="16307"/>
                    </a:lnTo>
                    <a:lnTo>
                      <a:pt x="8130" y="16307"/>
                    </a:lnTo>
                    <a:lnTo>
                      <a:pt x="8997" y="18210"/>
                    </a:lnTo>
                    <a:lnTo>
                      <a:pt x="10407" y="18523"/>
                    </a:lnTo>
                    <a:lnTo>
                      <a:pt x="11762" y="18523"/>
                    </a:lnTo>
                    <a:lnTo>
                      <a:pt x="12629" y="19375"/>
                    </a:lnTo>
                    <a:lnTo>
                      <a:pt x="12087" y="19375"/>
                    </a:lnTo>
                    <a:lnTo>
                      <a:pt x="11762" y="19688"/>
                    </a:lnTo>
                    <a:lnTo>
                      <a:pt x="11220" y="19375"/>
                    </a:lnTo>
                    <a:lnTo>
                      <a:pt x="10949" y="19972"/>
                    </a:lnTo>
                    <a:lnTo>
                      <a:pt x="9864" y="19972"/>
                    </a:lnTo>
                    <a:lnTo>
                      <a:pt x="10407" y="19375"/>
                    </a:lnTo>
                    <a:lnTo>
                      <a:pt x="8401" y="18807"/>
                    </a:lnTo>
                    <a:lnTo>
                      <a:pt x="8130" y="18920"/>
                    </a:lnTo>
                    <a:lnTo>
                      <a:pt x="7317" y="18210"/>
                    </a:lnTo>
                    <a:lnTo>
                      <a:pt x="6179" y="17756"/>
                    </a:lnTo>
                    <a:lnTo>
                      <a:pt x="5095" y="16875"/>
                    </a:lnTo>
                    <a:lnTo>
                      <a:pt x="4444" y="16307"/>
                    </a:lnTo>
                    <a:lnTo>
                      <a:pt x="3902" y="16591"/>
                    </a:lnTo>
                    <a:lnTo>
                      <a:pt x="3902" y="17017"/>
                    </a:lnTo>
                    <a:lnTo>
                      <a:pt x="3631" y="16875"/>
                    </a:lnTo>
                    <a:lnTo>
                      <a:pt x="3089" y="15852"/>
                    </a:lnTo>
                    <a:lnTo>
                      <a:pt x="3631" y="14972"/>
                    </a:lnTo>
                    <a:lnTo>
                      <a:pt x="3902" y="14517"/>
                    </a:lnTo>
                    <a:lnTo>
                      <a:pt x="3902" y="14233"/>
                    </a:lnTo>
                    <a:lnTo>
                      <a:pt x="4444" y="13949"/>
                    </a:lnTo>
                    <a:lnTo>
                      <a:pt x="4444" y="13523"/>
                    </a:lnTo>
                    <a:lnTo>
                      <a:pt x="5312" y="12330"/>
                    </a:lnTo>
                    <a:lnTo>
                      <a:pt x="5908" y="11591"/>
                    </a:lnTo>
                    <a:lnTo>
                      <a:pt x="5095" y="10114"/>
                    </a:lnTo>
                    <a:lnTo>
                      <a:pt x="5095" y="9517"/>
                    </a:lnTo>
                    <a:lnTo>
                      <a:pt x="2547" y="8068"/>
                    </a:lnTo>
                    <a:lnTo>
                      <a:pt x="2547" y="7614"/>
                    </a:lnTo>
                    <a:lnTo>
                      <a:pt x="3089" y="7017"/>
                    </a:lnTo>
                    <a:lnTo>
                      <a:pt x="3089" y="6449"/>
                    </a:lnTo>
                    <a:lnTo>
                      <a:pt x="3631" y="6165"/>
                    </a:lnTo>
                    <a:lnTo>
                      <a:pt x="3089" y="5398"/>
                    </a:lnTo>
                    <a:lnTo>
                      <a:pt x="2547" y="4972"/>
                    </a:lnTo>
                    <a:lnTo>
                      <a:pt x="867" y="3523"/>
                    </a:lnTo>
                    <a:lnTo>
                      <a:pt x="325" y="3068"/>
                    </a:lnTo>
                    <a:lnTo>
                      <a:pt x="0" y="3068"/>
                    </a:lnTo>
                    <a:lnTo>
                      <a:pt x="0" y="2784"/>
                    </a:lnTo>
                    <a:lnTo>
                      <a:pt x="325" y="2614"/>
                    </a:lnTo>
                    <a:lnTo>
                      <a:pt x="325" y="1903"/>
                    </a:lnTo>
                    <a:lnTo>
                      <a:pt x="867" y="1449"/>
                    </a:lnTo>
                    <a:lnTo>
                      <a:pt x="1409" y="1165"/>
                    </a:lnTo>
                    <a:lnTo>
                      <a:pt x="3631" y="852"/>
                    </a:lnTo>
                    <a:lnTo>
                      <a:pt x="3089" y="455"/>
                    </a:lnTo>
                    <a:lnTo>
                      <a:pt x="3902" y="739"/>
                    </a:lnTo>
                    <a:lnTo>
                      <a:pt x="4444" y="284"/>
                    </a:lnTo>
                    <a:lnTo>
                      <a:pt x="590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3" name="Freeform 156"/>
              <p:cNvSpPr>
                <a:spLocks/>
              </p:cNvSpPr>
              <p:nvPr/>
            </p:nvSpPr>
            <p:spPr bwMode="auto">
              <a:xfrm>
                <a:off x="6413500" y="3689350"/>
                <a:ext cx="142875" cy="115888"/>
              </a:xfrm>
              <a:custGeom>
                <a:avLst/>
                <a:gdLst>
                  <a:gd name="T0" fmla="*/ 0 w 20000"/>
                  <a:gd name="T1" fmla="*/ 9121 h 20000"/>
                  <a:gd name="T2" fmla="*/ 536 w 20000"/>
                  <a:gd name="T3" fmla="*/ 8022 h 20000"/>
                  <a:gd name="T4" fmla="*/ 536 w 20000"/>
                  <a:gd name="T5" fmla="*/ 10220 h 20000"/>
                  <a:gd name="T6" fmla="*/ 1429 w 20000"/>
                  <a:gd name="T7" fmla="*/ 10769 h 20000"/>
                  <a:gd name="T8" fmla="*/ 1875 w 20000"/>
                  <a:gd name="T9" fmla="*/ 11868 h 20000"/>
                  <a:gd name="T10" fmla="*/ 4196 w 20000"/>
                  <a:gd name="T11" fmla="*/ 11868 h 20000"/>
                  <a:gd name="T12" fmla="*/ 5179 w 20000"/>
                  <a:gd name="T13" fmla="*/ 10769 h 20000"/>
                  <a:gd name="T14" fmla="*/ 9732 w 20000"/>
                  <a:gd name="T15" fmla="*/ 10769 h 20000"/>
                  <a:gd name="T16" fmla="*/ 11607 w 20000"/>
                  <a:gd name="T17" fmla="*/ 10220 h 20000"/>
                  <a:gd name="T18" fmla="*/ 13393 w 20000"/>
                  <a:gd name="T19" fmla="*/ 8022 h 20000"/>
                  <a:gd name="T20" fmla="*/ 15714 w 20000"/>
                  <a:gd name="T21" fmla="*/ 4505 h 20000"/>
                  <a:gd name="T22" fmla="*/ 17589 w 20000"/>
                  <a:gd name="T23" fmla="*/ 1648 h 20000"/>
                  <a:gd name="T24" fmla="*/ 18482 w 20000"/>
                  <a:gd name="T25" fmla="*/ 0 h 20000"/>
                  <a:gd name="T26" fmla="*/ 19464 w 20000"/>
                  <a:gd name="T27" fmla="*/ 1099 h 20000"/>
                  <a:gd name="T28" fmla="*/ 19464 w 20000"/>
                  <a:gd name="T29" fmla="*/ 2857 h 20000"/>
                  <a:gd name="T30" fmla="*/ 19464 w 20000"/>
                  <a:gd name="T31" fmla="*/ 5604 h 20000"/>
                  <a:gd name="T32" fmla="*/ 18482 w 20000"/>
                  <a:gd name="T33" fmla="*/ 5604 h 20000"/>
                  <a:gd name="T34" fmla="*/ 17589 w 20000"/>
                  <a:gd name="T35" fmla="*/ 6264 h 20000"/>
                  <a:gd name="T36" fmla="*/ 18482 w 20000"/>
                  <a:gd name="T37" fmla="*/ 10220 h 20000"/>
                  <a:gd name="T38" fmla="*/ 19464 w 20000"/>
                  <a:gd name="T39" fmla="*/ 10220 h 20000"/>
                  <a:gd name="T40" fmla="*/ 19911 w 20000"/>
                  <a:gd name="T41" fmla="*/ 11868 h 20000"/>
                  <a:gd name="T42" fmla="*/ 19464 w 20000"/>
                  <a:gd name="T43" fmla="*/ 11868 h 20000"/>
                  <a:gd name="T44" fmla="*/ 17589 w 20000"/>
                  <a:gd name="T45" fmla="*/ 11868 h 20000"/>
                  <a:gd name="T46" fmla="*/ 17589 w 20000"/>
                  <a:gd name="T47" fmla="*/ 13626 h 20000"/>
                  <a:gd name="T48" fmla="*/ 17143 w 20000"/>
                  <a:gd name="T49" fmla="*/ 15385 h 20000"/>
                  <a:gd name="T50" fmla="*/ 17143 w 20000"/>
                  <a:gd name="T51" fmla="*/ 19231 h 20000"/>
                  <a:gd name="T52" fmla="*/ 16250 w 20000"/>
                  <a:gd name="T53" fmla="*/ 19890 h 20000"/>
                  <a:gd name="T54" fmla="*/ 4196 w 20000"/>
                  <a:gd name="T55" fmla="*/ 17582 h 20000"/>
                  <a:gd name="T56" fmla="*/ 3750 w 20000"/>
                  <a:gd name="T57" fmla="*/ 15385 h 20000"/>
                  <a:gd name="T58" fmla="*/ 1875 w 20000"/>
                  <a:gd name="T59" fmla="*/ 12967 h 20000"/>
                  <a:gd name="T60" fmla="*/ 536 w 20000"/>
                  <a:gd name="T61" fmla="*/ 10769 h 20000"/>
                  <a:gd name="T62" fmla="*/ 0 w 20000"/>
                  <a:gd name="T63" fmla="*/ 912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0" y="9121"/>
                    </a:moveTo>
                    <a:lnTo>
                      <a:pt x="536" y="8022"/>
                    </a:lnTo>
                    <a:lnTo>
                      <a:pt x="536" y="10220"/>
                    </a:lnTo>
                    <a:lnTo>
                      <a:pt x="1429" y="10769"/>
                    </a:lnTo>
                    <a:lnTo>
                      <a:pt x="1875" y="11868"/>
                    </a:lnTo>
                    <a:lnTo>
                      <a:pt x="4196" y="11868"/>
                    </a:lnTo>
                    <a:lnTo>
                      <a:pt x="5179" y="10769"/>
                    </a:lnTo>
                    <a:lnTo>
                      <a:pt x="9732" y="10769"/>
                    </a:lnTo>
                    <a:lnTo>
                      <a:pt x="11607" y="10220"/>
                    </a:lnTo>
                    <a:lnTo>
                      <a:pt x="13393" y="8022"/>
                    </a:lnTo>
                    <a:lnTo>
                      <a:pt x="15714" y="4505"/>
                    </a:lnTo>
                    <a:lnTo>
                      <a:pt x="17589" y="1648"/>
                    </a:lnTo>
                    <a:lnTo>
                      <a:pt x="18482" y="0"/>
                    </a:lnTo>
                    <a:lnTo>
                      <a:pt x="19464" y="1099"/>
                    </a:lnTo>
                    <a:lnTo>
                      <a:pt x="19464" y="2857"/>
                    </a:lnTo>
                    <a:lnTo>
                      <a:pt x="19464" y="5604"/>
                    </a:lnTo>
                    <a:lnTo>
                      <a:pt x="18482" y="5604"/>
                    </a:lnTo>
                    <a:lnTo>
                      <a:pt x="17589" y="6264"/>
                    </a:lnTo>
                    <a:lnTo>
                      <a:pt x="18482" y="10220"/>
                    </a:lnTo>
                    <a:lnTo>
                      <a:pt x="19464" y="10220"/>
                    </a:lnTo>
                    <a:lnTo>
                      <a:pt x="19911" y="11868"/>
                    </a:lnTo>
                    <a:lnTo>
                      <a:pt x="19464" y="11868"/>
                    </a:lnTo>
                    <a:lnTo>
                      <a:pt x="17589" y="11868"/>
                    </a:lnTo>
                    <a:lnTo>
                      <a:pt x="17589" y="13626"/>
                    </a:lnTo>
                    <a:lnTo>
                      <a:pt x="17143" y="15385"/>
                    </a:lnTo>
                    <a:lnTo>
                      <a:pt x="17143" y="19231"/>
                    </a:lnTo>
                    <a:lnTo>
                      <a:pt x="16250" y="19890"/>
                    </a:lnTo>
                    <a:lnTo>
                      <a:pt x="4196" y="17582"/>
                    </a:lnTo>
                    <a:lnTo>
                      <a:pt x="3750" y="15385"/>
                    </a:lnTo>
                    <a:lnTo>
                      <a:pt x="1875" y="12967"/>
                    </a:lnTo>
                    <a:lnTo>
                      <a:pt x="536" y="10769"/>
                    </a:lnTo>
                    <a:lnTo>
                      <a:pt x="0" y="912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4" name="Freeform 155"/>
              <p:cNvSpPr>
                <a:spLocks/>
              </p:cNvSpPr>
              <p:nvPr/>
            </p:nvSpPr>
            <p:spPr bwMode="auto">
              <a:xfrm>
                <a:off x="7847013" y="3763963"/>
                <a:ext cx="228600" cy="450850"/>
              </a:xfrm>
              <a:custGeom>
                <a:avLst/>
                <a:gdLst>
                  <a:gd name="T0" fmla="*/ 557 w 20000"/>
                  <a:gd name="T1" fmla="*/ 1155 h 20000"/>
                  <a:gd name="T2" fmla="*/ 1727 w 20000"/>
                  <a:gd name="T3" fmla="*/ 1155 h 20000"/>
                  <a:gd name="T4" fmla="*/ 3175 w 20000"/>
                  <a:gd name="T5" fmla="*/ 873 h 20000"/>
                  <a:gd name="T6" fmla="*/ 4624 w 20000"/>
                  <a:gd name="T7" fmla="*/ 873 h 20000"/>
                  <a:gd name="T8" fmla="*/ 6072 w 20000"/>
                  <a:gd name="T9" fmla="*/ 169 h 20000"/>
                  <a:gd name="T10" fmla="*/ 8412 w 20000"/>
                  <a:gd name="T11" fmla="*/ 451 h 20000"/>
                  <a:gd name="T12" fmla="*/ 11253 w 20000"/>
                  <a:gd name="T13" fmla="*/ 592 h 20000"/>
                  <a:gd name="T14" fmla="*/ 12646 w 20000"/>
                  <a:gd name="T15" fmla="*/ 2479 h 20000"/>
                  <a:gd name="T16" fmla="*/ 14429 w 20000"/>
                  <a:gd name="T17" fmla="*/ 2479 h 20000"/>
                  <a:gd name="T18" fmla="*/ 12981 w 20000"/>
                  <a:gd name="T19" fmla="*/ 2789 h 20000"/>
                  <a:gd name="T20" fmla="*/ 12089 w 20000"/>
                  <a:gd name="T21" fmla="*/ 3211 h 20000"/>
                  <a:gd name="T22" fmla="*/ 11253 w 20000"/>
                  <a:gd name="T23" fmla="*/ 4394 h 20000"/>
                  <a:gd name="T24" fmla="*/ 9805 w 20000"/>
                  <a:gd name="T25" fmla="*/ 4817 h 20000"/>
                  <a:gd name="T26" fmla="*/ 11253 w 20000"/>
                  <a:gd name="T27" fmla="*/ 7296 h 20000"/>
                  <a:gd name="T28" fmla="*/ 14429 w 20000"/>
                  <a:gd name="T29" fmla="*/ 9324 h 20000"/>
                  <a:gd name="T30" fmla="*/ 15877 w 20000"/>
                  <a:gd name="T31" fmla="*/ 9775 h 20000"/>
                  <a:gd name="T32" fmla="*/ 17604 w 20000"/>
                  <a:gd name="T33" fmla="*/ 10930 h 20000"/>
                  <a:gd name="T34" fmla="*/ 18217 w 20000"/>
                  <a:gd name="T35" fmla="*/ 11690 h 20000"/>
                  <a:gd name="T36" fmla="*/ 19610 w 20000"/>
                  <a:gd name="T37" fmla="*/ 14000 h 20000"/>
                  <a:gd name="T38" fmla="*/ 19610 w 20000"/>
                  <a:gd name="T39" fmla="*/ 14592 h 20000"/>
                  <a:gd name="T40" fmla="*/ 19944 w 20000"/>
                  <a:gd name="T41" fmla="*/ 15014 h 20000"/>
                  <a:gd name="T42" fmla="*/ 19944 w 20000"/>
                  <a:gd name="T43" fmla="*/ 15775 h 20000"/>
                  <a:gd name="T44" fmla="*/ 17604 w 20000"/>
                  <a:gd name="T45" fmla="*/ 16930 h 20000"/>
                  <a:gd name="T46" fmla="*/ 16156 w 20000"/>
                  <a:gd name="T47" fmla="*/ 17352 h 20000"/>
                  <a:gd name="T48" fmla="*/ 13538 w 20000"/>
                  <a:gd name="T49" fmla="*/ 18085 h 20000"/>
                  <a:gd name="T50" fmla="*/ 12089 w 20000"/>
                  <a:gd name="T51" fmla="*/ 18366 h 20000"/>
                  <a:gd name="T52" fmla="*/ 10696 w 20000"/>
                  <a:gd name="T53" fmla="*/ 19239 h 20000"/>
                  <a:gd name="T54" fmla="*/ 8969 w 20000"/>
                  <a:gd name="T55" fmla="*/ 18535 h 20000"/>
                  <a:gd name="T56" fmla="*/ 8969 w 20000"/>
                  <a:gd name="T57" fmla="*/ 17803 h 20000"/>
                  <a:gd name="T58" fmla="*/ 7744 w 20000"/>
                  <a:gd name="T59" fmla="*/ 17634 h 20000"/>
                  <a:gd name="T60" fmla="*/ 11532 w 20000"/>
                  <a:gd name="T61" fmla="*/ 16930 h 20000"/>
                  <a:gd name="T62" fmla="*/ 11253 w 20000"/>
                  <a:gd name="T63" fmla="*/ 15887 h 20000"/>
                  <a:gd name="T64" fmla="*/ 13538 w 20000"/>
                  <a:gd name="T65" fmla="*/ 15437 h 20000"/>
                  <a:gd name="T66" fmla="*/ 15265 w 20000"/>
                  <a:gd name="T67" fmla="*/ 15014 h 20000"/>
                  <a:gd name="T68" fmla="*/ 15042 w 20000"/>
                  <a:gd name="T69" fmla="*/ 12845 h 20000"/>
                  <a:gd name="T70" fmla="*/ 15042 w 20000"/>
                  <a:gd name="T71" fmla="*/ 11972 h 20000"/>
                  <a:gd name="T72" fmla="*/ 15042 w 20000"/>
                  <a:gd name="T73" fmla="*/ 10930 h 20000"/>
                  <a:gd name="T74" fmla="*/ 14429 w 20000"/>
                  <a:gd name="T75" fmla="*/ 10085 h 20000"/>
                  <a:gd name="T76" fmla="*/ 11532 w 20000"/>
                  <a:gd name="T77" fmla="*/ 8592 h 20000"/>
                  <a:gd name="T78" fmla="*/ 9248 w 20000"/>
                  <a:gd name="T79" fmla="*/ 7296 h 20000"/>
                  <a:gd name="T80" fmla="*/ 7744 w 20000"/>
                  <a:gd name="T81" fmla="*/ 6563 h 20000"/>
                  <a:gd name="T82" fmla="*/ 5237 w 20000"/>
                  <a:gd name="T83" fmla="*/ 5127 h 20000"/>
                  <a:gd name="T84" fmla="*/ 6908 w 20000"/>
                  <a:gd name="T85" fmla="*/ 5127 h 20000"/>
                  <a:gd name="T86" fmla="*/ 6630 w 20000"/>
                  <a:gd name="T87" fmla="*/ 3944 h 20000"/>
                  <a:gd name="T88" fmla="*/ 5460 w 20000"/>
                  <a:gd name="T89" fmla="*/ 3521 h 20000"/>
                  <a:gd name="T90" fmla="*/ 1727 w 20000"/>
                  <a:gd name="T91" fmla="*/ 3070 h 20000"/>
                  <a:gd name="T92" fmla="*/ 1727 w 20000"/>
                  <a:gd name="T93" fmla="*/ 2028 h 20000"/>
                  <a:gd name="T94" fmla="*/ 0 w 20000"/>
                  <a:gd name="T95" fmla="*/ 132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0" y="1324"/>
                    </a:moveTo>
                    <a:lnTo>
                      <a:pt x="557" y="1155"/>
                    </a:lnTo>
                    <a:lnTo>
                      <a:pt x="891" y="1155"/>
                    </a:lnTo>
                    <a:lnTo>
                      <a:pt x="1727" y="1155"/>
                    </a:lnTo>
                    <a:lnTo>
                      <a:pt x="2284" y="873"/>
                    </a:lnTo>
                    <a:lnTo>
                      <a:pt x="3175" y="873"/>
                    </a:lnTo>
                    <a:lnTo>
                      <a:pt x="4011" y="1324"/>
                    </a:lnTo>
                    <a:lnTo>
                      <a:pt x="4624" y="873"/>
                    </a:lnTo>
                    <a:lnTo>
                      <a:pt x="6072" y="592"/>
                    </a:lnTo>
                    <a:lnTo>
                      <a:pt x="6072" y="169"/>
                    </a:lnTo>
                    <a:lnTo>
                      <a:pt x="7521" y="0"/>
                    </a:lnTo>
                    <a:lnTo>
                      <a:pt x="8412" y="451"/>
                    </a:lnTo>
                    <a:lnTo>
                      <a:pt x="10696" y="592"/>
                    </a:lnTo>
                    <a:lnTo>
                      <a:pt x="11253" y="592"/>
                    </a:lnTo>
                    <a:lnTo>
                      <a:pt x="10696" y="1324"/>
                    </a:lnTo>
                    <a:lnTo>
                      <a:pt x="12646" y="2479"/>
                    </a:lnTo>
                    <a:lnTo>
                      <a:pt x="13872" y="2366"/>
                    </a:lnTo>
                    <a:lnTo>
                      <a:pt x="14429" y="2479"/>
                    </a:lnTo>
                    <a:lnTo>
                      <a:pt x="13872" y="2789"/>
                    </a:lnTo>
                    <a:lnTo>
                      <a:pt x="12981" y="2789"/>
                    </a:lnTo>
                    <a:lnTo>
                      <a:pt x="12981" y="3211"/>
                    </a:lnTo>
                    <a:lnTo>
                      <a:pt x="12089" y="3211"/>
                    </a:lnTo>
                    <a:lnTo>
                      <a:pt x="11253" y="3634"/>
                    </a:lnTo>
                    <a:lnTo>
                      <a:pt x="11253" y="4394"/>
                    </a:lnTo>
                    <a:lnTo>
                      <a:pt x="10696" y="4676"/>
                    </a:lnTo>
                    <a:lnTo>
                      <a:pt x="9805" y="4817"/>
                    </a:lnTo>
                    <a:lnTo>
                      <a:pt x="9248" y="6113"/>
                    </a:lnTo>
                    <a:lnTo>
                      <a:pt x="11253" y="7296"/>
                    </a:lnTo>
                    <a:lnTo>
                      <a:pt x="12089" y="8169"/>
                    </a:lnTo>
                    <a:lnTo>
                      <a:pt x="14429" y="9324"/>
                    </a:lnTo>
                    <a:lnTo>
                      <a:pt x="15265" y="9634"/>
                    </a:lnTo>
                    <a:lnTo>
                      <a:pt x="15877" y="9775"/>
                    </a:lnTo>
                    <a:lnTo>
                      <a:pt x="16713" y="10366"/>
                    </a:lnTo>
                    <a:lnTo>
                      <a:pt x="17604" y="10930"/>
                    </a:lnTo>
                    <a:lnTo>
                      <a:pt x="18217" y="10930"/>
                    </a:lnTo>
                    <a:lnTo>
                      <a:pt x="18217" y="11690"/>
                    </a:lnTo>
                    <a:lnTo>
                      <a:pt x="19610" y="13577"/>
                    </a:lnTo>
                    <a:lnTo>
                      <a:pt x="19610" y="14000"/>
                    </a:lnTo>
                    <a:lnTo>
                      <a:pt x="19944" y="14282"/>
                    </a:lnTo>
                    <a:lnTo>
                      <a:pt x="19610" y="14592"/>
                    </a:lnTo>
                    <a:lnTo>
                      <a:pt x="19610" y="14732"/>
                    </a:lnTo>
                    <a:lnTo>
                      <a:pt x="19944" y="15014"/>
                    </a:lnTo>
                    <a:lnTo>
                      <a:pt x="19610" y="15437"/>
                    </a:lnTo>
                    <a:lnTo>
                      <a:pt x="19944" y="15775"/>
                    </a:lnTo>
                    <a:lnTo>
                      <a:pt x="19053" y="16479"/>
                    </a:lnTo>
                    <a:lnTo>
                      <a:pt x="17604" y="16930"/>
                    </a:lnTo>
                    <a:lnTo>
                      <a:pt x="16713" y="16930"/>
                    </a:lnTo>
                    <a:lnTo>
                      <a:pt x="16156" y="17352"/>
                    </a:lnTo>
                    <a:lnTo>
                      <a:pt x="13872" y="17803"/>
                    </a:lnTo>
                    <a:lnTo>
                      <a:pt x="13538" y="18085"/>
                    </a:lnTo>
                    <a:lnTo>
                      <a:pt x="12981" y="18817"/>
                    </a:lnTo>
                    <a:lnTo>
                      <a:pt x="12089" y="18366"/>
                    </a:lnTo>
                    <a:lnTo>
                      <a:pt x="12089" y="19239"/>
                    </a:lnTo>
                    <a:lnTo>
                      <a:pt x="10696" y="19239"/>
                    </a:lnTo>
                    <a:lnTo>
                      <a:pt x="8969" y="19972"/>
                    </a:lnTo>
                    <a:lnTo>
                      <a:pt x="8969" y="18535"/>
                    </a:lnTo>
                    <a:lnTo>
                      <a:pt x="9248" y="18366"/>
                    </a:lnTo>
                    <a:lnTo>
                      <a:pt x="8969" y="17803"/>
                    </a:lnTo>
                    <a:lnTo>
                      <a:pt x="8412" y="17803"/>
                    </a:lnTo>
                    <a:lnTo>
                      <a:pt x="7744" y="17634"/>
                    </a:lnTo>
                    <a:lnTo>
                      <a:pt x="10139" y="17042"/>
                    </a:lnTo>
                    <a:lnTo>
                      <a:pt x="11532" y="16930"/>
                    </a:lnTo>
                    <a:lnTo>
                      <a:pt x="11532" y="16479"/>
                    </a:lnTo>
                    <a:lnTo>
                      <a:pt x="11253" y="15887"/>
                    </a:lnTo>
                    <a:lnTo>
                      <a:pt x="12089" y="15775"/>
                    </a:lnTo>
                    <a:lnTo>
                      <a:pt x="13538" y="15437"/>
                    </a:lnTo>
                    <a:lnTo>
                      <a:pt x="14429" y="15324"/>
                    </a:lnTo>
                    <a:lnTo>
                      <a:pt x="15265" y="15014"/>
                    </a:lnTo>
                    <a:lnTo>
                      <a:pt x="15265" y="14000"/>
                    </a:lnTo>
                    <a:lnTo>
                      <a:pt x="15042" y="12845"/>
                    </a:lnTo>
                    <a:lnTo>
                      <a:pt x="15042" y="12394"/>
                    </a:lnTo>
                    <a:lnTo>
                      <a:pt x="15042" y="11972"/>
                    </a:lnTo>
                    <a:lnTo>
                      <a:pt x="15042" y="11521"/>
                    </a:lnTo>
                    <a:lnTo>
                      <a:pt x="15042" y="10930"/>
                    </a:lnTo>
                    <a:lnTo>
                      <a:pt x="14429" y="10930"/>
                    </a:lnTo>
                    <a:lnTo>
                      <a:pt x="14429" y="10085"/>
                    </a:lnTo>
                    <a:lnTo>
                      <a:pt x="12646" y="9324"/>
                    </a:lnTo>
                    <a:lnTo>
                      <a:pt x="11532" y="8592"/>
                    </a:lnTo>
                    <a:lnTo>
                      <a:pt x="10139" y="7887"/>
                    </a:lnTo>
                    <a:lnTo>
                      <a:pt x="9248" y="7296"/>
                    </a:lnTo>
                    <a:lnTo>
                      <a:pt x="8412" y="6732"/>
                    </a:lnTo>
                    <a:lnTo>
                      <a:pt x="7744" y="6563"/>
                    </a:lnTo>
                    <a:lnTo>
                      <a:pt x="5237" y="5549"/>
                    </a:lnTo>
                    <a:lnTo>
                      <a:pt x="5237" y="5127"/>
                    </a:lnTo>
                    <a:lnTo>
                      <a:pt x="6072" y="5127"/>
                    </a:lnTo>
                    <a:lnTo>
                      <a:pt x="6908" y="5127"/>
                    </a:lnTo>
                    <a:lnTo>
                      <a:pt x="6908" y="4394"/>
                    </a:lnTo>
                    <a:lnTo>
                      <a:pt x="6630" y="3944"/>
                    </a:lnTo>
                    <a:lnTo>
                      <a:pt x="6072" y="3944"/>
                    </a:lnTo>
                    <a:lnTo>
                      <a:pt x="5460" y="3521"/>
                    </a:lnTo>
                    <a:lnTo>
                      <a:pt x="3733" y="3521"/>
                    </a:lnTo>
                    <a:lnTo>
                      <a:pt x="1727" y="3070"/>
                    </a:lnTo>
                    <a:lnTo>
                      <a:pt x="1727" y="2366"/>
                    </a:lnTo>
                    <a:lnTo>
                      <a:pt x="1727" y="2028"/>
                    </a:lnTo>
                    <a:lnTo>
                      <a:pt x="557" y="1746"/>
                    </a:lnTo>
                    <a:lnTo>
                      <a:pt x="0" y="13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5" name="Freeform 154"/>
              <p:cNvSpPr>
                <a:spLocks/>
              </p:cNvSpPr>
              <p:nvPr/>
            </p:nvSpPr>
            <p:spPr bwMode="auto">
              <a:xfrm>
                <a:off x="2457450" y="4010025"/>
                <a:ext cx="66675" cy="41275"/>
              </a:xfrm>
              <a:custGeom>
                <a:avLst/>
                <a:gdLst>
                  <a:gd name="T0" fmla="*/ 0 w 20000"/>
                  <a:gd name="T1" fmla="*/ 11563 h 20000"/>
                  <a:gd name="T2" fmla="*/ 3048 w 20000"/>
                  <a:gd name="T3" fmla="*/ 6563 h 20000"/>
                  <a:gd name="T4" fmla="*/ 4952 w 20000"/>
                  <a:gd name="T5" fmla="*/ 0 h 20000"/>
                  <a:gd name="T6" fmla="*/ 11619 w 20000"/>
                  <a:gd name="T7" fmla="*/ 3438 h 20000"/>
                  <a:gd name="T8" fmla="*/ 17714 w 20000"/>
                  <a:gd name="T9" fmla="*/ 8438 h 20000"/>
                  <a:gd name="T10" fmla="*/ 19810 w 20000"/>
                  <a:gd name="T11" fmla="*/ 16563 h 20000"/>
                  <a:gd name="T12" fmla="*/ 15810 w 20000"/>
                  <a:gd name="T13" fmla="*/ 19688 h 20000"/>
                  <a:gd name="T14" fmla="*/ 6857 w 20000"/>
                  <a:gd name="T15" fmla="*/ 16563 h 20000"/>
                  <a:gd name="T16" fmla="*/ 0 w 20000"/>
                  <a:gd name="T17" fmla="*/ 1156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0" y="11563"/>
                    </a:moveTo>
                    <a:lnTo>
                      <a:pt x="3048" y="6563"/>
                    </a:lnTo>
                    <a:lnTo>
                      <a:pt x="4952" y="0"/>
                    </a:lnTo>
                    <a:lnTo>
                      <a:pt x="11619" y="3438"/>
                    </a:lnTo>
                    <a:lnTo>
                      <a:pt x="17714" y="8438"/>
                    </a:lnTo>
                    <a:lnTo>
                      <a:pt x="19810" y="16563"/>
                    </a:lnTo>
                    <a:lnTo>
                      <a:pt x="15810" y="19688"/>
                    </a:lnTo>
                    <a:lnTo>
                      <a:pt x="6857" y="16563"/>
                    </a:lnTo>
                    <a:lnTo>
                      <a:pt x="0" y="1156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6" name="Freeform 153"/>
              <p:cNvSpPr>
                <a:spLocks/>
              </p:cNvSpPr>
              <p:nvPr/>
            </p:nvSpPr>
            <p:spPr bwMode="auto">
              <a:xfrm>
                <a:off x="8096250" y="4260850"/>
                <a:ext cx="266700" cy="187325"/>
              </a:xfrm>
              <a:custGeom>
                <a:avLst/>
                <a:gdLst>
                  <a:gd name="T0" fmla="*/ 9619 w 20000"/>
                  <a:gd name="T1" fmla="*/ 7365 h 20000"/>
                  <a:gd name="T2" fmla="*/ 9857 w 20000"/>
                  <a:gd name="T3" fmla="*/ 9797 h 20000"/>
                  <a:gd name="T4" fmla="*/ 10810 w 20000"/>
                  <a:gd name="T5" fmla="*/ 8716 h 20000"/>
                  <a:gd name="T6" fmla="*/ 11571 w 20000"/>
                  <a:gd name="T7" fmla="*/ 8716 h 20000"/>
                  <a:gd name="T8" fmla="*/ 10810 w 20000"/>
                  <a:gd name="T9" fmla="*/ 7365 h 20000"/>
                  <a:gd name="T10" fmla="*/ 11095 w 20000"/>
                  <a:gd name="T11" fmla="*/ 6959 h 20000"/>
                  <a:gd name="T12" fmla="*/ 11571 w 20000"/>
                  <a:gd name="T13" fmla="*/ 5270 h 20000"/>
                  <a:gd name="T14" fmla="*/ 12286 w 20000"/>
                  <a:gd name="T15" fmla="*/ 4595 h 20000"/>
                  <a:gd name="T16" fmla="*/ 12857 w 20000"/>
                  <a:gd name="T17" fmla="*/ 5270 h 20000"/>
                  <a:gd name="T18" fmla="*/ 13571 w 20000"/>
                  <a:gd name="T19" fmla="*/ 2500 h 20000"/>
                  <a:gd name="T20" fmla="*/ 14333 w 20000"/>
                  <a:gd name="T21" fmla="*/ 0 h 20000"/>
                  <a:gd name="T22" fmla="*/ 14810 w 20000"/>
                  <a:gd name="T23" fmla="*/ 743 h 20000"/>
                  <a:gd name="T24" fmla="*/ 14810 w 20000"/>
                  <a:gd name="T25" fmla="*/ 1757 h 20000"/>
                  <a:gd name="T26" fmla="*/ 15000 w 20000"/>
                  <a:gd name="T27" fmla="*/ 743 h 20000"/>
                  <a:gd name="T28" fmla="*/ 15524 w 20000"/>
                  <a:gd name="T29" fmla="*/ 743 h 20000"/>
                  <a:gd name="T30" fmla="*/ 15524 w 20000"/>
                  <a:gd name="T31" fmla="*/ 1757 h 20000"/>
                  <a:gd name="T32" fmla="*/ 16286 w 20000"/>
                  <a:gd name="T33" fmla="*/ 1757 h 20000"/>
                  <a:gd name="T34" fmla="*/ 16286 w 20000"/>
                  <a:gd name="T35" fmla="*/ 2770 h 20000"/>
                  <a:gd name="T36" fmla="*/ 16762 w 20000"/>
                  <a:gd name="T37" fmla="*/ 3514 h 20000"/>
                  <a:gd name="T38" fmla="*/ 17048 w 20000"/>
                  <a:gd name="T39" fmla="*/ 3514 h 20000"/>
                  <a:gd name="T40" fmla="*/ 17048 w 20000"/>
                  <a:gd name="T41" fmla="*/ 4189 h 20000"/>
                  <a:gd name="T42" fmla="*/ 16762 w 20000"/>
                  <a:gd name="T43" fmla="*/ 4595 h 20000"/>
                  <a:gd name="T44" fmla="*/ 17524 w 20000"/>
                  <a:gd name="T45" fmla="*/ 4595 h 20000"/>
                  <a:gd name="T46" fmla="*/ 18000 w 20000"/>
                  <a:gd name="T47" fmla="*/ 4189 h 20000"/>
                  <a:gd name="T48" fmla="*/ 19000 w 20000"/>
                  <a:gd name="T49" fmla="*/ 5270 h 20000"/>
                  <a:gd name="T50" fmla="*/ 19952 w 20000"/>
                  <a:gd name="T51" fmla="*/ 5270 h 20000"/>
                  <a:gd name="T52" fmla="*/ 19952 w 20000"/>
                  <a:gd name="T53" fmla="*/ 6284 h 20000"/>
                  <a:gd name="T54" fmla="*/ 19000 w 20000"/>
                  <a:gd name="T55" fmla="*/ 6284 h 20000"/>
                  <a:gd name="T56" fmla="*/ 18238 w 20000"/>
                  <a:gd name="T57" fmla="*/ 6959 h 20000"/>
                  <a:gd name="T58" fmla="*/ 18000 w 20000"/>
                  <a:gd name="T59" fmla="*/ 6959 h 20000"/>
                  <a:gd name="T60" fmla="*/ 17524 w 20000"/>
                  <a:gd name="T61" fmla="*/ 6959 h 20000"/>
                  <a:gd name="T62" fmla="*/ 18714 w 20000"/>
                  <a:gd name="T63" fmla="*/ 8716 h 20000"/>
                  <a:gd name="T64" fmla="*/ 17048 w 20000"/>
                  <a:gd name="T65" fmla="*/ 9122 h 20000"/>
                  <a:gd name="T66" fmla="*/ 16762 w 20000"/>
                  <a:gd name="T67" fmla="*/ 8716 h 20000"/>
                  <a:gd name="T68" fmla="*/ 16286 w 20000"/>
                  <a:gd name="T69" fmla="*/ 9122 h 20000"/>
                  <a:gd name="T70" fmla="*/ 16762 w 20000"/>
                  <a:gd name="T71" fmla="*/ 10135 h 20000"/>
                  <a:gd name="T72" fmla="*/ 13048 w 20000"/>
                  <a:gd name="T73" fmla="*/ 9797 h 20000"/>
                  <a:gd name="T74" fmla="*/ 12286 w 20000"/>
                  <a:gd name="T75" fmla="*/ 13311 h 20000"/>
                  <a:gd name="T76" fmla="*/ 11095 w 20000"/>
                  <a:gd name="T77" fmla="*/ 13581 h 20000"/>
                  <a:gd name="T78" fmla="*/ 10810 w 20000"/>
                  <a:gd name="T79" fmla="*/ 17162 h 20000"/>
                  <a:gd name="T80" fmla="*/ 8667 w 20000"/>
                  <a:gd name="T81" fmla="*/ 18851 h 20000"/>
                  <a:gd name="T82" fmla="*/ 6619 w 20000"/>
                  <a:gd name="T83" fmla="*/ 19932 h 20000"/>
                  <a:gd name="T84" fmla="*/ 3905 w 20000"/>
                  <a:gd name="T85" fmla="*/ 19257 h 20000"/>
                  <a:gd name="T86" fmla="*/ 2714 w 20000"/>
                  <a:gd name="T87" fmla="*/ 19257 h 20000"/>
                  <a:gd name="T88" fmla="*/ 476 w 20000"/>
                  <a:gd name="T89" fmla="*/ 18176 h 20000"/>
                  <a:gd name="T90" fmla="*/ 0 w 20000"/>
                  <a:gd name="T91" fmla="*/ 16419 h 20000"/>
                  <a:gd name="T92" fmla="*/ 1238 w 20000"/>
                  <a:gd name="T93" fmla="*/ 16419 h 20000"/>
                  <a:gd name="T94" fmla="*/ 1952 w 20000"/>
                  <a:gd name="T95" fmla="*/ 17162 h 20000"/>
                  <a:gd name="T96" fmla="*/ 2476 w 20000"/>
                  <a:gd name="T97" fmla="*/ 17162 h 20000"/>
                  <a:gd name="T98" fmla="*/ 2714 w 20000"/>
                  <a:gd name="T99" fmla="*/ 15405 h 20000"/>
                  <a:gd name="T100" fmla="*/ 3190 w 20000"/>
                  <a:gd name="T101" fmla="*/ 13581 h 20000"/>
                  <a:gd name="T102" fmla="*/ 4476 w 20000"/>
                  <a:gd name="T103" fmla="*/ 13311 h 20000"/>
                  <a:gd name="T104" fmla="*/ 6619 w 20000"/>
                  <a:gd name="T105" fmla="*/ 11892 h 20000"/>
                  <a:gd name="T106" fmla="*/ 9143 w 20000"/>
                  <a:gd name="T107" fmla="*/ 8041 h 20000"/>
                  <a:gd name="T108" fmla="*/ 9619 w 20000"/>
                  <a:gd name="T109" fmla="*/ 73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9619" y="7365"/>
                    </a:moveTo>
                    <a:lnTo>
                      <a:pt x="9857" y="9797"/>
                    </a:lnTo>
                    <a:lnTo>
                      <a:pt x="10810" y="8716"/>
                    </a:lnTo>
                    <a:lnTo>
                      <a:pt x="11571" y="8716"/>
                    </a:lnTo>
                    <a:lnTo>
                      <a:pt x="10810" y="7365"/>
                    </a:lnTo>
                    <a:lnTo>
                      <a:pt x="11095" y="6959"/>
                    </a:lnTo>
                    <a:lnTo>
                      <a:pt x="11571" y="5270"/>
                    </a:lnTo>
                    <a:lnTo>
                      <a:pt x="12286" y="4595"/>
                    </a:lnTo>
                    <a:lnTo>
                      <a:pt x="12857" y="5270"/>
                    </a:lnTo>
                    <a:lnTo>
                      <a:pt x="13571" y="2500"/>
                    </a:lnTo>
                    <a:lnTo>
                      <a:pt x="14333" y="0"/>
                    </a:lnTo>
                    <a:lnTo>
                      <a:pt x="14810" y="743"/>
                    </a:lnTo>
                    <a:lnTo>
                      <a:pt x="14810" y="1757"/>
                    </a:lnTo>
                    <a:lnTo>
                      <a:pt x="15000" y="743"/>
                    </a:lnTo>
                    <a:lnTo>
                      <a:pt x="15524" y="743"/>
                    </a:lnTo>
                    <a:lnTo>
                      <a:pt x="15524" y="1757"/>
                    </a:lnTo>
                    <a:lnTo>
                      <a:pt x="16286" y="1757"/>
                    </a:lnTo>
                    <a:lnTo>
                      <a:pt x="16286" y="2770"/>
                    </a:lnTo>
                    <a:lnTo>
                      <a:pt x="16762" y="3514"/>
                    </a:lnTo>
                    <a:lnTo>
                      <a:pt x="17048" y="3514"/>
                    </a:lnTo>
                    <a:lnTo>
                      <a:pt x="17048" y="4189"/>
                    </a:lnTo>
                    <a:lnTo>
                      <a:pt x="16762" y="4595"/>
                    </a:lnTo>
                    <a:lnTo>
                      <a:pt x="17524" y="4595"/>
                    </a:lnTo>
                    <a:lnTo>
                      <a:pt x="18000" y="4189"/>
                    </a:lnTo>
                    <a:lnTo>
                      <a:pt x="19000" y="5270"/>
                    </a:lnTo>
                    <a:lnTo>
                      <a:pt x="19952" y="5270"/>
                    </a:lnTo>
                    <a:lnTo>
                      <a:pt x="19952" y="6284"/>
                    </a:lnTo>
                    <a:lnTo>
                      <a:pt x="19000" y="6284"/>
                    </a:lnTo>
                    <a:lnTo>
                      <a:pt x="18238" y="6959"/>
                    </a:lnTo>
                    <a:lnTo>
                      <a:pt x="18000" y="6959"/>
                    </a:lnTo>
                    <a:lnTo>
                      <a:pt x="17524" y="6959"/>
                    </a:lnTo>
                    <a:lnTo>
                      <a:pt x="18714" y="8716"/>
                    </a:lnTo>
                    <a:lnTo>
                      <a:pt x="17048" y="9122"/>
                    </a:lnTo>
                    <a:lnTo>
                      <a:pt x="16762" y="8716"/>
                    </a:lnTo>
                    <a:lnTo>
                      <a:pt x="16286" y="9122"/>
                    </a:lnTo>
                    <a:lnTo>
                      <a:pt x="16762" y="10135"/>
                    </a:lnTo>
                    <a:lnTo>
                      <a:pt x="13048" y="9797"/>
                    </a:lnTo>
                    <a:lnTo>
                      <a:pt x="12286" y="13311"/>
                    </a:lnTo>
                    <a:lnTo>
                      <a:pt x="11095" y="13581"/>
                    </a:lnTo>
                    <a:lnTo>
                      <a:pt x="10810" y="17162"/>
                    </a:lnTo>
                    <a:lnTo>
                      <a:pt x="8667" y="18851"/>
                    </a:lnTo>
                    <a:lnTo>
                      <a:pt x="6619" y="19932"/>
                    </a:lnTo>
                    <a:lnTo>
                      <a:pt x="3905" y="19257"/>
                    </a:lnTo>
                    <a:lnTo>
                      <a:pt x="2714" y="19257"/>
                    </a:lnTo>
                    <a:lnTo>
                      <a:pt x="476" y="18176"/>
                    </a:lnTo>
                    <a:lnTo>
                      <a:pt x="0" y="16419"/>
                    </a:lnTo>
                    <a:lnTo>
                      <a:pt x="1238" y="16419"/>
                    </a:lnTo>
                    <a:lnTo>
                      <a:pt x="1952" y="17162"/>
                    </a:lnTo>
                    <a:lnTo>
                      <a:pt x="2476" y="17162"/>
                    </a:lnTo>
                    <a:lnTo>
                      <a:pt x="2714" y="15405"/>
                    </a:lnTo>
                    <a:lnTo>
                      <a:pt x="3190" y="13581"/>
                    </a:lnTo>
                    <a:lnTo>
                      <a:pt x="4476" y="13311"/>
                    </a:lnTo>
                    <a:lnTo>
                      <a:pt x="6619" y="11892"/>
                    </a:lnTo>
                    <a:lnTo>
                      <a:pt x="9143" y="8041"/>
                    </a:lnTo>
                    <a:lnTo>
                      <a:pt x="9619" y="73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7" name="Freeform 152"/>
              <p:cNvSpPr>
                <a:spLocks/>
              </p:cNvSpPr>
              <p:nvPr/>
            </p:nvSpPr>
            <p:spPr bwMode="auto">
              <a:xfrm>
                <a:off x="7916863" y="4414838"/>
                <a:ext cx="17462" cy="17462"/>
              </a:xfrm>
              <a:custGeom>
                <a:avLst/>
                <a:gdLst>
                  <a:gd name="T0" fmla="*/ 19259 w 20000"/>
                  <a:gd name="T1" fmla="*/ 0 h 20000"/>
                  <a:gd name="T2" fmla="*/ 11111 w 20000"/>
                  <a:gd name="T3" fmla="*/ 11429 h 20000"/>
                  <a:gd name="T4" fmla="*/ 7407 w 20000"/>
                  <a:gd name="T5" fmla="*/ 19286 h 20000"/>
                  <a:gd name="T6" fmla="*/ 0 w 20000"/>
                  <a:gd name="T7" fmla="*/ 11429 h 20000"/>
                  <a:gd name="T8" fmla="*/ 0 w 20000"/>
                  <a:gd name="T9" fmla="*/ 7857 h 20000"/>
                  <a:gd name="T10" fmla="*/ 19259 w 20000"/>
                  <a:gd name="T11" fmla="*/ 0 h 20000"/>
                </a:gdLst>
                <a:ahLst/>
                <a:cxnLst>
                  <a:cxn ang="0">
                    <a:pos x="T0" y="T1"/>
                  </a:cxn>
                  <a:cxn ang="0">
                    <a:pos x="T2" y="T3"/>
                  </a:cxn>
                  <a:cxn ang="0">
                    <a:pos x="T4" y="T5"/>
                  </a:cxn>
                  <a:cxn ang="0">
                    <a:pos x="T6" y="T7"/>
                  </a:cxn>
                  <a:cxn ang="0">
                    <a:pos x="T8" y="T9"/>
                  </a:cxn>
                  <a:cxn ang="0">
                    <a:pos x="T10" y="T11"/>
                  </a:cxn>
                </a:cxnLst>
                <a:rect l="0" t="0" r="r" b="b"/>
                <a:pathLst>
                  <a:path w="20000" h="20000">
                    <a:moveTo>
                      <a:pt x="19259" y="0"/>
                    </a:moveTo>
                    <a:lnTo>
                      <a:pt x="11111" y="11429"/>
                    </a:lnTo>
                    <a:lnTo>
                      <a:pt x="7407" y="19286"/>
                    </a:lnTo>
                    <a:lnTo>
                      <a:pt x="0" y="11429"/>
                    </a:lnTo>
                    <a:lnTo>
                      <a:pt x="0" y="7857"/>
                    </a:lnTo>
                    <a:lnTo>
                      <a:pt x="1925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8" name="Freeform 151"/>
              <p:cNvSpPr>
                <a:spLocks/>
              </p:cNvSpPr>
              <p:nvPr/>
            </p:nvSpPr>
            <p:spPr bwMode="auto">
              <a:xfrm>
                <a:off x="6189663" y="3948113"/>
                <a:ext cx="122237" cy="138112"/>
              </a:xfrm>
              <a:custGeom>
                <a:avLst/>
                <a:gdLst>
                  <a:gd name="T0" fmla="*/ 3125 w 20000"/>
                  <a:gd name="T1" fmla="*/ 19908 h 20000"/>
                  <a:gd name="T2" fmla="*/ 2708 w 20000"/>
                  <a:gd name="T3" fmla="*/ 17523 h 20000"/>
                  <a:gd name="T4" fmla="*/ 1563 w 20000"/>
                  <a:gd name="T5" fmla="*/ 13303 h 20000"/>
                  <a:gd name="T6" fmla="*/ 0 w 20000"/>
                  <a:gd name="T7" fmla="*/ 8991 h 20000"/>
                  <a:gd name="T8" fmla="*/ 0 w 20000"/>
                  <a:gd name="T9" fmla="*/ 7156 h 20000"/>
                  <a:gd name="T10" fmla="*/ 0 w 20000"/>
                  <a:gd name="T11" fmla="*/ 5229 h 20000"/>
                  <a:gd name="T12" fmla="*/ 2708 w 20000"/>
                  <a:gd name="T13" fmla="*/ 3761 h 20000"/>
                  <a:gd name="T14" fmla="*/ 2708 w 20000"/>
                  <a:gd name="T15" fmla="*/ 1009 h 20000"/>
                  <a:gd name="T16" fmla="*/ 3125 w 20000"/>
                  <a:gd name="T17" fmla="*/ 1009 h 20000"/>
                  <a:gd name="T18" fmla="*/ 4792 w 20000"/>
                  <a:gd name="T19" fmla="*/ 1009 h 20000"/>
                  <a:gd name="T20" fmla="*/ 8646 w 20000"/>
                  <a:gd name="T21" fmla="*/ 0 h 20000"/>
                  <a:gd name="T22" fmla="*/ 17188 w 20000"/>
                  <a:gd name="T23" fmla="*/ 3761 h 20000"/>
                  <a:gd name="T24" fmla="*/ 17188 w 20000"/>
                  <a:gd name="T25" fmla="*/ 7156 h 20000"/>
                  <a:gd name="T26" fmla="*/ 19896 w 20000"/>
                  <a:gd name="T27" fmla="*/ 6239 h 20000"/>
                  <a:gd name="T28" fmla="*/ 18229 w 20000"/>
                  <a:gd name="T29" fmla="*/ 10000 h 20000"/>
                  <a:gd name="T30" fmla="*/ 15625 w 20000"/>
                  <a:gd name="T31" fmla="*/ 12385 h 20000"/>
                  <a:gd name="T32" fmla="*/ 15625 w 20000"/>
                  <a:gd name="T33" fmla="*/ 14679 h 20000"/>
                  <a:gd name="T34" fmla="*/ 18854 w 20000"/>
                  <a:gd name="T35" fmla="*/ 13303 h 20000"/>
                  <a:gd name="T36" fmla="*/ 18854 w 20000"/>
                  <a:gd name="T37" fmla="*/ 13761 h 20000"/>
                  <a:gd name="T38" fmla="*/ 16146 w 20000"/>
                  <a:gd name="T39" fmla="*/ 15229 h 20000"/>
                  <a:gd name="T40" fmla="*/ 12917 w 20000"/>
                  <a:gd name="T41" fmla="*/ 16147 h 20000"/>
                  <a:gd name="T42" fmla="*/ 3125 w 20000"/>
                  <a:gd name="T43" fmla="*/ 199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3125" y="19908"/>
                    </a:moveTo>
                    <a:lnTo>
                      <a:pt x="2708" y="17523"/>
                    </a:lnTo>
                    <a:lnTo>
                      <a:pt x="1563" y="13303"/>
                    </a:lnTo>
                    <a:lnTo>
                      <a:pt x="0" y="8991"/>
                    </a:lnTo>
                    <a:lnTo>
                      <a:pt x="0" y="7156"/>
                    </a:lnTo>
                    <a:lnTo>
                      <a:pt x="0" y="5229"/>
                    </a:lnTo>
                    <a:lnTo>
                      <a:pt x="2708" y="3761"/>
                    </a:lnTo>
                    <a:lnTo>
                      <a:pt x="2708" y="1009"/>
                    </a:lnTo>
                    <a:lnTo>
                      <a:pt x="3125" y="1009"/>
                    </a:lnTo>
                    <a:lnTo>
                      <a:pt x="4792" y="1009"/>
                    </a:lnTo>
                    <a:lnTo>
                      <a:pt x="8646" y="0"/>
                    </a:lnTo>
                    <a:lnTo>
                      <a:pt x="17188" y="3761"/>
                    </a:lnTo>
                    <a:lnTo>
                      <a:pt x="17188" y="7156"/>
                    </a:lnTo>
                    <a:lnTo>
                      <a:pt x="19896" y="6239"/>
                    </a:lnTo>
                    <a:lnTo>
                      <a:pt x="18229" y="10000"/>
                    </a:lnTo>
                    <a:lnTo>
                      <a:pt x="15625" y="12385"/>
                    </a:lnTo>
                    <a:lnTo>
                      <a:pt x="15625" y="14679"/>
                    </a:lnTo>
                    <a:lnTo>
                      <a:pt x="18854" y="13303"/>
                    </a:lnTo>
                    <a:lnTo>
                      <a:pt x="18854" y="13761"/>
                    </a:lnTo>
                    <a:lnTo>
                      <a:pt x="16146" y="15229"/>
                    </a:lnTo>
                    <a:lnTo>
                      <a:pt x="12917" y="16147"/>
                    </a:lnTo>
                    <a:lnTo>
                      <a:pt x="3125" y="199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099" name="Freeform 150"/>
              <p:cNvSpPr>
                <a:spLocks/>
              </p:cNvSpPr>
              <p:nvPr/>
            </p:nvSpPr>
            <p:spPr bwMode="auto">
              <a:xfrm>
                <a:off x="6208713" y="3905250"/>
                <a:ext cx="273050" cy="187325"/>
              </a:xfrm>
              <a:custGeom>
                <a:avLst/>
                <a:gdLst>
                  <a:gd name="T0" fmla="*/ 17587 w 20000"/>
                  <a:gd name="T1" fmla="*/ 0 h 20000"/>
                  <a:gd name="T2" fmla="*/ 19954 w 20000"/>
                  <a:gd name="T3" fmla="*/ 7297 h 20000"/>
                  <a:gd name="T4" fmla="*/ 18237 w 20000"/>
                  <a:gd name="T5" fmla="*/ 8378 h 20000"/>
                  <a:gd name="T6" fmla="*/ 18051 w 20000"/>
                  <a:gd name="T7" fmla="*/ 10135 h 20000"/>
                  <a:gd name="T8" fmla="*/ 18051 w 20000"/>
                  <a:gd name="T9" fmla="*/ 10811 h 20000"/>
                  <a:gd name="T10" fmla="*/ 12993 w 20000"/>
                  <a:gd name="T11" fmla="*/ 13581 h 20000"/>
                  <a:gd name="T12" fmla="*/ 11787 w 20000"/>
                  <a:gd name="T13" fmla="*/ 14257 h 20000"/>
                  <a:gd name="T14" fmla="*/ 10812 w 20000"/>
                  <a:gd name="T15" fmla="*/ 15743 h 20000"/>
                  <a:gd name="T16" fmla="*/ 9884 w 20000"/>
                  <a:gd name="T17" fmla="*/ 15743 h 20000"/>
                  <a:gd name="T18" fmla="*/ 9420 w 20000"/>
                  <a:gd name="T19" fmla="*/ 15743 h 20000"/>
                  <a:gd name="T20" fmla="*/ 7425 w 20000"/>
                  <a:gd name="T21" fmla="*/ 17432 h 20000"/>
                  <a:gd name="T22" fmla="*/ 4826 w 20000"/>
                  <a:gd name="T23" fmla="*/ 18108 h 20000"/>
                  <a:gd name="T24" fmla="*/ 3619 w 20000"/>
                  <a:gd name="T25" fmla="*/ 18514 h 20000"/>
                  <a:gd name="T26" fmla="*/ 3619 w 20000"/>
                  <a:gd name="T27" fmla="*/ 19932 h 20000"/>
                  <a:gd name="T28" fmla="*/ 2413 w 20000"/>
                  <a:gd name="T29" fmla="*/ 19932 h 20000"/>
                  <a:gd name="T30" fmla="*/ 742 w 20000"/>
                  <a:gd name="T31" fmla="*/ 19932 h 20000"/>
                  <a:gd name="T32" fmla="*/ 0 w 20000"/>
                  <a:gd name="T33" fmla="*/ 19189 h 20000"/>
                  <a:gd name="T34" fmla="*/ 4362 w 20000"/>
                  <a:gd name="T35" fmla="*/ 16419 h 20000"/>
                  <a:gd name="T36" fmla="*/ 5800 w 20000"/>
                  <a:gd name="T37" fmla="*/ 15743 h 20000"/>
                  <a:gd name="T38" fmla="*/ 6961 w 20000"/>
                  <a:gd name="T39" fmla="*/ 14662 h 20000"/>
                  <a:gd name="T40" fmla="*/ 6961 w 20000"/>
                  <a:gd name="T41" fmla="*/ 14257 h 20000"/>
                  <a:gd name="T42" fmla="*/ 5522 w 20000"/>
                  <a:gd name="T43" fmla="*/ 15338 h 20000"/>
                  <a:gd name="T44" fmla="*/ 5522 w 20000"/>
                  <a:gd name="T45" fmla="*/ 13581 h 20000"/>
                  <a:gd name="T46" fmla="*/ 6729 w 20000"/>
                  <a:gd name="T47" fmla="*/ 11892 h 20000"/>
                  <a:gd name="T48" fmla="*/ 7425 w 20000"/>
                  <a:gd name="T49" fmla="*/ 9122 h 20000"/>
                  <a:gd name="T50" fmla="*/ 10812 w 20000"/>
                  <a:gd name="T51" fmla="*/ 2432 h 20000"/>
                  <a:gd name="T52" fmla="*/ 17587 w 20000"/>
                  <a:gd name="T5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17587" y="0"/>
                    </a:moveTo>
                    <a:lnTo>
                      <a:pt x="19954" y="7297"/>
                    </a:lnTo>
                    <a:lnTo>
                      <a:pt x="18237" y="8378"/>
                    </a:lnTo>
                    <a:lnTo>
                      <a:pt x="18051" y="10135"/>
                    </a:lnTo>
                    <a:lnTo>
                      <a:pt x="18051" y="10811"/>
                    </a:lnTo>
                    <a:lnTo>
                      <a:pt x="12993" y="13581"/>
                    </a:lnTo>
                    <a:lnTo>
                      <a:pt x="11787" y="14257"/>
                    </a:lnTo>
                    <a:lnTo>
                      <a:pt x="10812" y="15743"/>
                    </a:lnTo>
                    <a:lnTo>
                      <a:pt x="9884" y="15743"/>
                    </a:lnTo>
                    <a:lnTo>
                      <a:pt x="9420" y="15743"/>
                    </a:lnTo>
                    <a:lnTo>
                      <a:pt x="7425" y="17432"/>
                    </a:lnTo>
                    <a:lnTo>
                      <a:pt x="4826" y="18108"/>
                    </a:lnTo>
                    <a:lnTo>
                      <a:pt x="3619" y="18514"/>
                    </a:lnTo>
                    <a:lnTo>
                      <a:pt x="3619" y="19932"/>
                    </a:lnTo>
                    <a:lnTo>
                      <a:pt x="2413" y="19932"/>
                    </a:lnTo>
                    <a:lnTo>
                      <a:pt x="742" y="19932"/>
                    </a:lnTo>
                    <a:lnTo>
                      <a:pt x="0" y="19189"/>
                    </a:lnTo>
                    <a:lnTo>
                      <a:pt x="4362" y="16419"/>
                    </a:lnTo>
                    <a:lnTo>
                      <a:pt x="5800" y="15743"/>
                    </a:lnTo>
                    <a:lnTo>
                      <a:pt x="6961" y="14662"/>
                    </a:lnTo>
                    <a:lnTo>
                      <a:pt x="6961" y="14257"/>
                    </a:lnTo>
                    <a:lnTo>
                      <a:pt x="5522" y="15338"/>
                    </a:lnTo>
                    <a:lnTo>
                      <a:pt x="5522" y="13581"/>
                    </a:lnTo>
                    <a:lnTo>
                      <a:pt x="6729" y="11892"/>
                    </a:lnTo>
                    <a:lnTo>
                      <a:pt x="7425" y="9122"/>
                    </a:lnTo>
                    <a:lnTo>
                      <a:pt x="10812" y="2432"/>
                    </a:lnTo>
                    <a:lnTo>
                      <a:pt x="17587"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0" name="Freeform 149"/>
              <p:cNvSpPr>
                <a:spLocks/>
              </p:cNvSpPr>
              <p:nvPr/>
            </p:nvSpPr>
            <p:spPr bwMode="auto">
              <a:xfrm>
                <a:off x="8037513" y="3870325"/>
                <a:ext cx="66675" cy="60325"/>
              </a:xfrm>
              <a:custGeom>
                <a:avLst/>
                <a:gdLst>
                  <a:gd name="T0" fmla="*/ 7048 w 20000"/>
                  <a:gd name="T1" fmla="*/ 851 h 20000"/>
                  <a:gd name="T2" fmla="*/ 5143 w 20000"/>
                  <a:gd name="T3" fmla="*/ 851 h 20000"/>
                  <a:gd name="T4" fmla="*/ 5143 w 20000"/>
                  <a:gd name="T5" fmla="*/ 5532 h 20000"/>
                  <a:gd name="T6" fmla="*/ 0 w 20000"/>
                  <a:gd name="T7" fmla="*/ 8723 h 20000"/>
                  <a:gd name="T8" fmla="*/ 0 w 20000"/>
                  <a:gd name="T9" fmla="*/ 15532 h 20000"/>
                  <a:gd name="T10" fmla="*/ 8000 w 20000"/>
                  <a:gd name="T11" fmla="*/ 19787 h 20000"/>
                  <a:gd name="T12" fmla="*/ 11048 w 20000"/>
                  <a:gd name="T13" fmla="*/ 15532 h 20000"/>
                  <a:gd name="T14" fmla="*/ 16000 w 20000"/>
                  <a:gd name="T15" fmla="*/ 14255 h 20000"/>
                  <a:gd name="T16" fmla="*/ 16000 w 20000"/>
                  <a:gd name="T17" fmla="*/ 8723 h 20000"/>
                  <a:gd name="T18" fmla="*/ 19810 w 20000"/>
                  <a:gd name="T19" fmla="*/ 5532 h 20000"/>
                  <a:gd name="T20" fmla="*/ 19810 w 20000"/>
                  <a:gd name="T21" fmla="*/ 851 h 20000"/>
                  <a:gd name="T22" fmla="*/ 17905 w 20000"/>
                  <a:gd name="T23" fmla="*/ 0 h 20000"/>
                  <a:gd name="T24" fmla="*/ 16000 w 20000"/>
                  <a:gd name="T25" fmla="*/ 851 h 20000"/>
                  <a:gd name="T26" fmla="*/ 8000 w 20000"/>
                  <a:gd name="T27" fmla="*/ 851 h 20000"/>
                  <a:gd name="T28" fmla="*/ 7048 w 20000"/>
                  <a:gd name="T29" fmla="*/ 85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7048" y="851"/>
                    </a:moveTo>
                    <a:lnTo>
                      <a:pt x="5143" y="851"/>
                    </a:lnTo>
                    <a:lnTo>
                      <a:pt x="5143" y="5532"/>
                    </a:lnTo>
                    <a:lnTo>
                      <a:pt x="0" y="8723"/>
                    </a:lnTo>
                    <a:lnTo>
                      <a:pt x="0" y="15532"/>
                    </a:lnTo>
                    <a:lnTo>
                      <a:pt x="8000" y="19787"/>
                    </a:lnTo>
                    <a:lnTo>
                      <a:pt x="11048" y="15532"/>
                    </a:lnTo>
                    <a:lnTo>
                      <a:pt x="16000" y="14255"/>
                    </a:lnTo>
                    <a:lnTo>
                      <a:pt x="16000" y="8723"/>
                    </a:lnTo>
                    <a:lnTo>
                      <a:pt x="19810" y="5532"/>
                    </a:lnTo>
                    <a:lnTo>
                      <a:pt x="19810" y="851"/>
                    </a:lnTo>
                    <a:lnTo>
                      <a:pt x="17905" y="0"/>
                    </a:lnTo>
                    <a:lnTo>
                      <a:pt x="16000" y="851"/>
                    </a:lnTo>
                    <a:lnTo>
                      <a:pt x="8000" y="851"/>
                    </a:lnTo>
                    <a:lnTo>
                      <a:pt x="7048" y="85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1" name="Freeform 148"/>
              <p:cNvSpPr>
                <a:spLocks/>
              </p:cNvSpPr>
              <p:nvPr/>
            </p:nvSpPr>
            <p:spPr bwMode="auto">
              <a:xfrm>
                <a:off x="7097713" y="4325938"/>
                <a:ext cx="11112" cy="11112"/>
              </a:xfrm>
              <a:custGeom>
                <a:avLst/>
                <a:gdLst>
                  <a:gd name="T0" fmla="*/ 11765 w 20000"/>
                  <a:gd name="T1" fmla="*/ 7059 h 20000"/>
                  <a:gd name="T2" fmla="*/ 18824 w 20000"/>
                  <a:gd name="T3" fmla="*/ 18824 h 20000"/>
                  <a:gd name="T4" fmla="*/ 11765 w 20000"/>
                  <a:gd name="T5" fmla="*/ 18824 h 20000"/>
                  <a:gd name="T6" fmla="*/ 0 w 20000"/>
                  <a:gd name="T7" fmla="*/ 18824 h 20000"/>
                  <a:gd name="T8" fmla="*/ 0 w 20000"/>
                  <a:gd name="T9" fmla="*/ 0 h 20000"/>
                  <a:gd name="T10" fmla="*/ 11765 w 20000"/>
                  <a:gd name="T11" fmla="*/ 0 h 20000"/>
                  <a:gd name="T12" fmla="*/ 11765 w 20000"/>
                  <a:gd name="T13" fmla="*/ 7059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765" y="7059"/>
                    </a:moveTo>
                    <a:lnTo>
                      <a:pt x="18824" y="18824"/>
                    </a:lnTo>
                    <a:lnTo>
                      <a:pt x="11765" y="18824"/>
                    </a:lnTo>
                    <a:lnTo>
                      <a:pt x="0" y="18824"/>
                    </a:lnTo>
                    <a:lnTo>
                      <a:pt x="0" y="0"/>
                    </a:lnTo>
                    <a:lnTo>
                      <a:pt x="11765" y="0"/>
                    </a:lnTo>
                    <a:lnTo>
                      <a:pt x="11765" y="70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2" name="Freeform 147"/>
              <p:cNvSpPr>
                <a:spLocks/>
              </p:cNvSpPr>
              <p:nvPr/>
            </p:nvSpPr>
            <p:spPr bwMode="auto">
              <a:xfrm>
                <a:off x="6199188" y="2663825"/>
                <a:ext cx="1063625" cy="542925"/>
              </a:xfrm>
              <a:custGeom>
                <a:avLst/>
                <a:gdLst>
                  <a:gd name="T0" fmla="*/ 19916 w 20000"/>
                  <a:gd name="T1" fmla="*/ 8000 h 20000"/>
                  <a:gd name="T2" fmla="*/ 19379 w 20000"/>
                  <a:gd name="T3" fmla="*/ 8468 h 20000"/>
                  <a:gd name="T4" fmla="*/ 19379 w 20000"/>
                  <a:gd name="T5" fmla="*/ 10409 h 20000"/>
                  <a:gd name="T6" fmla="*/ 18184 w 20000"/>
                  <a:gd name="T7" fmla="*/ 12468 h 20000"/>
                  <a:gd name="T8" fmla="*/ 18184 w 20000"/>
                  <a:gd name="T9" fmla="*/ 13099 h 20000"/>
                  <a:gd name="T10" fmla="*/ 17085 w 20000"/>
                  <a:gd name="T11" fmla="*/ 13684 h 20000"/>
                  <a:gd name="T12" fmla="*/ 17814 w 20000"/>
                  <a:gd name="T13" fmla="*/ 15860 h 20000"/>
                  <a:gd name="T14" fmla="*/ 17324 w 20000"/>
                  <a:gd name="T15" fmla="*/ 17450 h 20000"/>
                  <a:gd name="T16" fmla="*/ 15102 w 20000"/>
                  <a:gd name="T17" fmla="*/ 16585 h 20000"/>
                  <a:gd name="T18" fmla="*/ 14421 w 20000"/>
                  <a:gd name="T19" fmla="*/ 16117 h 20000"/>
                  <a:gd name="T20" fmla="*/ 12318 w 20000"/>
                  <a:gd name="T21" fmla="*/ 18643 h 20000"/>
                  <a:gd name="T22" fmla="*/ 11828 w 20000"/>
                  <a:gd name="T23" fmla="*/ 19135 h 20000"/>
                  <a:gd name="T24" fmla="*/ 11195 w 20000"/>
                  <a:gd name="T25" fmla="*/ 19368 h 20000"/>
                  <a:gd name="T26" fmla="*/ 10394 w 20000"/>
                  <a:gd name="T27" fmla="*/ 18784 h 20000"/>
                  <a:gd name="T28" fmla="*/ 10096 w 20000"/>
                  <a:gd name="T29" fmla="*/ 17544 h 20000"/>
                  <a:gd name="T30" fmla="*/ 9606 w 20000"/>
                  <a:gd name="T31" fmla="*/ 16819 h 20000"/>
                  <a:gd name="T32" fmla="*/ 8172 w 20000"/>
                  <a:gd name="T33" fmla="*/ 16491 h 20000"/>
                  <a:gd name="T34" fmla="*/ 7121 w 20000"/>
                  <a:gd name="T35" fmla="*/ 15626 h 20000"/>
                  <a:gd name="T36" fmla="*/ 7312 w 20000"/>
                  <a:gd name="T37" fmla="*/ 14292 h 20000"/>
                  <a:gd name="T38" fmla="*/ 7431 w 20000"/>
                  <a:gd name="T39" fmla="*/ 12351 h 20000"/>
                  <a:gd name="T40" fmla="*/ 7180 w 20000"/>
                  <a:gd name="T41" fmla="*/ 12351 h 20000"/>
                  <a:gd name="T42" fmla="*/ 5508 w 20000"/>
                  <a:gd name="T43" fmla="*/ 13333 h 20000"/>
                  <a:gd name="T44" fmla="*/ 5209 w 20000"/>
                  <a:gd name="T45" fmla="*/ 16117 h 20000"/>
                  <a:gd name="T46" fmla="*/ 5209 w 20000"/>
                  <a:gd name="T47" fmla="*/ 19135 h 20000"/>
                  <a:gd name="T48" fmla="*/ 4277 w 20000"/>
                  <a:gd name="T49" fmla="*/ 18409 h 20000"/>
                  <a:gd name="T50" fmla="*/ 3524 w 20000"/>
                  <a:gd name="T51" fmla="*/ 19018 h 20000"/>
                  <a:gd name="T52" fmla="*/ 3524 w 20000"/>
                  <a:gd name="T53" fmla="*/ 19018 h 20000"/>
                  <a:gd name="T54" fmla="*/ 3524 w 20000"/>
                  <a:gd name="T55" fmla="*/ 17544 h 20000"/>
                  <a:gd name="T56" fmla="*/ 2915 w 20000"/>
                  <a:gd name="T57" fmla="*/ 17450 h 20000"/>
                  <a:gd name="T58" fmla="*/ 2234 w 20000"/>
                  <a:gd name="T59" fmla="*/ 15485 h 20000"/>
                  <a:gd name="T60" fmla="*/ 2796 w 20000"/>
                  <a:gd name="T61" fmla="*/ 15485 h 20000"/>
                  <a:gd name="T62" fmla="*/ 2724 w 20000"/>
                  <a:gd name="T63" fmla="*/ 14526 h 20000"/>
                  <a:gd name="T64" fmla="*/ 3405 w 20000"/>
                  <a:gd name="T65" fmla="*/ 13918 h 20000"/>
                  <a:gd name="T66" fmla="*/ 2915 w 20000"/>
                  <a:gd name="T67" fmla="*/ 12351 h 20000"/>
                  <a:gd name="T68" fmla="*/ 2234 w 20000"/>
                  <a:gd name="T69" fmla="*/ 12094 h 20000"/>
                  <a:gd name="T70" fmla="*/ 1613 w 20000"/>
                  <a:gd name="T71" fmla="*/ 12959 h 20000"/>
                  <a:gd name="T72" fmla="*/ 502 w 20000"/>
                  <a:gd name="T73" fmla="*/ 9567 h 20000"/>
                  <a:gd name="T74" fmla="*/ 621 w 20000"/>
                  <a:gd name="T75" fmla="*/ 6058 h 20000"/>
                  <a:gd name="T76" fmla="*/ 2915 w 20000"/>
                  <a:gd name="T77" fmla="*/ 6316 h 20000"/>
                  <a:gd name="T78" fmla="*/ 5818 w 20000"/>
                  <a:gd name="T79" fmla="*/ 5310 h 20000"/>
                  <a:gd name="T80" fmla="*/ 8411 w 20000"/>
                  <a:gd name="T81" fmla="*/ 608 h 20000"/>
                  <a:gd name="T82" fmla="*/ 11326 w 20000"/>
                  <a:gd name="T83" fmla="*/ 0 h 20000"/>
                  <a:gd name="T84" fmla="*/ 13978 w 20000"/>
                  <a:gd name="T85" fmla="*/ 1333 h 20000"/>
                  <a:gd name="T86" fmla="*/ 16762 w 20000"/>
                  <a:gd name="T87" fmla="*/ 5684 h 20000"/>
                  <a:gd name="T88" fmla="*/ 19116 w 20000"/>
                  <a:gd name="T89" fmla="*/ 6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9988" y="7275"/>
                    </a:moveTo>
                    <a:lnTo>
                      <a:pt x="19916" y="8000"/>
                    </a:lnTo>
                    <a:lnTo>
                      <a:pt x="19677" y="8234"/>
                    </a:lnTo>
                    <a:lnTo>
                      <a:pt x="19379" y="8468"/>
                    </a:lnTo>
                    <a:lnTo>
                      <a:pt x="19618" y="9942"/>
                    </a:lnTo>
                    <a:lnTo>
                      <a:pt x="19379" y="10409"/>
                    </a:lnTo>
                    <a:lnTo>
                      <a:pt x="18327" y="10409"/>
                    </a:lnTo>
                    <a:lnTo>
                      <a:pt x="18184" y="12468"/>
                    </a:lnTo>
                    <a:lnTo>
                      <a:pt x="18375" y="12725"/>
                    </a:lnTo>
                    <a:lnTo>
                      <a:pt x="18184" y="13099"/>
                    </a:lnTo>
                    <a:lnTo>
                      <a:pt x="17885" y="12959"/>
                    </a:lnTo>
                    <a:lnTo>
                      <a:pt x="17085" y="13684"/>
                    </a:lnTo>
                    <a:lnTo>
                      <a:pt x="17324" y="13684"/>
                    </a:lnTo>
                    <a:lnTo>
                      <a:pt x="17814" y="15860"/>
                    </a:lnTo>
                    <a:lnTo>
                      <a:pt x="17694" y="17544"/>
                    </a:lnTo>
                    <a:lnTo>
                      <a:pt x="17324" y="17450"/>
                    </a:lnTo>
                    <a:lnTo>
                      <a:pt x="17324" y="17076"/>
                    </a:lnTo>
                    <a:lnTo>
                      <a:pt x="15102" y="16585"/>
                    </a:lnTo>
                    <a:lnTo>
                      <a:pt x="15102" y="16211"/>
                    </a:lnTo>
                    <a:lnTo>
                      <a:pt x="14421" y="16117"/>
                    </a:lnTo>
                    <a:lnTo>
                      <a:pt x="12999" y="17544"/>
                    </a:lnTo>
                    <a:lnTo>
                      <a:pt x="12318" y="18643"/>
                    </a:lnTo>
                    <a:lnTo>
                      <a:pt x="11876" y="18643"/>
                    </a:lnTo>
                    <a:lnTo>
                      <a:pt x="11828" y="19135"/>
                    </a:lnTo>
                    <a:lnTo>
                      <a:pt x="11577" y="19977"/>
                    </a:lnTo>
                    <a:lnTo>
                      <a:pt x="11195" y="19368"/>
                    </a:lnTo>
                    <a:lnTo>
                      <a:pt x="11517" y="19135"/>
                    </a:lnTo>
                    <a:lnTo>
                      <a:pt x="10394" y="18784"/>
                    </a:lnTo>
                    <a:lnTo>
                      <a:pt x="9904" y="18409"/>
                    </a:lnTo>
                    <a:lnTo>
                      <a:pt x="10096" y="17544"/>
                    </a:lnTo>
                    <a:lnTo>
                      <a:pt x="9606" y="17544"/>
                    </a:lnTo>
                    <a:lnTo>
                      <a:pt x="9606" y="16819"/>
                    </a:lnTo>
                    <a:lnTo>
                      <a:pt x="9283" y="16585"/>
                    </a:lnTo>
                    <a:lnTo>
                      <a:pt x="8172" y="16491"/>
                    </a:lnTo>
                    <a:lnTo>
                      <a:pt x="7491" y="15860"/>
                    </a:lnTo>
                    <a:lnTo>
                      <a:pt x="7121" y="15626"/>
                    </a:lnTo>
                    <a:lnTo>
                      <a:pt x="7121" y="15018"/>
                    </a:lnTo>
                    <a:lnTo>
                      <a:pt x="7312" y="14292"/>
                    </a:lnTo>
                    <a:lnTo>
                      <a:pt x="7312" y="13567"/>
                    </a:lnTo>
                    <a:lnTo>
                      <a:pt x="7431" y="12351"/>
                    </a:lnTo>
                    <a:lnTo>
                      <a:pt x="7312" y="12094"/>
                    </a:lnTo>
                    <a:lnTo>
                      <a:pt x="7180" y="12351"/>
                    </a:lnTo>
                    <a:lnTo>
                      <a:pt x="6189" y="13099"/>
                    </a:lnTo>
                    <a:lnTo>
                      <a:pt x="5508" y="13333"/>
                    </a:lnTo>
                    <a:lnTo>
                      <a:pt x="5209" y="14292"/>
                    </a:lnTo>
                    <a:lnTo>
                      <a:pt x="5209" y="16117"/>
                    </a:lnTo>
                    <a:lnTo>
                      <a:pt x="5209" y="17544"/>
                    </a:lnTo>
                    <a:lnTo>
                      <a:pt x="5209" y="19135"/>
                    </a:lnTo>
                    <a:lnTo>
                      <a:pt x="4576" y="18784"/>
                    </a:lnTo>
                    <a:lnTo>
                      <a:pt x="4277" y="18409"/>
                    </a:lnTo>
                    <a:lnTo>
                      <a:pt x="3787" y="18175"/>
                    </a:lnTo>
                    <a:lnTo>
                      <a:pt x="3524" y="19018"/>
                    </a:lnTo>
                    <a:lnTo>
                      <a:pt x="3787" y="19743"/>
                    </a:lnTo>
                    <a:lnTo>
                      <a:pt x="3524" y="19018"/>
                    </a:lnTo>
                    <a:lnTo>
                      <a:pt x="3524" y="18035"/>
                    </a:lnTo>
                    <a:lnTo>
                      <a:pt x="3524" y="17544"/>
                    </a:lnTo>
                    <a:lnTo>
                      <a:pt x="3226" y="17450"/>
                    </a:lnTo>
                    <a:lnTo>
                      <a:pt x="2915" y="17450"/>
                    </a:lnTo>
                    <a:lnTo>
                      <a:pt x="2473" y="15860"/>
                    </a:lnTo>
                    <a:lnTo>
                      <a:pt x="2234" y="15485"/>
                    </a:lnTo>
                    <a:lnTo>
                      <a:pt x="2473" y="15485"/>
                    </a:lnTo>
                    <a:lnTo>
                      <a:pt x="2796" y="15485"/>
                    </a:lnTo>
                    <a:lnTo>
                      <a:pt x="2473" y="14901"/>
                    </a:lnTo>
                    <a:lnTo>
                      <a:pt x="2724" y="14526"/>
                    </a:lnTo>
                    <a:lnTo>
                      <a:pt x="3716" y="14292"/>
                    </a:lnTo>
                    <a:lnTo>
                      <a:pt x="3405" y="13918"/>
                    </a:lnTo>
                    <a:lnTo>
                      <a:pt x="3405" y="12094"/>
                    </a:lnTo>
                    <a:lnTo>
                      <a:pt x="2915" y="12351"/>
                    </a:lnTo>
                    <a:lnTo>
                      <a:pt x="2724" y="12000"/>
                    </a:lnTo>
                    <a:lnTo>
                      <a:pt x="2234" y="12094"/>
                    </a:lnTo>
                    <a:lnTo>
                      <a:pt x="1983" y="12468"/>
                    </a:lnTo>
                    <a:lnTo>
                      <a:pt x="1613" y="12959"/>
                    </a:lnTo>
                    <a:lnTo>
                      <a:pt x="1123" y="12959"/>
                    </a:lnTo>
                    <a:lnTo>
                      <a:pt x="502" y="9567"/>
                    </a:lnTo>
                    <a:lnTo>
                      <a:pt x="0" y="9567"/>
                    </a:lnTo>
                    <a:lnTo>
                      <a:pt x="621" y="6058"/>
                    </a:lnTo>
                    <a:lnTo>
                      <a:pt x="1673" y="5684"/>
                    </a:lnTo>
                    <a:lnTo>
                      <a:pt x="2915" y="6316"/>
                    </a:lnTo>
                    <a:lnTo>
                      <a:pt x="6189" y="7018"/>
                    </a:lnTo>
                    <a:lnTo>
                      <a:pt x="5818" y="5310"/>
                    </a:lnTo>
                    <a:lnTo>
                      <a:pt x="6189" y="1333"/>
                    </a:lnTo>
                    <a:lnTo>
                      <a:pt x="8411" y="608"/>
                    </a:lnTo>
                    <a:lnTo>
                      <a:pt x="9904" y="725"/>
                    </a:lnTo>
                    <a:lnTo>
                      <a:pt x="11326" y="0"/>
                    </a:lnTo>
                    <a:lnTo>
                      <a:pt x="12378" y="1825"/>
                    </a:lnTo>
                    <a:lnTo>
                      <a:pt x="13978" y="1333"/>
                    </a:lnTo>
                    <a:lnTo>
                      <a:pt x="15711" y="3509"/>
                    </a:lnTo>
                    <a:lnTo>
                      <a:pt x="16762" y="5684"/>
                    </a:lnTo>
                    <a:lnTo>
                      <a:pt x="18184" y="6058"/>
                    </a:lnTo>
                    <a:lnTo>
                      <a:pt x="19116" y="6901"/>
                    </a:lnTo>
                    <a:lnTo>
                      <a:pt x="19988" y="72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3" name="Freeform 146"/>
              <p:cNvSpPr>
                <a:spLocks/>
              </p:cNvSpPr>
              <p:nvPr/>
            </p:nvSpPr>
            <p:spPr bwMode="auto">
              <a:xfrm>
                <a:off x="6873875" y="3100388"/>
                <a:ext cx="266700" cy="141287"/>
              </a:xfrm>
              <a:custGeom>
                <a:avLst/>
                <a:gdLst>
                  <a:gd name="T0" fmla="*/ 19952 w 20000"/>
                  <a:gd name="T1" fmla="*/ 5471 h 20000"/>
                  <a:gd name="T2" fmla="*/ 16762 w 20000"/>
                  <a:gd name="T3" fmla="*/ 8789 h 20000"/>
                  <a:gd name="T4" fmla="*/ 16000 w 20000"/>
                  <a:gd name="T5" fmla="*/ 11121 h 20000"/>
                  <a:gd name="T6" fmla="*/ 13524 w 20000"/>
                  <a:gd name="T7" fmla="*/ 11570 h 20000"/>
                  <a:gd name="T8" fmla="*/ 13333 w 20000"/>
                  <a:gd name="T9" fmla="*/ 13901 h 20000"/>
                  <a:gd name="T10" fmla="*/ 11571 w 20000"/>
                  <a:gd name="T11" fmla="*/ 14798 h 20000"/>
                  <a:gd name="T12" fmla="*/ 11095 w 20000"/>
                  <a:gd name="T13" fmla="*/ 13901 h 20000"/>
                  <a:gd name="T14" fmla="*/ 10095 w 20000"/>
                  <a:gd name="T15" fmla="*/ 14798 h 20000"/>
                  <a:gd name="T16" fmla="*/ 8095 w 20000"/>
                  <a:gd name="T17" fmla="*/ 17130 h 20000"/>
                  <a:gd name="T18" fmla="*/ 8381 w 20000"/>
                  <a:gd name="T19" fmla="*/ 19910 h 20000"/>
                  <a:gd name="T20" fmla="*/ 7619 w 20000"/>
                  <a:gd name="T21" fmla="*/ 19910 h 20000"/>
                  <a:gd name="T22" fmla="*/ 1238 w 20000"/>
                  <a:gd name="T23" fmla="*/ 16233 h 20000"/>
                  <a:gd name="T24" fmla="*/ 2952 w 20000"/>
                  <a:gd name="T25" fmla="*/ 16233 h 20000"/>
                  <a:gd name="T26" fmla="*/ 3714 w 20000"/>
                  <a:gd name="T27" fmla="*/ 14798 h 20000"/>
                  <a:gd name="T28" fmla="*/ 5667 w 20000"/>
                  <a:gd name="T29" fmla="*/ 11570 h 20000"/>
                  <a:gd name="T30" fmla="*/ 4381 w 20000"/>
                  <a:gd name="T31" fmla="*/ 11570 h 20000"/>
                  <a:gd name="T32" fmla="*/ 1952 w 20000"/>
                  <a:gd name="T33" fmla="*/ 9686 h 20000"/>
                  <a:gd name="T34" fmla="*/ 0 w 20000"/>
                  <a:gd name="T35" fmla="*/ 9686 h 20000"/>
                  <a:gd name="T36" fmla="*/ 1238 w 20000"/>
                  <a:gd name="T37" fmla="*/ 5471 h 20000"/>
                  <a:gd name="T38" fmla="*/ 6905 w 20000"/>
                  <a:gd name="T39" fmla="*/ 0 h 20000"/>
                  <a:gd name="T40" fmla="*/ 9619 w 20000"/>
                  <a:gd name="T41" fmla="*/ 359 h 20000"/>
                  <a:gd name="T42" fmla="*/ 9619 w 20000"/>
                  <a:gd name="T43" fmla="*/ 1794 h 20000"/>
                  <a:gd name="T44" fmla="*/ 18476 w 20000"/>
                  <a:gd name="T45" fmla="*/ 3677 h 20000"/>
                  <a:gd name="T46" fmla="*/ 18476 w 20000"/>
                  <a:gd name="T47" fmla="*/ 5112 h 20000"/>
                  <a:gd name="T48" fmla="*/ 19952 w 20000"/>
                  <a:gd name="T49" fmla="*/ 547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19952" y="5471"/>
                    </a:moveTo>
                    <a:lnTo>
                      <a:pt x="16762" y="8789"/>
                    </a:lnTo>
                    <a:lnTo>
                      <a:pt x="16000" y="11121"/>
                    </a:lnTo>
                    <a:lnTo>
                      <a:pt x="13524" y="11570"/>
                    </a:lnTo>
                    <a:lnTo>
                      <a:pt x="13333" y="13901"/>
                    </a:lnTo>
                    <a:lnTo>
                      <a:pt x="11571" y="14798"/>
                    </a:lnTo>
                    <a:lnTo>
                      <a:pt x="11095" y="13901"/>
                    </a:lnTo>
                    <a:lnTo>
                      <a:pt x="10095" y="14798"/>
                    </a:lnTo>
                    <a:lnTo>
                      <a:pt x="8095" y="17130"/>
                    </a:lnTo>
                    <a:lnTo>
                      <a:pt x="8381" y="19910"/>
                    </a:lnTo>
                    <a:lnTo>
                      <a:pt x="7619" y="19910"/>
                    </a:lnTo>
                    <a:lnTo>
                      <a:pt x="1238" y="16233"/>
                    </a:lnTo>
                    <a:lnTo>
                      <a:pt x="2952" y="16233"/>
                    </a:lnTo>
                    <a:lnTo>
                      <a:pt x="3714" y="14798"/>
                    </a:lnTo>
                    <a:lnTo>
                      <a:pt x="5667" y="11570"/>
                    </a:lnTo>
                    <a:lnTo>
                      <a:pt x="4381" y="11570"/>
                    </a:lnTo>
                    <a:lnTo>
                      <a:pt x="1952" y="9686"/>
                    </a:lnTo>
                    <a:lnTo>
                      <a:pt x="0" y="9686"/>
                    </a:lnTo>
                    <a:lnTo>
                      <a:pt x="1238" y="5471"/>
                    </a:lnTo>
                    <a:lnTo>
                      <a:pt x="6905" y="0"/>
                    </a:lnTo>
                    <a:lnTo>
                      <a:pt x="9619" y="359"/>
                    </a:lnTo>
                    <a:lnTo>
                      <a:pt x="9619" y="1794"/>
                    </a:lnTo>
                    <a:lnTo>
                      <a:pt x="18476" y="3677"/>
                    </a:lnTo>
                    <a:lnTo>
                      <a:pt x="18476" y="5112"/>
                    </a:lnTo>
                    <a:lnTo>
                      <a:pt x="19952" y="547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4" name="Freeform 145"/>
              <p:cNvSpPr>
                <a:spLocks/>
              </p:cNvSpPr>
              <p:nvPr/>
            </p:nvSpPr>
            <p:spPr bwMode="auto">
              <a:xfrm>
                <a:off x="6477000" y="3019425"/>
                <a:ext cx="474663" cy="309563"/>
              </a:xfrm>
              <a:custGeom>
                <a:avLst/>
                <a:gdLst>
                  <a:gd name="T0" fmla="*/ 12477 w 20000"/>
                  <a:gd name="T1" fmla="*/ 19548 h 20000"/>
                  <a:gd name="T2" fmla="*/ 12477 w 20000"/>
                  <a:gd name="T3" fmla="*/ 17823 h 20000"/>
                  <a:gd name="T4" fmla="*/ 8461 w 20000"/>
                  <a:gd name="T5" fmla="*/ 14251 h 20000"/>
                  <a:gd name="T6" fmla="*/ 7604 w 20000"/>
                  <a:gd name="T7" fmla="*/ 13347 h 20000"/>
                  <a:gd name="T8" fmla="*/ 6078 w 20000"/>
                  <a:gd name="T9" fmla="*/ 11663 h 20000"/>
                  <a:gd name="T10" fmla="*/ 5408 w 20000"/>
                  <a:gd name="T11" fmla="*/ 9733 h 20000"/>
                  <a:gd name="T12" fmla="*/ 3722 w 20000"/>
                  <a:gd name="T13" fmla="*/ 8706 h 20000"/>
                  <a:gd name="T14" fmla="*/ 2624 w 20000"/>
                  <a:gd name="T15" fmla="*/ 7023 h 20000"/>
                  <a:gd name="T16" fmla="*/ 2490 w 20000"/>
                  <a:gd name="T17" fmla="*/ 4846 h 20000"/>
                  <a:gd name="T18" fmla="*/ 1526 w 20000"/>
                  <a:gd name="T19" fmla="*/ 7023 h 20000"/>
                  <a:gd name="T20" fmla="*/ 696 w 20000"/>
                  <a:gd name="T21" fmla="*/ 10390 h 20000"/>
                  <a:gd name="T22" fmla="*/ 0 w 20000"/>
                  <a:gd name="T23" fmla="*/ 7844 h 20000"/>
                  <a:gd name="T24" fmla="*/ 0 w 20000"/>
                  <a:gd name="T25" fmla="*/ 2094 h 20000"/>
                  <a:gd name="T26" fmla="*/ 2222 w 20000"/>
                  <a:gd name="T27" fmla="*/ 0 h 20000"/>
                  <a:gd name="T28" fmla="*/ 2490 w 20000"/>
                  <a:gd name="T29" fmla="*/ 4230 h 20000"/>
                  <a:gd name="T30" fmla="*/ 3588 w 20000"/>
                  <a:gd name="T31" fmla="*/ 4846 h 20000"/>
                  <a:gd name="T32" fmla="*/ 5141 w 20000"/>
                  <a:gd name="T33" fmla="*/ 4846 h 20000"/>
                  <a:gd name="T34" fmla="*/ 9130 w 20000"/>
                  <a:gd name="T35" fmla="*/ 6119 h 20000"/>
                  <a:gd name="T36" fmla="*/ 9853 w 20000"/>
                  <a:gd name="T37" fmla="*/ 7844 h 20000"/>
                  <a:gd name="T38" fmla="*/ 10549 w 20000"/>
                  <a:gd name="T39" fmla="*/ 9322 h 20000"/>
                  <a:gd name="T40" fmla="*/ 14137 w 20000"/>
                  <a:gd name="T41" fmla="*/ 10637 h 20000"/>
                  <a:gd name="T42" fmla="*/ 14270 w 20000"/>
                  <a:gd name="T43" fmla="*/ 12074 h 20000"/>
                  <a:gd name="T44" fmla="*/ 14967 w 20000"/>
                  <a:gd name="T45" fmla="*/ 9733 h 20000"/>
                  <a:gd name="T46" fmla="*/ 17456 w 20000"/>
                  <a:gd name="T47" fmla="*/ 7844 h 20000"/>
                  <a:gd name="T48" fmla="*/ 17885 w 20000"/>
                  <a:gd name="T49" fmla="*/ 9733 h 20000"/>
                  <a:gd name="T50" fmla="*/ 19973 w 20000"/>
                  <a:gd name="T51" fmla="*/ 10637 h 20000"/>
                  <a:gd name="T52" fmla="*/ 18447 w 20000"/>
                  <a:gd name="T53" fmla="*/ 12731 h 20000"/>
                  <a:gd name="T54" fmla="*/ 17456 w 20000"/>
                  <a:gd name="T55" fmla="*/ 11663 h 20000"/>
                  <a:gd name="T56" fmla="*/ 17189 w 20000"/>
                  <a:gd name="T57" fmla="*/ 10390 h 20000"/>
                  <a:gd name="T58" fmla="*/ 15930 w 20000"/>
                  <a:gd name="T59" fmla="*/ 13758 h 20000"/>
                  <a:gd name="T60" fmla="*/ 13842 w 20000"/>
                  <a:gd name="T61" fmla="*/ 14415 h 20000"/>
                  <a:gd name="T62" fmla="*/ 14270 w 20000"/>
                  <a:gd name="T63" fmla="*/ 15483 h 20000"/>
                  <a:gd name="T64" fmla="*/ 14137 w 20000"/>
                  <a:gd name="T65" fmla="*/ 1782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3440" y="19959"/>
                    </a:moveTo>
                    <a:lnTo>
                      <a:pt x="12477" y="19548"/>
                    </a:lnTo>
                    <a:lnTo>
                      <a:pt x="12744" y="18686"/>
                    </a:lnTo>
                    <a:lnTo>
                      <a:pt x="12477" y="17823"/>
                    </a:lnTo>
                    <a:lnTo>
                      <a:pt x="11647" y="17823"/>
                    </a:lnTo>
                    <a:lnTo>
                      <a:pt x="8461" y="14251"/>
                    </a:lnTo>
                    <a:lnTo>
                      <a:pt x="8032" y="14415"/>
                    </a:lnTo>
                    <a:lnTo>
                      <a:pt x="7604" y="13347"/>
                    </a:lnTo>
                    <a:lnTo>
                      <a:pt x="6667" y="11458"/>
                    </a:lnTo>
                    <a:lnTo>
                      <a:pt x="6078" y="11663"/>
                    </a:lnTo>
                    <a:lnTo>
                      <a:pt x="5542" y="11663"/>
                    </a:lnTo>
                    <a:lnTo>
                      <a:pt x="5408" y="9733"/>
                    </a:lnTo>
                    <a:lnTo>
                      <a:pt x="4980" y="9322"/>
                    </a:lnTo>
                    <a:lnTo>
                      <a:pt x="3722" y="8706"/>
                    </a:lnTo>
                    <a:lnTo>
                      <a:pt x="3588" y="7023"/>
                    </a:lnTo>
                    <a:lnTo>
                      <a:pt x="2624" y="7023"/>
                    </a:lnTo>
                    <a:lnTo>
                      <a:pt x="2490" y="5955"/>
                    </a:lnTo>
                    <a:lnTo>
                      <a:pt x="2490" y="4846"/>
                    </a:lnTo>
                    <a:lnTo>
                      <a:pt x="1794" y="5955"/>
                    </a:lnTo>
                    <a:lnTo>
                      <a:pt x="1526" y="7023"/>
                    </a:lnTo>
                    <a:lnTo>
                      <a:pt x="2062" y="9979"/>
                    </a:lnTo>
                    <a:lnTo>
                      <a:pt x="696" y="10390"/>
                    </a:lnTo>
                    <a:lnTo>
                      <a:pt x="0" y="10637"/>
                    </a:lnTo>
                    <a:lnTo>
                      <a:pt x="0" y="7844"/>
                    </a:lnTo>
                    <a:lnTo>
                      <a:pt x="0" y="5298"/>
                    </a:lnTo>
                    <a:lnTo>
                      <a:pt x="0" y="2094"/>
                    </a:lnTo>
                    <a:lnTo>
                      <a:pt x="696" y="411"/>
                    </a:lnTo>
                    <a:lnTo>
                      <a:pt x="2222" y="0"/>
                    </a:lnTo>
                    <a:lnTo>
                      <a:pt x="1794" y="4435"/>
                    </a:lnTo>
                    <a:lnTo>
                      <a:pt x="2490" y="4230"/>
                    </a:lnTo>
                    <a:lnTo>
                      <a:pt x="2892" y="4846"/>
                    </a:lnTo>
                    <a:lnTo>
                      <a:pt x="3588" y="4846"/>
                    </a:lnTo>
                    <a:lnTo>
                      <a:pt x="4311" y="4435"/>
                    </a:lnTo>
                    <a:lnTo>
                      <a:pt x="5141" y="4846"/>
                    </a:lnTo>
                    <a:lnTo>
                      <a:pt x="6667" y="5955"/>
                    </a:lnTo>
                    <a:lnTo>
                      <a:pt x="9130" y="6119"/>
                    </a:lnTo>
                    <a:lnTo>
                      <a:pt x="9853" y="6530"/>
                    </a:lnTo>
                    <a:lnTo>
                      <a:pt x="9853" y="7844"/>
                    </a:lnTo>
                    <a:lnTo>
                      <a:pt x="10950" y="7844"/>
                    </a:lnTo>
                    <a:lnTo>
                      <a:pt x="10549" y="9322"/>
                    </a:lnTo>
                    <a:lnTo>
                      <a:pt x="11647" y="9979"/>
                    </a:lnTo>
                    <a:lnTo>
                      <a:pt x="14137" y="10637"/>
                    </a:lnTo>
                    <a:lnTo>
                      <a:pt x="13440" y="11047"/>
                    </a:lnTo>
                    <a:lnTo>
                      <a:pt x="14270" y="12074"/>
                    </a:lnTo>
                    <a:lnTo>
                      <a:pt x="14833" y="10637"/>
                    </a:lnTo>
                    <a:lnTo>
                      <a:pt x="14967" y="9733"/>
                    </a:lnTo>
                    <a:lnTo>
                      <a:pt x="15930" y="9733"/>
                    </a:lnTo>
                    <a:lnTo>
                      <a:pt x="17456" y="7844"/>
                    </a:lnTo>
                    <a:lnTo>
                      <a:pt x="16787" y="9733"/>
                    </a:lnTo>
                    <a:lnTo>
                      <a:pt x="17885" y="9733"/>
                    </a:lnTo>
                    <a:lnTo>
                      <a:pt x="19250" y="10637"/>
                    </a:lnTo>
                    <a:lnTo>
                      <a:pt x="19973" y="10637"/>
                    </a:lnTo>
                    <a:lnTo>
                      <a:pt x="18876" y="12074"/>
                    </a:lnTo>
                    <a:lnTo>
                      <a:pt x="18447" y="12731"/>
                    </a:lnTo>
                    <a:lnTo>
                      <a:pt x="17456" y="12731"/>
                    </a:lnTo>
                    <a:lnTo>
                      <a:pt x="17456" y="11663"/>
                    </a:lnTo>
                    <a:lnTo>
                      <a:pt x="17885" y="11047"/>
                    </a:lnTo>
                    <a:lnTo>
                      <a:pt x="17189" y="10390"/>
                    </a:lnTo>
                    <a:lnTo>
                      <a:pt x="16359" y="10637"/>
                    </a:lnTo>
                    <a:lnTo>
                      <a:pt x="15930" y="13758"/>
                    </a:lnTo>
                    <a:lnTo>
                      <a:pt x="14967" y="13758"/>
                    </a:lnTo>
                    <a:lnTo>
                      <a:pt x="13842" y="14415"/>
                    </a:lnTo>
                    <a:lnTo>
                      <a:pt x="13842" y="15072"/>
                    </a:lnTo>
                    <a:lnTo>
                      <a:pt x="14270" y="15483"/>
                    </a:lnTo>
                    <a:lnTo>
                      <a:pt x="14967" y="15483"/>
                    </a:lnTo>
                    <a:lnTo>
                      <a:pt x="14137" y="17823"/>
                    </a:lnTo>
                    <a:lnTo>
                      <a:pt x="13440" y="199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5" name="Freeform 144"/>
              <p:cNvSpPr>
                <a:spLocks/>
              </p:cNvSpPr>
              <p:nvPr/>
            </p:nvSpPr>
            <p:spPr bwMode="auto">
              <a:xfrm>
                <a:off x="6794500" y="3179763"/>
                <a:ext cx="234950" cy="165100"/>
              </a:xfrm>
              <a:custGeom>
                <a:avLst/>
                <a:gdLst>
                  <a:gd name="T0" fmla="*/ 15447 w 20000"/>
                  <a:gd name="T1" fmla="*/ 7538 h 20000"/>
                  <a:gd name="T2" fmla="*/ 16314 w 20000"/>
                  <a:gd name="T3" fmla="*/ 10692 h 20000"/>
                  <a:gd name="T4" fmla="*/ 17182 w 20000"/>
                  <a:gd name="T5" fmla="*/ 10692 h 20000"/>
                  <a:gd name="T6" fmla="*/ 18537 w 20000"/>
                  <a:gd name="T7" fmla="*/ 11615 h 20000"/>
                  <a:gd name="T8" fmla="*/ 19946 w 20000"/>
                  <a:gd name="T9" fmla="*/ 16000 h 20000"/>
                  <a:gd name="T10" fmla="*/ 19079 w 20000"/>
                  <a:gd name="T11" fmla="*/ 17154 h 20000"/>
                  <a:gd name="T12" fmla="*/ 18266 w 20000"/>
                  <a:gd name="T13" fmla="*/ 16769 h 20000"/>
                  <a:gd name="T14" fmla="*/ 17724 w 20000"/>
                  <a:gd name="T15" fmla="*/ 16769 h 20000"/>
                  <a:gd name="T16" fmla="*/ 16314 w 20000"/>
                  <a:gd name="T17" fmla="*/ 16000 h 20000"/>
                  <a:gd name="T18" fmla="*/ 14634 w 20000"/>
                  <a:gd name="T19" fmla="*/ 17154 h 20000"/>
                  <a:gd name="T20" fmla="*/ 13225 w 20000"/>
                  <a:gd name="T21" fmla="*/ 18692 h 20000"/>
                  <a:gd name="T22" fmla="*/ 11762 w 20000"/>
                  <a:gd name="T23" fmla="*/ 19923 h 20000"/>
                  <a:gd name="T24" fmla="*/ 11003 w 20000"/>
                  <a:gd name="T25" fmla="*/ 13923 h 20000"/>
                  <a:gd name="T26" fmla="*/ 10407 w 20000"/>
                  <a:gd name="T27" fmla="*/ 13538 h 20000"/>
                  <a:gd name="T28" fmla="*/ 8997 w 20000"/>
                  <a:gd name="T29" fmla="*/ 11923 h 20000"/>
                  <a:gd name="T30" fmla="*/ 8130 w 20000"/>
                  <a:gd name="T31" fmla="*/ 14769 h 20000"/>
                  <a:gd name="T32" fmla="*/ 8726 w 20000"/>
                  <a:gd name="T33" fmla="*/ 15538 h 20000"/>
                  <a:gd name="T34" fmla="*/ 6450 w 20000"/>
                  <a:gd name="T35" fmla="*/ 16769 h 20000"/>
                  <a:gd name="T36" fmla="*/ 5908 w 20000"/>
                  <a:gd name="T37" fmla="*/ 17923 h 20000"/>
                  <a:gd name="T38" fmla="*/ 5366 w 20000"/>
                  <a:gd name="T39" fmla="*/ 17154 h 20000"/>
                  <a:gd name="T40" fmla="*/ 3089 w 20000"/>
                  <a:gd name="T41" fmla="*/ 19154 h 20000"/>
                  <a:gd name="T42" fmla="*/ 0 w 20000"/>
                  <a:gd name="T43" fmla="*/ 17923 h 20000"/>
                  <a:gd name="T44" fmla="*/ 1463 w 20000"/>
                  <a:gd name="T45" fmla="*/ 13923 h 20000"/>
                  <a:gd name="T46" fmla="*/ 3089 w 20000"/>
                  <a:gd name="T47" fmla="*/ 9538 h 20000"/>
                  <a:gd name="T48" fmla="*/ 1680 w 20000"/>
                  <a:gd name="T49" fmla="*/ 9538 h 20000"/>
                  <a:gd name="T50" fmla="*/ 867 w 20000"/>
                  <a:gd name="T51" fmla="*/ 8769 h 20000"/>
                  <a:gd name="T52" fmla="*/ 867 w 20000"/>
                  <a:gd name="T53" fmla="*/ 7538 h 20000"/>
                  <a:gd name="T54" fmla="*/ 3089 w 20000"/>
                  <a:gd name="T55" fmla="*/ 6385 h 20000"/>
                  <a:gd name="T56" fmla="*/ 5095 w 20000"/>
                  <a:gd name="T57" fmla="*/ 6385 h 20000"/>
                  <a:gd name="T58" fmla="*/ 5908 w 20000"/>
                  <a:gd name="T59" fmla="*/ 462 h 20000"/>
                  <a:gd name="T60" fmla="*/ 7588 w 20000"/>
                  <a:gd name="T61" fmla="*/ 0 h 20000"/>
                  <a:gd name="T62" fmla="*/ 8997 w 20000"/>
                  <a:gd name="T63" fmla="*/ 1231 h 20000"/>
                  <a:gd name="T64" fmla="*/ 8130 w 20000"/>
                  <a:gd name="T65" fmla="*/ 2385 h 20000"/>
                  <a:gd name="T66" fmla="*/ 8130 w 20000"/>
                  <a:gd name="T67" fmla="*/ 4385 h 20000"/>
                  <a:gd name="T68" fmla="*/ 15447 w 20000"/>
                  <a:gd name="T69" fmla="*/ 753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5447" y="7538"/>
                    </a:moveTo>
                    <a:lnTo>
                      <a:pt x="16314" y="10692"/>
                    </a:lnTo>
                    <a:lnTo>
                      <a:pt x="17182" y="10692"/>
                    </a:lnTo>
                    <a:lnTo>
                      <a:pt x="18537" y="11615"/>
                    </a:lnTo>
                    <a:lnTo>
                      <a:pt x="19946" y="16000"/>
                    </a:lnTo>
                    <a:lnTo>
                      <a:pt x="19079" y="17154"/>
                    </a:lnTo>
                    <a:lnTo>
                      <a:pt x="18266" y="16769"/>
                    </a:lnTo>
                    <a:lnTo>
                      <a:pt x="17724" y="16769"/>
                    </a:lnTo>
                    <a:lnTo>
                      <a:pt x="16314" y="16000"/>
                    </a:lnTo>
                    <a:lnTo>
                      <a:pt x="14634" y="17154"/>
                    </a:lnTo>
                    <a:lnTo>
                      <a:pt x="13225" y="18692"/>
                    </a:lnTo>
                    <a:lnTo>
                      <a:pt x="11762" y="19923"/>
                    </a:lnTo>
                    <a:lnTo>
                      <a:pt x="11003" y="13923"/>
                    </a:lnTo>
                    <a:lnTo>
                      <a:pt x="10407" y="13538"/>
                    </a:lnTo>
                    <a:lnTo>
                      <a:pt x="8997" y="11923"/>
                    </a:lnTo>
                    <a:lnTo>
                      <a:pt x="8130" y="14769"/>
                    </a:lnTo>
                    <a:lnTo>
                      <a:pt x="8726" y="15538"/>
                    </a:lnTo>
                    <a:lnTo>
                      <a:pt x="6450" y="16769"/>
                    </a:lnTo>
                    <a:lnTo>
                      <a:pt x="5908" y="17923"/>
                    </a:lnTo>
                    <a:lnTo>
                      <a:pt x="5366" y="17154"/>
                    </a:lnTo>
                    <a:lnTo>
                      <a:pt x="3089" y="19154"/>
                    </a:lnTo>
                    <a:lnTo>
                      <a:pt x="0" y="17923"/>
                    </a:lnTo>
                    <a:lnTo>
                      <a:pt x="1463" y="13923"/>
                    </a:lnTo>
                    <a:lnTo>
                      <a:pt x="3089" y="9538"/>
                    </a:lnTo>
                    <a:lnTo>
                      <a:pt x="1680" y="9538"/>
                    </a:lnTo>
                    <a:lnTo>
                      <a:pt x="867" y="8769"/>
                    </a:lnTo>
                    <a:lnTo>
                      <a:pt x="867" y="7538"/>
                    </a:lnTo>
                    <a:lnTo>
                      <a:pt x="3089" y="6385"/>
                    </a:lnTo>
                    <a:lnTo>
                      <a:pt x="5095" y="6385"/>
                    </a:lnTo>
                    <a:lnTo>
                      <a:pt x="5908" y="462"/>
                    </a:lnTo>
                    <a:lnTo>
                      <a:pt x="7588" y="0"/>
                    </a:lnTo>
                    <a:lnTo>
                      <a:pt x="8997" y="1231"/>
                    </a:lnTo>
                    <a:lnTo>
                      <a:pt x="8130" y="2385"/>
                    </a:lnTo>
                    <a:lnTo>
                      <a:pt x="8130" y="4385"/>
                    </a:lnTo>
                    <a:lnTo>
                      <a:pt x="15447" y="753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6" name="Freeform 143"/>
              <p:cNvSpPr>
                <a:spLocks/>
              </p:cNvSpPr>
              <p:nvPr/>
            </p:nvSpPr>
            <p:spPr bwMode="auto">
              <a:xfrm>
                <a:off x="6386513" y="3094038"/>
                <a:ext cx="392112" cy="309562"/>
              </a:xfrm>
              <a:custGeom>
                <a:avLst/>
                <a:gdLst>
                  <a:gd name="T0" fmla="*/ 6375 w 20000"/>
                  <a:gd name="T1" fmla="*/ 2131 h 20000"/>
                  <a:gd name="T2" fmla="*/ 6699 w 20000"/>
                  <a:gd name="T3" fmla="*/ 1107 h 20000"/>
                  <a:gd name="T4" fmla="*/ 7540 w 20000"/>
                  <a:gd name="T5" fmla="*/ 0 h 20000"/>
                  <a:gd name="T6" fmla="*/ 7540 w 20000"/>
                  <a:gd name="T7" fmla="*/ 1107 h 20000"/>
                  <a:gd name="T8" fmla="*/ 7735 w 20000"/>
                  <a:gd name="T9" fmla="*/ 2131 h 20000"/>
                  <a:gd name="T10" fmla="*/ 8867 w 20000"/>
                  <a:gd name="T11" fmla="*/ 2131 h 20000"/>
                  <a:gd name="T12" fmla="*/ 9061 w 20000"/>
                  <a:gd name="T13" fmla="*/ 3852 h 20000"/>
                  <a:gd name="T14" fmla="*/ 11068 w 20000"/>
                  <a:gd name="T15" fmla="*/ 4877 h 20000"/>
                  <a:gd name="T16" fmla="*/ 11262 w 20000"/>
                  <a:gd name="T17" fmla="*/ 6803 h 20000"/>
                  <a:gd name="T18" fmla="*/ 11909 w 20000"/>
                  <a:gd name="T19" fmla="*/ 6803 h 20000"/>
                  <a:gd name="T20" fmla="*/ 12589 w 20000"/>
                  <a:gd name="T21" fmla="*/ 6557 h 20000"/>
                  <a:gd name="T22" fmla="*/ 13754 w 20000"/>
                  <a:gd name="T23" fmla="*/ 8279 h 20000"/>
                  <a:gd name="T24" fmla="*/ 14272 w 20000"/>
                  <a:gd name="T25" fmla="*/ 9344 h 20000"/>
                  <a:gd name="T26" fmla="*/ 14757 w 20000"/>
                  <a:gd name="T27" fmla="*/ 9344 h 20000"/>
                  <a:gd name="T28" fmla="*/ 17799 w 20000"/>
                  <a:gd name="T29" fmla="*/ 11885 h 20000"/>
                  <a:gd name="T30" fmla="*/ 18641 w 20000"/>
                  <a:gd name="T31" fmla="*/ 12910 h 20000"/>
                  <a:gd name="T32" fmla="*/ 19644 w 20000"/>
                  <a:gd name="T33" fmla="*/ 12910 h 20000"/>
                  <a:gd name="T34" fmla="*/ 19968 w 20000"/>
                  <a:gd name="T35" fmla="*/ 13770 h 20000"/>
                  <a:gd name="T36" fmla="*/ 19644 w 20000"/>
                  <a:gd name="T37" fmla="*/ 14672 h 20000"/>
                  <a:gd name="T38" fmla="*/ 18641 w 20000"/>
                  <a:gd name="T39" fmla="*/ 15082 h 20000"/>
                  <a:gd name="T40" fmla="*/ 18641 w 20000"/>
                  <a:gd name="T41" fmla="*/ 16762 h 20000"/>
                  <a:gd name="T42" fmla="*/ 16472 w 20000"/>
                  <a:gd name="T43" fmla="*/ 18279 h 20000"/>
                  <a:gd name="T44" fmla="*/ 16796 w 20000"/>
                  <a:gd name="T45" fmla="*/ 18443 h 20000"/>
                  <a:gd name="T46" fmla="*/ 15437 w 20000"/>
                  <a:gd name="T47" fmla="*/ 19959 h 20000"/>
                  <a:gd name="T48" fmla="*/ 15437 w 20000"/>
                  <a:gd name="T49" fmla="*/ 19098 h 20000"/>
                  <a:gd name="T50" fmla="*/ 13754 w 20000"/>
                  <a:gd name="T51" fmla="*/ 18443 h 20000"/>
                  <a:gd name="T52" fmla="*/ 13430 w 20000"/>
                  <a:gd name="T53" fmla="*/ 16352 h 20000"/>
                  <a:gd name="T54" fmla="*/ 9903 w 20000"/>
                  <a:gd name="T55" fmla="*/ 14426 h 20000"/>
                  <a:gd name="T56" fmla="*/ 8058 w 20000"/>
                  <a:gd name="T57" fmla="*/ 13770 h 20000"/>
                  <a:gd name="T58" fmla="*/ 7735 w 20000"/>
                  <a:gd name="T59" fmla="*/ 12910 h 20000"/>
                  <a:gd name="T60" fmla="*/ 6375 w 20000"/>
                  <a:gd name="T61" fmla="*/ 13361 h 20000"/>
                  <a:gd name="T62" fmla="*/ 5372 w 20000"/>
                  <a:gd name="T63" fmla="*/ 13361 h 20000"/>
                  <a:gd name="T64" fmla="*/ 4563 w 20000"/>
                  <a:gd name="T65" fmla="*/ 15082 h 20000"/>
                  <a:gd name="T66" fmla="*/ 3204 w 20000"/>
                  <a:gd name="T67" fmla="*/ 15492 h 20000"/>
                  <a:gd name="T68" fmla="*/ 2848 w 20000"/>
                  <a:gd name="T69" fmla="*/ 11885 h 20000"/>
                  <a:gd name="T70" fmla="*/ 1521 w 20000"/>
                  <a:gd name="T71" fmla="*/ 11066 h 20000"/>
                  <a:gd name="T72" fmla="*/ 1521 w 20000"/>
                  <a:gd name="T73" fmla="*/ 10164 h 20000"/>
                  <a:gd name="T74" fmla="*/ 2362 w 20000"/>
                  <a:gd name="T75" fmla="*/ 10164 h 20000"/>
                  <a:gd name="T76" fmla="*/ 1845 w 20000"/>
                  <a:gd name="T77" fmla="*/ 9549 h 20000"/>
                  <a:gd name="T78" fmla="*/ 1003 w 20000"/>
                  <a:gd name="T79" fmla="*/ 9959 h 20000"/>
                  <a:gd name="T80" fmla="*/ 680 w 20000"/>
                  <a:gd name="T81" fmla="*/ 7459 h 20000"/>
                  <a:gd name="T82" fmla="*/ 1003 w 20000"/>
                  <a:gd name="T83" fmla="*/ 7459 h 20000"/>
                  <a:gd name="T84" fmla="*/ 1845 w 20000"/>
                  <a:gd name="T85" fmla="*/ 7459 h 20000"/>
                  <a:gd name="T86" fmla="*/ 2848 w 20000"/>
                  <a:gd name="T87" fmla="*/ 7869 h 20000"/>
                  <a:gd name="T88" fmla="*/ 3204 w 20000"/>
                  <a:gd name="T89" fmla="*/ 7459 h 20000"/>
                  <a:gd name="T90" fmla="*/ 3204 w 20000"/>
                  <a:gd name="T91" fmla="*/ 6803 h 20000"/>
                  <a:gd name="T92" fmla="*/ 2362 w 20000"/>
                  <a:gd name="T93" fmla="*/ 6148 h 20000"/>
                  <a:gd name="T94" fmla="*/ 1845 w 20000"/>
                  <a:gd name="T95" fmla="*/ 4877 h 20000"/>
                  <a:gd name="T96" fmla="*/ 1003 w 20000"/>
                  <a:gd name="T97" fmla="*/ 4467 h 20000"/>
                  <a:gd name="T98" fmla="*/ 518 w 20000"/>
                  <a:gd name="T99" fmla="*/ 5533 h 20000"/>
                  <a:gd name="T100" fmla="*/ 680 w 20000"/>
                  <a:gd name="T101" fmla="*/ 6803 h 20000"/>
                  <a:gd name="T102" fmla="*/ 0 w 20000"/>
                  <a:gd name="T103" fmla="*/ 5533 h 20000"/>
                  <a:gd name="T104" fmla="*/ 680 w 20000"/>
                  <a:gd name="T105" fmla="*/ 4057 h 20000"/>
                  <a:gd name="T106" fmla="*/ 2006 w 20000"/>
                  <a:gd name="T107" fmla="*/ 4467 h 20000"/>
                  <a:gd name="T108" fmla="*/ 2848 w 20000"/>
                  <a:gd name="T109" fmla="*/ 5123 h 20000"/>
                  <a:gd name="T110" fmla="*/ 4563 w 20000"/>
                  <a:gd name="T111" fmla="*/ 5738 h 20000"/>
                  <a:gd name="T112" fmla="*/ 5372 w 20000"/>
                  <a:gd name="T113" fmla="*/ 5533 h 20000"/>
                  <a:gd name="T114" fmla="*/ 7055 w 20000"/>
                  <a:gd name="T115" fmla="*/ 5123 h 20000"/>
                  <a:gd name="T116" fmla="*/ 6375 w 20000"/>
                  <a:gd name="T117" fmla="*/ 21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6375" y="2131"/>
                    </a:moveTo>
                    <a:lnTo>
                      <a:pt x="6699" y="1107"/>
                    </a:lnTo>
                    <a:lnTo>
                      <a:pt x="7540" y="0"/>
                    </a:lnTo>
                    <a:lnTo>
                      <a:pt x="7540" y="1107"/>
                    </a:lnTo>
                    <a:lnTo>
                      <a:pt x="7735" y="2131"/>
                    </a:lnTo>
                    <a:lnTo>
                      <a:pt x="8867" y="2131"/>
                    </a:lnTo>
                    <a:lnTo>
                      <a:pt x="9061" y="3852"/>
                    </a:lnTo>
                    <a:lnTo>
                      <a:pt x="11068" y="4877"/>
                    </a:lnTo>
                    <a:lnTo>
                      <a:pt x="11262" y="6803"/>
                    </a:lnTo>
                    <a:lnTo>
                      <a:pt x="11909" y="6803"/>
                    </a:lnTo>
                    <a:lnTo>
                      <a:pt x="12589" y="6557"/>
                    </a:lnTo>
                    <a:lnTo>
                      <a:pt x="13754" y="8279"/>
                    </a:lnTo>
                    <a:lnTo>
                      <a:pt x="14272" y="9344"/>
                    </a:lnTo>
                    <a:lnTo>
                      <a:pt x="14757" y="9344"/>
                    </a:lnTo>
                    <a:lnTo>
                      <a:pt x="17799" y="11885"/>
                    </a:lnTo>
                    <a:lnTo>
                      <a:pt x="18641" y="12910"/>
                    </a:lnTo>
                    <a:lnTo>
                      <a:pt x="19644" y="12910"/>
                    </a:lnTo>
                    <a:lnTo>
                      <a:pt x="19968" y="13770"/>
                    </a:lnTo>
                    <a:lnTo>
                      <a:pt x="19644" y="14672"/>
                    </a:lnTo>
                    <a:lnTo>
                      <a:pt x="18641" y="15082"/>
                    </a:lnTo>
                    <a:lnTo>
                      <a:pt x="18641" y="16762"/>
                    </a:lnTo>
                    <a:lnTo>
                      <a:pt x="16472" y="18279"/>
                    </a:lnTo>
                    <a:lnTo>
                      <a:pt x="16796" y="18443"/>
                    </a:lnTo>
                    <a:lnTo>
                      <a:pt x="15437" y="19959"/>
                    </a:lnTo>
                    <a:lnTo>
                      <a:pt x="15437" y="19098"/>
                    </a:lnTo>
                    <a:lnTo>
                      <a:pt x="13754" y="18443"/>
                    </a:lnTo>
                    <a:lnTo>
                      <a:pt x="13430" y="16352"/>
                    </a:lnTo>
                    <a:lnTo>
                      <a:pt x="9903" y="14426"/>
                    </a:lnTo>
                    <a:lnTo>
                      <a:pt x="8058" y="13770"/>
                    </a:lnTo>
                    <a:lnTo>
                      <a:pt x="7735" y="12910"/>
                    </a:lnTo>
                    <a:lnTo>
                      <a:pt x="6375" y="13361"/>
                    </a:lnTo>
                    <a:lnTo>
                      <a:pt x="5372" y="13361"/>
                    </a:lnTo>
                    <a:lnTo>
                      <a:pt x="4563" y="15082"/>
                    </a:lnTo>
                    <a:lnTo>
                      <a:pt x="3204" y="15492"/>
                    </a:lnTo>
                    <a:lnTo>
                      <a:pt x="2848" y="11885"/>
                    </a:lnTo>
                    <a:lnTo>
                      <a:pt x="1521" y="11066"/>
                    </a:lnTo>
                    <a:lnTo>
                      <a:pt x="1521" y="10164"/>
                    </a:lnTo>
                    <a:lnTo>
                      <a:pt x="2362" y="10164"/>
                    </a:lnTo>
                    <a:lnTo>
                      <a:pt x="1845" y="9549"/>
                    </a:lnTo>
                    <a:lnTo>
                      <a:pt x="1003" y="9959"/>
                    </a:lnTo>
                    <a:lnTo>
                      <a:pt x="680" y="7459"/>
                    </a:lnTo>
                    <a:lnTo>
                      <a:pt x="1003" y="7459"/>
                    </a:lnTo>
                    <a:lnTo>
                      <a:pt x="1845" y="7459"/>
                    </a:lnTo>
                    <a:lnTo>
                      <a:pt x="2848" y="7869"/>
                    </a:lnTo>
                    <a:lnTo>
                      <a:pt x="3204" y="7459"/>
                    </a:lnTo>
                    <a:lnTo>
                      <a:pt x="3204" y="6803"/>
                    </a:lnTo>
                    <a:lnTo>
                      <a:pt x="2362" y="6148"/>
                    </a:lnTo>
                    <a:lnTo>
                      <a:pt x="1845" y="4877"/>
                    </a:lnTo>
                    <a:lnTo>
                      <a:pt x="1003" y="4467"/>
                    </a:lnTo>
                    <a:lnTo>
                      <a:pt x="518" y="5533"/>
                    </a:lnTo>
                    <a:lnTo>
                      <a:pt x="680" y="6803"/>
                    </a:lnTo>
                    <a:lnTo>
                      <a:pt x="0" y="5533"/>
                    </a:lnTo>
                    <a:lnTo>
                      <a:pt x="680" y="4057"/>
                    </a:lnTo>
                    <a:lnTo>
                      <a:pt x="2006" y="4467"/>
                    </a:lnTo>
                    <a:lnTo>
                      <a:pt x="2848" y="5123"/>
                    </a:lnTo>
                    <a:lnTo>
                      <a:pt x="4563" y="5738"/>
                    </a:lnTo>
                    <a:lnTo>
                      <a:pt x="5372" y="5533"/>
                    </a:lnTo>
                    <a:lnTo>
                      <a:pt x="7055" y="5123"/>
                    </a:lnTo>
                    <a:lnTo>
                      <a:pt x="6375" y="213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7" name="Freeform 142"/>
              <p:cNvSpPr>
                <a:spLocks/>
              </p:cNvSpPr>
              <p:nvPr/>
            </p:nvSpPr>
            <p:spPr bwMode="auto">
              <a:xfrm>
                <a:off x="5673725" y="3517900"/>
                <a:ext cx="339725" cy="303213"/>
              </a:xfrm>
              <a:custGeom>
                <a:avLst/>
                <a:gdLst>
                  <a:gd name="T0" fmla="*/ 374 w 20000"/>
                  <a:gd name="T1" fmla="*/ 671 h 20000"/>
                  <a:gd name="T2" fmla="*/ 1159 w 20000"/>
                  <a:gd name="T3" fmla="*/ 671 h 20000"/>
                  <a:gd name="T4" fmla="*/ 2542 w 20000"/>
                  <a:gd name="T5" fmla="*/ 671 h 20000"/>
                  <a:gd name="T6" fmla="*/ 6579 w 20000"/>
                  <a:gd name="T7" fmla="*/ 1719 h 20000"/>
                  <a:gd name="T8" fmla="*/ 8710 w 20000"/>
                  <a:gd name="T9" fmla="*/ 1551 h 20000"/>
                  <a:gd name="T10" fmla="*/ 8710 w 20000"/>
                  <a:gd name="T11" fmla="*/ 671 h 20000"/>
                  <a:gd name="T12" fmla="*/ 9308 w 20000"/>
                  <a:gd name="T13" fmla="*/ 1090 h 20000"/>
                  <a:gd name="T14" fmla="*/ 9682 w 20000"/>
                  <a:gd name="T15" fmla="*/ 671 h 20000"/>
                  <a:gd name="T16" fmla="*/ 11028 w 20000"/>
                  <a:gd name="T17" fmla="*/ 1090 h 20000"/>
                  <a:gd name="T18" fmla="*/ 11626 w 20000"/>
                  <a:gd name="T19" fmla="*/ 1719 h 20000"/>
                  <a:gd name="T20" fmla="*/ 11626 w 20000"/>
                  <a:gd name="T21" fmla="*/ 1090 h 20000"/>
                  <a:gd name="T22" fmla="*/ 11850 w 20000"/>
                  <a:gd name="T23" fmla="*/ 1090 h 20000"/>
                  <a:gd name="T24" fmla="*/ 12224 w 20000"/>
                  <a:gd name="T25" fmla="*/ 1551 h 20000"/>
                  <a:gd name="T26" fmla="*/ 13383 w 20000"/>
                  <a:gd name="T27" fmla="*/ 1551 h 20000"/>
                  <a:gd name="T28" fmla="*/ 15140 w 20000"/>
                  <a:gd name="T29" fmla="*/ 1090 h 20000"/>
                  <a:gd name="T30" fmla="*/ 15290 w 20000"/>
                  <a:gd name="T31" fmla="*/ 0 h 20000"/>
                  <a:gd name="T32" fmla="*/ 15664 w 20000"/>
                  <a:gd name="T33" fmla="*/ 671 h 20000"/>
                  <a:gd name="T34" fmla="*/ 15290 w 20000"/>
                  <a:gd name="T35" fmla="*/ 1551 h 20000"/>
                  <a:gd name="T36" fmla="*/ 15888 w 20000"/>
                  <a:gd name="T37" fmla="*/ 2390 h 20000"/>
                  <a:gd name="T38" fmla="*/ 16262 w 20000"/>
                  <a:gd name="T39" fmla="*/ 3438 h 20000"/>
                  <a:gd name="T40" fmla="*/ 16262 w 20000"/>
                  <a:gd name="T41" fmla="*/ 4990 h 20000"/>
                  <a:gd name="T42" fmla="*/ 15888 w 20000"/>
                  <a:gd name="T43" fmla="*/ 4990 h 20000"/>
                  <a:gd name="T44" fmla="*/ 15888 w 20000"/>
                  <a:gd name="T45" fmla="*/ 5660 h 20000"/>
                  <a:gd name="T46" fmla="*/ 15664 w 20000"/>
                  <a:gd name="T47" fmla="*/ 7379 h 20000"/>
                  <a:gd name="T48" fmla="*/ 15290 w 20000"/>
                  <a:gd name="T49" fmla="*/ 8050 h 20000"/>
                  <a:gd name="T50" fmla="*/ 13757 w 20000"/>
                  <a:gd name="T51" fmla="*/ 6709 h 20000"/>
                  <a:gd name="T52" fmla="*/ 13383 w 20000"/>
                  <a:gd name="T53" fmla="*/ 5660 h 20000"/>
                  <a:gd name="T54" fmla="*/ 13159 w 20000"/>
                  <a:gd name="T55" fmla="*/ 5241 h 20000"/>
                  <a:gd name="T56" fmla="*/ 12598 w 20000"/>
                  <a:gd name="T57" fmla="*/ 4361 h 20000"/>
                  <a:gd name="T58" fmla="*/ 12224 w 20000"/>
                  <a:gd name="T59" fmla="*/ 4361 h 20000"/>
                  <a:gd name="T60" fmla="*/ 12224 w 20000"/>
                  <a:gd name="T61" fmla="*/ 4570 h 20000"/>
                  <a:gd name="T62" fmla="*/ 12598 w 20000"/>
                  <a:gd name="T63" fmla="*/ 5241 h 20000"/>
                  <a:gd name="T64" fmla="*/ 14131 w 20000"/>
                  <a:gd name="T65" fmla="*/ 7799 h 20000"/>
                  <a:gd name="T66" fmla="*/ 14131 w 20000"/>
                  <a:gd name="T67" fmla="*/ 8470 h 20000"/>
                  <a:gd name="T68" fmla="*/ 15140 w 20000"/>
                  <a:gd name="T69" fmla="*/ 10189 h 20000"/>
                  <a:gd name="T70" fmla="*/ 15888 w 20000"/>
                  <a:gd name="T71" fmla="*/ 11908 h 20000"/>
                  <a:gd name="T72" fmla="*/ 17832 w 20000"/>
                  <a:gd name="T73" fmla="*/ 15849 h 20000"/>
                  <a:gd name="T74" fmla="*/ 18206 w 20000"/>
                  <a:gd name="T75" fmla="*/ 16268 h 20000"/>
                  <a:gd name="T76" fmla="*/ 17832 w 20000"/>
                  <a:gd name="T77" fmla="*/ 16268 h 20000"/>
                  <a:gd name="T78" fmla="*/ 18393 w 20000"/>
                  <a:gd name="T79" fmla="*/ 18239 h 20000"/>
                  <a:gd name="T80" fmla="*/ 19178 w 20000"/>
                  <a:gd name="T81" fmla="*/ 18658 h 20000"/>
                  <a:gd name="T82" fmla="*/ 19364 w 20000"/>
                  <a:gd name="T83" fmla="*/ 19287 h 20000"/>
                  <a:gd name="T84" fmla="*/ 19963 w 20000"/>
                  <a:gd name="T85" fmla="*/ 19958 h 20000"/>
                  <a:gd name="T86" fmla="*/ 972 w 20000"/>
                  <a:gd name="T87" fmla="*/ 19748 h 20000"/>
                  <a:gd name="T88" fmla="*/ 374 w 20000"/>
                  <a:gd name="T89" fmla="*/ 5241 h 20000"/>
                  <a:gd name="T90" fmla="*/ 0 w 20000"/>
                  <a:gd name="T91" fmla="*/ 3438 h 20000"/>
                  <a:gd name="T92" fmla="*/ 374 w 20000"/>
                  <a:gd name="T93" fmla="*/ 2390 h 20000"/>
                  <a:gd name="T94" fmla="*/ 0 w 20000"/>
                  <a:gd name="T95" fmla="*/ 1090 h 20000"/>
                  <a:gd name="T96" fmla="*/ 374 w 20000"/>
                  <a:gd name="T97" fmla="*/ 67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374" y="671"/>
                    </a:moveTo>
                    <a:lnTo>
                      <a:pt x="1159" y="671"/>
                    </a:lnTo>
                    <a:lnTo>
                      <a:pt x="2542" y="671"/>
                    </a:lnTo>
                    <a:lnTo>
                      <a:pt x="6579" y="1719"/>
                    </a:lnTo>
                    <a:lnTo>
                      <a:pt x="8710" y="1551"/>
                    </a:lnTo>
                    <a:lnTo>
                      <a:pt x="8710" y="671"/>
                    </a:lnTo>
                    <a:lnTo>
                      <a:pt x="9308" y="1090"/>
                    </a:lnTo>
                    <a:lnTo>
                      <a:pt x="9682" y="671"/>
                    </a:lnTo>
                    <a:lnTo>
                      <a:pt x="11028" y="1090"/>
                    </a:lnTo>
                    <a:lnTo>
                      <a:pt x="11626" y="1719"/>
                    </a:lnTo>
                    <a:lnTo>
                      <a:pt x="11626" y="1090"/>
                    </a:lnTo>
                    <a:lnTo>
                      <a:pt x="11850" y="1090"/>
                    </a:lnTo>
                    <a:lnTo>
                      <a:pt x="12224" y="1551"/>
                    </a:lnTo>
                    <a:lnTo>
                      <a:pt x="13383" y="1551"/>
                    </a:lnTo>
                    <a:lnTo>
                      <a:pt x="15140" y="1090"/>
                    </a:lnTo>
                    <a:lnTo>
                      <a:pt x="15290" y="0"/>
                    </a:lnTo>
                    <a:lnTo>
                      <a:pt x="15664" y="671"/>
                    </a:lnTo>
                    <a:lnTo>
                      <a:pt x="15290" y="1551"/>
                    </a:lnTo>
                    <a:lnTo>
                      <a:pt x="15888" y="2390"/>
                    </a:lnTo>
                    <a:lnTo>
                      <a:pt x="16262" y="3438"/>
                    </a:lnTo>
                    <a:lnTo>
                      <a:pt x="16262" y="4990"/>
                    </a:lnTo>
                    <a:lnTo>
                      <a:pt x="15888" y="4990"/>
                    </a:lnTo>
                    <a:lnTo>
                      <a:pt x="15888" y="5660"/>
                    </a:lnTo>
                    <a:lnTo>
                      <a:pt x="15664" y="7379"/>
                    </a:lnTo>
                    <a:lnTo>
                      <a:pt x="15290" y="8050"/>
                    </a:lnTo>
                    <a:lnTo>
                      <a:pt x="13757" y="6709"/>
                    </a:lnTo>
                    <a:lnTo>
                      <a:pt x="13383" y="5660"/>
                    </a:lnTo>
                    <a:lnTo>
                      <a:pt x="13159" y="5241"/>
                    </a:lnTo>
                    <a:lnTo>
                      <a:pt x="12598" y="4361"/>
                    </a:lnTo>
                    <a:lnTo>
                      <a:pt x="12224" y="4361"/>
                    </a:lnTo>
                    <a:lnTo>
                      <a:pt x="12224" y="4570"/>
                    </a:lnTo>
                    <a:lnTo>
                      <a:pt x="12598" y="5241"/>
                    </a:lnTo>
                    <a:lnTo>
                      <a:pt x="14131" y="7799"/>
                    </a:lnTo>
                    <a:lnTo>
                      <a:pt x="14131" y="8470"/>
                    </a:lnTo>
                    <a:lnTo>
                      <a:pt x="15140" y="10189"/>
                    </a:lnTo>
                    <a:lnTo>
                      <a:pt x="15888" y="11908"/>
                    </a:lnTo>
                    <a:lnTo>
                      <a:pt x="17832" y="15849"/>
                    </a:lnTo>
                    <a:lnTo>
                      <a:pt x="18206" y="16268"/>
                    </a:lnTo>
                    <a:lnTo>
                      <a:pt x="17832" y="16268"/>
                    </a:lnTo>
                    <a:lnTo>
                      <a:pt x="18393" y="18239"/>
                    </a:lnTo>
                    <a:lnTo>
                      <a:pt x="19178" y="18658"/>
                    </a:lnTo>
                    <a:lnTo>
                      <a:pt x="19364" y="19287"/>
                    </a:lnTo>
                    <a:lnTo>
                      <a:pt x="19963" y="19958"/>
                    </a:lnTo>
                    <a:lnTo>
                      <a:pt x="972" y="19748"/>
                    </a:lnTo>
                    <a:lnTo>
                      <a:pt x="374" y="5241"/>
                    </a:lnTo>
                    <a:lnTo>
                      <a:pt x="0" y="3438"/>
                    </a:lnTo>
                    <a:lnTo>
                      <a:pt x="374" y="2390"/>
                    </a:lnTo>
                    <a:lnTo>
                      <a:pt x="0" y="1090"/>
                    </a:lnTo>
                    <a:lnTo>
                      <a:pt x="374" y="67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8" name="Freeform 141"/>
              <p:cNvSpPr>
                <a:spLocks/>
              </p:cNvSpPr>
              <p:nvPr/>
            </p:nvSpPr>
            <p:spPr bwMode="auto">
              <a:xfrm>
                <a:off x="4749799" y="3352801"/>
                <a:ext cx="579438" cy="552446"/>
              </a:xfrm>
              <a:custGeom>
                <a:avLst/>
                <a:gdLst>
                  <a:gd name="T0" fmla="*/ 6579 w 20000"/>
                  <a:gd name="T1" fmla="*/ 2250 h 20000"/>
                  <a:gd name="T2" fmla="*/ 7478 w 20000"/>
                  <a:gd name="T3" fmla="*/ 1791 h 20000"/>
                  <a:gd name="T4" fmla="*/ 8158 w 20000"/>
                  <a:gd name="T5" fmla="*/ 1309 h 20000"/>
                  <a:gd name="T6" fmla="*/ 9868 w 20000"/>
                  <a:gd name="T7" fmla="*/ 597 h 20000"/>
                  <a:gd name="T8" fmla="*/ 11338 w 20000"/>
                  <a:gd name="T9" fmla="*/ 367 h 20000"/>
                  <a:gd name="T10" fmla="*/ 12500 w 20000"/>
                  <a:gd name="T11" fmla="*/ 230 h 20000"/>
                  <a:gd name="T12" fmla="*/ 13399 w 20000"/>
                  <a:gd name="T13" fmla="*/ 597 h 20000"/>
                  <a:gd name="T14" fmla="*/ 14298 w 20000"/>
                  <a:gd name="T15" fmla="*/ 0 h 20000"/>
                  <a:gd name="T16" fmla="*/ 14868 w 20000"/>
                  <a:gd name="T17" fmla="*/ 230 h 20000"/>
                  <a:gd name="T18" fmla="*/ 15768 w 20000"/>
                  <a:gd name="T19" fmla="*/ 367 h 20000"/>
                  <a:gd name="T20" fmla="*/ 16447 w 20000"/>
                  <a:gd name="T21" fmla="*/ 367 h 20000"/>
                  <a:gd name="T22" fmla="*/ 16118 w 20000"/>
                  <a:gd name="T23" fmla="*/ 850 h 20000"/>
                  <a:gd name="T24" fmla="*/ 16118 w 20000"/>
                  <a:gd name="T25" fmla="*/ 2503 h 20000"/>
                  <a:gd name="T26" fmla="*/ 15768 w 20000"/>
                  <a:gd name="T27" fmla="*/ 4271 h 20000"/>
                  <a:gd name="T28" fmla="*/ 16360 w 20000"/>
                  <a:gd name="T29" fmla="*/ 5235 h 20000"/>
                  <a:gd name="T30" fmla="*/ 17368 w 20000"/>
                  <a:gd name="T31" fmla="*/ 7738 h 20000"/>
                  <a:gd name="T32" fmla="*/ 17829 w 20000"/>
                  <a:gd name="T33" fmla="*/ 10356 h 20000"/>
                  <a:gd name="T34" fmla="*/ 17829 w 20000"/>
                  <a:gd name="T35" fmla="*/ 11871 h 20000"/>
                  <a:gd name="T36" fmla="*/ 17939 w 20000"/>
                  <a:gd name="T37" fmla="*/ 13318 h 20000"/>
                  <a:gd name="T38" fmla="*/ 18289 w 20000"/>
                  <a:gd name="T39" fmla="*/ 14259 h 20000"/>
                  <a:gd name="T40" fmla="*/ 19408 w 20000"/>
                  <a:gd name="T41" fmla="*/ 14397 h 20000"/>
                  <a:gd name="T42" fmla="*/ 19079 w 20000"/>
                  <a:gd name="T43" fmla="*/ 15798 h 20000"/>
                  <a:gd name="T44" fmla="*/ 14079 w 20000"/>
                  <a:gd name="T45" fmla="*/ 19265 h 20000"/>
                  <a:gd name="T46" fmla="*/ 11579 w 20000"/>
                  <a:gd name="T47" fmla="*/ 19977 h 20000"/>
                  <a:gd name="T48" fmla="*/ 11579 w 20000"/>
                  <a:gd name="T49" fmla="*/ 19380 h 20000"/>
                  <a:gd name="T50" fmla="*/ 11009 w 20000"/>
                  <a:gd name="T51" fmla="*/ 18760 h 20000"/>
                  <a:gd name="T52" fmla="*/ 10088 w 20000"/>
                  <a:gd name="T53" fmla="*/ 18439 h 20000"/>
                  <a:gd name="T54" fmla="*/ 9539 w 20000"/>
                  <a:gd name="T55" fmla="*/ 17819 h 20000"/>
                  <a:gd name="T56" fmla="*/ 0 w 20000"/>
                  <a:gd name="T57" fmla="*/ 10815 h 20000"/>
                  <a:gd name="T58" fmla="*/ 351 w 20000"/>
                  <a:gd name="T59" fmla="*/ 9047 h 20000"/>
                  <a:gd name="T60" fmla="*/ 1820 w 20000"/>
                  <a:gd name="T61" fmla="*/ 8450 h 20000"/>
                  <a:gd name="T62" fmla="*/ 2500 w 20000"/>
                  <a:gd name="T63" fmla="*/ 8450 h 20000"/>
                  <a:gd name="T64" fmla="*/ 4430 w 20000"/>
                  <a:gd name="T65" fmla="*/ 7256 h 20000"/>
                  <a:gd name="T66" fmla="*/ 4759 w 20000"/>
                  <a:gd name="T67" fmla="*/ 6521 h 20000"/>
                  <a:gd name="T68" fmla="*/ 5461 w 20000"/>
                  <a:gd name="T69" fmla="*/ 6177 h 20000"/>
                  <a:gd name="T70" fmla="*/ 7149 w 20000"/>
                  <a:gd name="T71" fmla="*/ 5580 h 20000"/>
                  <a:gd name="T72" fmla="*/ 7149 w 20000"/>
                  <a:gd name="T73" fmla="*/ 4983 h 20000"/>
                  <a:gd name="T74" fmla="*/ 6798 w 20000"/>
                  <a:gd name="T75" fmla="*/ 3812 h 20000"/>
                  <a:gd name="T76" fmla="*/ 6579 w 20000"/>
                  <a:gd name="T77" fmla="*/ 27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6228" y="2250"/>
                    </a:moveTo>
                    <a:lnTo>
                      <a:pt x="6579" y="2250"/>
                    </a:lnTo>
                    <a:lnTo>
                      <a:pt x="6930" y="1906"/>
                    </a:lnTo>
                    <a:lnTo>
                      <a:pt x="7478" y="1791"/>
                    </a:lnTo>
                    <a:lnTo>
                      <a:pt x="7829" y="1538"/>
                    </a:lnTo>
                    <a:lnTo>
                      <a:pt x="8158" y="1309"/>
                    </a:lnTo>
                    <a:lnTo>
                      <a:pt x="8728" y="941"/>
                    </a:lnTo>
                    <a:lnTo>
                      <a:pt x="9868" y="597"/>
                    </a:lnTo>
                    <a:lnTo>
                      <a:pt x="10789" y="597"/>
                    </a:lnTo>
                    <a:lnTo>
                      <a:pt x="11338" y="367"/>
                    </a:lnTo>
                    <a:lnTo>
                      <a:pt x="11689" y="230"/>
                    </a:lnTo>
                    <a:lnTo>
                      <a:pt x="12500" y="230"/>
                    </a:lnTo>
                    <a:lnTo>
                      <a:pt x="13048" y="597"/>
                    </a:lnTo>
                    <a:lnTo>
                      <a:pt x="13399" y="597"/>
                    </a:lnTo>
                    <a:lnTo>
                      <a:pt x="13750" y="367"/>
                    </a:lnTo>
                    <a:lnTo>
                      <a:pt x="14298" y="0"/>
                    </a:lnTo>
                    <a:lnTo>
                      <a:pt x="14430" y="0"/>
                    </a:lnTo>
                    <a:lnTo>
                      <a:pt x="14868" y="230"/>
                    </a:lnTo>
                    <a:lnTo>
                      <a:pt x="14978" y="0"/>
                    </a:lnTo>
                    <a:lnTo>
                      <a:pt x="15768" y="367"/>
                    </a:lnTo>
                    <a:lnTo>
                      <a:pt x="16447" y="230"/>
                    </a:lnTo>
                    <a:lnTo>
                      <a:pt x="16447" y="367"/>
                    </a:lnTo>
                    <a:lnTo>
                      <a:pt x="16118" y="597"/>
                    </a:lnTo>
                    <a:lnTo>
                      <a:pt x="16118" y="850"/>
                    </a:lnTo>
                    <a:lnTo>
                      <a:pt x="16118" y="1538"/>
                    </a:lnTo>
                    <a:lnTo>
                      <a:pt x="16118" y="2503"/>
                    </a:lnTo>
                    <a:lnTo>
                      <a:pt x="15461" y="3467"/>
                    </a:lnTo>
                    <a:lnTo>
                      <a:pt x="15768" y="4271"/>
                    </a:lnTo>
                    <a:lnTo>
                      <a:pt x="16118" y="4409"/>
                    </a:lnTo>
                    <a:lnTo>
                      <a:pt x="16360" y="5235"/>
                    </a:lnTo>
                    <a:lnTo>
                      <a:pt x="17039" y="5580"/>
                    </a:lnTo>
                    <a:lnTo>
                      <a:pt x="17368" y="7738"/>
                    </a:lnTo>
                    <a:lnTo>
                      <a:pt x="17610" y="9047"/>
                    </a:lnTo>
                    <a:lnTo>
                      <a:pt x="17829" y="10356"/>
                    </a:lnTo>
                    <a:lnTo>
                      <a:pt x="17610" y="10930"/>
                    </a:lnTo>
                    <a:lnTo>
                      <a:pt x="17829" y="11871"/>
                    </a:lnTo>
                    <a:lnTo>
                      <a:pt x="17368" y="12377"/>
                    </a:lnTo>
                    <a:lnTo>
                      <a:pt x="17939" y="13318"/>
                    </a:lnTo>
                    <a:lnTo>
                      <a:pt x="17939" y="13685"/>
                    </a:lnTo>
                    <a:lnTo>
                      <a:pt x="18289" y="14259"/>
                    </a:lnTo>
                    <a:lnTo>
                      <a:pt x="18728" y="14030"/>
                    </a:lnTo>
                    <a:lnTo>
                      <a:pt x="19408" y="14397"/>
                    </a:lnTo>
                    <a:lnTo>
                      <a:pt x="19978" y="15201"/>
                    </a:lnTo>
                    <a:lnTo>
                      <a:pt x="19079" y="15798"/>
                    </a:lnTo>
                    <a:lnTo>
                      <a:pt x="15548" y="17819"/>
                    </a:lnTo>
                    <a:lnTo>
                      <a:pt x="14079" y="19265"/>
                    </a:lnTo>
                    <a:lnTo>
                      <a:pt x="12500" y="19839"/>
                    </a:lnTo>
                    <a:lnTo>
                      <a:pt x="11579" y="19977"/>
                    </a:lnTo>
                    <a:lnTo>
                      <a:pt x="11338" y="19839"/>
                    </a:lnTo>
                    <a:lnTo>
                      <a:pt x="11579" y="19380"/>
                    </a:lnTo>
                    <a:lnTo>
                      <a:pt x="11338" y="19036"/>
                    </a:lnTo>
                    <a:lnTo>
                      <a:pt x="11009" y="18760"/>
                    </a:lnTo>
                    <a:lnTo>
                      <a:pt x="10570" y="18668"/>
                    </a:lnTo>
                    <a:lnTo>
                      <a:pt x="10088" y="18439"/>
                    </a:lnTo>
                    <a:lnTo>
                      <a:pt x="9539" y="18071"/>
                    </a:lnTo>
                    <a:lnTo>
                      <a:pt x="9539" y="17819"/>
                    </a:lnTo>
                    <a:lnTo>
                      <a:pt x="3618" y="13433"/>
                    </a:lnTo>
                    <a:lnTo>
                      <a:pt x="0" y="10815"/>
                    </a:lnTo>
                    <a:lnTo>
                      <a:pt x="0" y="9277"/>
                    </a:lnTo>
                    <a:lnTo>
                      <a:pt x="351" y="9047"/>
                    </a:lnTo>
                    <a:lnTo>
                      <a:pt x="1250" y="8450"/>
                    </a:lnTo>
                    <a:lnTo>
                      <a:pt x="1820" y="8450"/>
                    </a:lnTo>
                    <a:lnTo>
                      <a:pt x="2149" y="8312"/>
                    </a:lnTo>
                    <a:lnTo>
                      <a:pt x="2500" y="8450"/>
                    </a:lnTo>
                    <a:lnTo>
                      <a:pt x="3268" y="8312"/>
                    </a:lnTo>
                    <a:lnTo>
                      <a:pt x="4430" y="7256"/>
                    </a:lnTo>
                    <a:lnTo>
                      <a:pt x="4759" y="6889"/>
                    </a:lnTo>
                    <a:lnTo>
                      <a:pt x="4759" y="6521"/>
                    </a:lnTo>
                    <a:lnTo>
                      <a:pt x="4759" y="6292"/>
                    </a:lnTo>
                    <a:lnTo>
                      <a:pt x="5461" y="6177"/>
                    </a:lnTo>
                    <a:lnTo>
                      <a:pt x="5461" y="5832"/>
                    </a:lnTo>
                    <a:lnTo>
                      <a:pt x="7149" y="5580"/>
                    </a:lnTo>
                    <a:lnTo>
                      <a:pt x="7149" y="5350"/>
                    </a:lnTo>
                    <a:lnTo>
                      <a:pt x="7149" y="4983"/>
                    </a:lnTo>
                    <a:lnTo>
                      <a:pt x="6930" y="4638"/>
                    </a:lnTo>
                    <a:lnTo>
                      <a:pt x="6798" y="3812"/>
                    </a:lnTo>
                    <a:lnTo>
                      <a:pt x="6798" y="3330"/>
                    </a:lnTo>
                    <a:lnTo>
                      <a:pt x="6579" y="2732"/>
                    </a:lnTo>
                    <a:lnTo>
                      <a:pt x="6228" y="225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09" name="Freeform 140"/>
              <p:cNvSpPr>
                <a:spLocks/>
              </p:cNvSpPr>
              <p:nvPr/>
            </p:nvSpPr>
            <p:spPr bwMode="auto">
              <a:xfrm>
                <a:off x="5311775" y="4618038"/>
                <a:ext cx="352425" cy="349250"/>
              </a:xfrm>
              <a:custGeom>
                <a:avLst/>
                <a:gdLst>
                  <a:gd name="T0" fmla="*/ 2955 w 20000"/>
                  <a:gd name="T1" fmla="*/ 0 h 20000"/>
                  <a:gd name="T2" fmla="*/ 4288 w 20000"/>
                  <a:gd name="T3" fmla="*/ 0 h 20000"/>
                  <a:gd name="T4" fmla="*/ 8216 w 20000"/>
                  <a:gd name="T5" fmla="*/ 0 h 20000"/>
                  <a:gd name="T6" fmla="*/ 8396 w 20000"/>
                  <a:gd name="T7" fmla="*/ 1127 h 20000"/>
                  <a:gd name="T8" fmla="*/ 8757 w 20000"/>
                  <a:gd name="T9" fmla="*/ 2073 h 20000"/>
                  <a:gd name="T10" fmla="*/ 11207 w 20000"/>
                  <a:gd name="T11" fmla="*/ 3564 h 20000"/>
                  <a:gd name="T12" fmla="*/ 12685 w 20000"/>
                  <a:gd name="T13" fmla="*/ 3200 h 20000"/>
                  <a:gd name="T14" fmla="*/ 13045 w 20000"/>
                  <a:gd name="T15" fmla="*/ 2655 h 20000"/>
                  <a:gd name="T16" fmla="*/ 13802 w 20000"/>
                  <a:gd name="T17" fmla="*/ 1709 h 20000"/>
                  <a:gd name="T18" fmla="*/ 14739 w 20000"/>
                  <a:gd name="T19" fmla="*/ 2473 h 20000"/>
                  <a:gd name="T20" fmla="*/ 16613 w 20000"/>
                  <a:gd name="T21" fmla="*/ 3564 h 20000"/>
                  <a:gd name="T22" fmla="*/ 16216 w 20000"/>
                  <a:gd name="T23" fmla="*/ 5673 h 20000"/>
                  <a:gd name="T24" fmla="*/ 17189 w 20000"/>
                  <a:gd name="T25" fmla="*/ 6618 h 20000"/>
                  <a:gd name="T26" fmla="*/ 17189 w 20000"/>
                  <a:gd name="T27" fmla="*/ 8473 h 20000"/>
                  <a:gd name="T28" fmla="*/ 17694 w 20000"/>
                  <a:gd name="T29" fmla="*/ 8473 h 20000"/>
                  <a:gd name="T30" fmla="*/ 19387 w 20000"/>
                  <a:gd name="T31" fmla="*/ 8109 h 20000"/>
                  <a:gd name="T32" fmla="*/ 19964 w 20000"/>
                  <a:gd name="T33" fmla="*/ 8109 h 20000"/>
                  <a:gd name="T34" fmla="*/ 19964 w 20000"/>
                  <a:gd name="T35" fmla="*/ 11127 h 20000"/>
                  <a:gd name="T36" fmla="*/ 19964 w 20000"/>
                  <a:gd name="T37" fmla="*/ 11891 h 20000"/>
                  <a:gd name="T38" fmla="*/ 16613 w 20000"/>
                  <a:gd name="T39" fmla="*/ 16945 h 20000"/>
                  <a:gd name="T40" fmla="*/ 18667 w 20000"/>
                  <a:gd name="T41" fmla="*/ 19382 h 20000"/>
                  <a:gd name="T42" fmla="*/ 15099 w 20000"/>
                  <a:gd name="T43" fmla="*/ 19964 h 20000"/>
                  <a:gd name="T44" fmla="*/ 13622 w 20000"/>
                  <a:gd name="T45" fmla="*/ 19964 h 20000"/>
                  <a:gd name="T46" fmla="*/ 10847 w 20000"/>
                  <a:gd name="T47" fmla="*/ 19382 h 20000"/>
                  <a:gd name="T48" fmla="*/ 4288 w 20000"/>
                  <a:gd name="T49" fmla="*/ 19018 h 20000"/>
                  <a:gd name="T50" fmla="*/ 2955 w 20000"/>
                  <a:gd name="T51" fmla="*/ 18473 h 20000"/>
                  <a:gd name="T52" fmla="*/ 1477 w 20000"/>
                  <a:gd name="T53" fmla="*/ 18836 h 20000"/>
                  <a:gd name="T54" fmla="*/ 577 w 20000"/>
                  <a:gd name="T55" fmla="*/ 18836 h 20000"/>
                  <a:gd name="T56" fmla="*/ 360 w 20000"/>
                  <a:gd name="T57" fmla="*/ 17527 h 20000"/>
                  <a:gd name="T58" fmla="*/ 577 w 20000"/>
                  <a:gd name="T59" fmla="*/ 16400 h 20000"/>
                  <a:gd name="T60" fmla="*/ 1333 w 20000"/>
                  <a:gd name="T61" fmla="*/ 13382 h 20000"/>
                  <a:gd name="T62" fmla="*/ 2054 w 20000"/>
                  <a:gd name="T63" fmla="*/ 11491 h 20000"/>
                  <a:gd name="T64" fmla="*/ 3387 w 20000"/>
                  <a:gd name="T65" fmla="*/ 10545 h 20000"/>
                  <a:gd name="T66" fmla="*/ 3387 w 20000"/>
                  <a:gd name="T67" fmla="*/ 7927 h 20000"/>
                  <a:gd name="T68" fmla="*/ 2450 w 20000"/>
                  <a:gd name="T69" fmla="*/ 5127 h 20000"/>
                  <a:gd name="T70" fmla="*/ 2054 w 20000"/>
                  <a:gd name="T71" fmla="*/ 1709 h 20000"/>
                  <a:gd name="T72" fmla="*/ 2054 w 20000"/>
                  <a:gd name="T73" fmla="*/ 2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2450" y="0"/>
                    </a:moveTo>
                    <a:lnTo>
                      <a:pt x="2955" y="0"/>
                    </a:lnTo>
                    <a:lnTo>
                      <a:pt x="3532" y="218"/>
                    </a:lnTo>
                    <a:lnTo>
                      <a:pt x="4288" y="0"/>
                    </a:lnTo>
                    <a:lnTo>
                      <a:pt x="7279" y="0"/>
                    </a:lnTo>
                    <a:lnTo>
                      <a:pt x="8216" y="0"/>
                    </a:lnTo>
                    <a:lnTo>
                      <a:pt x="8396" y="764"/>
                    </a:lnTo>
                    <a:lnTo>
                      <a:pt x="8396" y="1127"/>
                    </a:lnTo>
                    <a:lnTo>
                      <a:pt x="8757" y="1709"/>
                    </a:lnTo>
                    <a:lnTo>
                      <a:pt x="8757" y="2073"/>
                    </a:lnTo>
                    <a:lnTo>
                      <a:pt x="9730" y="3564"/>
                    </a:lnTo>
                    <a:lnTo>
                      <a:pt x="11207" y="3564"/>
                    </a:lnTo>
                    <a:lnTo>
                      <a:pt x="11351" y="3200"/>
                    </a:lnTo>
                    <a:lnTo>
                      <a:pt x="12685" y="3200"/>
                    </a:lnTo>
                    <a:lnTo>
                      <a:pt x="12685" y="2655"/>
                    </a:lnTo>
                    <a:lnTo>
                      <a:pt x="13045" y="2655"/>
                    </a:lnTo>
                    <a:lnTo>
                      <a:pt x="13045" y="2073"/>
                    </a:lnTo>
                    <a:lnTo>
                      <a:pt x="13802" y="1709"/>
                    </a:lnTo>
                    <a:lnTo>
                      <a:pt x="14739" y="1491"/>
                    </a:lnTo>
                    <a:lnTo>
                      <a:pt x="14739" y="2473"/>
                    </a:lnTo>
                    <a:lnTo>
                      <a:pt x="16216" y="2473"/>
                    </a:lnTo>
                    <a:lnTo>
                      <a:pt x="16613" y="3564"/>
                    </a:lnTo>
                    <a:lnTo>
                      <a:pt x="16973" y="4545"/>
                    </a:lnTo>
                    <a:lnTo>
                      <a:pt x="16216" y="5673"/>
                    </a:lnTo>
                    <a:lnTo>
                      <a:pt x="16973" y="6400"/>
                    </a:lnTo>
                    <a:lnTo>
                      <a:pt x="17189" y="6618"/>
                    </a:lnTo>
                    <a:lnTo>
                      <a:pt x="17189" y="7927"/>
                    </a:lnTo>
                    <a:lnTo>
                      <a:pt x="17189" y="8473"/>
                    </a:lnTo>
                    <a:lnTo>
                      <a:pt x="17550" y="8836"/>
                    </a:lnTo>
                    <a:lnTo>
                      <a:pt x="17694" y="8473"/>
                    </a:lnTo>
                    <a:lnTo>
                      <a:pt x="18486" y="8473"/>
                    </a:lnTo>
                    <a:lnTo>
                      <a:pt x="19387" y="8109"/>
                    </a:lnTo>
                    <a:lnTo>
                      <a:pt x="19964" y="8473"/>
                    </a:lnTo>
                    <a:lnTo>
                      <a:pt x="19964" y="8109"/>
                    </a:lnTo>
                    <a:lnTo>
                      <a:pt x="19964" y="9964"/>
                    </a:lnTo>
                    <a:lnTo>
                      <a:pt x="19964" y="11127"/>
                    </a:lnTo>
                    <a:lnTo>
                      <a:pt x="19964" y="11491"/>
                    </a:lnTo>
                    <a:lnTo>
                      <a:pt x="19964" y="11891"/>
                    </a:lnTo>
                    <a:lnTo>
                      <a:pt x="16973" y="11891"/>
                    </a:lnTo>
                    <a:lnTo>
                      <a:pt x="16613" y="16945"/>
                    </a:lnTo>
                    <a:lnTo>
                      <a:pt x="18126" y="18291"/>
                    </a:lnTo>
                    <a:lnTo>
                      <a:pt x="18667" y="19382"/>
                    </a:lnTo>
                    <a:lnTo>
                      <a:pt x="15676" y="19964"/>
                    </a:lnTo>
                    <a:lnTo>
                      <a:pt x="15099" y="19964"/>
                    </a:lnTo>
                    <a:lnTo>
                      <a:pt x="14523" y="19964"/>
                    </a:lnTo>
                    <a:lnTo>
                      <a:pt x="13622" y="19964"/>
                    </a:lnTo>
                    <a:lnTo>
                      <a:pt x="11351" y="19782"/>
                    </a:lnTo>
                    <a:lnTo>
                      <a:pt x="10847" y="19382"/>
                    </a:lnTo>
                    <a:lnTo>
                      <a:pt x="10631" y="18836"/>
                    </a:lnTo>
                    <a:lnTo>
                      <a:pt x="4288" y="19018"/>
                    </a:lnTo>
                    <a:lnTo>
                      <a:pt x="3928" y="19018"/>
                    </a:lnTo>
                    <a:lnTo>
                      <a:pt x="2955" y="18473"/>
                    </a:lnTo>
                    <a:lnTo>
                      <a:pt x="2450" y="18291"/>
                    </a:lnTo>
                    <a:lnTo>
                      <a:pt x="1477" y="18836"/>
                    </a:lnTo>
                    <a:lnTo>
                      <a:pt x="1333" y="18836"/>
                    </a:lnTo>
                    <a:lnTo>
                      <a:pt x="577" y="18836"/>
                    </a:lnTo>
                    <a:lnTo>
                      <a:pt x="360" y="18836"/>
                    </a:lnTo>
                    <a:lnTo>
                      <a:pt x="360" y="17527"/>
                    </a:lnTo>
                    <a:lnTo>
                      <a:pt x="0" y="16764"/>
                    </a:lnTo>
                    <a:lnTo>
                      <a:pt x="577" y="16400"/>
                    </a:lnTo>
                    <a:lnTo>
                      <a:pt x="1333" y="14873"/>
                    </a:lnTo>
                    <a:lnTo>
                      <a:pt x="1333" y="13382"/>
                    </a:lnTo>
                    <a:lnTo>
                      <a:pt x="1874" y="12036"/>
                    </a:lnTo>
                    <a:lnTo>
                      <a:pt x="2054" y="11491"/>
                    </a:lnTo>
                    <a:lnTo>
                      <a:pt x="2811" y="10945"/>
                    </a:lnTo>
                    <a:lnTo>
                      <a:pt x="3387" y="10545"/>
                    </a:lnTo>
                    <a:lnTo>
                      <a:pt x="3532" y="9055"/>
                    </a:lnTo>
                    <a:lnTo>
                      <a:pt x="3387" y="7927"/>
                    </a:lnTo>
                    <a:lnTo>
                      <a:pt x="2811" y="6618"/>
                    </a:lnTo>
                    <a:lnTo>
                      <a:pt x="2450" y="5127"/>
                    </a:lnTo>
                    <a:lnTo>
                      <a:pt x="2955" y="4545"/>
                    </a:lnTo>
                    <a:lnTo>
                      <a:pt x="2054" y="1709"/>
                    </a:lnTo>
                    <a:lnTo>
                      <a:pt x="1333" y="218"/>
                    </a:lnTo>
                    <a:lnTo>
                      <a:pt x="2054" y="218"/>
                    </a:lnTo>
                    <a:lnTo>
                      <a:pt x="245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0" name="Freeform 139"/>
              <p:cNvSpPr>
                <a:spLocks/>
              </p:cNvSpPr>
              <p:nvPr/>
            </p:nvSpPr>
            <p:spPr bwMode="auto">
              <a:xfrm>
                <a:off x="5327650" y="4575175"/>
                <a:ext cx="26988" cy="36513"/>
              </a:xfrm>
              <a:custGeom>
                <a:avLst/>
                <a:gdLst>
                  <a:gd name="T0" fmla="*/ 0 w 20000"/>
                  <a:gd name="T1" fmla="*/ 10690 h 20000"/>
                  <a:gd name="T2" fmla="*/ 6977 w 20000"/>
                  <a:gd name="T3" fmla="*/ 5517 h 20000"/>
                  <a:gd name="T4" fmla="*/ 6977 w 20000"/>
                  <a:gd name="T5" fmla="*/ 2069 h 20000"/>
                  <a:gd name="T6" fmla="*/ 14419 w 20000"/>
                  <a:gd name="T7" fmla="*/ 0 h 20000"/>
                  <a:gd name="T8" fmla="*/ 19535 w 20000"/>
                  <a:gd name="T9" fmla="*/ 2069 h 20000"/>
                  <a:gd name="T10" fmla="*/ 19535 w 20000"/>
                  <a:gd name="T11" fmla="*/ 5517 h 20000"/>
                  <a:gd name="T12" fmla="*/ 12093 w 20000"/>
                  <a:gd name="T13" fmla="*/ 10690 h 20000"/>
                  <a:gd name="T14" fmla="*/ 12093 w 20000"/>
                  <a:gd name="T15" fmla="*/ 19655 h 20000"/>
                  <a:gd name="T16" fmla="*/ 5116 w 20000"/>
                  <a:gd name="T17" fmla="*/ 19655 h 20000"/>
                  <a:gd name="T18" fmla="*/ 5116 w 20000"/>
                  <a:gd name="T19" fmla="*/ 16207 h 20000"/>
                  <a:gd name="T20" fmla="*/ 0 w 20000"/>
                  <a:gd name="T21" fmla="*/ 106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0" y="10690"/>
                    </a:moveTo>
                    <a:lnTo>
                      <a:pt x="6977" y="5517"/>
                    </a:lnTo>
                    <a:lnTo>
                      <a:pt x="6977" y="2069"/>
                    </a:lnTo>
                    <a:lnTo>
                      <a:pt x="14419" y="0"/>
                    </a:lnTo>
                    <a:lnTo>
                      <a:pt x="19535" y="2069"/>
                    </a:lnTo>
                    <a:lnTo>
                      <a:pt x="19535" y="5517"/>
                    </a:lnTo>
                    <a:lnTo>
                      <a:pt x="12093" y="10690"/>
                    </a:lnTo>
                    <a:lnTo>
                      <a:pt x="12093" y="19655"/>
                    </a:lnTo>
                    <a:lnTo>
                      <a:pt x="5116" y="19655"/>
                    </a:lnTo>
                    <a:lnTo>
                      <a:pt x="5116" y="16207"/>
                    </a:lnTo>
                    <a:lnTo>
                      <a:pt x="0" y="106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1" name="Freeform 138"/>
              <p:cNvSpPr>
                <a:spLocks/>
              </p:cNvSpPr>
              <p:nvPr/>
            </p:nvSpPr>
            <p:spPr bwMode="auto">
              <a:xfrm>
                <a:off x="5922963" y="3938588"/>
                <a:ext cx="422275" cy="419100"/>
              </a:xfrm>
              <a:custGeom>
                <a:avLst/>
                <a:gdLst>
                  <a:gd name="T0" fmla="*/ 7470 w 20000"/>
                  <a:gd name="T1" fmla="*/ 1578 h 20000"/>
                  <a:gd name="T2" fmla="*/ 8584 w 20000"/>
                  <a:gd name="T3" fmla="*/ 4097 h 20000"/>
                  <a:gd name="T4" fmla="*/ 8735 w 20000"/>
                  <a:gd name="T5" fmla="*/ 3460 h 20000"/>
                  <a:gd name="T6" fmla="*/ 9518 w 20000"/>
                  <a:gd name="T7" fmla="*/ 4249 h 20000"/>
                  <a:gd name="T8" fmla="*/ 11386 w 20000"/>
                  <a:gd name="T9" fmla="*/ 5524 h 20000"/>
                  <a:gd name="T10" fmla="*/ 12771 w 20000"/>
                  <a:gd name="T11" fmla="*/ 7071 h 20000"/>
                  <a:gd name="T12" fmla="*/ 13434 w 20000"/>
                  <a:gd name="T13" fmla="*/ 7405 h 20000"/>
                  <a:gd name="T14" fmla="*/ 12319 w 20000"/>
                  <a:gd name="T15" fmla="*/ 7860 h 20000"/>
                  <a:gd name="T16" fmla="*/ 11536 w 20000"/>
                  <a:gd name="T17" fmla="*/ 8801 h 20000"/>
                  <a:gd name="T18" fmla="*/ 12771 w 20000"/>
                  <a:gd name="T19" fmla="*/ 9621 h 20000"/>
                  <a:gd name="T20" fmla="*/ 12771 w 20000"/>
                  <a:gd name="T21" fmla="*/ 10379 h 20000"/>
                  <a:gd name="T22" fmla="*/ 14669 w 20000"/>
                  <a:gd name="T23" fmla="*/ 12109 h 20000"/>
                  <a:gd name="T24" fmla="*/ 19970 w 20000"/>
                  <a:gd name="T25" fmla="*/ 13657 h 20000"/>
                  <a:gd name="T26" fmla="*/ 15602 w 20000"/>
                  <a:gd name="T27" fmla="*/ 17754 h 20000"/>
                  <a:gd name="T28" fmla="*/ 13434 w 20000"/>
                  <a:gd name="T29" fmla="*/ 19029 h 20000"/>
                  <a:gd name="T30" fmla="*/ 12018 w 20000"/>
                  <a:gd name="T31" fmla="*/ 19332 h 20000"/>
                  <a:gd name="T32" fmla="*/ 10602 w 20000"/>
                  <a:gd name="T33" fmla="*/ 19029 h 20000"/>
                  <a:gd name="T34" fmla="*/ 9367 w 20000"/>
                  <a:gd name="T35" fmla="*/ 19029 h 20000"/>
                  <a:gd name="T36" fmla="*/ 7349 w 20000"/>
                  <a:gd name="T37" fmla="*/ 19788 h 20000"/>
                  <a:gd name="T38" fmla="*/ 4518 w 20000"/>
                  <a:gd name="T39" fmla="*/ 18543 h 20000"/>
                  <a:gd name="T40" fmla="*/ 3765 w 20000"/>
                  <a:gd name="T41" fmla="*/ 17299 h 20000"/>
                  <a:gd name="T42" fmla="*/ 2952 w 20000"/>
                  <a:gd name="T43" fmla="*/ 16662 h 20000"/>
                  <a:gd name="T44" fmla="*/ 1717 w 20000"/>
                  <a:gd name="T45" fmla="*/ 15266 h 20000"/>
                  <a:gd name="T46" fmla="*/ 0 w 20000"/>
                  <a:gd name="T47" fmla="*/ 13991 h 20000"/>
                  <a:gd name="T48" fmla="*/ 934 w 20000"/>
                  <a:gd name="T49" fmla="*/ 13202 h 20000"/>
                  <a:gd name="T50" fmla="*/ 1566 w 20000"/>
                  <a:gd name="T51" fmla="*/ 11472 h 20000"/>
                  <a:gd name="T52" fmla="*/ 1717 w 20000"/>
                  <a:gd name="T53" fmla="*/ 10379 h 20000"/>
                  <a:gd name="T54" fmla="*/ 2530 w 20000"/>
                  <a:gd name="T55" fmla="*/ 9924 h 20000"/>
                  <a:gd name="T56" fmla="*/ 2952 w 20000"/>
                  <a:gd name="T57" fmla="*/ 8316 h 20000"/>
                  <a:gd name="T58" fmla="*/ 4066 w 20000"/>
                  <a:gd name="T59" fmla="*/ 7071 h 20000"/>
                  <a:gd name="T60" fmla="*/ 4518 w 20000"/>
                  <a:gd name="T61" fmla="*/ 4583 h 20000"/>
                  <a:gd name="T62" fmla="*/ 5000 w 20000"/>
                  <a:gd name="T63" fmla="*/ 2064 h 20000"/>
                  <a:gd name="T64" fmla="*/ 5783 w 20000"/>
                  <a:gd name="T65" fmla="*/ 1244 h 20000"/>
                  <a:gd name="T66" fmla="*/ 6235 w 20000"/>
                  <a:gd name="T67" fmla="*/ 486 h 20000"/>
                  <a:gd name="T68" fmla="*/ 7018 w 20000"/>
                  <a:gd name="T6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7018" y="0"/>
                    </a:moveTo>
                    <a:lnTo>
                      <a:pt x="7470" y="1578"/>
                    </a:lnTo>
                    <a:lnTo>
                      <a:pt x="8133" y="3005"/>
                    </a:lnTo>
                    <a:lnTo>
                      <a:pt x="8584" y="4097"/>
                    </a:lnTo>
                    <a:lnTo>
                      <a:pt x="8735" y="4097"/>
                    </a:lnTo>
                    <a:lnTo>
                      <a:pt x="8735" y="3460"/>
                    </a:lnTo>
                    <a:lnTo>
                      <a:pt x="9367" y="4249"/>
                    </a:lnTo>
                    <a:lnTo>
                      <a:pt x="9518" y="4249"/>
                    </a:lnTo>
                    <a:lnTo>
                      <a:pt x="10301" y="4583"/>
                    </a:lnTo>
                    <a:lnTo>
                      <a:pt x="11386" y="5524"/>
                    </a:lnTo>
                    <a:lnTo>
                      <a:pt x="12018" y="6586"/>
                    </a:lnTo>
                    <a:lnTo>
                      <a:pt x="12771" y="7071"/>
                    </a:lnTo>
                    <a:lnTo>
                      <a:pt x="13072" y="7071"/>
                    </a:lnTo>
                    <a:lnTo>
                      <a:pt x="13434" y="7405"/>
                    </a:lnTo>
                    <a:lnTo>
                      <a:pt x="12771" y="7557"/>
                    </a:lnTo>
                    <a:lnTo>
                      <a:pt x="12319" y="7860"/>
                    </a:lnTo>
                    <a:lnTo>
                      <a:pt x="12018" y="8316"/>
                    </a:lnTo>
                    <a:lnTo>
                      <a:pt x="11536" y="8801"/>
                    </a:lnTo>
                    <a:lnTo>
                      <a:pt x="11837" y="9621"/>
                    </a:lnTo>
                    <a:lnTo>
                      <a:pt x="12771" y="9621"/>
                    </a:lnTo>
                    <a:lnTo>
                      <a:pt x="13072" y="9924"/>
                    </a:lnTo>
                    <a:lnTo>
                      <a:pt x="12771" y="10379"/>
                    </a:lnTo>
                    <a:lnTo>
                      <a:pt x="13886" y="11654"/>
                    </a:lnTo>
                    <a:lnTo>
                      <a:pt x="14669" y="12109"/>
                    </a:lnTo>
                    <a:lnTo>
                      <a:pt x="18735" y="13657"/>
                    </a:lnTo>
                    <a:lnTo>
                      <a:pt x="19970" y="13657"/>
                    </a:lnTo>
                    <a:lnTo>
                      <a:pt x="16084" y="17754"/>
                    </a:lnTo>
                    <a:lnTo>
                      <a:pt x="15602" y="17754"/>
                    </a:lnTo>
                    <a:lnTo>
                      <a:pt x="13886" y="18240"/>
                    </a:lnTo>
                    <a:lnTo>
                      <a:pt x="13434" y="19029"/>
                    </a:lnTo>
                    <a:lnTo>
                      <a:pt x="12651" y="19029"/>
                    </a:lnTo>
                    <a:lnTo>
                      <a:pt x="12018" y="19332"/>
                    </a:lnTo>
                    <a:lnTo>
                      <a:pt x="11084" y="19332"/>
                    </a:lnTo>
                    <a:lnTo>
                      <a:pt x="10602" y="19029"/>
                    </a:lnTo>
                    <a:lnTo>
                      <a:pt x="9819" y="19029"/>
                    </a:lnTo>
                    <a:lnTo>
                      <a:pt x="9367" y="19029"/>
                    </a:lnTo>
                    <a:lnTo>
                      <a:pt x="8735" y="19970"/>
                    </a:lnTo>
                    <a:lnTo>
                      <a:pt x="7349" y="19788"/>
                    </a:lnTo>
                    <a:lnTo>
                      <a:pt x="6084" y="19029"/>
                    </a:lnTo>
                    <a:lnTo>
                      <a:pt x="4518" y="18543"/>
                    </a:lnTo>
                    <a:lnTo>
                      <a:pt x="3765" y="18240"/>
                    </a:lnTo>
                    <a:lnTo>
                      <a:pt x="3765" y="17299"/>
                    </a:lnTo>
                    <a:lnTo>
                      <a:pt x="3283" y="17299"/>
                    </a:lnTo>
                    <a:lnTo>
                      <a:pt x="2952" y="16662"/>
                    </a:lnTo>
                    <a:lnTo>
                      <a:pt x="2831" y="16055"/>
                    </a:lnTo>
                    <a:lnTo>
                      <a:pt x="1717" y="15266"/>
                    </a:lnTo>
                    <a:lnTo>
                      <a:pt x="934" y="14446"/>
                    </a:lnTo>
                    <a:lnTo>
                      <a:pt x="0" y="13991"/>
                    </a:lnTo>
                    <a:lnTo>
                      <a:pt x="0" y="13202"/>
                    </a:lnTo>
                    <a:lnTo>
                      <a:pt x="934" y="13202"/>
                    </a:lnTo>
                    <a:lnTo>
                      <a:pt x="1566" y="12898"/>
                    </a:lnTo>
                    <a:lnTo>
                      <a:pt x="1566" y="11472"/>
                    </a:lnTo>
                    <a:lnTo>
                      <a:pt x="1717" y="10865"/>
                    </a:lnTo>
                    <a:lnTo>
                      <a:pt x="1717" y="10379"/>
                    </a:lnTo>
                    <a:lnTo>
                      <a:pt x="2048" y="9924"/>
                    </a:lnTo>
                    <a:lnTo>
                      <a:pt x="2530" y="9924"/>
                    </a:lnTo>
                    <a:lnTo>
                      <a:pt x="2831" y="9621"/>
                    </a:lnTo>
                    <a:lnTo>
                      <a:pt x="2952" y="8316"/>
                    </a:lnTo>
                    <a:lnTo>
                      <a:pt x="3584" y="7405"/>
                    </a:lnTo>
                    <a:lnTo>
                      <a:pt x="4066" y="7071"/>
                    </a:lnTo>
                    <a:lnTo>
                      <a:pt x="4217" y="6282"/>
                    </a:lnTo>
                    <a:lnTo>
                      <a:pt x="4518" y="4583"/>
                    </a:lnTo>
                    <a:lnTo>
                      <a:pt x="5000" y="2853"/>
                    </a:lnTo>
                    <a:lnTo>
                      <a:pt x="5000" y="2064"/>
                    </a:lnTo>
                    <a:lnTo>
                      <a:pt x="5301" y="1244"/>
                    </a:lnTo>
                    <a:lnTo>
                      <a:pt x="5783" y="1244"/>
                    </a:lnTo>
                    <a:lnTo>
                      <a:pt x="5783" y="941"/>
                    </a:lnTo>
                    <a:lnTo>
                      <a:pt x="6235" y="486"/>
                    </a:lnTo>
                    <a:lnTo>
                      <a:pt x="6867" y="819"/>
                    </a:lnTo>
                    <a:lnTo>
                      <a:pt x="701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2" name="Freeform 137"/>
              <p:cNvSpPr>
                <a:spLocks/>
              </p:cNvSpPr>
              <p:nvPr/>
            </p:nvSpPr>
            <p:spPr bwMode="auto">
              <a:xfrm>
                <a:off x="5010150" y="4095750"/>
                <a:ext cx="85725" cy="177800"/>
              </a:xfrm>
              <a:custGeom>
                <a:avLst/>
                <a:gdLst>
                  <a:gd name="T0" fmla="*/ 10815 w 20000"/>
                  <a:gd name="T1" fmla="*/ 1495 h 20000"/>
                  <a:gd name="T2" fmla="*/ 12296 w 20000"/>
                  <a:gd name="T3" fmla="*/ 0 h 20000"/>
                  <a:gd name="T4" fmla="*/ 13778 w 20000"/>
                  <a:gd name="T5" fmla="*/ 0 h 20000"/>
                  <a:gd name="T6" fmla="*/ 16000 w 20000"/>
                  <a:gd name="T7" fmla="*/ 1495 h 20000"/>
                  <a:gd name="T8" fmla="*/ 18370 w 20000"/>
                  <a:gd name="T9" fmla="*/ 2633 h 20000"/>
                  <a:gd name="T10" fmla="*/ 18370 w 20000"/>
                  <a:gd name="T11" fmla="*/ 2918 h 20000"/>
                  <a:gd name="T12" fmla="*/ 19852 w 20000"/>
                  <a:gd name="T13" fmla="*/ 5552 h 20000"/>
                  <a:gd name="T14" fmla="*/ 18370 w 20000"/>
                  <a:gd name="T15" fmla="*/ 6690 h 20000"/>
                  <a:gd name="T16" fmla="*/ 18370 w 20000"/>
                  <a:gd name="T17" fmla="*/ 7758 h 20000"/>
                  <a:gd name="T18" fmla="*/ 17630 w 20000"/>
                  <a:gd name="T19" fmla="*/ 8470 h 20000"/>
                  <a:gd name="T20" fmla="*/ 16000 w 20000"/>
                  <a:gd name="T21" fmla="*/ 10320 h 20000"/>
                  <a:gd name="T22" fmla="*/ 13778 w 20000"/>
                  <a:gd name="T23" fmla="*/ 10747 h 20000"/>
                  <a:gd name="T24" fmla="*/ 13778 w 20000"/>
                  <a:gd name="T25" fmla="*/ 12527 h 20000"/>
                  <a:gd name="T26" fmla="*/ 13778 w 20000"/>
                  <a:gd name="T27" fmla="*/ 16157 h 20000"/>
                  <a:gd name="T28" fmla="*/ 14519 w 20000"/>
                  <a:gd name="T29" fmla="*/ 19217 h 20000"/>
                  <a:gd name="T30" fmla="*/ 10815 w 20000"/>
                  <a:gd name="T31" fmla="*/ 19217 h 20000"/>
                  <a:gd name="T32" fmla="*/ 6074 w 20000"/>
                  <a:gd name="T33" fmla="*/ 19929 h 20000"/>
                  <a:gd name="T34" fmla="*/ 6074 w 20000"/>
                  <a:gd name="T35" fmla="*/ 18434 h 20000"/>
                  <a:gd name="T36" fmla="*/ 6074 w 20000"/>
                  <a:gd name="T37" fmla="*/ 18078 h 20000"/>
                  <a:gd name="T38" fmla="*/ 6074 w 20000"/>
                  <a:gd name="T39" fmla="*/ 10320 h 20000"/>
                  <a:gd name="T40" fmla="*/ 4593 w 20000"/>
                  <a:gd name="T41" fmla="*/ 9181 h 20000"/>
                  <a:gd name="T42" fmla="*/ 3852 w 20000"/>
                  <a:gd name="T43" fmla="*/ 7758 h 20000"/>
                  <a:gd name="T44" fmla="*/ 1481 w 20000"/>
                  <a:gd name="T45" fmla="*/ 6690 h 20000"/>
                  <a:gd name="T46" fmla="*/ 0 w 20000"/>
                  <a:gd name="T47" fmla="*/ 4840 h 20000"/>
                  <a:gd name="T48" fmla="*/ 2370 w 20000"/>
                  <a:gd name="T49" fmla="*/ 4413 h 20000"/>
                  <a:gd name="T50" fmla="*/ 4593 w 20000"/>
                  <a:gd name="T51" fmla="*/ 3701 h 20000"/>
                  <a:gd name="T52" fmla="*/ 8444 w 20000"/>
                  <a:gd name="T53" fmla="*/ 2918 h 20000"/>
                  <a:gd name="T54" fmla="*/ 10815 w 20000"/>
                  <a:gd name="T55" fmla="*/ 149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10815" y="1495"/>
                    </a:moveTo>
                    <a:lnTo>
                      <a:pt x="12296" y="0"/>
                    </a:lnTo>
                    <a:lnTo>
                      <a:pt x="13778" y="0"/>
                    </a:lnTo>
                    <a:lnTo>
                      <a:pt x="16000" y="1495"/>
                    </a:lnTo>
                    <a:lnTo>
                      <a:pt x="18370" y="2633"/>
                    </a:lnTo>
                    <a:lnTo>
                      <a:pt x="18370" y="2918"/>
                    </a:lnTo>
                    <a:lnTo>
                      <a:pt x="19852" y="5552"/>
                    </a:lnTo>
                    <a:lnTo>
                      <a:pt x="18370" y="6690"/>
                    </a:lnTo>
                    <a:lnTo>
                      <a:pt x="18370" y="7758"/>
                    </a:lnTo>
                    <a:lnTo>
                      <a:pt x="17630" y="8470"/>
                    </a:lnTo>
                    <a:lnTo>
                      <a:pt x="16000" y="10320"/>
                    </a:lnTo>
                    <a:lnTo>
                      <a:pt x="13778" y="10747"/>
                    </a:lnTo>
                    <a:lnTo>
                      <a:pt x="13778" y="12527"/>
                    </a:lnTo>
                    <a:lnTo>
                      <a:pt x="13778" y="16157"/>
                    </a:lnTo>
                    <a:lnTo>
                      <a:pt x="14519" y="19217"/>
                    </a:lnTo>
                    <a:lnTo>
                      <a:pt x="10815" y="19217"/>
                    </a:lnTo>
                    <a:lnTo>
                      <a:pt x="6074" y="19929"/>
                    </a:lnTo>
                    <a:lnTo>
                      <a:pt x="6074" y="18434"/>
                    </a:lnTo>
                    <a:lnTo>
                      <a:pt x="6074" y="18078"/>
                    </a:lnTo>
                    <a:lnTo>
                      <a:pt x="6074" y="10320"/>
                    </a:lnTo>
                    <a:lnTo>
                      <a:pt x="4593" y="9181"/>
                    </a:lnTo>
                    <a:lnTo>
                      <a:pt x="3852" y="7758"/>
                    </a:lnTo>
                    <a:lnTo>
                      <a:pt x="1481" y="6690"/>
                    </a:lnTo>
                    <a:lnTo>
                      <a:pt x="0" y="4840"/>
                    </a:lnTo>
                    <a:lnTo>
                      <a:pt x="2370" y="4413"/>
                    </a:lnTo>
                    <a:lnTo>
                      <a:pt x="4593" y="3701"/>
                    </a:lnTo>
                    <a:lnTo>
                      <a:pt x="8444" y="2918"/>
                    </a:lnTo>
                    <a:lnTo>
                      <a:pt x="10815" y="149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3" name="Freeform 136"/>
              <p:cNvSpPr>
                <a:spLocks/>
              </p:cNvSpPr>
              <p:nvPr/>
            </p:nvSpPr>
            <p:spPr bwMode="auto">
              <a:xfrm>
                <a:off x="5541963" y="4964113"/>
                <a:ext cx="254000" cy="269875"/>
              </a:xfrm>
              <a:custGeom>
                <a:avLst/>
                <a:gdLst>
                  <a:gd name="T0" fmla="*/ 11900 w 20000"/>
                  <a:gd name="T1" fmla="*/ 0 h 20000"/>
                  <a:gd name="T2" fmla="*/ 12400 w 20000"/>
                  <a:gd name="T3" fmla="*/ 1224 h 20000"/>
                  <a:gd name="T4" fmla="*/ 13750 w 20000"/>
                  <a:gd name="T5" fmla="*/ 2682 h 20000"/>
                  <a:gd name="T6" fmla="*/ 13750 w 20000"/>
                  <a:gd name="T7" fmla="*/ 3435 h 20000"/>
                  <a:gd name="T8" fmla="*/ 15050 w 20000"/>
                  <a:gd name="T9" fmla="*/ 4141 h 20000"/>
                  <a:gd name="T10" fmla="*/ 16300 w 20000"/>
                  <a:gd name="T11" fmla="*/ 4612 h 20000"/>
                  <a:gd name="T12" fmla="*/ 16600 w 20000"/>
                  <a:gd name="T13" fmla="*/ 5835 h 20000"/>
                  <a:gd name="T14" fmla="*/ 17100 w 20000"/>
                  <a:gd name="T15" fmla="*/ 5835 h 20000"/>
                  <a:gd name="T16" fmla="*/ 17400 w 20000"/>
                  <a:gd name="T17" fmla="*/ 7294 h 20000"/>
                  <a:gd name="T18" fmla="*/ 17900 w 20000"/>
                  <a:gd name="T19" fmla="*/ 8282 h 20000"/>
                  <a:gd name="T20" fmla="*/ 18650 w 20000"/>
                  <a:gd name="T21" fmla="*/ 8282 h 20000"/>
                  <a:gd name="T22" fmla="*/ 19950 w 20000"/>
                  <a:gd name="T23" fmla="*/ 8518 h 20000"/>
                  <a:gd name="T24" fmla="*/ 19950 w 20000"/>
                  <a:gd name="T25" fmla="*/ 9694 h 20000"/>
                  <a:gd name="T26" fmla="*/ 19150 w 20000"/>
                  <a:gd name="T27" fmla="*/ 10447 h 20000"/>
                  <a:gd name="T28" fmla="*/ 18400 w 20000"/>
                  <a:gd name="T29" fmla="*/ 10447 h 20000"/>
                  <a:gd name="T30" fmla="*/ 17100 w 20000"/>
                  <a:gd name="T31" fmla="*/ 11718 h 20000"/>
                  <a:gd name="T32" fmla="*/ 16600 w 20000"/>
                  <a:gd name="T33" fmla="*/ 11718 h 20000"/>
                  <a:gd name="T34" fmla="*/ 16300 w 20000"/>
                  <a:gd name="T35" fmla="*/ 12188 h 20000"/>
                  <a:gd name="T36" fmla="*/ 15800 w 20000"/>
                  <a:gd name="T37" fmla="*/ 12376 h 20000"/>
                  <a:gd name="T38" fmla="*/ 15050 w 20000"/>
                  <a:gd name="T39" fmla="*/ 13365 h 20000"/>
                  <a:gd name="T40" fmla="*/ 15050 w 20000"/>
                  <a:gd name="T41" fmla="*/ 14400 h 20000"/>
                  <a:gd name="T42" fmla="*/ 14250 w 20000"/>
                  <a:gd name="T43" fmla="*/ 14871 h 20000"/>
                  <a:gd name="T44" fmla="*/ 13000 w 20000"/>
                  <a:gd name="T45" fmla="*/ 15341 h 20000"/>
                  <a:gd name="T46" fmla="*/ 11900 w 20000"/>
                  <a:gd name="T47" fmla="*/ 17271 h 20000"/>
                  <a:gd name="T48" fmla="*/ 10850 w 20000"/>
                  <a:gd name="T49" fmla="*/ 17271 h 20000"/>
                  <a:gd name="T50" fmla="*/ 9600 w 20000"/>
                  <a:gd name="T51" fmla="*/ 17271 h 20000"/>
                  <a:gd name="T52" fmla="*/ 8300 w 20000"/>
                  <a:gd name="T53" fmla="*/ 17271 h 20000"/>
                  <a:gd name="T54" fmla="*/ 7000 w 20000"/>
                  <a:gd name="T55" fmla="*/ 16518 h 20000"/>
                  <a:gd name="T56" fmla="*/ 5750 w 20000"/>
                  <a:gd name="T57" fmla="*/ 16518 h 20000"/>
                  <a:gd name="T58" fmla="*/ 5750 w 20000"/>
                  <a:gd name="T59" fmla="*/ 18024 h 20000"/>
                  <a:gd name="T60" fmla="*/ 4400 w 20000"/>
                  <a:gd name="T61" fmla="*/ 19200 h 20000"/>
                  <a:gd name="T62" fmla="*/ 3600 w 20000"/>
                  <a:gd name="T63" fmla="*/ 19200 h 20000"/>
                  <a:gd name="T64" fmla="*/ 3600 w 20000"/>
                  <a:gd name="T65" fmla="*/ 19482 h 20000"/>
                  <a:gd name="T66" fmla="*/ 2350 w 20000"/>
                  <a:gd name="T67" fmla="*/ 19482 h 20000"/>
                  <a:gd name="T68" fmla="*/ 1050 w 20000"/>
                  <a:gd name="T69" fmla="*/ 19953 h 20000"/>
                  <a:gd name="T70" fmla="*/ 1050 w 20000"/>
                  <a:gd name="T71" fmla="*/ 18729 h 20000"/>
                  <a:gd name="T72" fmla="*/ 1550 w 20000"/>
                  <a:gd name="T73" fmla="*/ 18024 h 20000"/>
                  <a:gd name="T74" fmla="*/ 1050 w 20000"/>
                  <a:gd name="T75" fmla="*/ 17271 h 20000"/>
                  <a:gd name="T76" fmla="*/ 800 w 20000"/>
                  <a:gd name="T77" fmla="*/ 16047 h 20000"/>
                  <a:gd name="T78" fmla="*/ 0 w 20000"/>
                  <a:gd name="T79" fmla="*/ 15341 h 20000"/>
                  <a:gd name="T80" fmla="*/ 300 w 20000"/>
                  <a:gd name="T81" fmla="*/ 8988 h 20000"/>
                  <a:gd name="T82" fmla="*/ 2350 w 20000"/>
                  <a:gd name="T83" fmla="*/ 8988 h 20000"/>
                  <a:gd name="T84" fmla="*/ 2850 w 20000"/>
                  <a:gd name="T85" fmla="*/ 1224 h 20000"/>
                  <a:gd name="T86" fmla="*/ 5750 w 20000"/>
                  <a:gd name="T87" fmla="*/ 753 h 20000"/>
                  <a:gd name="T88" fmla="*/ 7500 w 20000"/>
                  <a:gd name="T89" fmla="*/ 188 h 20000"/>
                  <a:gd name="T90" fmla="*/ 8300 w 20000"/>
                  <a:gd name="T91" fmla="*/ 1224 h 20000"/>
                  <a:gd name="T92" fmla="*/ 9850 w 20000"/>
                  <a:gd name="T93" fmla="*/ 188 h 20000"/>
                  <a:gd name="T94" fmla="*/ 10350 w 20000"/>
                  <a:gd name="T95" fmla="*/ 188 h 20000"/>
                  <a:gd name="T96" fmla="*/ 11150 w 20000"/>
                  <a:gd name="T97" fmla="*/ 0 h 20000"/>
                  <a:gd name="T98" fmla="*/ 11900 w 20000"/>
                  <a:gd name="T9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11900" y="0"/>
                    </a:moveTo>
                    <a:lnTo>
                      <a:pt x="12400" y="1224"/>
                    </a:lnTo>
                    <a:lnTo>
                      <a:pt x="13750" y="2682"/>
                    </a:lnTo>
                    <a:lnTo>
                      <a:pt x="13750" y="3435"/>
                    </a:lnTo>
                    <a:lnTo>
                      <a:pt x="15050" y="4141"/>
                    </a:lnTo>
                    <a:lnTo>
                      <a:pt x="16300" y="4612"/>
                    </a:lnTo>
                    <a:lnTo>
                      <a:pt x="16600" y="5835"/>
                    </a:lnTo>
                    <a:lnTo>
                      <a:pt x="17100" y="5835"/>
                    </a:lnTo>
                    <a:lnTo>
                      <a:pt x="17400" y="7294"/>
                    </a:lnTo>
                    <a:lnTo>
                      <a:pt x="17900" y="8282"/>
                    </a:lnTo>
                    <a:lnTo>
                      <a:pt x="18650" y="8282"/>
                    </a:lnTo>
                    <a:lnTo>
                      <a:pt x="19950" y="8518"/>
                    </a:lnTo>
                    <a:lnTo>
                      <a:pt x="19950" y="9694"/>
                    </a:lnTo>
                    <a:lnTo>
                      <a:pt x="19150" y="10447"/>
                    </a:lnTo>
                    <a:lnTo>
                      <a:pt x="18400" y="10447"/>
                    </a:lnTo>
                    <a:lnTo>
                      <a:pt x="17100" y="11718"/>
                    </a:lnTo>
                    <a:lnTo>
                      <a:pt x="16600" y="11718"/>
                    </a:lnTo>
                    <a:lnTo>
                      <a:pt x="16300" y="12188"/>
                    </a:lnTo>
                    <a:lnTo>
                      <a:pt x="15800" y="12376"/>
                    </a:lnTo>
                    <a:lnTo>
                      <a:pt x="15050" y="13365"/>
                    </a:lnTo>
                    <a:lnTo>
                      <a:pt x="15050" y="14400"/>
                    </a:lnTo>
                    <a:lnTo>
                      <a:pt x="14250" y="14871"/>
                    </a:lnTo>
                    <a:lnTo>
                      <a:pt x="13000" y="15341"/>
                    </a:lnTo>
                    <a:lnTo>
                      <a:pt x="11900" y="17271"/>
                    </a:lnTo>
                    <a:lnTo>
                      <a:pt x="10850" y="17271"/>
                    </a:lnTo>
                    <a:lnTo>
                      <a:pt x="9600" y="17271"/>
                    </a:lnTo>
                    <a:lnTo>
                      <a:pt x="8300" y="17271"/>
                    </a:lnTo>
                    <a:lnTo>
                      <a:pt x="7000" y="16518"/>
                    </a:lnTo>
                    <a:lnTo>
                      <a:pt x="5750" y="16518"/>
                    </a:lnTo>
                    <a:lnTo>
                      <a:pt x="5750" y="18024"/>
                    </a:lnTo>
                    <a:lnTo>
                      <a:pt x="4400" y="19200"/>
                    </a:lnTo>
                    <a:lnTo>
                      <a:pt x="3600" y="19200"/>
                    </a:lnTo>
                    <a:lnTo>
                      <a:pt x="3600" y="19482"/>
                    </a:lnTo>
                    <a:lnTo>
                      <a:pt x="2350" y="19482"/>
                    </a:lnTo>
                    <a:lnTo>
                      <a:pt x="1050" y="19953"/>
                    </a:lnTo>
                    <a:lnTo>
                      <a:pt x="1050" y="18729"/>
                    </a:lnTo>
                    <a:lnTo>
                      <a:pt x="1550" y="18024"/>
                    </a:lnTo>
                    <a:lnTo>
                      <a:pt x="1050" y="17271"/>
                    </a:lnTo>
                    <a:lnTo>
                      <a:pt x="800" y="16047"/>
                    </a:lnTo>
                    <a:lnTo>
                      <a:pt x="0" y="15341"/>
                    </a:lnTo>
                    <a:lnTo>
                      <a:pt x="300" y="8988"/>
                    </a:lnTo>
                    <a:lnTo>
                      <a:pt x="2350" y="8988"/>
                    </a:lnTo>
                    <a:lnTo>
                      <a:pt x="2850" y="1224"/>
                    </a:lnTo>
                    <a:lnTo>
                      <a:pt x="5750" y="753"/>
                    </a:lnTo>
                    <a:lnTo>
                      <a:pt x="7500" y="188"/>
                    </a:lnTo>
                    <a:lnTo>
                      <a:pt x="8300" y="1224"/>
                    </a:lnTo>
                    <a:lnTo>
                      <a:pt x="9850" y="188"/>
                    </a:lnTo>
                    <a:lnTo>
                      <a:pt x="10350" y="188"/>
                    </a:lnTo>
                    <a:lnTo>
                      <a:pt x="11150" y="0"/>
                    </a:lnTo>
                    <a:lnTo>
                      <a:pt x="1190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4" name="Freeform 135"/>
              <p:cNvSpPr>
                <a:spLocks/>
              </p:cNvSpPr>
              <p:nvPr/>
            </p:nvSpPr>
            <p:spPr bwMode="auto">
              <a:xfrm>
                <a:off x="4835525" y="4017963"/>
                <a:ext cx="222250" cy="165100"/>
              </a:xfrm>
              <a:custGeom>
                <a:avLst/>
                <a:gdLst>
                  <a:gd name="T0" fmla="*/ 14269 w 20000"/>
                  <a:gd name="T1" fmla="*/ 769 h 20000"/>
                  <a:gd name="T2" fmla="*/ 14269 w 20000"/>
                  <a:gd name="T3" fmla="*/ 2000 h 20000"/>
                  <a:gd name="T4" fmla="*/ 14900 w 20000"/>
                  <a:gd name="T5" fmla="*/ 3154 h 20000"/>
                  <a:gd name="T6" fmla="*/ 15129 w 20000"/>
                  <a:gd name="T7" fmla="*/ 4385 h 20000"/>
                  <a:gd name="T8" fmla="*/ 16332 w 20000"/>
                  <a:gd name="T9" fmla="*/ 5923 h 20000"/>
                  <a:gd name="T10" fmla="*/ 17249 w 20000"/>
                  <a:gd name="T11" fmla="*/ 5923 h 20000"/>
                  <a:gd name="T12" fmla="*/ 17249 w 20000"/>
                  <a:gd name="T13" fmla="*/ 6385 h 20000"/>
                  <a:gd name="T14" fmla="*/ 16332 w 20000"/>
                  <a:gd name="T15" fmla="*/ 6385 h 20000"/>
                  <a:gd name="T16" fmla="*/ 16332 w 20000"/>
                  <a:gd name="T17" fmla="*/ 7154 h 20000"/>
                  <a:gd name="T18" fmla="*/ 18166 w 20000"/>
                  <a:gd name="T19" fmla="*/ 8308 h 20000"/>
                  <a:gd name="T20" fmla="*/ 19026 w 20000"/>
                  <a:gd name="T21" fmla="*/ 8308 h 20000"/>
                  <a:gd name="T22" fmla="*/ 19599 w 20000"/>
                  <a:gd name="T23" fmla="*/ 9154 h 20000"/>
                  <a:gd name="T24" fmla="*/ 19026 w 20000"/>
                  <a:gd name="T25" fmla="*/ 9538 h 20000"/>
                  <a:gd name="T26" fmla="*/ 19943 w 20000"/>
                  <a:gd name="T27" fmla="*/ 11154 h 20000"/>
                  <a:gd name="T28" fmla="*/ 19026 w 20000"/>
                  <a:gd name="T29" fmla="*/ 12692 h 20000"/>
                  <a:gd name="T30" fmla="*/ 17593 w 20000"/>
                  <a:gd name="T31" fmla="*/ 13538 h 20000"/>
                  <a:gd name="T32" fmla="*/ 16676 w 20000"/>
                  <a:gd name="T33" fmla="*/ 14308 h 20000"/>
                  <a:gd name="T34" fmla="*/ 15759 w 20000"/>
                  <a:gd name="T35" fmla="*/ 14769 h 20000"/>
                  <a:gd name="T36" fmla="*/ 14900 w 20000"/>
                  <a:gd name="T37" fmla="*/ 14769 h 20000"/>
                  <a:gd name="T38" fmla="*/ 14269 w 20000"/>
                  <a:gd name="T39" fmla="*/ 14769 h 20000"/>
                  <a:gd name="T40" fmla="*/ 13696 w 20000"/>
                  <a:gd name="T41" fmla="*/ 14308 h 20000"/>
                  <a:gd name="T42" fmla="*/ 12779 w 20000"/>
                  <a:gd name="T43" fmla="*/ 14308 h 20000"/>
                  <a:gd name="T44" fmla="*/ 12550 w 20000"/>
                  <a:gd name="T45" fmla="*/ 14769 h 20000"/>
                  <a:gd name="T46" fmla="*/ 6590 w 20000"/>
                  <a:gd name="T47" fmla="*/ 14308 h 20000"/>
                  <a:gd name="T48" fmla="*/ 6246 w 20000"/>
                  <a:gd name="T49" fmla="*/ 15538 h 20000"/>
                  <a:gd name="T50" fmla="*/ 6590 w 20000"/>
                  <a:gd name="T51" fmla="*/ 17923 h 20000"/>
                  <a:gd name="T52" fmla="*/ 6590 w 20000"/>
                  <a:gd name="T53" fmla="*/ 19923 h 20000"/>
                  <a:gd name="T54" fmla="*/ 4814 w 20000"/>
                  <a:gd name="T55" fmla="*/ 17923 h 20000"/>
                  <a:gd name="T56" fmla="*/ 3324 w 20000"/>
                  <a:gd name="T57" fmla="*/ 17923 h 20000"/>
                  <a:gd name="T58" fmla="*/ 2693 w 20000"/>
                  <a:gd name="T59" fmla="*/ 19462 h 20000"/>
                  <a:gd name="T60" fmla="*/ 1777 w 20000"/>
                  <a:gd name="T61" fmla="*/ 19462 h 20000"/>
                  <a:gd name="T62" fmla="*/ 917 w 20000"/>
                  <a:gd name="T63" fmla="*/ 17538 h 20000"/>
                  <a:gd name="T64" fmla="*/ 0 w 20000"/>
                  <a:gd name="T65" fmla="*/ 16769 h 20000"/>
                  <a:gd name="T66" fmla="*/ 0 w 20000"/>
                  <a:gd name="T67" fmla="*/ 15846 h 20000"/>
                  <a:gd name="T68" fmla="*/ 0 w 20000"/>
                  <a:gd name="T69" fmla="*/ 14769 h 20000"/>
                  <a:gd name="T70" fmla="*/ 344 w 20000"/>
                  <a:gd name="T71" fmla="*/ 13538 h 20000"/>
                  <a:gd name="T72" fmla="*/ 0 w 20000"/>
                  <a:gd name="T73" fmla="*/ 11538 h 20000"/>
                  <a:gd name="T74" fmla="*/ 1203 w 20000"/>
                  <a:gd name="T75" fmla="*/ 11154 h 20000"/>
                  <a:gd name="T76" fmla="*/ 1777 w 20000"/>
                  <a:gd name="T77" fmla="*/ 11154 h 20000"/>
                  <a:gd name="T78" fmla="*/ 2693 w 20000"/>
                  <a:gd name="T79" fmla="*/ 9538 h 20000"/>
                  <a:gd name="T80" fmla="*/ 2693 w 20000"/>
                  <a:gd name="T81" fmla="*/ 8308 h 20000"/>
                  <a:gd name="T82" fmla="*/ 3324 w 20000"/>
                  <a:gd name="T83" fmla="*/ 8308 h 20000"/>
                  <a:gd name="T84" fmla="*/ 2693 w 20000"/>
                  <a:gd name="T85" fmla="*/ 6385 h 20000"/>
                  <a:gd name="T86" fmla="*/ 3897 w 20000"/>
                  <a:gd name="T87" fmla="*/ 5923 h 20000"/>
                  <a:gd name="T88" fmla="*/ 4814 w 20000"/>
                  <a:gd name="T89" fmla="*/ 7154 h 20000"/>
                  <a:gd name="T90" fmla="*/ 5673 w 20000"/>
                  <a:gd name="T91" fmla="*/ 6385 h 20000"/>
                  <a:gd name="T92" fmla="*/ 5043 w 20000"/>
                  <a:gd name="T93" fmla="*/ 5154 h 20000"/>
                  <a:gd name="T94" fmla="*/ 6246 w 20000"/>
                  <a:gd name="T95" fmla="*/ 5154 h 20000"/>
                  <a:gd name="T96" fmla="*/ 6590 w 20000"/>
                  <a:gd name="T97" fmla="*/ 4385 h 20000"/>
                  <a:gd name="T98" fmla="*/ 8653 w 20000"/>
                  <a:gd name="T99" fmla="*/ 3154 h 20000"/>
                  <a:gd name="T100" fmla="*/ 8940 w 20000"/>
                  <a:gd name="T101" fmla="*/ 1231 h 20000"/>
                  <a:gd name="T102" fmla="*/ 11289 w 20000"/>
                  <a:gd name="T103" fmla="*/ 1231 h 20000"/>
                  <a:gd name="T104" fmla="*/ 11862 w 20000"/>
                  <a:gd name="T105" fmla="*/ 0 h 20000"/>
                  <a:gd name="T106" fmla="*/ 14269 w 20000"/>
                  <a:gd name="T107" fmla="*/ 7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14269" y="769"/>
                    </a:moveTo>
                    <a:lnTo>
                      <a:pt x="14269" y="2000"/>
                    </a:lnTo>
                    <a:lnTo>
                      <a:pt x="14900" y="3154"/>
                    </a:lnTo>
                    <a:lnTo>
                      <a:pt x="15129" y="4385"/>
                    </a:lnTo>
                    <a:lnTo>
                      <a:pt x="16332" y="5923"/>
                    </a:lnTo>
                    <a:lnTo>
                      <a:pt x="17249" y="5923"/>
                    </a:lnTo>
                    <a:lnTo>
                      <a:pt x="17249" y="6385"/>
                    </a:lnTo>
                    <a:lnTo>
                      <a:pt x="16332" y="6385"/>
                    </a:lnTo>
                    <a:lnTo>
                      <a:pt x="16332" y="7154"/>
                    </a:lnTo>
                    <a:lnTo>
                      <a:pt x="18166" y="8308"/>
                    </a:lnTo>
                    <a:lnTo>
                      <a:pt x="19026" y="8308"/>
                    </a:lnTo>
                    <a:lnTo>
                      <a:pt x="19599" y="9154"/>
                    </a:lnTo>
                    <a:lnTo>
                      <a:pt x="19026" y="9538"/>
                    </a:lnTo>
                    <a:lnTo>
                      <a:pt x="19943" y="11154"/>
                    </a:lnTo>
                    <a:lnTo>
                      <a:pt x="19026" y="12692"/>
                    </a:lnTo>
                    <a:lnTo>
                      <a:pt x="17593" y="13538"/>
                    </a:lnTo>
                    <a:lnTo>
                      <a:pt x="16676" y="14308"/>
                    </a:lnTo>
                    <a:lnTo>
                      <a:pt x="15759" y="14769"/>
                    </a:lnTo>
                    <a:lnTo>
                      <a:pt x="14900" y="14769"/>
                    </a:lnTo>
                    <a:lnTo>
                      <a:pt x="14269" y="14769"/>
                    </a:lnTo>
                    <a:lnTo>
                      <a:pt x="13696" y="14308"/>
                    </a:lnTo>
                    <a:lnTo>
                      <a:pt x="12779" y="14308"/>
                    </a:lnTo>
                    <a:lnTo>
                      <a:pt x="12550" y="14769"/>
                    </a:lnTo>
                    <a:lnTo>
                      <a:pt x="6590" y="14308"/>
                    </a:lnTo>
                    <a:lnTo>
                      <a:pt x="6246" y="15538"/>
                    </a:lnTo>
                    <a:lnTo>
                      <a:pt x="6590" y="17923"/>
                    </a:lnTo>
                    <a:lnTo>
                      <a:pt x="6590" y="19923"/>
                    </a:lnTo>
                    <a:lnTo>
                      <a:pt x="4814" y="17923"/>
                    </a:lnTo>
                    <a:lnTo>
                      <a:pt x="3324" y="17923"/>
                    </a:lnTo>
                    <a:lnTo>
                      <a:pt x="2693" y="19462"/>
                    </a:lnTo>
                    <a:lnTo>
                      <a:pt x="1777" y="19462"/>
                    </a:lnTo>
                    <a:lnTo>
                      <a:pt x="917" y="17538"/>
                    </a:lnTo>
                    <a:lnTo>
                      <a:pt x="0" y="16769"/>
                    </a:lnTo>
                    <a:lnTo>
                      <a:pt x="0" y="15846"/>
                    </a:lnTo>
                    <a:lnTo>
                      <a:pt x="0" y="14769"/>
                    </a:lnTo>
                    <a:lnTo>
                      <a:pt x="344" y="13538"/>
                    </a:lnTo>
                    <a:lnTo>
                      <a:pt x="0" y="11538"/>
                    </a:lnTo>
                    <a:lnTo>
                      <a:pt x="1203" y="11154"/>
                    </a:lnTo>
                    <a:lnTo>
                      <a:pt x="1777" y="11154"/>
                    </a:lnTo>
                    <a:lnTo>
                      <a:pt x="2693" y="9538"/>
                    </a:lnTo>
                    <a:lnTo>
                      <a:pt x="2693" y="8308"/>
                    </a:lnTo>
                    <a:lnTo>
                      <a:pt x="3324" y="8308"/>
                    </a:lnTo>
                    <a:lnTo>
                      <a:pt x="2693" y="6385"/>
                    </a:lnTo>
                    <a:lnTo>
                      <a:pt x="3897" y="5923"/>
                    </a:lnTo>
                    <a:lnTo>
                      <a:pt x="4814" y="7154"/>
                    </a:lnTo>
                    <a:lnTo>
                      <a:pt x="5673" y="6385"/>
                    </a:lnTo>
                    <a:lnTo>
                      <a:pt x="5043" y="5154"/>
                    </a:lnTo>
                    <a:lnTo>
                      <a:pt x="6246" y="5154"/>
                    </a:lnTo>
                    <a:lnTo>
                      <a:pt x="6590" y="4385"/>
                    </a:lnTo>
                    <a:lnTo>
                      <a:pt x="8653" y="3154"/>
                    </a:lnTo>
                    <a:lnTo>
                      <a:pt x="8940" y="1231"/>
                    </a:lnTo>
                    <a:lnTo>
                      <a:pt x="11289" y="1231"/>
                    </a:lnTo>
                    <a:lnTo>
                      <a:pt x="11862" y="0"/>
                    </a:lnTo>
                    <a:lnTo>
                      <a:pt x="14269" y="7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5" name="Freeform 134"/>
              <p:cNvSpPr>
                <a:spLocks/>
              </p:cNvSpPr>
              <p:nvPr/>
            </p:nvSpPr>
            <p:spPr bwMode="auto">
              <a:xfrm>
                <a:off x="5805488" y="4516438"/>
                <a:ext cx="60325" cy="63500"/>
              </a:xfrm>
              <a:custGeom>
                <a:avLst/>
                <a:gdLst>
                  <a:gd name="T0" fmla="*/ 0 w 20000"/>
                  <a:gd name="T1" fmla="*/ 3200 h 20000"/>
                  <a:gd name="T2" fmla="*/ 5474 w 20000"/>
                  <a:gd name="T3" fmla="*/ 2200 h 20000"/>
                  <a:gd name="T4" fmla="*/ 5474 w 20000"/>
                  <a:gd name="T5" fmla="*/ 5400 h 20000"/>
                  <a:gd name="T6" fmla="*/ 8632 w 20000"/>
                  <a:gd name="T7" fmla="*/ 3200 h 20000"/>
                  <a:gd name="T8" fmla="*/ 10737 w 20000"/>
                  <a:gd name="T9" fmla="*/ 2200 h 20000"/>
                  <a:gd name="T10" fmla="*/ 14105 w 20000"/>
                  <a:gd name="T11" fmla="*/ 0 h 20000"/>
                  <a:gd name="T12" fmla="*/ 16421 w 20000"/>
                  <a:gd name="T13" fmla="*/ 3200 h 20000"/>
                  <a:gd name="T14" fmla="*/ 16421 w 20000"/>
                  <a:gd name="T15" fmla="*/ 5400 h 20000"/>
                  <a:gd name="T16" fmla="*/ 19789 w 20000"/>
                  <a:gd name="T17" fmla="*/ 6200 h 20000"/>
                  <a:gd name="T18" fmla="*/ 19789 w 20000"/>
                  <a:gd name="T19" fmla="*/ 10400 h 20000"/>
                  <a:gd name="T20" fmla="*/ 16421 w 20000"/>
                  <a:gd name="T21" fmla="*/ 13600 h 20000"/>
                  <a:gd name="T22" fmla="*/ 10737 w 20000"/>
                  <a:gd name="T23" fmla="*/ 18600 h 20000"/>
                  <a:gd name="T24" fmla="*/ 5474 w 20000"/>
                  <a:gd name="T25" fmla="*/ 19800 h 20000"/>
                  <a:gd name="T26" fmla="*/ 5474 w 20000"/>
                  <a:gd name="T27" fmla="*/ 18600 h 20000"/>
                  <a:gd name="T28" fmla="*/ 4421 w 20000"/>
                  <a:gd name="T29" fmla="*/ 13600 h 20000"/>
                  <a:gd name="T30" fmla="*/ 4421 w 20000"/>
                  <a:gd name="T31" fmla="*/ 10400 h 20000"/>
                  <a:gd name="T32" fmla="*/ 4421 w 20000"/>
                  <a:gd name="T33" fmla="*/ 8200 h 20000"/>
                  <a:gd name="T34" fmla="*/ 2105 w 20000"/>
                  <a:gd name="T35" fmla="*/ 6200 h 20000"/>
                  <a:gd name="T36" fmla="*/ 0 w 20000"/>
                  <a:gd name="T37" fmla="*/ 320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0" y="3200"/>
                    </a:moveTo>
                    <a:lnTo>
                      <a:pt x="5474" y="2200"/>
                    </a:lnTo>
                    <a:lnTo>
                      <a:pt x="5474" y="5400"/>
                    </a:lnTo>
                    <a:lnTo>
                      <a:pt x="8632" y="3200"/>
                    </a:lnTo>
                    <a:lnTo>
                      <a:pt x="10737" y="2200"/>
                    </a:lnTo>
                    <a:lnTo>
                      <a:pt x="14105" y="0"/>
                    </a:lnTo>
                    <a:lnTo>
                      <a:pt x="16421" y="3200"/>
                    </a:lnTo>
                    <a:lnTo>
                      <a:pt x="16421" y="5400"/>
                    </a:lnTo>
                    <a:lnTo>
                      <a:pt x="19789" y="6200"/>
                    </a:lnTo>
                    <a:lnTo>
                      <a:pt x="19789" y="10400"/>
                    </a:lnTo>
                    <a:lnTo>
                      <a:pt x="16421" y="13600"/>
                    </a:lnTo>
                    <a:lnTo>
                      <a:pt x="10737" y="18600"/>
                    </a:lnTo>
                    <a:lnTo>
                      <a:pt x="5474" y="19800"/>
                    </a:lnTo>
                    <a:lnTo>
                      <a:pt x="5474" y="18600"/>
                    </a:lnTo>
                    <a:lnTo>
                      <a:pt x="4421" y="13600"/>
                    </a:lnTo>
                    <a:lnTo>
                      <a:pt x="4421" y="10400"/>
                    </a:lnTo>
                    <a:lnTo>
                      <a:pt x="4421" y="8200"/>
                    </a:lnTo>
                    <a:lnTo>
                      <a:pt x="2105" y="6200"/>
                    </a:lnTo>
                    <a:lnTo>
                      <a:pt x="0" y="320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6" name="Freeform 133"/>
              <p:cNvSpPr>
                <a:spLocks/>
              </p:cNvSpPr>
              <p:nvPr/>
            </p:nvSpPr>
            <p:spPr bwMode="auto">
              <a:xfrm>
                <a:off x="6167438" y="4092575"/>
                <a:ext cx="42862" cy="53975"/>
              </a:xfrm>
              <a:custGeom>
                <a:avLst/>
                <a:gdLst>
                  <a:gd name="T0" fmla="*/ 18235 w 20000"/>
                  <a:gd name="T1" fmla="*/ 0 h 20000"/>
                  <a:gd name="T2" fmla="*/ 19706 w 20000"/>
                  <a:gd name="T3" fmla="*/ 7143 h 20000"/>
                  <a:gd name="T4" fmla="*/ 10882 w 20000"/>
                  <a:gd name="T5" fmla="*/ 10952 h 20000"/>
                  <a:gd name="T6" fmla="*/ 10882 w 20000"/>
                  <a:gd name="T7" fmla="*/ 13571 h 20000"/>
                  <a:gd name="T8" fmla="*/ 18235 w 20000"/>
                  <a:gd name="T9" fmla="*/ 10952 h 20000"/>
                  <a:gd name="T10" fmla="*/ 19706 w 20000"/>
                  <a:gd name="T11" fmla="*/ 13571 h 20000"/>
                  <a:gd name="T12" fmla="*/ 18235 w 20000"/>
                  <a:gd name="T13" fmla="*/ 15952 h 20000"/>
                  <a:gd name="T14" fmla="*/ 15000 w 20000"/>
                  <a:gd name="T15" fmla="*/ 19762 h 20000"/>
                  <a:gd name="T16" fmla="*/ 12059 w 20000"/>
                  <a:gd name="T17" fmla="*/ 17381 h 20000"/>
                  <a:gd name="T18" fmla="*/ 2941 w 20000"/>
                  <a:gd name="T19" fmla="*/ 17381 h 20000"/>
                  <a:gd name="T20" fmla="*/ 0 w 20000"/>
                  <a:gd name="T21" fmla="*/ 10952 h 20000"/>
                  <a:gd name="T22" fmla="*/ 4706 w 20000"/>
                  <a:gd name="T23" fmla="*/ 7143 h 20000"/>
                  <a:gd name="T24" fmla="*/ 7647 w 20000"/>
                  <a:gd name="T25" fmla="*/ 3571 h 20000"/>
                  <a:gd name="T26" fmla="*/ 12059 w 20000"/>
                  <a:gd name="T27" fmla="*/ 952 h 20000"/>
                  <a:gd name="T28" fmla="*/ 18235 w 20000"/>
                  <a:gd name="T2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00" h="20000">
                    <a:moveTo>
                      <a:pt x="18235" y="0"/>
                    </a:moveTo>
                    <a:lnTo>
                      <a:pt x="19706" y="7143"/>
                    </a:lnTo>
                    <a:lnTo>
                      <a:pt x="10882" y="10952"/>
                    </a:lnTo>
                    <a:lnTo>
                      <a:pt x="10882" y="13571"/>
                    </a:lnTo>
                    <a:lnTo>
                      <a:pt x="18235" y="10952"/>
                    </a:lnTo>
                    <a:lnTo>
                      <a:pt x="19706" y="13571"/>
                    </a:lnTo>
                    <a:lnTo>
                      <a:pt x="18235" y="15952"/>
                    </a:lnTo>
                    <a:lnTo>
                      <a:pt x="15000" y="19762"/>
                    </a:lnTo>
                    <a:lnTo>
                      <a:pt x="12059" y="17381"/>
                    </a:lnTo>
                    <a:lnTo>
                      <a:pt x="2941" y="17381"/>
                    </a:lnTo>
                    <a:lnTo>
                      <a:pt x="0" y="10952"/>
                    </a:lnTo>
                    <a:lnTo>
                      <a:pt x="4706" y="7143"/>
                    </a:lnTo>
                    <a:lnTo>
                      <a:pt x="7647" y="3571"/>
                    </a:lnTo>
                    <a:lnTo>
                      <a:pt x="12059" y="952"/>
                    </a:lnTo>
                    <a:lnTo>
                      <a:pt x="1823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7" name="Freeform 132"/>
              <p:cNvSpPr>
                <a:spLocks/>
              </p:cNvSpPr>
              <p:nvPr/>
            </p:nvSpPr>
            <p:spPr bwMode="auto">
              <a:xfrm>
                <a:off x="4749800" y="4144963"/>
                <a:ext cx="165100" cy="180975"/>
              </a:xfrm>
              <a:custGeom>
                <a:avLst/>
                <a:gdLst>
                  <a:gd name="T0" fmla="*/ 2000 w 20000"/>
                  <a:gd name="T1" fmla="*/ 1825 h 20000"/>
                  <a:gd name="T2" fmla="*/ 3154 w 20000"/>
                  <a:gd name="T3" fmla="*/ 281 h 20000"/>
                  <a:gd name="T4" fmla="*/ 3538 w 20000"/>
                  <a:gd name="T5" fmla="*/ 1123 h 20000"/>
                  <a:gd name="T6" fmla="*/ 5154 w 20000"/>
                  <a:gd name="T7" fmla="*/ 1825 h 20000"/>
                  <a:gd name="T8" fmla="*/ 5154 w 20000"/>
                  <a:gd name="T9" fmla="*/ 1123 h 20000"/>
                  <a:gd name="T10" fmla="*/ 5615 w 20000"/>
                  <a:gd name="T11" fmla="*/ 281 h 20000"/>
                  <a:gd name="T12" fmla="*/ 6385 w 20000"/>
                  <a:gd name="T13" fmla="*/ 0 h 20000"/>
                  <a:gd name="T14" fmla="*/ 7154 w 20000"/>
                  <a:gd name="T15" fmla="*/ 0 h 20000"/>
                  <a:gd name="T16" fmla="*/ 7538 w 20000"/>
                  <a:gd name="T17" fmla="*/ 1123 h 20000"/>
                  <a:gd name="T18" fmla="*/ 8769 w 20000"/>
                  <a:gd name="T19" fmla="*/ 1123 h 20000"/>
                  <a:gd name="T20" fmla="*/ 10308 w 20000"/>
                  <a:gd name="T21" fmla="*/ 281 h 20000"/>
                  <a:gd name="T22" fmla="*/ 10308 w 20000"/>
                  <a:gd name="T23" fmla="*/ 1123 h 20000"/>
                  <a:gd name="T24" fmla="*/ 11538 w 20000"/>
                  <a:gd name="T25" fmla="*/ 1825 h 20000"/>
                  <a:gd name="T26" fmla="*/ 12692 w 20000"/>
                  <a:gd name="T27" fmla="*/ 3579 h 20000"/>
                  <a:gd name="T28" fmla="*/ 13923 w 20000"/>
                  <a:gd name="T29" fmla="*/ 3579 h 20000"/>
                  <a:gd name="T30" fmla="*/ 14769 w 20000"/>
                  <a:gd name="T31" fmla="*/ 2175 h 20000"/>
                  <a:gd name="T32" fmla="*/ 16769 w 20000"/>
                  <a:gd name="T33" fmla="*/ 2175 h 20000"/>
                  <a:gd name="T34" fmla="*/ 19154 w 20000"/>
                  <a:gd name="T35" fmla="*/ 4000 h 20000"/>
                  <a:gd name="T36" fmla="*/ 19154 w 20000"/>
                  <a:gd name="T37" fmla="*/ 4702 h 20000"/>
                  <a:gd name="T38" fmla="*/ 19923 w 20000"/>
                  <a:gd name="T39" fmla="*/ 6877 h 20000"/>
                  <a:gd name="T40" fmla="*/ 19923 w 20000"/>
                  <a:gd name="T41" fmla="*/ 8000 h 20000"/>
                  <a:gd name="T42" fmla="*/ 18692 w 20000"/>
                  <a:gd name="T43" fmla="*/ 8702 h 20000"/>
                  <a:gd name="T44" fmla="*/ 18692 w 20000"/>
                  <a:gd name="T45" fmla="*/ 10456 h 20000"/>
                  <a:gd name="T46" fmla="*/ 17077 w 20000"/>
                  <a:gd name="T47" fmla="*/ 12351 h 20000"/>
                  <a:gd name="T48" fmla="*/ 18692 w 20000"/>
                  <a:gd name="T49" fmla="*/ 15228 h 20000"/>
                  <a:gd name="T50" fmla="*/ 19154 w 20000"/>
                  <a:gd name="T51" fmla="*/ 17053 h 20000"/>
                  <a:gd name="T52" fmla="*/ 19154 w 20000"/>
                  <a:gd name="T53" fmla="*/ 18105 h 20000"/>
                  <a:gd name="T54" fmla="*/ 17923 w 20000"/>
                  <a:gd name="T55" fmla="*/ 17404 h 20000"/>
                  <a:gd name="T56" fmla="*/ 17923 w 20000"/>
                  <a:gd name="T57" fmla="*/ 16351 h 20000"/>
                  <a:gd name="T58" fmla="*/ 17077 w 20000"/>
                  <a:gd name="T59" fmla="*/ 17404 h 20000"/>
                  <a:gd name="T60" fmla="*/ 15538 w 20000"/>
                  <a:gd name="T61" fmla="*/ 17053 h 20000"/>
                  <a:gd name="T62" fmla="*/ 13923 w 20000"/>
                  <a:gd name="T63" fmla="*/ 17404 h 20000"/>
                  <a:gd name="T64" fmla="*/ 10308 w 20000"/>
                  <a:gd name="T65" fmla="*/ 17404 h 20000"/>
                  <a:gd name="T66" fmla="*/ 7154 w 20000"/>
                  <a:gd name="T67" fmla="*/ 18105 h 20000"/>
                  <a:gd name="T68" fmla="*/ 3154 w 20000"/>
                  <a:gd name="T69" fmla="*/ 19930 h 20000"/>
                  <a:gd name="T70" fmla="*/ 2385 w 20000"/>
                  <a:gd name="T71" fmla="*/ 17404 h 20000"/>
                  <a:gd name="T72" fmla="*/ 3154 w 20000"/>
                  <a:gd name="T73" fmla="*/ 15228 h 20000"/>
                  <a:gd name="T74" fmla="*/ 2385 w 20000"/>
                  <a:gd name="T75" fmla="*/ 14456 h 20000"/>
                  <a:gd name="T76" fmla="*/ 2000 w 20000"/>
                  <a:gd name="T77" fmla="*/ 14175 h 20000"/>
                  <a:gd name="T78" fmla="*/ 308 w 20000"/>
                  <a:gd name="T79" fmla="*/ 14175 h 20000"/>
                  <a:gd name="T80" fmla="*/ 0 w 20000"/>
                  <a:gd name="T81" fmla="*/ 12632 h 20000"/>
                  <a:gd name="T82" fmla="*/ 0 w 20000"/>
                  <a:gd name="T83" fmla="*/ 12351 h 20000"/>
                  <a:gd name="T84" fmla="*/ 0 w 20000"/>
                  <a:gd name="T85" fmla="*/ 11228 h 20000"/>
                  <a:gd name="T86" fmla="*/ 0 w 20000"/>
                  <a:gd name="T87" fmla="*/ 9754 h 20000"/>
                  <a:gd name="T88" fmla="*/ 308 w 20000"/>
                  <a:gd name="T89" fmla="*/ 9754 h 20000"/>
                  <a:gd name="T90" fmla="*/ 1231 w 20000"/>
                  <a:gd name="T91" fmla="*/ 8000 h 20000"/>
                  <a:gd name="T92" fmla="*/ 308 w 20000"/>
                  <a:gd name="T93" fmla="*/ 7579 h 20000"/>
                  <a:gd name="T94" fmla="*/ 1231 w 20000"/>
                  <a:gd name="T95" fmla="*/ 6877 h 20000"/>
                  <a:gd name="T96" fmla="*/ 2385 w 20000"/>
                  <a:gd name="T97" fmla="*/ 6877 h 20000"/>
                  <a:gd name="T98" fmla="*/ 2000 w 20000"/>
                  <a:gd name="T99" fmla="*/ 5754 h 20000"/>
                  <a:gd name="T100" fmla="*/ 2000 w 20000"/>
                  <a:gd name="T101" fmla="*/ 5053 h 20000"/>
                  <a:gd name="T102" fmla="*/ 2000 w 20000"/>
                  <a:gd name="T103" fmla="*/ 4000 h 20000"/>
                  <a:gd name="T104" fmla="*/ 1231 w 20000"/>
                  <a:gd name="T105" fmla="*/ 3579 h 20000"/>
                  <a:gd name="T106" fmla="*/ 1231 w 20000"/>
                  <a:gd name="T107" fmla="*/ 2175 h 20000"/>
                  <a:gd name="T108" fmla="*/ 2000 w 20000"/>
                  <a:gd name="T109" fmla="*/ 182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00" h="20000">
                    <a:moveTo>
                      <a:pt x="2000" y="1825"/>
                    </a:moveTo>
                    <a:lnTo>
                      <a:pt x="3154" y="281"/>
                    </a:lnTo>
                    <a:lnTo>
                      <a:pt x="3538" y="1123"/>
                    </a:lnTo>
                    <a:lnTo>
                      <a:pt x="5154" y="1825"/>
                    </a:lnTo>
                    <a:lnTo>
                      <a:pt x="5154" y="1123"/>
                    </a:lnTo>
                    <a:lnTo>
                      <a:pt x="5615" y="281"/>
                    </a:lnTo>
                    <a:lnTo>
                      <a:pt x="6385" y="0"/>
                    </a:lnTo>
                    <a:lnTo>
                      <a:pt x="7154" y="0"/>
                    </a:lnTo>
                    <a:lnTo>
                      <a:pt x="7538" y="1123"/>
                    </a:lnTo>
                    <a:lnTo>
                      <a:pt x="8769" y="1123"/>
                    </a:lnTo>
                    <a:lnTo>
                      <a:pt x="10308" y="281"/>
                    </a:lnTo>
                    <a:lnTo>
                      <a:pt x="10308" y="1123"/>
                    </a:lnTo>
                    <a:lnTo>
                      <a:pt x="11538" y="1825"/>
                    </a:lnTo>
                    <a:lnTo>
                      <a:pt x="12692" y="3579"/>
                    </a:lnTo>
                    <a:lnTo>
                      <a:pt x="13923" y="3579"/>
                    </a:lnTo>
                    <a:lnTo>
                      <a:pt x="14769" y="2175"/>
                    </a:lnTo>
                    <a:lnTo>
                      <a:pt x="16769" y="2175"/>
                    </a:lnTo>
                    <a:lnTo>
                      <a:pt x="19154" y="4000"/>
                    </a:lnTo>
                    <a:lnTo>
                      <a:pt x="19154" y="4702"/>
                    </a:lnTo>
                    <a:lnTo>
                      <a:pt x="19923" y="6877"/>
                    </a:lnTo>
                    <a:lnTo>
                      <a:pt x="19923" y="8000"/>
                    </a:lnTo>
                    <a:lnTo>
                      <a:pt x="18692" y="8702"/>
                    </a:lnTo>
                    <a:lnTo>
                      <a:pt x="18692" y="10456"/>
                    </a:lnTo>
                    <a:lnTo>
                      <a:pt x="17077" y="12351"/>
                    </a:lnTo>
                    <a:lnTo>
                      <a:pt x="18692" y="15228"/>
                    </a:lnTo>
                    <a:lnTo>
                      <a:pt x="19154" y="17053"/>
                    </a:lnTo>
                    <a:lnTo>
                      <a:pt x="19154" y="18105"/>
                    </a:lnTo>
                    <a:lnTo>
                      <a:pt x="17923" y="17404"/>
                    </a:lnTo>
                    <a:lnTo>
                      <a:pt x="17923" y="16351"/>
                    </a:lnTo>
                    <a:lnTo>
                      <a:pt x="17077" y="17404"/>
                    </a:lnTo>
                    <a:lnTo>
                      <a:pt x="15538" y="17053"/>
                    </a:lnTo>
                    <a:lnTo>
                      <a:pt x="13923" y="17404"/>
                    </a:lnTo>
                    <a:lnTo>
                      <a:pt x="10308" y="17404"/>
                    </a:lnTo>
                    <a:lnTo>
                      <a:pt x="7154" y="18105"/>
                    </a:lnTo>
                    <a:lnTo>
                      <a:pt x="3154" y="19930"/>
                    </a:lnTo>
                    <a:lnTo>
                      <a:pt x="2385" y="17404"/>
                    </a:lnTo>
                    <a:lnTo>
                      <a:pt x="3154" y="15228"/>
                    </a:lnTo>
                    <a:lnTo>
                      <a:pt x="2385" y="14456"/>
                    </a:lnTo>
                    <a:lnTo>
                      <a:pt x="2000" y="14175"/>
                    </a:lnTo>
                    <a:lnTo>
                      <a:pt x="308" y="14175"/>
                    </a:lnTo>
                    <a:lnTo>
                      <a:pt x="0" y="12632"/>
                    </a:lnTo>
                    <a:lnTo>
                      <a:pt x="0" y="12351"/>
                    </a:lnTo>
                    <a:lnTo>
                      <a:pt x="0" y="11228"/>
                    </a:lnTo>
                    <a:lnTo>
                      <a:pt x="0" y="9754"/>
                    </a:lnTo>
                    <a:lnTo>
                      <a:pt x="308" y="9754"/>
                    </a:lnTo>
                    <a:lnTo>
                      <a:pt x="1231" y="8000"/>
                    </a:lnTo>
                    <a:lnTo>
                      <a:pt x="308" y="7579"/>
                    </a:lnTo>
                    <a:lnTo>
                      <a:pt x="1231" y="6877"/>
                    </a:lnTo>
                    <a:lnTo>
                      <a:pt x="2385" y="6877"/>
                    </a:lnTo>
                    <a:lnTo>
                      <a:pt x="2000" y="5754"/>
                    </a:lnTo>
                    <a:lnTo>
                      <a:pt x="2000" y="5053"/>
                    </a:lnTo>
                    <a:lnTo>
                      <a:pt x="2000" y="4000"/>
                    </a:lnTo>
                    <a:lnTo>
                      <a:pt x="1231" y="3579"/>
                    </a:lnTo>
                    <a:lnTo>
                      <a:pt x="1231" y="2175"/>
                    </a:lnTo>
                    <a:lnTo>
                      <a:pt x="2000" y="182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8" name="Freeform 131"/>
              <p:cNvSpPr>
                <a:spLocks/>
              </p:cNvSpPr>
              <p:nvPr/>
            </p:nvSpPr>
            <p:spPr bwMode="auto">
              <a:xfrm>
                <a:off x="5235575" y="4384675"/>
                <a:ext cx="168275" cy="174625"/>
              </a:xfrm>
              <a:custGeom>
                <a:avLst/>
                <a:gdLst>
                  <a:gd name="T0" fmla="*/ 8981 w 20000"/>
                  <a:gd name="T1" fmla="*/ 291 h 20000"/>
                  <a:gd name="T2" fmla="*/ 8981 w 20000"/>
                  <a:gd name="T3" fmla="*/ 0 h 20000"/>
                  <a:gd name="T4" fmla="*/ 11774 w 20000"/>
                  <a:gd name="T5" fmla="*/ 0 h 20000"/>
                  <a:gd name="T6" fmla="*/ 14113 w 20000"/>
                  <a:gd name="T7" fmla="*/ 0 h 20000"/>
                  <a:gd name="T8" fmla="*/ 15245 w 20000"/>
                  <a:gd name="T9" fmla="*/ 0 h 20000"/>
                  <a:gd name="T10" fmla="*/ 16075 w 20000"/>
                  <a:gd name="T11" fmla="*/ 0 h 20000"/>
                  <a:gd name="T12" fmla="*/ 15245 w 20000"/>
                  <a:gd name="T13" fmla="*/ 1164 h 20000"/>
                  <a:gd name="T14" fmla="*/ 15245 w 20000"/>
                  <a:gd name="T15" fmla="*/ 3345 h 20000"/>
                  <a:gd name="T16" fmla="*/ 16377 w 20000"/>
                  <a:gd name="T17" fmla="*/ 2982 h 20000"/>
                  <a:gd name="T18" fmla="*/ 17962 w 20000"/>
                  <a:gd name="T19" fmla="*/ 2982 h 20000"/>
                  <a:gd name="T20" fmla="*/ 18415 w 20000"/>
                  <a:gd name="T21" fmla="*/ 3345 h 20000"/>
                  <a:gd name="T22" fmla="*/ 19170 w 20000"/>
                  <a:gd name="T23" fmla="*/ 4436 h 20000"/>
                  <a:gd name="T24" fmla="*/ 18415 w 20000"/>
                  <a:gd name="T25" fmla="*/ 5236 h 20000"/>
                  <a:gd name="T26" fmla="*/ 17962 w 20000"/>
                  <a:gd name="T27" fmla="*/ 5964 h 20000"/>
                  <a:gd name="T28" fmla="*/ 17962 w 20000"/>
                  <a:gd name="T29" fmla="*/ 7855 h 20000"/>
                  <a:gd name="T30" fmla="*/ 19925 w 20000"/>
                  <a:gd name="T31" fmla="*/ 9018 h 20000"/>
                  <a:gd name="T32" fmla="*/ 19925 w 20000"/>
                  <a:gd name="T33" fmla="*/ 12000 h 20000"/>
                  <a:gd name="T34" fmla="*/ 19170 w 20000"/>
                  <a:gd name="T35" fmla="*/ 13091 h 20000"/>
                  <a:gd name="T36" fmla="*/ 18415 w 20000"/>
                  <a:gd name="T37" fmla="*/ 14255 h 20000"/>
                  <a:gd name="T38" fmla="*/ 18415 w 20000"/>
                  <a:gd name="T39" fmla="*/ 15782 h 20000"/>
                  <a:gd name="T40" fmla="*/ 17962 w 20000"/>
                  <a:gd name="T41" fmla="*/ 15782 h 20000"/>
                  <a:gd name="T42" fmla="*/ 17208 w 20000"/>
                  <a:gd name="T43" fmla="*/ 14255 h 20000"/>
                  <a:gd name="T44" fmla="*/ 15245 w 20000"/>
                  <a:gd name="T45" fmla="*/ 14982 h 20000"/>
                  <a:gd name="T46" fmla="*/ 12906 w 20000"/>
                  <a:gd name="T47" fmla="*/ 13091 h 20000"/>
                  <a:gd name="T48" fmla="*/ 12075 w 20000"/>
                  <a:gd name="T49" fmla="*/ 14982 h 20000"/>
                  <a:gd name="T50" fmla="*/ 10943 w 20000"/>
                  <a:gd name="T51" fmla="*/ 14982 h 20000"/>
                  <a:gd name="T52" fmla="*/ 10189 w 20000"/>
                  <a:gd name="T53" fmla="*/ 14255 h 20000"/>
                  <a:gd name="T54" fmla="*/ 9736 w 20000"/>
                  <a:gd name="T55" fmla="*/ 16145 h 20000"/>
                  <a:gd name="T56" fmla="*/ 10943 w 20000"/>
                  <a:gd name="T57" fmla="*/ 16945 h 20000"/>
                  <a:gd name="T58" fmla="*/ 10943 w 20000"/>
                  <a:gd name="T59" fmla="*/ 19127 h 20000"/>
                  <a:gd name="T60" fmla="*/ 10189 w 20000"/>
                  <a:gd name="T61" fmla="*/ 19127 h 20000"/>
                  <a:gd name="T62" fmla="*/ 9736 w 20000"/>
                  <a:gd name="T63" fmla="*/ 18764 h 20000"/>
                  <a:gd name="T64" fmla="*/ 8981 w 20000"/>
                  <a:gd name="T65" fmla="*/ 19127 h 20000"/>
                  <a:gd name="T66" fmla="*/ 7849 w 20000"/>
                  <a:gd name="T67" fmla="*/ 19927 h 20000"/>
                  <a:gd name="T68" fmla="*/ 4679 w 20000"/>
                  <a:gd name="T69" fmla="*/ 16945 h 20000"/>
                  <a:gd name="T70" fmla="*/ 3547 w 20000"/>
                  <a:gd name="T71" fmla="*/ 15782 h 20000"/>
                  <a:gd name="T72" fmla="*/ 4679 w 20000"/>
                  <a:gd name="T73" fmla="*/ 16145 h 20000"/>
                  <a:gd name="T74" fmla="*/ 4679 w 20000"/>
                  <a:gd name="T75" fmla="*/ 15782 h 20000"/>
                  <a:gd name="T76" fmla="*/ 2792 w 20000"/>
                  <a:gd name="T77" fmla="*/ 14982 h 20000"/>
                  <a:gd name="T78" fmla="*/ 1962 w 20000"/>
                  <a:gd name="T79" fmla="*/ 13818 h 20000"/>
                  <a:gd name="T80" fmla="*/ 2792 w 20000"/>
                  <a:gd name="T81" fmla="*/ 13818 h 20000"/>
                  <a:gd name="T82" fmla="*/ 1962 w 20000"/>
                  <a:gd name="T83" fmla="*/ 13091 h 20000"/>
                  <a:gd name="T84" fmla="*/ 2792 w 20000"/>
                  <a:gd name="T85" fmla="*/ 12364 h 20000"/>
                  <a:gd name="T86" fmla="*/ 1962 w 20000"/>
                  <a:gd name="T87" fmla="*/ 12000 h 20000"/>
                  <a:gd name="T88" fmla="*/ 1585 w 20000"/>
                  <a:gd name="T89" fmla="*/ 12364 h 20000"/>
                  <a:gd name="T90" fmla="*/ 830 w 20000"/>
                  <a:gd name="T91" fmla="*/ 10836 h 20000"/>
                  <a:gd name="T92" fmla="*/ 0 w 20000"/>
                  <a:gd name="T93" fmla="*/ 9382 h 20000"/>
                  <a:gd name="T94" fmla="*/ 1585 w 20000"/>
                  <a:gd name="T95" fmla="*/ 9382 h 20000"/>
                  <a:gd name="T96" fmla="*/ 1962 w 20000"/>
                  <a:gd name="T97" fmla="*/ 7127 h 20000"/>
                  <a:gd name="T98" fmla="*/ 2792 w 20000"/>
                  <a:gd name="T99" fmla="*/ 7855 h 20000"/>
                  <a:gd name="T100" fmla="*/ 3925 w 20000"/>
                  <a:gd name="T101" fmla="*/ 7127 h 20000"/>
                  <a:gd name="T102" fmla="*/ 1962 w 20000"/>
                  <a:gd name="T103" fmla="*/ 6400 h 20000"/>
                  <a:gd name="T104" fmla="*/ 1962 w 20000"/>
                  <a:gd name="T105" fmla="*/ 5236 h 20000"/>
                  <a:gd name="T106" fmla="*/ 2792 w 20000"/>
                  <a:gd name="T107" fmla="*/ 5236 h 20000"/>
                  <a:gd name="T108" fmla="*/ 2792 w 20000"/>
                  <a:gd name="T109" fmla="*/ 4145 h 20000"/>
                  <a:gd name="T110" fmla="*/ 5132 w 20000"/>
                  <a:gd name="T111" fmla="*/ 4145 h 20000"/>
                  <a:gd name="T112" fmla="*/ 7094 w 20000"/>
                  <a:gd name="T113" fmla="*/ 4145 h 20000"/>
                  <a:gd name="T114" fmla="*/ 8981 w 20000"/>
                  <a:gd name="T115" fmla="*/ 4145 h 20000"/>
                  <a:gd name="T116" fmla="*/ 8981 w 20000"/>
                  <a:gd name="T117" fmla="*/ 29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8981" y="291"/>
                    </a:moveTo>
                    <a:lnTo>
                      <a:pt x="8981" y="0"/>
                    </a:lnTo>
                    <a:lnTo>
                      <a:pt x="11774" y="0"/>
                    </a:lnTo>
                    <a:lnTo>
                      <a:pt x="14113" y="0"/>
                    </a:lnTo>
                    <a:lnTo>
                      <a:pt x="15245" y="0"/>
                    </a:lnTo>
                    <a:lnTo>
                      <a:pt x="16075" y="0"/>
                    </a:lnTo>
                    <a:lnTo>
                      <a:pt x="15245" y="1164"/>
                    </a:lnTo>
                    <a:lnTo>
                      <a:pt x="15245" y="3345"/>
                    </a:lnTo>
                    <a:lnTo>
                      <a:pt x="16377" y="2982"/>
                    </a:lnTo>
                    <a:lnTo>
                      <a:pt x="17962" y="2982"/>
                    </a:lnTo>
                    <a:lnTo>
                      <a:pt x="18415" y="3345"/>
                    </a:lnTo>
                    <a:lnTo>
                      <a:pt x="19170" y="4436"/>
                    </a:lnTo>
                    <a:lnTo>
                      <a:pt x="18415" y="5236"/>
                    </a:lnTo>
                    <a:lnTo>
                      <a:pt x="17962" y="5964"/>
                    </a:lnTo>
                    <a:lnTo>
                      <a:pt x="17962" y="7855"/>
                    </a:lnTo>
                    <a:lnTo>
                      <a:pt x="19925" y="9018"/>
                    </a:lnTo>
                    <a:lnTo>
                      <a:pt x="19925" y="12000"/>
                    </a:lnTo>
                    <a:lnTo>
                      <a:pt x="19170" y="13091"/>
                    </a:lnTo>
                    <a:lnTo>
                      <a:pt x="18415" y="14255"/>
                    </a:lnTo>
                    <a:lnTo>
                      <a:pt x="18415" y="15782"/>
                    </a:lnTo>
                    <a:lnTo>
                      <a:pt x="17962" y="15782"/>
                    </a:lnTo>
                    <a:lnTo>
                      <a:pt x="17208" y="14255"/>
                    </a:lnTo>
                    <a:lnTo>
                      <a:pt x="15245" y="14982"/>
                    </a:lnTo>
                    <a:lnTo>
                      <a:pt x="12906" y="13091"/>
                    </a:lnTo>
                    <a:lnTo>
                      <a:pt x="12075" y="14982"/>
                    </a:lnTo>
                    <a:lnTo>
                      <a:pt x="10943" y="14982"/>
                    </a:lnTo>
                    <a:lnTo>
                      <a:pt x="10189" y="14255"/>
                    </a:lnTo>
                    <a:lnTo>
                      <a:pt x="9736" y="16145"/>
                    </a:lnTo>
                    <a:lnTo>
                      <a:pt x="10943" y="16945"/>
                    </a:lnTo>
                    <a:lnTo>
                      <a:pt x="10943" y="19127"/>
                    </a:lnTo>
                    <a:lnTo>
                      <a:pt x="10189" y="19127"/>
                    </a:lnTo>
                    <a:lnTo>
                      <a:pt x="9736" y="18764"/>
                    </a:lnTo>
                    <a:lnTo>
                      <a:pt x="8981" y="19127"/>
                    </a:lnTo>
                    <a:lnTo>
                      <a:pt x="7849" y="19927"/>
                    </a:lnTo>
                    <a:lnTo>
                      <a:pt x="4679" y="16945"/>
                    </a:lnTo>
                    <a:lnTo>
                      <a:pt x="3547" y="15782"/>
                    </a:lnTo>
                    <a:lnTo>
                      <a:pt x="4679" y="16145"/>
                    </a:lnTo>
                    <a:lnTo>
                      <a:pt x="4679" y="15782"/>
                    </a:lnTo>
                    <a:lnTo>
                      <a:pt x="2792" y="14982"/>
                    </a:lnTo>
                    <a:lnTo>
                      <a:pt x="1962" y="13818"/>
                    </a:lnTo>
                    <a:lnTo>
                      <a:pt x="2792" y="13818"/>
                    </a:lnTo>
                    <a:lnTo>
                      <a:pt x="1962" y="13091"/>
                    </a:lnTo>
                    <a:lnTo>
                      <a:pt x="2792" y="12364"/>
                    </a:lnTo>
                    <a:lnTo>
                      <a:pt x="1962" y="12000"/>
                    </a:lnTo>
                    <a:lnTo>
                      <a:pt x="1585" y="12364"/>
                    </a:lnTo>
                    <a:lnTo>
                      <a:pt x="830" y="10836"/>
                    </a:lnTo>
                    <a:lnTo>
                      <a:pt x="0" y="9382"/>
                    </a:lnTo>
                    <a:lnTo>
                      <a:pt x="1585" y="9382"/>
                    </a:lnTo>
                    <a:lnTo>
                      <a:pt x="1962" y="7127"/>
                    </a:lnTo>
                    <a:lnTo>
                      <a:pt x="2792" y="7855"/>
                    </a:lnTo>
                    <a:lnTo>
                      <a:pt x="3925" y="7127"/>
                    </a:lnTo>
                    <a:lnTo>
                      <a:pt x="1962" y="6400"/>
                    </a:lnTo>
                    <a:lnTo>
                      <a:pt x="1962" y="5236"/>
                    </a:lnTo>
                    <a:lnTo>
                      <a:pt x="2792" y="5236"/>
                    </a:lnTo>
                    <a:lnTo>
                      <a:pt x="2792" y="4145"/>
                    </a:lnTo>
                    <a:lnTo>
                      <a:pt x="5132" y="4145"/>
                    </a:lnTo>
                    <a:lnTo>
                      <a:pt x="7094" y="4145"/>
                    </a:lnTo>
                    <a:lnTo>
                      <a:pt x="8981" y="4145"/>
                    </a:lnTo>
                    <a:lnTo>
                      <a:pt x="8981" y="29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19" name="Freeform 130"/>
              <p:cNvSpPr>
                <a:spLocks/>
              </p:cNvSpPr>
              <p:nvPr/>
            </p:nvSpPr>
            <p:spPr bwMode="auto">
              <a:xfrm>
                <a:off x="4510088" y="4052888"/>
                <a:ext cx="92075" cy="23812"/>
              </a:xfrm>
              <a:custGeom>
                <a:avLst/>
                <a:gdLst>
                  <a:gd name="T0" fmla="*/ 1370 w 20000"/>
                  <a:gd name="T1" fmla="*/ 5405 h 20000"/>
                  <a:gd name="T2" fmla="*/ 7808 w 20000"/>
                  <a:gd name="T3" fmla="*/ 0 h 20000"/>
                  <a:gd name="T4" fmla="*/ 12740 w 20000"/>
                  <a:gd name="T5" fmla="*/ 0 h 20000"/>
                  <a:gd name="T6" fmla="*/ 16164 w 20000"/>
                  <a:gd name="T7" fmla="*/ 5405 h 20000"/>
                  <a:gd name="T8" fmla="*/ 19863 w 20000"/>
                  <a:gd name="T9" fmla="*/ 5405 h 20000"/>
                  <a:gd name="T10" fmla="*/ 16986 w 20000"/>
                  <a:gd name="T11" fmla="*/ 14054 h 20000"/>
                  <a:gd name="T12" fmla="*/ 11233 w 20000"/>
                  <a:gd name="T13" fmla="*/ 5405 h 20000"/>
                  <a:gd name="T14" fmla="*/ 9178 w 20000"/>
                  <a:gd name="T15" fmla="*/ 10811 h 20000"/>
                  <a:gd name="T16" fmla="*/ 6986 w 20000"/>
                  <a:gd name="T17" fmla="*/ 10811 h 20000"/>
                  <a:gd name="T18" fmla="*/ 6986 w 20000"/>
                  <a:gd name="T19" fmla="*/ 14054 h 20000"/>
                  <a:gd name="T20" fmla="*/ 0 w 20000"/>
                  <a:gd name="T21" fmla="*/ 19459 h 20000"/>
                  <a:gd name="T22" fmla="*/ 0 w 20000"/>
                  <a:gd name="T23" fmla="*/ 14054 h 20000"/>
                  <a:gd name="T24" fmla="*/ 1370 w 20000"/>
                  <a:gd name="T25" fmla="*/ 10811 h 20000"/>
                  <a:gd name="T26" fmla="*/ 1370 w 20000"/>
                  <a:gd name="T27" fmla="*/ 540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1370" y="5405"/>
                    </a:moveTo>
                    <a:lnTo>
                      <a:pt x="7808" y="0"/>
                    </a:lnTo>
                    <a:lnTo>
                      <a:pt x="12740" y="0"/>
                    </a:lnTo>
                    <a:lnTo>
                      <a:pt x="16164" y="5405"/>
                    </a:lnTo>
                    <a:lnTo>
                      <a:pt x="19863" y="5405"/>
                    </a:lnTo>
                    <a:lnTo>
                      <a:pt x="16986" y="14054"/>
                    </a:lnTo>
                    <a:lnTo>
                      <a:pt x="11233" y="5405"/>
                    </a:lnTo>
                    <a:lnTo>
                      <a:pt x="9178" y="10811"/>
                    </a:lnTo>
                    <a:lnTo>
                      <a:pt x="6986" y="10811"/>
                    </a:lnTo>
                    <a:lnTo>
                      <a:pt x="6986" y="14054"/>
                    </a:lnTo>
                    <a:lnTo>
                      <a:pt x="0" y="19459"/>
                    </a:lnTo>
                    <a:lnTo>
                      <a:pt x="0" y="14054"/>
                    </a:lnTo>
                    <a:lnTo>
                      <a:pt x="1370" y="10811"/>
                    </a:lnTo>
                    <a:lnTo>
                      <a:pt x="1370" y="540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0" name="Freeform 129"/>
              <p:cNvSpPr>
                <a:spLocks/>
              </p:cNvSpPr>
              <p:nvPr/>
            </p:nvSpPr>
            <p:spPr bwMode="auto">
              <a:xfrm>
                <a:off x="4891088" y="4135438"/>
                <a:ext cx="130175" cy="174625"/>
              </a:xfrm>
              <a:custGeom>
                <a:avLst/>
                <a:gdLst>
                  <a:gd name="T0" fmla="*/ 2647 w 20000"/>
                  <a:gd name="T1" fmla="*/ 5236 h 20000"/>
                  <a:gd name="T2" fmla="*/ 2647 w 20000"/>
                  <a:gd name="T3" fmla="*/ 3418 h 20000"/>
                  <a:gd name="T4" fmla="*/ 2059 w 20000"/>
                  <a:gd name="T5" fmla="*/ 1164 h 20000"/>
                  <a:gd name="T6" fmla="*/ 2647 w 20000"/>
                  <a:gd name="T7" fmla="*/ 0 h 20000"/>
                  <a:gd name="T8" fmla="*/ 12745 w 20000"/>
                  <a:gd name="T9" fmla="*/ 436 h 20000"/>
                  <a:gd name="T10" fmla="*/ 13235 w 20000"/>
                  <a:gd name="T11" fmla="*/ 0 h 20000"/>
                  <a:gd name="T12" fmla="*/ 14706 w 20000"/>
                  <a:gd name="T13" fmla="*/ 0 h 20000"/>
                  <a:gd name="T14" fmla="*/ 15784 w 20000"/>
                  <a:gd name="T15" fmla="*/ 436 h 20000"/>
                  <a:gd name="T16" fmla="*/ 14706 w 20000"/>
                  <a:gd name="T17" fmla="*/ 1164 h 20000"/>
                  <a:gd name="T18" fmla="*/ 16863 w 20000"/>
                  <a:gd name="T19" fmla="*/ 2255 h 20000"/>
                  <a:gd name="T20" fmla="*/ 16863 w 20000"/>
                  <a:gd name="T21" fmla="*/ 3418 h 20000"/>
                  <a:gd name="T22" fmla="*/ 15784 w 20000"/>
                  <a:gd name="T23" fmla="*/ 4873 h 20000"/>
                  <a:gd name="T24" fmla="*/ 17255 w 20000"/>
                  <a:gd name="T25" fmla="*/ 5236 h 20000"/>
                  <a:gd name="T26" fmla="*/ 17255 w 20000"/>
                  <a:gd name="T27" fmla="*/ 6400 h 20000"/>
                  <a:gd name="T28" fmla="*/ 17255 w 20000"/>
                  <a:gd name="T29" fmla="*/ 7127 h 20000"/>
                  <a:gd name="T30" fmla="*/ 18333 w 20000"/>
                  <a:gd name="T31" fmla="*/ 8291 h 20000"/>
                  <a:gd name="T32" fmla="*/ 17255 w 20000"/>
                  <a:gd name="T33" fmla="*/ 9382 h 20000"/>
                  <a:gd name="T34" fmla="*/ 17255 w 20000"/>
                  <a:gd name="T35" fmla="*/ 10836 h 20000"/>
                  <a:gd name="T36" fmla="*/ 17255 w 20000"/>
                  <a:gd name="T37" fmla="*/ 12800 h 20000"/>
                  <a:gd name="T38" fmla="*/ 18333 w 20000"/>
                  <a:gd name="T39" fmla="*/ 15055 h 20000"/>
                  <a:gd name="T40" fmla="*/ 19902 w 20000"/>
                  <a:gd name="T41" fmla="*/ 16145 h 20000"/>
                  <a:gd name="T42" fmla="*/ 19314 w 20000"/>
                  <a:gd name="T43" fmla="*/ 16945 h 20000"/>
                  <a:gd name="T44" fmla="*/ 15784 w 20000"/>
                  <a:gd name="T45" fmla="*/ 17236 h 20000"/>
                  <a:gd name="T46" fmla="*/ 13235 w 20000"/>
                  <a:gd name="T47" fmla="*/ 18036 h 20000"/>
                  <a:gd name="T48" fmla="*/ 8627 w 20000"/>
                  <a:gd name="T49" fmla="*/ 19200 h 20000"/>
                  <a:gd name="T50" fmla="*/ 6078 w 20000"/>
                  <a:gd name="T51" fmla="*/ 19927 h 20000"/>
                  <a:gd name="T52" fmla="*/ 2647 w 20000"/>
                  <a:gd name="T53" fmla="*/ 19927 h 20000"/>
                  <a:gd name="T54" fmla="*/ 2647 w 20000"/>
                  <a:gd name="T55" fmla="*/ 18764 h 20000"/>
                  <a:gd name="T56" fmla="*/ 2059 w 20000"/>
                  <a:gd name="T57" fmla="*/ 16945 h 20000"/>
                  <a:gd name="T58" fmla="*/ 0 w 20000"/>
                  <a:gd name="T59" fmla="*/ 13891 h 20000"/>
                  <a:gd name="T60" fmla="*/ 2059 w 20000"/>
                  <a:gd name="T61" fmla="*/ 12000 h 20000"/>
                  <a:gd name="T62" fmla="*/ 2059 w 20000"/>
                  <a:gd name="T63" fmla="*/ 10109 h 20000"/>
                  <a:gd name="T64" fmla="*/ 3627 w 20000"/>
                  <a:gd name="T65" fmla="*/ 9382 h 20000"/>
                  <a:gd name="T66" fmla="*/ 3627 w 20000"/>
                  <a:gd name="T67" fmla="*/ 8291 h 20000"/>
                  <a:gd name="T68" fmla="*/ 2647 w 20000"/>
                  <a:gd name="T69" fmla="*/ 5964 h 20000"/>
                  <a:gd name="T70" fmla="*/ 2647 w 20000"/>
                  <a:gd name="T71" fmla="*/ 52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2647" y="5236"/>
                    </a:moveTo>
                    <a:lnTo>
                      <a:pt x="2647" y="3418"/>
                    </a:lnTo>
                    <a:lnTo>
                      <a:pt x="2059" y="1164"/>
                    </a:lnTo>
                    <a:lnTo>
                      <a:pt x="2647" y="0"/>
                    </a:lnTo>
                    <a:lnTo>
                      <a:pt x="12745" y="436"/>
                    </a:lnTo>
                    <a:lnTo>
                      <a:pt x="13235" y="0"/>
                    </a:lnTo>
                    <a:lnTo>
                      <a:pt x="14706" y="0"/>
                    </a:lnTo>
                    <a:lnTo>
                      <a:pt x="15784" y="436"/>
                    </a:lnTo>
                    <a:lnTo>
                      <a:pt x="14706" y="1164"/>
                    </a:lnTo>
                    <a:lnTo>
                      <a:pt x="16863" y="2255"/>
                    </a:lnTo>
                    <a:lnTo>
                      <a:pt x="16863" y="3418"/>
                    </a:lnTo>
                    <a:lnTo>
                      <a:pt x="15784" y="4873"/>
                    </a:lnTo>
                    <a:lnTo>
                      <a:pt x="17255" y="5236"/>
                    </a:lnTo>
                    <a:lnTo>
                      <a:pt x="17255" y="6400"/>
                    </a:lnTo>
                    <a:lnTo>
                      <a:pt x="17255" y="7127"/>
                    </a:lnTo>
                    <a:lnTo>
                      <a:pt x="18333" y="8291"/>
                    </a:lnTo>
                    <a:lnTo>
                      <a:pt x="17255" y="9382"/>
                    </a:lnTo>
                    <a:lnTo>
                      <a:pt x="17255" y="10836"/>
                    </a:lnTo>
                    <a:lnTo>
                      <a:pt x="17255" y="12800"/>
                    </a:lnTo>
                    <a:lnTo>
                      <a:pt x="18333" y="15055"/>
                    </a:lnTo>
                    <a:lnTo>
                      <a:pt x="19902" y="16145"/>
                    </a:lnTo>
                    <a:lnTo>
                      <a:pt x="19314" y="16945"/>
                    </a:lnTo>
                    <a:lnTo>
                      <a:pt x="15784" y="17236"/>
                    </a:lnTo>
                    <a:lnTo>
                      <a:pt x="13235" y="18036"/>
                    </a:lnTo>
                    <a:lnTo>
                      <a:pt x="8627" y="19200"/>
                    </a:lnTo>
                    <a:lnTo>
                      <a:pt x="6078" y="19927"/>
                    </a:lnTo>
                    <a:lnTo>
                      <a:pt x="2647" y="19927"/>
                    </a:lnTo>
                    <a:lnTo>
                      <a:pt x="2647" y="18764"/>
                    </a:lnTo>
                    <a:lnTo>
                      <a:pt x="2059" y="16945"/>
                    </a:lnTo>
                    <a:lnTo>
                      <a:pt x="0" y="13891"/>
                    </a:lnTo>
                    <a:lnTo>
                      <a:pt x="2059" y="12000"/>
                    </a:lnTo>
                    <a:lnTo>
                      <a:pt x="2059" y="10109"/>
                    </a:lnTo>
                    <a:lnTo>
                      <a:pt x="3627" y="9382"/>
                    </a:lnTo>
                    <a:lnTo>
                      <a:pt x="3627" y="8291"/>
                    </a:lnTo>
                    <a:lnTo>
                      <a:pt x="2647" y="5964"/>
                    </a:lnTo>
                    <a:lnTo>
                      <a:pt x="2647" y="52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1" name="Freeform 128"/>
              <p:cNvSpPr>
                <a:spLocks/>
              </p:cNvSpPr>
              <p:nvPr/>
            </p:nvSpPr>
            <p:spPr bwMode="auto">
              <a:xfrm>
                <a:off x="4562475" y="4086225"/>
                <a:ext cx="207963" cy="155575"/>
              </a:xfrm>
              <a:custGeom>
                <a:avLst/>
                <a:gdLst>
                  <a:gd name="T0" fmla="*/ 3780 w 20000"/>
                  <a:gd name="T1" fmla="*/ 0 h 20000"/>
                  <a:gd name="T2" fmla="*/ 5671 w 20000"/>
                  <a:gd name="T3" fmla="*/ 0 h 20000"/>
                  <a:gd name="T4" fmla="*/ 5671 w 20000"/>
                  <a:gd name="T5" fmla="*/ 902 h 20000"/>
                  <a:gd name="T6" fmla="*/ 7256 w 20000"/>
                  <a:gd name="T7" fmla="*/ 1311 h 20000"/>
                  <a:gd name="T8" fmla="*/ 8232 w 20000"/>
                  <a:gd name="T9" fmla="*/ 902 h 20000"/>
                  <a:gd name="T10" fmla="*/ 8841 w 20000"/>
                  <a:gd name="T11" fmla="*/ 902 h 20000"/>
                  <a:gd name="T12" fmla="*/ 10427 w 20000"/>
                  <a:gd name="T13" fmla="*/ 902 h 20000"/>
                  <a:gd name="T14" fmla="*/ 10427 w 20000"/>
                  <a:gd name="T15" fmla="*/ 1311 h 20000"/>
                  <a:gd name="T16" fmla="*/ 10732 w 20000"/>
                  <a:gd name="T17" fmla="*/ 2131 h 20000"/>
                  <a:gd name="T18" fmla="*/ 11341 w 20000"/>
                  <a:gd name="T19" fmla="*/ 2131 h 20000"/>
                  <a:gd name="T20" fmla="*/ 12317 w 20000"/>
                  <a:gd name="T21" fmla="*/ 3361 h 20000"/>
                  <a:gd name="T22" fmla="*/ 13902 w 20000"/>
                  <a:gd name="T23" fmla="*/ 2131 h 20000"/>
                  <a:gd name="T24" fmla="*/ 14817 w 20000"/>
                  <a:gd name="T25" fmla="*/ 2131 h 20000"/>
                  <a:gd name="T26" fmla="*/ 15488 w 20000"/>
                  <a:gd name="T27" fmla="*/ 1311 h 20000"/>
                  <a:gd name="T28" fmla="*/ 15793 w 20000"/>
                  <a:gd name="T29" fmla="*/ 902 h 20000"/>
                  <a:gd name="T30" fmla="*/ 17073 w 20000"/>
                  <a:gd name="T31" fmla="*/ 3361 h 20000"/>
                  <a:gd name="T32" fmla="*/ 17317 w 20000"/>
                  <a:gd name="T33" fmla="*/ 4262 h 20000"/>
                  <a:gd name="T34" fmla="*/ 18049 w 20000"/>
                  <a:gd name="T35" fmla="*/ 4672 h 20000"/>
                  <a:gd name="T36" fmla="*/ 18049 w 20000"/>
                  <a:gd name="T37" fmla="*/ 6393 h 20000"/>
                  <a:gd name="T38" fmla="*/ 18293 w 20000"/>
                  <a:gd name="T39" fmla="*/ 6885 h 20000"/>
                  <a:gd name="T40" fmla="*/ 18293 w 20000"/>
                  <a:gd name="T41" fmla="*/ 8033 h 20000"/>
                  <a:gd name="T42" fmla="*/ 19573 w 20000"/>
                  <a:gd name="T43" fmla="*/ 9754 h 20000"/>
                  <a:gd name="T44" fmla="*/ 18963 w 20000"/>
                  <a:gd name="T45" fmla="*/ 10246 h 20000"/>
                  <a:gd name="T46" fmla="*/ 18963 w 20000"/>
                  <a:gd name="T47" fmla="*/ 11885 h 20000"/>
                  <a:gd name="T48" fmla="*/ 19573 w 20000"/>
                  <a:gd name="T49" fmla="*/ 12295 h 20000"/>
                  <a:gd name="T50" fmla="*/ 19573 w 20000"/>
                  <a:gd name="T51" fmla="*/ 13607 h 20000"/>
                  <a:gd name="T52" fmla="*/ 19573 w 20000"/>
                  <a:gd name="T53" fmla="*/ 14426 h 20000"/>
                  <a:gd name="T54" fmla="*/ 19939 w 20000"/>
                  <a:gd name="T55" fmla="*/ 15738 h 20000"/>
                  <a:gd name="T56" fmla="*/ 18963 w 20000"/>
                  <a:gd name="T57" fmla="*/ 15738 h 20000"/>
                  <a:gd name="T58" fmla="*/ 18293 w 20000"/>
                  <a:gd name="T59" fmla="*/ 16557 h 20000"/>
                  <a:gd name="T60" fmla="*/ 18963 w 20000"/>
                  <a:gd name="T61" fmla="*/ 16967 h 20000"/>
                  <a:gd name="T62" fmla="*/ 18293 w 20000"/>
                  <a:gd name="T63" fmla="*/ 19098 h 20000"/>
                  <a:gd name="T64" fmla="*/ 18049 w 20000"/>
                  <a:gd name="T65" fmla="*/ 19098 h 20000"/>
                  <a:gd name="T66" fmla="*/ 17073 w 20000"/>
                  <a:gd name="T67" fmla="*/ 18607 h 20000"/>
                  <a:gd name="T68" fmla="*/ 17073 w 20000"/>
                  <a:gd name="T69" fmla="*/ 19918 h 20000"/>
                  <a:gd name="T70" fmla="*/ 15793 w 20000"/>
                  <a:gd name="T71" fmla="*/ 19918 h 20000"/>
                  <a:gd name="T72" fmla="*/ 14817 w 20000"/>
                  <a:gd name="T73" fmla="*/ 19918 h 20000"/>
                  <a:gd name="T74" fmla="*/ 14817 w 20000"/>
                  <a:gd name="T75" fmla="*/ 17787 h 20000"/>
                  <a:gd name="T76" fmla="*/ 14207 w 20000"/>
                  <a:gd name="T77" fmla="*/ 15738 h 20000"/>
                  <a:gd name="T78" fmla="*/ 12927 w 20000"/>
                  <a:gd name="T79" fmla="*/ 15738 h 20000"/>
                  <a:gd name="T80" fmla="*/ 11707 w 20000"/>
                  <a:gd name="T81" fmla="*/ 15738 h 20000"/>
                  <a:gd name="T82" fmla="*/ 11707 w 20000"/>
                  <a:gd name="T83" fmla="*/ 13607 h 20000"/>
                  <a:gd name="T84" fmla="*/ 11341 w 20000"/>
                  <a:gd name="T85" fmla="*/ 13115 h 20000"/>
                  <a:gd name="T86" fmla="*/ 11341 w 20000"/>
                  <a:gd name="T87" fmla="*/ 11885 h 20000"/>
                  <a:gd name="T88" fmla="*/ 10427 w 20000"/>
                  <a:gd name="T89" fmla="*/ 9754 h 20000"/>
                  <a:gd name="T90" fmla="*/ 7561 w 20000"/>
                  <a:gd name="T91" fmla="*/ 10246 h 20000"/>
                  <a:gd name="T92" fmla="*/ 7256 w 20000"/>
                  <a:gd name="T93" fmla="*/ 10246 h 20000"/>
                  <a:gd name="T94" fmla="*/ 6341 w 20000"/>
                  <a:gd name="T95" fmla="*/ 12295 h 20000"/>
                  <a:gd name="T96" fmla="*/ 5671 w 20000"/>
                  <a:gd name="T97" fmla="*/ 12295 h 20000"/>
                  <a:gd name="T98" fmla="*/ 4756 w 20000"/>
                  <a:gd name="T99" fmla="*/ 13607 h 20000"/>
                  <a:gd name="T100" fmla="*/ 4085 w 20000"/>
                  <a:gd name="T101" fmla="*/ 12295 h 20000"/>
                  <a:gd name="T102" fmla="*/ 3780 w 20000"/>
                  <a:gd name="T103" fmla="*/ 11066 h 20000"/>
                  <a:gd name="T104" fmla="*/ 1585 w 20000"/>
                  <a:gd name="T105" fmla="*/ 8934 h 20000"/>
                  <a:gd name="T106" fmla="*/ 976 w 20000"/>
                  <a:gd name="T107" fmla="*/ 7705 h 20000"/>
                  <a:gd name="T108" fmla="*/ 0 w 20000"/>
                  <a:gd name="T109" fmla="*/ 6885 h 20000"/>
                  <a:gd name="T110" fmla="*/ 976 w 20000"/>
                  <a:gd name="T111" fmla="*/ 4672 h 20000"/>
                  <a:gd name="T112" fmla="*/ 3110 w 20000"/>
                  <a:gd name="T113" fmla="*/ 3361 h 20000"/>
                  <a:gd name="T114" fmla="*/ 3780 w 20000"/>
                  <a:gd name="T115" fmla="*/ 2131 h 20000"/>
                  <a:gd name="T116" fmla="*/ 3110 w 20000"/>
                  <a:gd name="T117" fmla="*/ 1311 h 20000"/>
                  <a:gd name="T118" fmla="*/ 3780 w 20000"/>
                  <a:gd name="T119" fmla="*/ 902 h 20000"/>
                  <a:gd name="T120" fmla="*/ 3780 w 20000"/>
                  <a:gd name="T12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3780" y="0"/>
                    </a:moveTo>
                    <a:lnTo>
                      <a:pt x="5671" y="0"/>
                    </a:lnTo>
                    <a:lnTo>
                      <a:pt x="5671" y="902"/>
                    </a:lnTo>
                    <a:lnTo>
                      <a:pt x="7256" y="1311"/>
                    </a:lnTo>
                    <a:lnTo>
                      <a:pt x="8232" y="902"/>
                    </a:lnTo>
                    <a:lnTo>
                      <a:pt x="8841" y="902"/>
                    </a:lnTo>
                    <a:lnTo>
                      <a:pt x="10427" y="902"/>
                    </a:lnTo>
                    <a:lnTo>
                      <a:pt x="10427" y="1311"/>
                    </a:lnTo>
                    <a:lnTo>
                      <a:pt x="10732" y="2131"/>
                    </a:lnTo>
                    <a:lnTo>
                      <a:pt x="11341" y="2131"/>
                    </a:lnTo>
                    <a:lnTo>
                      <a:pt x="12317" y="3361"/>
                    </a:lnTo>
                    <a:lnTo>
                      <a:pt x="13902" y="2131"/>
                    </a:lnTo>
                    <a:lnTo>
                      <a:pt x="14817" y="2131"/>
                    </a:lnTo>
                    <a:lnTo>
                      <a:pt x="15488" y="1311"/>
                    </a:lnTo>
                    <a:lnTo>
                      <a:pt x="15793" y="902"/>
                    </a:lnTo>
                    <a:lnTo>
                      <a:pt x="17073" y="3361"/>
                    </a:lnTo>
                    <a:lnTo>
                      <a:pt x="17317" y="4262"/>
                    </a:lnTo>
                    <a:lnTo>
                      <a:pt x="18049" y="4672"/>
                    </a:lnTo>
                    <a:lnTo>
                      <a:pt x="18049" y="6393"/>
                    </a:lnTo>
                    <a:lnTo>
                      <a:pt x="18293" y="6885"/>
                    </a:lnTo>
                    <a:lnTo>
                      <a:pt x="18293" y="8033"/>
                    </a:lnTo>
                    <a:lnTo>
                      <a:pt x="19573" y="9754"/>
                    </a:lnTo>
                    <a:lnTo>
                      <a:pt x="18963" y="10246"/>
                    </a:lnTo>
                    <a:lnTo>
                      <a:pt x="18963" y="11885"/>
                    </a:lnTo>
                    <a:lnTo>
                      <a:pt x="19573" y="12295"/>
                    </a:lnTo>
                    <a:lnTo>
                      <a:pt x="19573" y="13607"/>
                    </a:lnTo>
                    <a:lnTo>
                      <a:pt x="19573" y="14426"/>
                    </a:lnTo>
                    <a:lnTo>
                      <a:pt x="19939" y="15738"/>
                    </a:lnTo>
                    <a:lnTo>
                      <a:pt x="18963" y="15738"/>
                    </a:lnTo>
                    <a:lnTo>
                      <a:pt x="18293" y="16557"/>
                    </a:lnTo>
                    <a:lnTo>
                      <a:pt x="18963" y="16967"/>
                    </a:lnTo>
                    <a:lnTo>
                      <a:pt x="18293" y="19098"/>
                    </a:lnTo>
                    <a:lnTo>
                      <a:pt x="18049" y="19098"/>
                    </a:lnTo>
                    <a:lnTo>
                      <a:pt x="17073" y="18607"/>
                    </a:lnTo>
                    <a:lnTo>
                      <a:pt x="17073" y="19918"/>
                    </a:lnTo>
                    <a:lnTo>
                      <a:pt x="15793" y="19918"/>
                    </a:lnTo>
                    <a:lnTo>
                      <a:pt x="14817" y="19918"/>
                    </a:lnTo>
                    <a:lnTo>
                      <a:pt x="14817" y="17787"/>
                    </a:lnTo>
                    <a:lnTo>
                      <a:pt x="14207" y="15738"/>
                    </a:lnTo>
                    <a:lnTo>
                      <a:pt x="12927" y="15738"/>
                    </a:lnTo>
                    <a:lnTo>
                      <a:pt x="11707" y="15738"/>
                    </a:lnTo>
                    <a:lnTo>
                      <a:pt x="11707" y="13607"/>
                    </a:lnTo>
                    <a:lnTo>
                      <a:pt x="11341" y="13115"/>
                    </a:lnTo>
                    <a:lnTo>
                      <a:pt x="11341" y="11885"/>
                    </a:lnTo>
                    <a:lnTo>
                      <a:pt x="10427" y="9754"/>
                    </a:lnTo>
                    <a:lnTo>
                      <a:pt x="7561" y="10246"/>
                    </a:lnTo>
                    <a:lnTo>
                      <a:pt x="7256" y="10246"/>
                    </a:lnTo>
                    <a:lnTo>
                      <a:pt x="6341" y="12295"/>
                    </a:lnTo>
                    <a:lnTo>
                      <a:pt x="5671" y="12295"/>
                    </a:lnTo>
                    <a:lnTo>
                      <a:pt x="4756" y="13607"/>
                    </a:lnTo>
                    <a:lnTo>
                      <a:pt x="4085" y="12295"/>
                    </a:lnTo>
                    <a:lnTo>
                      <a:pt x="3780" y="11066"/>
                    </a:lnTo>
                    <a:lnTo>
                      <a:pt x="1585" y="8934"/>
                    </a:lnTo>
                    <a:lnTo>
                      <a:pt x="976" y="7705"/>
                    </a:lnTo>
                    <a:lnTo>
                      <a:pt x="0" y="6885"/>
                    </a:lnTo>
                    <a:lnTo>
                      <a:pt x="976" y="4672"/>
                    </a:lnTo>
                    <a:lnTo>
                      <a:pt x="3110" y="3361"/>
                    </a:lnTo>
                    <a:lnTo>
                      <a:pt x="3780" y="2131"/>
                    </a:lnTo>
                    <a:lnTo>
                      <a:pt x="3110" y="1311"/>
                    </a:lnTo>
                    <a:lnTo>
                      <a:pt x="3780" y="902"/>
                    </a:lnTo>
                    <a:lnTo>
                      <a:pt x="378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2" name="Freeform 127"/>
              <p:cNvSpPr>
                <a:spLocks/>
              </p:cNvSpPr>
              <p:nvPr/>
            </p:nvSpPr>
            <p:spPr bwMode="auto">
              <a:xfrm>
                <a:off x="4516438" y="4086225"/>
                <a:ext cx="85725" cy="53975"/>
              </a:xfrm>
              <a:custGeom>
                <a:avLst/>
                <a:gdLst>
                  <a:gd name="T0" fmla="*/ 0 w 20000"/>
                  <a:gd name="T1" fmla="*/ 3765 h 20000"/>
                  <a:gd name="T2" fmla="*/ 4559 w 20000"/>
                  <a:gd name="T3" fmla="*/ 2588 h 20000"/>
                  <a:gd name="T4" fmla="*/ 6912 w 20000"/>
                  <a:gd name="T5" fmla="*/ 2588 h 20000"/>
                  <a:gd name="T6" fmla="*/ 9853 w 20000"/>
                  <a:gd name="T7" fmla="*/ 0 h 20000"/>
                  <a:gd name="T8" fmla="*/ 19853 w 20000"/>
                  <a:gd name="T9" fmla="*/ 0 h 20000"/>
                  <a:gd name="T10" fmla="*/ 19853 w 20000"/>
                  <a:gd name="T11" fmla="*/ 2588 h 20000"/>
                  <a:gd name="T12" fmla="*/ 18235 w 20000"/>
                  <a:gd name="T13" fmla="*/ 3765 h 20000"/>
                  <a:gd name="T14" fmla="*/ 19853 w 20000"/>
                  <a:gd name="T15" fmla="*/ 6118 h 20000"/>
                  <a:gd name="T16" fmla="*/ 18235 w 20000"/>
                  <a:gd name="T17" fmla="*/ 9647 h 20000"/>
                  <a:gd name="T18" fmla="*/ 12941 w 20000"/>
                  <a:gd name="T19" fmla="*/ 13412 h 20000"/>
                  <a:gd name="T20" fmla="*/ 10588 w 20000"/>
                  <a:gd name="T21" fmla="*/ 19765 h 20000"/>
                  <a:gd name="T22" fmla="*/ 9853 w 20000"/>
                  <a:gd name="T23" fmla="*/ 16000 h 20000"/>
                  <a:gd name="T24" fmla="*/ 8382 w 20000"/>
                  <a:gd name="T25" fmla="*/ 18353 h 20000"/>
                  <a:gd name="T26" fmla="*/ 8382 w 20000"/>
                  <a:gd name="T27" fmla="*/ 9647 h 20000"/>
                  <a:gd name="T28" fmla="*/ 4559 w 20000"/>
                  <a:gd name="T29" fmla="*/ 9647 h 20000"/>
                  <a:gd name="T30" fmla="*/ 4559 w 20000"/>
                  <a:gd name="T31" fmla="*/ 8706 h 20000"/>
                  <a:gd name="T32" fmla="*/ 2353 w 20000"/>
                  <a:gd name="T33" fmla="*/ 6118 h 20000"/>
                  <a:gd name="T34" fmla="*/ 0 w 20000"/>
                  <a:gd name="T35" fmla="*/ 3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0" y="3765"/>
                    </a:moveTo>
                    <a:lnTo>
                      <a:pt x="4559" y="2588"/>
                    </a:lnTo>
                    <a:lnTo>
                      <a:pt x="6912" y="2588"/>
                    </a:lnTo>
                    <a:lnTo>
                      <a:pt x="9853" y="0"/>
                    </a:lnTo>
                    <a:lnTo>
                      <a:pt x="19853" y="0"/>
                    </a:lnTo>
                    <a:lnTo>
                      <a:pt x="19853" y="2588"/>
                    </a:lnTo>
                    <a:lnTo>
                      <a:pt x="18235" y="3765"/>
                    </a:lnTo>
                    <a:lnTo>
                      <a:pt x="19853" y="6118"/>
                    </a:lnTo>
                    <a:lnTo>
                      <a:pt x="18235" y="9647"/>
                    </a:lnTo>
                    <a:lnTo>
                      <a:pt x="12941" y="13412"/>
                    </a:lnTo>
                    <a:lnTo>
                      <a:pt x="10588" y="19765"/>
                    </a:lnTo>
                    <a:lnTo>
                      <a:pt x="9853" y="16000"/>
                    </a:lnTo>
                    <a:lnTo>
                      <a:pt x="8382" y="18353"/>
                    </a:lnTo>
                    <a:lnTo>
                      <a:pt x="8382" y="9647"/>
                    </a:lnTo>
                    <a:lnTo>
                      <a:pt x="4559" y="9647"/>
                    </a:lnTo>
                    <a:lnTo>
                      <a:pt x="4559" y="8706"/>
                    </a:lnTo>
                    <a:lnTo>
                      <a:pt x="2353" y="6118"/>
                    </a:lnTo>
                    <a:lnTo>
                      <a:pt x="0" y="3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3" name="Freeform 126"/>
              <p:cNvSpPr>
                <a:spLocks/>
              </p:cNvSpPr>
              <p:nvPr/>
            </p:nvSpPr>
            <p:spPr bwMode="auto">
              <a:xfrm>
                <a:off x="5226050" y="4076700"/>
                <a:ext cx="217488" cy="312738"/>
              </a:xfrm>
              <a:custGeom>
                <a:avLst/>
                <a:gdLst>
                  <a:gd name="T0" fmla="*/ 15743 w 20000"/>
                  <a:gd name="T1" fmla="*/ 0 h 20000"/>
                  <a:gd name="T2" fmla="*/ 16618 w 20000"/>
                  <a:gd name="T3" fmla="*/ 1095 h 20000"/>
                  <a:gd name="T4" fmla="*/ 17201 w 20000"/>
                  <a:gd name="T5" fmla="*/ 2961 h 20000"/>
                  <a:gd name="T6" fmla="*/ 17551 w 20000"/>
                  <a:gd name="T7" fmla="*/ 5071 h 20000"/>
                  <a:gd name="T8" fmla="*/ 16327 w 20000"/>
                  <a:gd name="T9" fmla="*/ 5720 h 20000"/>
                  <a:gd name="T10" fmla="*/ 14810 w 20000"/>
                  <a:gd name="T11" fmla="*/ 6531 h 20000"/>
                  <a:gd name="T12" fmla="*/ 17551 w 20000"/>
                  <a:gd name="T13" fmla="*/ 8195 h 20000"/>
                  <a:gd name="T14" fmla="*/ 18717 w 20000"/>
                  <a:gd name="T15" fmla="*/ 9858 h 20000"/>
                  <a:gd name="T16" fmla="*/ 17551 w 20000"/>
                  <a:gd name="T17" fmla="*/ 10953 h 20000"/>
                  <a:gd name="T18" fmla="*/ 16327 w 20000"/>
                  <a:gd name="T19" fmla="*/ 12819 h 20000"/>
                  <a:gd name="T20" fmla="*/ 16618 w 20000"/>
                  <a:gd name="T21" fmla="*/ 14523 h 20000"/>
                  <a:gd name="T22" fmla="*/ 17551 w 20000"/>
                  <a:gd name="T23" fmla="*/ 15984 h 20000"/>
                  <a:gd name="T24" fmla="*/ 19592 w 20000"/>
                  <a:gd name="T25" fmla="*/ 18296 h 20000"/>
                  <a:gd name="T26" fmla="*/ 19592 w 20000"/>
                  <a:gd name="T27" fmla="*/ 19310 h 20000"/>
                  <a:gd name="T28" fmla="*/ 16618 w 20000"/>
                  <a:gd name="T29" fmla="*/ 19310 h 20000"/>
                  <a:gd name="T30" fmla="*/ 11837 w 20000"/>
                  <a:gd name="T31" fmla="*/ 19757 h 20000"/>
                  <a:gd name="T32" fmla="*/ 7872 w 20000"/>
                  <a:gd name="T33" fmla="*/ 19757 h 20000"/>
                  <a:gd name="T34" fmla="*/ 4548 w 20000"/>
                  <a:gd name="T35" fmla="*/ 19757 h 20000"/>
                  <a:gd name="T36" fmla="*/ 3615 w 20000"/>
                  <a:gd name="T37" fmla="*/ 17890 h 20000"/>
                  <a:gd name="T38" fmla="*/ 2391 w 20000"/>
                  <a:gd name="T39" fmla="*/ 16592 h 20000"/>
                  <a:gd name="T40" fmla="*/ 1574 w 20000"/>
                  <a:gd name="T41" fmla="*/ 15984 h 20000"/>
                  <a:gd name="T42" fmla="*/ 0 w 20000"/>
                  <a:gd name="T43" fmla="*/ 15578 h 20000"/>
                  <a:gd name="T44" fmla="*/ 1574 w 20000"/>
                  <a:gd name="T45" fmla="*/ 12819 h 20000"/>
                  <a:gd name="T46" fmla="*/ 4548 w 20000"/>
                  <a:gd name="T47" fmla="*/ 11116 h 20000"/>
                  <a:gd name="T48" fmla="*/ 6064 w 20000"/>
                  <a:gd name="T49" fmla="*/ 10953 h 20000"/>
                  <a:gd name="T50" fmla="*/ 6939 w 20000"/>
                  <a:gd name="T51" fmla="*/ 11765 h 20000"/>
                  <a:gd name="T52" fmla="*/ 8746 w 20000"/>
                  <a:gd name="T53" fmla="*/ 11116 h 20000"/>
                  <a:gd name="T54" fmla="*/ 8746 w 20000"/>
                  <a:gd name="T55" fmla="*/ 10507 h 20000"/>
                  <a:gd name="T56" fmla="*/ 11195 w 20000"/>
                  <a:gd name="T57" fmla="*/ 7789 h 20000"/>
                  <a:gd name="T58" fmla="*/ 12653 w 20000"/>
                  <a:gd name="T59" fmla="*/ 6531 h 20000"/>
                  <a:gd name="T60" fmla="*/ 13294 w 20000"/>
                  <a:gd name="T61" fmla="*/ 5071 h 20000"/>
                  <a:gd name="T62" fmla="*/ 14227 w 20000"/>
                  <a:gd name="T63" fmla="*/ 3408 h 20000"/>
                  <a:gd name="T64" fmla="*/ 16327 w 20000"/>
                  <a:gd name="T65" fmla="*/ 2759 h 20000"/>
                  <a:gd name="T66" fmla="*/ 14810 w 20000"/>
                  <a:gd name="T67" fmla="*/ 125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00" h="20000">
                    <a:moveTo>
                      <a:pt x="14810" y="0"/>
                    </a:moveTo>
                    <a:lnTo>
                      <a:pt x="15743" y="0"/>
                    </a:lnTo>
                    <a:lnTo>
                      <a:pt x="15743" y="649"/>
                    </a:lnTo>
                    <a:lnTo>
                      <a:pt x="16618" y="1095"/>
                    </a:lnTo>
                    <a:lnTo>
                      <a:pt x="17201" y="2110"/>
                    </a:lnTo>
                    <a:lnTo>
                      <a:pt x="17201" y="2961"/>
                    </a:lnTo>
                    <a:lnTo>
                      <a:pt x="17201" y="4016"/>
                    </a:lnTo>
                    <a:lnTo>
                      <a:pt x="17551" y="5071"/>
                    </a:lnTo>
                    <a:lnTo>
                      <a:pt x="18717" y="5720"/>
                    </a:lnTo>
                    <a:lnTo>
                      <a:pt x="16327" y="5720"/>
                    </a:lnTo>
                    <a:lnTo>
                      <a:pt x="15102" y="5720"/>
                    </a:lnTo>
                    <a:lnTo>
                      <a:pt x="14810" y="6531"/>
                    </a:lnTo>
                    <a:lnTo>
                      <a:pt x="16618" y="7789"/>
                    </a:lnTo>
                    <a:lnTo>
                      <a:pt x="17551" y="8195"/>
                    </a:lnTo>
                    <a:lnTo>
                      <a:pt x="18134" y="9452"/>
                    </a:lnTo>
                    <a:lnTo>
                      <a:pt x="18717" y="9858"/>
                    </a:lnTo>
                    <a:lnTo>
                      <a:pt x="18717" y="10507"/>
                    </a:lnTo>
                    <a:lnTo>
                      <a:pt x="17551" y="10953"/>
                    </a:lnTo>
                    <a:lnTo>
                      <a:pt x="16618" y="12617"/>
                    </a:lnTo>
                    <a:lnTo>
                      <a:pt x="16327" y="12819"/>
                    </a:lnTo>
                    <a:lnTo>
                      <a:pt x="16327" y="14280"/>
                    </a:lnTo>
                    <a:lnTo>
                      <a:pt x="16618" y="14523"/>
                    </a:lnTo>
                    <a:lnTo>
                      <a:pt x="16618" y="15578"/>
                    </a:lnTo>
                    <a:lnTo>
                      <a:pt x="17551" y="15984"/>
                    </a:lnTo>
                    <a:lnTo>
                      <a:pt x="17551" y="16998"/>
                    </a:lnTo>
                    <a:lnTo>
                      <a:pt x="19592" y="18296"/>
                    </a:lnTo>
                    <a:lnTo>
                      <a:pt x="19942" y="18296"/>
                    </a:lnTo>
                    <a:lnTo>
                      <a:pt x="19592" y="19310"/>
                    </a:lnTo>
                    <a:lnTo>
                      <a:pt x="19942" y="19757"/>
                    </a:lnTo>
                    <a:lnTo>
                      <a:pt x="16618" y="19310"/>
                    </a:lnTo>
                    <a:lnTo>
                      <a:pt x="12653" y="19757"/>
                    </a:lnTo>
                    <a:lnTo>
                      <a:pt x="11837" y="19757"/>
                    </a:lnTo>
                    <a:lnTo>
                      <a:pt x="10029" y="19757"/>
                    </a:lnTo>
                    <a:lnTo>
                      <a:pt x="7872" y="19757"/>
                    </a:lnTo>
                    <a:lnTo>
                      <a:pt x="7872" y="19959"/>
                    </a:lnTo>
                    <a:lnTo>
                      <a:pt x="4548" y="19757"/>
                    </a:lnTo>
                    <a:lnTo>
                      <a:pt x="3615" y="19310"/>
                    </a:lnTo>
                    <a:lnTo>
                      <a:pt x="3615" y="17890"/>
                    </a:lnTo>
                    <a:lnTo>
                      <a:pt x="3615" y="16998"/>
                    </a:lnTo>
                    <a:lnTo>
                      <a:pt x="2391" y="16592"/>
                    </a:lnTo>
                    <a:lnTo>
                      <a:pt x="2157" y="16592"/>
                    </a:lnTo>
                    <a:lnTo>
                      <a:pt x="1574" y="15984"/>
                    </a:lnTo>
                    <a:lnTo>
                      <a:pt x="641" y="15578"/>
                    </a:lnTo>
                    <a:lnTo>
                      <a:pt x="0" y="15578"/>
                    </a:lnTo>
                    <a:lnTo>
                      <a:pt x="933" y="14280"/>
                    </a:lnTo>
                    <a:lnTo>
                      <a:pt x="1574" y="12819"/>
                    </a:lnTo>
                    <a:lnTo>
                      <a:pt x="3032" y="11765"/>
                    </a:lnTo>
                    <a:lnTo>
                      <a:pt x="4548" y="11116"/>
                    </a:lnTo>
                    <a:lnTo>
                      <a:pt x="5481" y="11116"/>
                    </a:lnTo>
                    <a:lnTo>
                      <a:pt x="6064" y="10953"/>
                    </a:lnTo>
                    <a:lnTo>
                      <a:pt x="6939" y="11602"/>
                    </a:lnTo>
                    <a:lnTo>
                      <a:pt x="6939" y="11765"/>
                    </a:lnTo>
                    <a:lnTo>
                      <a:pt x="7872" y="11765"/>
                    </a:lnTo>
                    <a:lnTo>
                      <a:pt x="8746" y="11116"/>
                    </a:lnTo>
                    <a:lnTo>
                      <a:pt x="9329" y="11116"/>
                    </a:lnTo>
                    <a:lnTo>
                      <a:pt x="8746" y="10507"/>
                    </a:lnTo>
                    <a:lnTo>
                      <a:pt x="10262" y="8398"/>
                    </a:lnTo>
                    <a:lnTo>
                      <a:pt x="11195" y="7789"/>
                    </a:lnTo>
                    <a:lnTo>
                      <a:pt x="11195" y="6734"/>
                    </a:lnTo>
                    <a:lnTo>
                      <a:pt x="12653" y="6531"/>
                    </a:lnTo>
                    <a:lnTo>
                      <a:pt x="12420" y="5720"/>
                    </a:lnTo>
                    <a:lnTo>
                      <a:pt x="13294" y="5071"/>
                    </a:lnTo>
                    <a:lnTo>
                      <a:pt x="13294" y="4422"/>
                    </a:lnTo>
                    <a:lnTo>
                      <a:pt x="14227" y="3408"/>
                    </a:lnTo>
                    <a:lnTo>
                      <a:pt x="15102" y="3813"/>
                    </a:lnTo>
                    <a:lnTo>
                      <a:pt x="16327" y="2759"/>
                    </a:lnTo>
                    <a:lnTo>
                      <a:pt x="15743" y="1663"/>
                    </a:lnTo>
                    <a:lnTo>
                      <a:pt x="14810" y="1258"/>
                    </a:lnTo>
                    <a:lnTo>
                      <a:pt x="1481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4" name="Freeform 125"/>
              <p:cNvSpPr>
                <a:spLocks/>
              </p:cNvSpPr>
              <p:nvPr/>
            </p:nvSpPr>
            <p:spPr bwMode="auto">
              <a:xfrm>
                <a:off x="5949950" y="4310063"/>
                <a:ext cx="228600" cy="282575"/>
              </a:xfrm>
              <a:custGeom>
                <a:avLst/>
                <a:gdLst>
                  <a:gd name="T0" fmla="*/ 613 w 20000"/>
                  <a:gd name="T1" fmla="*/ 1839 h 20000"/>
                  <a:gd name="T2" fmla="*/ 891 w 20000"/>
                  <a:gd name="T3" fmla="*/ 1166 h 20000"/>
                  <a:gd name="T4" fmla="*/ 2340 w 20000"/>
                  <a:gd name="T5" fmla="*/ 717 h 20000"/>
                  <a:gd name="T6" fmla="*/ 3788 w 20000"/>
                  <a:gd name="T7" fmla="*/ 0 h 20000"/>
                  <a:gd name="T8" fmla="*/ 4345 w 20000"/>
                  <a:gd name="T9" fmla="*/ 717 h 20000"/>
                  <a:gd name="T10" fmla="*/ 4680 w 20000"/>
                  <a:gd name="T11" fmla="*/ 717 h 20000"/>
                  <a:gd name="T12" fmla="*/ 6072 w 20000"/>
                  <a:gd name="T13" fmla="*/ 1166 h 20000"/>
                  <a:gd name="T14" fmla="*/ 8969 w 20000"/>
                  <a:gd name="T15" fmla="*/ 1839 h 20000"/>
                  <a:gd name="T16" fmla="*/ 11309 w 20000"/>
                  <a:gd name="T17" fmla="*/ 3004 h 20000"/>
                  <a:gd name="T18" fmla="*/ 13872 w 20000"/>
                  <a:gd name="T19" fmla="*/ 3229 h 20000"/>
                  <a:gd name="T20" fmla="*/ 15042 w 20000"/>
                  <a:gd name="T21" fmla="*/ 1839 h 20000"/>
                  <a:gd name="T22" fmla="*/ 15877 w 20000"/>
                  <a:gd name="T23" fmla="*/ 1839 h 20000"/>
                  <a:gd name="T24" fmla="*/ 17326 w 20000"/>
                  <a:gd name="T25" fmla="*/ 1839 h 20000"/>
                  <a:gd name="T26" fmla="*/ 18217 w 20000"/>
                  <a:gd name="T27" fmla="*/ 2287 h 20000"/>
                  <a:gd name="T28" fmla="*/ 19944 w 20000"/>
                  <a:gd name="T29" fmla="*/ 2287 h 20000"/>
                  <a:gd name="T30" fmla="*/ 17660 w 20000"/>
                  <a:gd name="T31" fmla="*/ 4395 h 20000"/>
                  <a:gd name="T32" fmla="*/ 17660 w 20000"/>
                  <a:gd name="T33" fmla="*/ 11614 h 20000"/>
                  <a:gd name="T34" fmla="*/ 19053 w 20000"/>
                  <a:gd name="T35" fmla="*/ 13004 h 20000"/>
                  <a:gd name="T36" fmla="*/ 18774 w 20000"/>
                  <a:gd name="T37" fmla="*/ 13901 h 20000"/>
                  <a:gd name="T38" fmla="*/ 17326 w 20000"/>
                  <a:gd name="T39" fmla="*/ 14619 h 20000"/>
                  <a:gd name="T40" fmla="*/ 17326 w 20000"/>
                  <a:gd name="T41" fmla="*/ 15112 h 20000"/>
                  <a:gd name="T42" fmla="*/ 16435 w 20000"/>
                  <a:gd name="T43" fmla="*/ 15291 h 20000"/>
                  <a:gd name="T44" fmla="*/ 15320 w 20000"/>
                  <a:gd name="T45" fmla="*/ 15785 h 20000"/>
                  <a:gd name="T46" fmla="*/ 15042 w 20000"/>
                  <a:gd name="T47" fmla="*/ 16951 h 20000"/>
                  <a:gd name="T48" fmla="*/ 13872 w 20000"/>
                  <a:gd name="T49" fmla="*/ 18789 h 20000"/>
                  <a:gd name="T50" fmla="*/ 12981 w 20000"/>
                  <a:gd name="T51" fmla="*/ 19955 h 20000"/>
                  <a:gd name="T52" fmla="*/ 9805 w 20000"/>
                  <a:gd name="T53" fmla="*/ 17668 h 20000"/>
                  <a:gd name="T54" fmla="*/ 9805 w 20000"/>
                  <a:gd name="T55" fmla="*/ 16457 h 20000"/>
                  <a:gd name="T56" fmla="*/ 891 w 20000"/>
                  <a:gd name="T57" fmla="*/ 12063 h 20000"/>
                  <a:gd name="T58" fmla="*/ 0 w 20000"/>
                  <a:gd name="T59" fmla="*/ 12063 h 20000"/>
                  <a:gd name="T60" fmla="*/ 0 w 20000"/>
                  <a:gd name="T61" fmla="*/ 9731 h 20000"/>
                  <a:gd name="T62" fmla="*/ 1727 w 20000"/>
                  <a:gd name="T63" fmla="*/ 7399 h 20000"/>
                  <a:gd name="T64" fmla="*/ 2897 w 20000"/>
                  <a:gd name="T65" fmla="*/ 6233 h 20000"/>
                  <a:gd name="T66" fmla="*/ 1727 w 20000"/>
                  <a:gd name="T67" fmla="*/ 4395 h 20000"/>
                  <a:gd name="T68" fmla="*/ 1504 w 20000"/>
                  <a:gd name="T69" fmla="*/ 3229 h 20000"/>
                  <a:gd name="T70" fmla="*/ 1504 w 20000"/>
                  <a:gd name="T71" fmla="*/ 2556 h 20000"/>
                  <a:gd name="T72" fmla="*/ 613 w 20000"/>
                  <a:gd name="T73" fmla="*/ 2287 h 20000"/>
                  <a:gd name="T74" fmla="*/ 613 w 20000"/>
                  <a:gd name="T75" fmla="*/ 18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00" h="20000">
                    <a:moveTo>
                      <a:pt x="613" y="1839"/>
                    </a:moveTo>
                    <a:lnTo>
                      <a:pt x="891" y="1166"/>
                    </a:lnTo>
                    <a:lnTo>
                      <a:pt x="2340" y="717"/>
                    </a:lnTo>
                    <a:lnTo>
                      <a:pt x="3788" y="0"/>
                    </a:lnTo>
                    <a:lnTo>
                      <a:pt x="4345" y="717"/>
                    </a:lnTo>
                    <a:lnTo>
                      <a:pt x="4680" y="717"/>
                    </a:lnTo>
                    <a:lnTo>
                      <a:pt x="6072" y="1166"/>
                    </a:lnTo>
                    <a:lnTo>
                      <a:pt x="8969" y="1839"/>
                    </a:lnTo>
                    <a:lnTo>
                      <a:pt x="11309" y="3004"/>
                    </a:lnTo>
                    <a:lnTo>
                      <a:pt x="13872" y="3229"/>
                    </a:lnTo>
                    <a:lnTo>
                      <a:pt x="15042" y="1839"/>
                    </a:lnTo>
                    <a:lnTo>
                      <a:pt x="15877" y="1839"/>
                    </a:lnTo>
                    <a:lnTo>
                      <a:pt x="17326" y="1839"/>
                    </a:lnTo>
                    <a:lnTo>
                      <a:pt x="18217" y="2287"/>
                    </a:lnTo>
                    <a:lnTo>
                      <a:pt x="19944" y="2287"/>
                    </a:lnTo>
                    <a:lnTo>
                      <a:pt x="17660" y="4395"/>
                    </a:lnTo>
                    <a:lnTo>
                      <a:pt x="17660" y="11614"/>
                    </a:lnTo>
                    <a:lnTo>
                      <a:pt x="19053" y="13004"/>
                    </a:lnTo>
                    <a:lnTo>
                      <a:pt x="18774" y="13901"/>
                    </a:lnTo>
                    <a:lnTo>
                      <a:pt x="17326" y="14619"/>
                    </a:lnTo>
                    <a:lnTo>
                      <a:pt x="17326" y="15112"/>
                    </a:lnTo>
                    <a:lnTo>
                      <a:pt x="16435" y="15291"/>
                    </a:lnTo>
                    <a:lnTo>
                      <a:pt x="15320" y="15785"/>
                    </a:lnTo>
                    <a:lnTo>
                      <a:pt x="15042" y="16951"/>
                    </a:lnTo>
                    <a:lnTo>
                      <a:pt x="13872" y="18789"/>
                    </a:lnTo>
                    <a:lnTo>
                      <a:pt x="12981" y="19955"/>
                    </a:lnTo>
                    <a:lnTo>
                      <a:pt x="9805" y="17668"/>
                    </a:lnTo>
                    <a:lnTo>
                      <a:pt x="9805" y="16457"/>
                    </a:lnTo>
                    <a:lnTo>
                      <a:pt x="891" y="12063"/>
                    </a:lnTo>
                    <a:lnTo>
                      <a:pt x="0" y="12063"/>
                    </a:lnTo>
                    <a:lnTo>
                      <a:pt x="0" y="9731"/>
                    </a:lnTo>
                    <a:lnTo>
                      <a:pt x="1727" y="7399"/>
                    </a:lnTo>
                    <a:lnTo>
                      <a:pt x="2897" y="6233"/>
                    </a:lnTo>
                    <a:lnTo>
                      <a:pt x="1727" y="4395"/>
                    </a:lnTo>
                    <a:lnTo>
                      <a:pt x="1504" y="3229"/>
                    </a:lnTo>
                    <a:lnTo>
                      <a:pt x="1504" y="2556"/>
                    </a:lnTo>
                    <a:lnTo>
                      <a:pt x="613" y="2287"/>
                    </a:lnTo>
                    <a:lnTo>
                      <a:pt x="613" y="183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5" name="Freeform 124"/>
              <p:cNvSpPr>
                <a:spLocks/>
              </p:cNvSpPr>
              <p:nvPr/>
            </p:nvSpPr>
            <p:spPr bwMode="auto">
              <a:xfrm>
                <a:off x="6207125" y="4781550"/>
                <a:ext cx="3175" cy="17463"/>
              </a:xfrm>
              <a:custGeom>
                <a:avLst/>
                <a:gdLst>
                  <a:gd name="T0" fmla="*/ 16667 w 20000"/>
                  <a:gd name="T1" fmla="*/ 19286 h 20000"/>
                  <a:gd name="T2" fmla="*/ 0 w 20000"/>
                  <a:gd name="T3" fmla="*/ 11429 h 20000"/>
                  <a:gd name="T4" fmla="*/ 0 w 20000"/>
                  <a:gd name="T5" fmla="*/ 4286 h 20000"/>
                  <a:gd name="T6" fmla="*/ 0 w 20000"/>
                  <a:gd name="T7" fmla="*/ 0 h 20000"/>
                  <a:gd name="T8" fmla="*/ 16667 w 20000"/>
                  <a:gd name="T9" fmla="*/ 0 h 20000"/>
                  <a:gd name="T10" fmla="*/ 16667 w 20000"/>
                  <a:gd name="T11" fmla="*/ 19286 h 20000"/>
                </a:gdLst>
                <a:ahLst/>
                <a:cxnLst>
                  <a:cxn ang="0">
                    <a:pos x="T0" y="T1"/>
                  </a:cxn>
                  <a:cxn ang="0">
                    <a:pos x="T2" y="T3"/>
                  </a:cxn>
                  <a:cxn ang="0">
                    <a:pos x="T4" y="T5"/>
                  </a:cxn>
                  <a:cxn ang="0">
                    <a:pos x="T6" y="T7"/>
                  </a:cxn>
                  <a:cxn ang="0">
                    <a:pos x="T8" y="T9"/>
                  </a:cxn>
                  <a:cxn ang="0">
                    <a:pos x="T10" y="T11"/>
                  </a:cxn>
                </a:cxnLst>
                <a:rect l="0" t="0" r="r" b="b"/>
                <a:pathLst>
                  <a:path w="20000" h="20000">
                    <a:moveTo>
                      <a:pt x="16667" y="19286"/>
                    </a:moveTo>
                    <a:lnTo>
                      <a:pt x="0" y="11429"/>
                    </a:lnTo>
                    <a:lnTo>
                      <a:pt x="0" y="4286"/>
                    </a:lnTo>
                    <a:lnTo>
                      <a:pt x="0" y="0"/>
                    </a:lnTo>
                    <a:lnTo>
                      <a:pt x="16667" y="0"/>
                    </a:lnTo>
                    <a:lnTo>
                      <a:pt x="16667"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6" name="Freeform 123"/>
              <p:cNvSpPr>
                <a:spLocks/>
              </p:cNvSpPr>
              <p:nvPr/>
            </p:nvSpPr>
            <p:spPr bwMode="auto">
              <a:xfrm>
                <a:off x="5302250" y="4346575"/>
                <a:ext cx="211138" cy="250825"/>
              </a:xfrm>
              <a:custGeom>
                <a:avLst/>
                <a:gdLst>
                  <a:gd name="T0" fmla="*/ 14699 w 20000"/>
                  <a:gd name="T1" fmla="*/ 1823 h 20000"/>
                  <a:gd name="T2" fmla="*/ 17169 w 20000"/>
                  <a:gd name="T3" fmla="*/ 0 h 20000"/>
                  <a:gd name="T4" fmla="*/ 19940 w 20000"/>
                  <a:gd name="T5" fmla="*/ 0 h 20000"/>
                  <a:gd name="T6" fmla="*/ 19639 w 20000"/>
                  <a:gd name="T7" fmla="*/ 2076 h 20000"/>
                  <a:gd name="T8" fmla="*/ 18735 w 20000"/>
                  <a:gd name="T9" fmla="*/ 5266 h 20000"/>
                  <a:gd name="T10" fmla="*/ 18133 w 20000"/>
                  <a:gd name="T11" fmla="*/ 7646 h 20000"/>
                  <a:gd name="T12" fmla="*/ 18133 w 20000"/>
                  <a:gd name="T13" fmla="*/ 9418 h 20000"/>
                  <a:gd name="T14" fmla="*/ 15542 w 20000"/>
                  <a:gd name="T15" fmla="*/ 10734 h 20000"/>
                  <a:gd name="T16" fmla="*/ 14699 w 20000"/>
                  <a:gd name="T17" fmla="*/ 12304 h 20000"/>
                  <a:gd name="T18" fmla="*/ 13434 w 20000"/>
                  <a:gd name="T19" fmla="*/ 14430 h 20000"/>
                  <a:gd name="T20" fmla="*/ 13072 w 20000"/>
                  <a:gd name="T21" fmla="*/ 17063 h 20000"/>
                  <a:gd name="T22" fmla="*/ 10964 w 20000"/>
                  <a:gd name="T23" fmla="*/ 18380 h 20000"/>
                  <a:gd name="T24" fmla="*/ 9639 w 20000"/>
                  <a:gd name="T25" fmla="*/ 19646 h 20000"/>
                  <a:gd name="T26" fmla="*/ 8434 w 20000"/>
                  <a:gd name="T27" fmla="*/ 18380 h 20000"/>
                  <a:gd name="T28" fmla="*/ 6867 w 20000"/>
                  <a:gd name="T29" fmla="*/ 19139 h 20000"/>
                  <a:gd name="T30" fmla="*/ 5663 w 20000"/>
                  <a:gd name="T31" fmla="*/ 18633 h 20000"/>
                  <a:gd name="T32" fmla="*/ 4337 w 20000"/>
                  <a:gd name="T33" fmla="*/ 18380 h 20000"/>
                  <a:gd name="T34" fmla="*/ 3434 w 20000"/>
                  <a:gd name="T35" fmla="*/ 19139 h 20000"/>
                  <a:gd name="T36" fmla="*/ 1867 w 20000"/>
                  <a:gd name="T37" fmla="*/ 19139 h 20000"/>
                  <a:gd name="T38" fmla="*/ 964 w 20000"/>
                  <a:gd name="T39" fmla="*/ 16506 h 20000"/>
                  <a:gd name="T40" fmla="*/ 1867 w 20000"/>
                  <a:gd name="T41" fmla="*/ 16506 h 20000"/>
                  <a:gd name="T42" fmla="*/ 2470 w 20000"/>
                  <a:gd name="T43" fmla="*/ 14987 h 20000"/>
                  <a:gd name="T44" fmla="*/ 1867 w 20000"/>
                  <a:gd name="T45" fmla="*/ 13114 h 20000"/>
                  <a:gd name="T46" fmla="*/ 3434 w 20000"/>
                  <a:gd name="T47" fmla="*/ 13620 h 20000"/>
                  <a:gd name="T48" fmla="*/ 5904 w 20000"/>
                  <a:gd name="T49" fmla="*/ 13620 h 20000"/>
                  <a:gd name="T50" fmla="*/ 8133 w 20000"/>
                  <a:gd name="T51" fmla="*/ 14177 h 20000"/>
                  <a:gd name="T52" fmla="*/ 8434 w 20000"/>
                  <a:gd name="T53" fmla="*/ 13114 h 20000"/>
                  <a:gd name="T54" fmla="*/ 9639 w 20000"/>
                  <a:gd name="T55" fmla="*/ 11544 h 20000"/>
                  <a:gd name="T56" fmla="*/ 8133 w 20000"/>
                  <a:gd name="T57" fmla="*/ 8658 h 20000"/>
                  <a:gd name="T58" fmla="*/ 8434 w 20000"/>
                  <a:gd name="T59" fmla="*/ 6835 h 20000"/>
                  <a:gd name="T60" fmla="*/ 8434 w 20000"/>
                  <a:gd name="T61" fmla="*/ 5468 h 20000"/>
                  <a:gd name="T62" fmla="*/ 6867 w 20000"/>
                  <a:gd name="T63" fmla="*/ 5266 h 20000"/>
                  <a:gd name="T64" fmla="*/ 5904 w 20000"/>
                  <a:gd name="T65" fmla="*/ 3949 h 20000"/>
                  <a:gd name="T66" fmla="*/ 5904 w 20000"/>
                  <a:gd name="T67" fmla="*/ 3139 h 20000"/>
                  <a:gd name="T68" fmla="*/ 13434 w 20000"/>
                  <a:gd name="T69" fmla="*/ 31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3434" y="3139"/>
                    </a:moveTo>
                    <a:lnTo>
                      <a:pt x="14699" y="1823"/>
                    </a:lnTo>
                    <a:lnTo>
                      <a:pt x="14940" y="0"/>
                    </a:lnTo>
                    <a:lnTo>
                      <a:pt x="17169" y="0"/>
                    </a:lnTo>
                    <a:lnTo>
                      <a:pt x="18735" y="0"/>
                    </a:lnTo>
                    <a:lnTo>
                      <a:pt x="19940" y="0"/>
                    </a:lnTo>
                    <a:lnTo>
                      <a:pt x="19940" y="1316"/>
                    </a:lnTo>
                    <a:lnTo>
                      <a:pt x="19639" y="2076"/>
                    </a:lnTo>
                    <a:lnTo>
                      <a:pt x="18735" y="3949"/>
                    </a:lnTo>
                    <a:lnTo>
                      <a:pt x="18735" y="5266"/>
                    </a:lnTo>
                    <a:lnTo>
                      <a:pt x="18133" y="6278"/>
                    </a:lnTo>
                    <a:lnTo>
                      <a:pt x="18133" y="7646"/>
                    </a:lnTo>
                    <a:lnTo>
                      <a:pt x="18133" y="8658"/>
                    </a:lnTo>
                    <a:lnTo>
                      <a:pt x="18133" y="9418"/>
                    </a:lnTo>
                    <a:lnTo>
                      <a:pt x="16506" y="10734"/>
                    </a:lnTo>
                    <a:lnTo>
                      <a:pt x="15542" y="10734"/>
                    </a:lnTo>
                    <a:lnTo>
                      <a:pt x="14940" y="11797"/>
                    </a:lnTo>
                    <a:lnTo>
                      <a:pt x="14699" y="12304"/>
                    </a:lnTo>
                    <a:lnTo>
                      <a:pt x="13434" y="13114"/>
                    </a:lnTo>
                    <a:lnTo>
                      <a:pt x="13434" y="14430"/>
                    </a:lnTo>
                    <a:lnTo>
                      <a:pt x="13434" y="15696"/>
                    </a:lnTo>
                    <a:lnTo>
                      <a:pt x="13072" y="17063"/>
                    </a:lnTo>
                    <a:lnTo>
                      <a:pt x="12169" y="17873"/>
                    </a:lnTo>
                    <a:lnTo>
                      <a:pt x="10964" y="18380"/>
                    </a:lnTo>
                    <a:lnTo>
                      <a:pt x="10602" y="18633"/>
                    </a:lnTo>
                    <a:lnTo>
                      <a:pt x="9639" y="19646"/>
                    </a:lnTo>
                    <a:lnTo>
                      <a:pt x="9036" y="18633"/>
                    </a:lnTo>
                    <a:lnTo>
                      <a:pt x="8434" y="18380"/>
                    </a:lnTo>
                    <a:lnTo>
                      <a:pt x="7530" y="18380"/>
                    </a:lnTo>
                    <a:lnTo>
                      <a:pt x="6867" y="19139"/>
                    </a:lnTo>
                    <a:lnTo>
                      <a:pt x="5904" y="19139"/>
                    </a:lnTo>
                    <a:lnTo>
                      <a:pt x="5663" y="18633"/>
                    </a:lnTo>
                    <a:lnTo>
                      <a:pt x="5060" y="18633"/>
                    </a:lnTo>
                    <a:lnTo>
                      <a:pt x="4337" y="18380"/>
                    </a:lnTo>
                    <a:lnTo>
                      <a:pt x="3434" y="18633"/>
                    </a:lnTo>
                    <a:lnTo>
                      <a:pt x="3434" y="19139"/>
                    </a:lnTo>
                    <a:lnTo>
                      <a:pt x="2470" y="19949"/>
                    </a:lnTo>
                    <a:lnTo>
                      <a:pt x="1867" y="19139"/>
                    </a:lnTo>
                    <a:lnTo>
                      <a:pt x="0" y="17063"/>
                    </a:lnTo>
                    <a:lnTo>
                      <a:pt x="964" y="16506"/>
                    </a:lnTo>
                    <a:lnTo>
                      <a:pt x="1566" y="16253"/>
                    </a:lnTo>
                    <a:lnTo>
                      <a:pt x="1867" y="16506"/>
                    </a:lnTo>
                    <a:lnTo>
                      <a:pt x="2470" y="16506"/>
                    </a:lnTo>
                    <a:lnTo>
                      <a:pt x="2470" y="14987"/>
                    </a:lnTo>
                    <a:lnTo>
                      <a:pt x="1566" y="14430"/>
                    </a:lnTo>
                    <a:lnTo>
                      <a:pt x="1867" y="13114"/>
                    </a:lnTo>
                    <a:lnTo>
                      <a:pt x="2470" y="13620"/>
                    </a:lnTo>
                    <a:lnTo>
                      <a:pt x="3434" y="13620"/>
                    </a:lnTo>
                    <a:lnTo>
                      <a:pt x="4096" y="12304"/>
                    </a:lnTo>
                    <a:lnTo>
                      <a:pt x="5904" y="13620"/>
                    </a:lnTo>
                    <a:lnTo>
                      <a:pt x="7530" y="13114"/>
                    </a:lnTo>
                    <a:lnTo>
                      <a:pt x="8133" y="14177"/>
                    </a:lnTo>
                    <a:lnTo>
                      <a:pt x="8434" y="14177"/>
                    </a:lnTo>
                    <a:lnTo>
                      <a:pt x="8434" y="13114"/>
                    </a:lnTo>
                    <a:lnTo>
                      <a:pt x="9036" y="12304"/>
                    </a:lnTo>
                    <a:lnTo>
                      <a:pt x="9639" y="11544"/>
                    </a:lnTo>
                    <a:lnTo>
                      <a:pt x="9639" y="9418"/>
                    </a:lnTo>
                    <a:lnTo>
                      <a:pt x="8133" y="8658"/>
                    </a:lnTo>
                    <a:lnTo>
                      <a:pt x="8133" y="7342"/>
                    </a:lnTo>
                    <a:lnTo>
                      <a:pt x="8434" y="6835"/>
                    </a:lnTo>
                    <a:lnTo>
                      <a:pt x="9036" y="6278"/>
                    </a:lnTo>
                    <a:lnTo>
                      <a:pt x="8434" y="5468"/>
                    </a:lnTo>
                    <a:lnTo>
                      <a:pt x="8133" y="5266"/>
                    </a:lnTo>
                    <a:lnTo>
                      <a:pt x="6867" y="5266"/>
                    </a:lnTo>
                    <a:lnTo>
                      <a:pt x="5904" y="5468"/>
                    </a:lnTo>
                    <a:lnTo>
                      <a:pt x="5904" y="3949"/>
                    </a:lnTo>
                    <a:lnTo>
                      <a:pt x="6566" y="3139"/>
                    </a:lnTo>
                    <a:lnTo>
                      <a:pt x="5904" y="3139"/>
                    </a:lnTo>
                    <a:lnTo>
                      <a:pt x="10000" y="2582"/>
                    </a:lnTo>
                    <a:lnTo>
                      <a:pt x="13434" y="313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7" name="Freeform 122"/>
              <p:cNvSpPr>
                <a:spLocks/>
              </p:cNvSpPr>
              <p:nvPr/>
            </p:nvSpPr>
            <p:spPr bwMode="auto">
              <a:xfrm>
                <a:off x="4670425" y="4206875"/>
                <a:ext cx="106363" cy="119063"/>
              </a:xfrm>
              <a:custGeom>
                <a:avLst/>
                <a:gdLst>
                  <a:gd name="T0" fmla="*/ 4910 w 20000"/>
                  <a:gd name="T1" fmla="*/ 0 h 20000"/>
                  <a:gd name="T2" fmla="*/ 7425 w 20000"/>
                  <a:gd name="T3" fmla="*/ 0 h 20000"/>
                  <a:gd name="T4" fmla="*/ 8623 w 20000"/>
                  <a:gd name="T5" fmla="*/ 2781 h 20000"/>
                  <a:gd name="T6" fmla="*/ 8623 w 20000"/>
                  <a:gd name="T7" fmla="*/ 5455 h 20000"/>
                  <a:gd name="T8" fmla="*/ 10539 w 20000"/>
                  <a:gd name="T9" fmla="*/ 5455 h 20000"/>
                  <a:gd name="T10" fmla="*/ 13054 w 20000"/>
                  <a:gd name="T11" fmla="*/ 5455 h 20000"/>
                  <a:gd name="T12" fmla="*/ 13054 w 20000"/>
                  <a:gd name="T13" fmla="*/ 3850 h 20000"/>
                  <a:gd name="T14" fmla="*/ 14970 w 20000"/>
                  <a:gd name="T15" fmla="*/ 4385 h 20000"/>
                  <a:gd name="T16" fmla="*/ 14970 w 20000"/>
                  <a:gd name="T17" fmla="*/ 6631 h 20000"/>
                  <a:gd name="T18" fmla="*/ 14970 w 20000"/>
                  <a:gd name="T19" fmla="*/ 8342 h 20000"/>
                  <a:gd name="T20" fmla="*/ 14970 w 20000"/>
                  <a:gd name="T21" fmla="*/ 8770 h 20000"/>
                  <a:gd name="T22" fmla="*/ 15449 w 20000"/>
                  <a:gd name="T23" fmla="*/ 11123 h 20000"/>
                  <a:gd name="T24" fmla="*/ 17964 w 20000"/>
                  <a:gd name="T25" fmla="*/ 11123 h 20000"/>
                  <a:gd name="T26" fmla="*/ 18683 w 20000"/>
                  <a:gd name="T27" fmla="*/ 11551 h 20000"/>
                  <a:gd name="T28" fmla="*/ 19880 w 20000"/>
                  <a:gd name="T29" fmla="*/ 12727 h 20000"/>
                  <a:gd name="T30" fmla="*/ 18683 w 20000"/>
                  <a:gd name="T31" fmla="*/ 16043 h 20000"/>
                  <a:gd name="T32" fmla="*/ 19880 w 20000"/>
                  <a:gd name="T33" fmla="*/ 19893 h 20000"/>
                  <a:gd name="T34" fmla="*/ 14970 w 20000"/>
                  <a:gd name="T35" fmla="*/ 18824 h 20000"/>
                  <a:gd name="T36" fmla="*/ 5629 w 20000"/>
                  <a:gd name="T37" fmla="*/ 12727 h 20000"/>
                  <a:gd name="T38" fmla="*/ 0 w 20000"/>
                  <a:gd name="T39" fmla="*/ 8342 h 20000"/>
                  <a:gd name="T40" fmla="*/ 1916 w 20000"/>
                  <a:gd name="T41" fmla="*/ 5455 h 20000"/>
                  <a:gd name="T42" fmla="*/ 3713 w 20000"/>
                  <a:gd name="T43" fmla="*/ 3850 h 20000"/>
                  <a:gd name="T44" fmla="*/ 3713 w 20000"/>
                  <a:gd name="T45" fmla="*/ 1711 h 20000"/>
                  <a:gd name="T46" fmla="*/ 4910 w 20000"/>
                  <a:gd name="T47" fmla="*/ 1711 h 20000"/>
                  <a:gd name="T48" fmla="*/ 4910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4910" y="0"/>
                    </a:moveTo>
                    <a:lnTo>
                      <a:pt x="7425" y="0"/>
                    </a:lnTo>
                    <a:lnTo>
                      <a:pt x="8623" y="2781"/>
                    </a:lnTo>
                    <a:lnTo>
                      <a:pt x="8623" y="5455"/>
                    </a:lnTo>
                    <a:lnTo>
                      <a:pt x="10539" y="5455"/>
                    </a:lnTo>
                    <a:lnTo>
                      <a:pt x="13054" y="5455"/>
                    </a:lnTo>
                    <a:lnTo>
                      <a:pt x="13054" y="3850"/>
                    </a:lnTo>
                    <a:lnTo>
                      <a:pt x="14970" y="4385"/>
                    </a:lnTo>
                    <a:lnTo>
                      <a:pt x="14970" y="6631"/>
                    </a:lnTo>
                    <a:lnTo>
                      <a:pt x="14970" y="8342"/>
                    </a:lnTo>
                    <a:lnTo>
                      <a:pt x="14970" y="8770"/>
                    </a:lnTo>
                    <a:lnTo>
                      <a:pt x="15449" y="11123"/>
                    </a:lnTo>
                    <a:lnTo>
                      <a:pt x="17964" y="11123"/>
                    </a:lnTo>
                    <a:lnTo>
                      <a:pt x="18683" y="11551"/>
                    </a:lnTo>
                    <a:lnTo>
                      <a:pt x="19880" y="12727"/>
                    </a:lnTo>
                    <a:lnTo>
                      <a:pt x="18683" y="16043"/>
                    </a:lnTo>
                    <a:lnTo>
                      <a:pt x="19880" y="19893"/>
                    </a:lnTo>
                    <a:lnTo>
                      <a:pt x="14970" y="18824"/>
                    </a:lnTo>
                    <a:lnTo>
                      <a:pt x="5629" y="12727"/>
                    </a:lnTo>
                    <a:lnTo>
                      <a:pt x="0" y="8342"/>
                    </a:lnTo>
                    <a:lnTo>
                      <a:pt x="1916" y="5455"/>
                    </a:lnTo>
                    <a:lnTo>
                      <a:pt x="3713" y="3850"/>
                    </a:lnTo>
                    <a:lnTo>
                      <a:pt x="3713" y="1711"/>
                    </a:lnTo>
                    <a:lnTo>
                      <a:pt x="4910" y="1711"/>
                    </a:lnTo>
                    <a:lnTo>
                      <a:pt x="491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8" name="Freeform 121"/>
              <p:cNvSpPr>
                <a:spLocks/>
              </p:cNvSpPr>
              <p:nvPr/>
            </p:nvSpPr>
            <p:spPr bwMode="auto">
              <a:xfrm>
                <a:off x="5251450" y="3481388"/>
                <a:ext cx="438150" cy="407987"/>
              </a:xfrm>
              <a:custGeom>
                <a:avLst/>
                <a:gdLst>
                  <a:gd name="T0" fmla="*/ 0 w 20000"/>
                  <a:gd name="T1" fmla="*/ 4199 h 20000"/>
                  <a:gd name="T2" fmla="*/ 319 w 20000"/>
                  <a:gd name="T3" fmla="*/ 4199 h 20000"/>
                  <a:gd name="T4" fmla="*/ 1072 w 20000"/>
                  <a:gd name="T5" fmla="*/ 3390 h 20000"/>
                  <a:gd name="T6" fmla="*/ 783 w 20000"/>
                  <a:gd name="T7" fmla="*/ 2240 h 20000"/>
                  <a:gd name="T8" fmla="*/ 1797 w 20000"/>
                  <a:gd name="T9" fmla="*/ 1275 h 20000"/>
                  <a:gd name="T10" fmla="*/ 2725 w 20000"/>
                  <a:gd name="T11" fmla="*/ 964 h 20000"/>
                  <a:gd name="T12" fmla="*/ 2435 w 20000"/>
                  <a:gd name="T13" fmla="*/ 498 h 20000"/>
                  <a:gd name="T14" fmla="*/ 2435 w 20000"/>
                  <a:gd name="T15" fmla="*/ 0 h 20000"/>
                  <a:gd name="T16" fmla="*/ 3768 w 20000"/>
                  <a:gd name="T17" fmla="*/ 187 h 20000"/>
                  <a:gd name="T18" fmla="*/ 5101 w 20000"/>
                  <a:gd name="T19" fmla="*/ 498 h 20000"/>
                  <a:gd name="T20" fmla="*/ 5884 w 20000"/>
                  <a:gd name="T21" fmla="*/ 809 h 20000"/>
                  <a:gd name="T22" fmla="*/ 7072 w 20000"/>
                  <a:gd name="T23" fmla="*/ 964 h 20000"/>
                  <a:gd name="T24" fmla="*/ 7536 w 20000"/>
                  <a:gd name="T25" fmla="*/ 2240 h 20000"/>
                  <a:gd name="T26" fmla="*/ 9478 w 20000"/>
                  <a:gd name="T27" fmla="*/ 2924 h 20000"/>
                  <a:gd name="T28" fmla="*/ 12174 w 20000"/>
                  <a:gd name="T29" fmla="*/ 4323 h 20000"/>
                  <a:gd name="T30" fmla="*/ 12928 w 20000"/>
                  <a:gd name="T31" fmla="*/ 3546 h 20000"/>
                  <a:gd name="T32" fmla="*/ 13217 w 20000"/>
                  <a:gd name="T33" fmla="*/ 2924 h 20000"/>
                  <a:gd name="T34" fmla="*/ 12928 w 20000"/>
                  <a:gd name="T35" fmla="*/ 1617 h 20000"/>
                  <a:gd name="T36" fmla="*/ 13362 w 20000"/>
                  <a:gd name="T37" fmla="*/ 809 h 20000"/>
                  <a:gd name="T38" fmla="*/ 14406 w 20000"/>
                  <a:gd name="T39" fmla="*/ 498 h 20000"/>
                  <a:gd name="T40" fmla="*/ 14580 w 20000"/>
                  <a:gd name="T41" fmla="*/ 498 h 20000"/>
                  <a:gd name="T42" fmla="*/ 14870 w 20000"/>
                  <a:gd name="T43" fmla="*/ 187 h 20000"/>
                  <a:gd name="T44" fmla="*/ 15768 w 20000"/>
                  <a:gd name="T45" fmla="*/ 187 h 20000"/>
                  <a:gd name="T46" fmla="*/ 16551 w 20000"/>
                  <a:gd name="T47" fmla="*/ 498 h 20000"/>
                  <a:gd name="T48" fmla="*/ 16841 w 20000"/>
                  <a:gd name="T49" fmla="*/ 964 h 20000"/>
                  <a:gd name="T50" fmla="*/ 18029 w 20000"/>
                  <a:gd name="T51" fmla="*/ 1617 h 20000"/>
                  <a:gd name="T52" fmla="*/ 19507 w 20000"/>
                  <a:gd name="T53" fmla="*/ 2240 h 20000"/>
                  <a:gd name="T54" fmla="*/ 19217 w 20000"/>
                  <a:gd name="T55" fmla="*/ 2551 h 20000"/>
                  <a:gd name="T56" fmla="*/ 19507 w 20000"/>
                  <a:gd name="T57" fmla="*/ 3546 h 20000"/>
                  <a:gd name="T58" fmla="*/ 19217 w 20000"/>
                  <a:gd name="T59" fmla="*/ 4323 h 20000"/>
                  <a:gd name="T60" fmla="*/ 19507 w 20000"/>
                  <a:gd name="T61" fmla="*/ 5661 h 20000"/>
                  <a:gd name="T62" fmla="*/ 19971 w 20000"/>
                  <a:gd name="T63" fmla="*/ 16423 h 20000"/>
                  <a:gd name="T64" fmla="*/ 19971 w 20000"/>
                  <a:gd name="T65" fmla="*/ 19471 h 20000"/>
                  <a:gd name="T66" fmla="*/ 18783 w 20000"/>
                  <a:gd name="T67" fmla="*/ 19471 h 20000"/>
                  <a:gd name="T68" fmla="*/ 18783 w 20000"/>
                  <a:gd name="T69" fmla="*/ 19969 h 20000"/>
                  <a:gd name="T70" fmla="*/ 8551 w 20000"/>
                  <a:gd name="T71" fmla="*/ 14495 h 20000"/>
                  <a:gd name="T72" fmla="*/ 7072 w 20000"/>
                  <a:gd name="T73" fmla="*/ 15117 h 20000"/>
                  <a:gd name="T74" fmla="*/ 6174 w 20000"/>
                  <a:gd name="T75" fmla="*/ 15583 h 20000"/>
                  <a:gd name="T76" fmla="*/ 5101 w 20000"/>
                  <a:gd name="T77" fmla="*/ 14806 h 20000"/>
                  <a:gd name="T78" fmla="*/ 3449 w 20000"/>
                  <a:gd name="T79" fmla="*/ 14308 h 20000"/>
                  <a:gd name="T80" fmla="*/ 2725 w 20000"/>
                  <a:gd name="T81" fmla="*/ 13219 h 20000"/>
                  <a:gd name="T82" fmla="*/ 1797 w 20000"/>
                  <a:gd name="T83" fmla="*/ 12722 h 20000"/>
                  <a:gd name="T84" fmla="*/ 1217 w 20000"/>
                  <a:gd name="T85" fmla="*/ 13033 h 20000"/>
                  <a:gd name="T86" fmla="*/ 783 w 20000"/>
                  <a:gd name="T87" fmla="*/ 12224 h 20000"/>
                  <a:gd name="T88" fmla="*/ 783 w 20000"/>
                  <a:gd name="T89" fmla="*/ 11757 h 20000"/>
                  <a:gd name="T90" fmla="*/ 0 w 20000"/>
                  <a:gd name="T91" fmla="*/ 10482 h 20000"/>
                  <a:gd name="T92" fmla="*/ 609 w 20000"/>
                  <a:gd name="T93" fmla="*/ 9798 h 20000"/>
                  <a:gd name="T94" fmla="*/ 319 w 20000"/>
                  <a:gd name="T95" fmla="*/ 8523 h 20000"/>
                  <a:gd name="T96" fmla="*/ 609 w 20000"/>
                  <a:gd name="T97" fmla="*/ 7745 h 20000"/>
                  <a:gd name="T98" fmla="*/ 319 w 20000"/>
                  <a:gd name="T99" fmla="*/ 5972 h 20000"/>
                  <a:gd name="T100" fmla="*/ 0 w 20000"/>
                  <a:gd name="T101" fmla="*/ 419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0" y="4199"/>
                    </a:moveTo>
                    <a:lnTo>
                      <a:pt x="319" y="4199"/>
                    </a:lnTo>
                    <a:lnTo>
                      <a:pt x="1072" y="3390"/>
                    </a:lnTo>
                    <a:lnTo>
                      <a:pt x="783" y="2240"/>
                    </a:lnTo>
                    <a:lnTo>
                      <a:pt x="1797" y="1275"/>
                    </a:lnTo>
                    <a:lnTo>
                      <a:pt x="2725" y="964"/>
                    </a:lnTo>
                    <a:lnTo>
                      <a:pt x="2435" y="498"/>
                    </a:lnTo>
                    <a:lnTo>
                      <a:pt x="2435" y="0"/>
                    </a:lnTo>
                    <a:lnTo>
                      <a:pt x="3768" y="187"/>
                    </a:lnTo>
                    <a:lnTo>
                      <a:pt x="5101" y="498"/>
                    </a:lnTo>
                    <a:lnTo>
                      <a:pt x="5884" y="809"/>
                    </a:lnTo>
                    <a:lnTo>
                      <a:pt x="7072" y="964"/>
                    </a:lnTo>
                    <a:lnTo>
                      <a:pt x="7536" y="2240"/>
                    </a:lnTo>
                    <a:lnTo>
                      <a:pt x="9478" y="2924"/>
                    </a:lnTo>
                    <a:lnTo>
                      <a:pt x="12174" y="4323"/>
                    </a:lnTo>
                    <a:lnTo>
                      <a:pt x="12928" y="3546"/>
                    </a:lnTo>
                    <a:lnTo>
                      <a:pt x="13217" y="2924"/>
                    </a:lnTo>
                    <a:lnTo>
                      <a:pt x="12928" y="1617"/>
                    </a:lnTo>
                    <a:lnTo>
                      <a:pt x="13362" y="809"/>
                    </a:lnTo>
                    <a:lnTo>
                      <a:pt x="14406" y="498"/>
                    </a:lnTo>
                    <a:lnTo>
                      <a:pt x="14580" y="498"/>
                    </a:lnTo>
                    <a:lnTo>
                      <a:pt x="14870" y="187"/>
                    </a:lnTo>
                    <a:lnTo>
                      <a:pt x="15768" y="187"/>
                    </a:lnTo>
                    <a:lnTo>
                      <a:pt x="16551" y="498"/>
                    </a:lnTo>
                    <a:lnTo>
                      <a:pt x="16841" y="964"/>
                    </a:lnTo>
                    <a:lnTo>
                      <a:pt x="18029" y="1617"/>
                    </a:lnTo>
                    <a:lnTo>
                      <a:pt x="19507" y="2240"/>
                    </a:lnTo>
                    <a:lnTo>
                      <a:pt x="19217" y="2551"/>
                    </a:lnTo>
                    <a:lnTo>
                      <a:pt x="19507" y="3546"/>
                    </a:lnTo>
                    <a:lnTo>
                      <a:pt x="19217" y="4323"/>
                    </a:lnTo>
                    <a:lnTo>
                      <a:pt x="19507" y="5661"/>
                    </a:lnTo>
                    <a:lnTo>
                      <a:pt x="19971" y="16423"/>
                    </a:lnTo>
                    <a:lnTo>
                      <a:pt x="19971" y="19471"/>
                    </a:lnTo>
                    <a:lnTo>
                      <a:pt x="18783" y="19471"/>
                    </a:lnTo>
                    <a:lnTo>
                      <a:pt x="18783" y="19969"/>
                    </a:lnTo>
                    <a:lnTo>
                      <a:pt x="8551" y="14495"/>
                    </a:lnTo>
                    <a:lnTo>
                      <a:pt x="7072" y="15117"/>
                    </a:lnTo>
                    <a:lnTo>
                      <a:pt x="6174" y="15583"/>
                    </a:lnTo>
                    <a:lnTo>
                      <a:pt x="5101" y="14806"/>
                    </a:lnTo>
                    <a:lnTo>
                      <a:pt x="3449" y="14308"/>
                    </a:lnTo>
                    <a:lnTo>
                      <a:pt x="2725" y="13219"/>
                    </a:lnTo>
                    <a:lnTo>
                      <a:pt x="1797" y="12722"/>
                    </a:lnTo>
                    <a:lnTo>
                      <a:pt x="1217" y="13033"/>
                    </a:lnTo>
                    <a:lnTo>
                      <a:pt x="783" y="12224"/>
                    </a:lnTo>
                    <a:lnTo>
                      <a:pt x="783" y="11757"/>
                    </a:lnTo>
                    <a:lnTo>
                      <a:pt x="0" y="10482"/>
                    </a:lnTo>
                    <a:lnTo>
                      <a:pt x="609" y="9798"/>
                    </a:lnTo>
                    <a:lnTo>
                      <a:pt x="319" y="8523"/>
                    </a:lnTo>
                    <a:lnTo>
                      <a:pt x="609" y="7745"/>
                    </a:lnTo>
                    <a:lnTo>
                      <a:pt x="319" y="5972"/>
                    </a:lnTo>
                    <a:lnTo>
                      <a:pt x="0" y="419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29" name="Freeform 120"/>
              <p:cNvSpPr>
                <a:spLocks/>
              </p:cNvSpPr>
              <p:nvPr/>
            </p:nvSpPr>
            <p:spPr bwMode="auto">
              <a:xfrm>
                <a:off x="6189663" y="4799013"/>
                <a:ext cx="217487" cy="407987"/>
              </a:xfrm>
              <a:custGeom>
                <a:avLst/>
                <a:gdLst>
                  <a:gd name="T0" fmla="*/ 3918 w 20000"/>
                  <a:gd name="T1" fmla="*/ 19470 h 20000"/>
                  <a:gd name="T2" fmla="*/ 819 w 20000"/>
                  <a:gd name="T3" fmla="*/ 18193 h 20000"/>
                  <a:gd name="T4" fmla="*/ 234 w 20000"/>
                  <a:gd name="T5" fmla="*/ 16106 h 20000"/>
                  <a:gd name="T6" fmla="*/ 819 w 20000"/>
                  <a:gd name="T7" fmla="*/ 13676 h 20000"/>
                  <a:gd name="T8" fmla="*/ 3918 w 20000"/>
                  <a:gd name="T9" fmla="*/ 11589 h 20000"/>
                  <a:gd name="T10" fmla="*/ 3918 w 20000"/>
                  <a:gd name="T11" fmla="*/ 10810 h 20000"/>
                  <a:gd name="T12" fmla="*/ 2690 w 20000"/>
                  <a:gd name="T13" fmla="*/ 9813 h 20000"/>
                  <a:gd name="T14" fmla="*/ 3918 w 20000"/>
                  <a:gd name="T15" fmla="*/ 6760 h 20000"/>
                  <a:gd name="T16" fmla="*/ 5380 w 20000"/>
                  <a:gd name="T17" fmla="*/ 5950 h 20000"/>
                  <a:gd name="T18" fmla="*/ 7251 w 20000"/>
                  <a:gd name="T19" fmla="*/ 5950 h 20000"/>
                  <a:gd name="T20" fmla="*/ 8129 w 20000"/>
                  <a:gd name="T21" fmla="*/ 5452 h 20000"/>
                  <a:gd name="T22" fmla="*/ 8713 w 20000"/>
                  <a:gd name="T23" fmla="*/ 5140 h 20000"/>
                  <a:gd name="T24" fmla="*/ 10526 w 20000"/>
                  <a:gd name="T25" fmla="*/ 5140 h 20000"/>
                  <a:gd name="T26" fmla="*/ 11111 w 20000"/>
                  <a:gd name="T27" fmla="*/ 4642 h 20000"/>
                  <a:gd name="T28" fmla="*/ 12047 w 20000"/>
                  <a:gd name="T29" fmla="*/ 4330 h 20000"/>
                  <a:gd name="T30" fmla="*/ 13626 w 20000"/>
                  <a:gd name="T31" fmla="*/ 3863 h 20000"/>
                  <a:gd name="T32" fmla="*/ 12982 w 20000"/>
                  <a:gd name="T33" fmla="*/ 3053 h 20000"/>
                  <a:gd name="T34" fmla="*/ 13626 w 20000"/>
                  <a:gd name="T35" fmla="*/ 3053 h 20000"/>
                  <a:gd name="T36" fmla="*/ 14211 w 20000"/>
                  <a:gd name="T37" fmla="*/ 2243 h 20000"/>
                  <a:gd name="T38" fmla="*/ 15088 w 20000"/>
                  <a:gd name="T39" fmla="*/ 2087 h 20000"/>
                  <a:gd name="T40" fmla="*/ 16023 w 20000"/>
                  <a:gd name="T41" fmla="*/ 1433 h 20000"/>
                  <a:gd name="T42" fmla="*/ 16608 w 20000"/>
                  <a:gd name="T43" fmla="*/ 498 h 20000"/>
                  <a:gd name="T44" fmla="*/ 16959 w 20000"/>
                  <a:gd name="T45" fmla="*/ 498 h 20000"/>
                  <a:gd name="T46" fmla="*/ 17544 w 20000"/>
                  <a:gd name="T47" fmla="*/ 935 h 20000"/>
                  <a:gd name="T48" fmla="*/ 19357 w 20000"/>
                  <a:gd name="T49" fmla="*/ 3364 h 20000"/>
                  <a:gd name="T50" fmla="*/ 19006 w 20000"/>
                  <a:gd name="T51" fmla="*/ 5639 h 20000"/>
                  <a:gd name="T52" fmla="*/ 17544 w 20000"/>
                  <a:gd name="T53" fmla="*/ 5140 h 20000"/>
                  <a:gd name="T54" fmla="*/ 18129 w 20000"/>
                  <a:gd name="T55" fmla="*/ 6417 h 20000"/>
                  <a:gd name="T56" fmla="*/ 16959 w 20000"/>
                  <a:gd name="T57" fmla="*/ 8069 h 20000"/>
                  <a:gd name="T58" fmla="*/ 12047 w 20000"/>
                  <a:gd name="T59" fmla="*/ 14829 h 20000"/>
                  <a:gd name="T60" fmla="*/ 7836 w 20000"/>
                  <a:gd name="T61" fmla="*/ 19470 h 20000"/>
                  <a:gd name="T62" fmla="*/ 4795 w 20000"/>
                  <a:gd name="T63" fmla="*/ 1996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4795" y="19969"/>
                    </a:moveTo>
                    <a:lnTo>
                      <a:pt x="3918" y="19470"/>
                    </a:lnTo>
                    <a:lnTo>
                      <a:pt x="1754" y="19159"/>
                    </a:lnTo>
                    <a:lnTo>
                      <a:pt x="819" y="18193"/>
                    </a:lnTo>
                    <a:lnTo>
                      <a:pt x="819" y="16604"/>
                    </a:lnTo>
                    <a:lnTo>
                      <a:pt x="234" y="16106"/>
                    </a:lnTo>
                    <a:lnTo>
                      <a:pt x="0" y="14486"/>
                    </a:lnTo>
                    <a:lnTo>
                      <a:pt x="819" y="13676"/>
                    </a:lnTo>
                    <a:lnTo>
                      <a:pt x="1520" y="13551"/>
                    </a:lnTo>
                    <a:lnTo>
                      <a:pt x="3918" y="11589"/>
                    </a:lnTo>
                    <a:lnTo>
                      <a:pt x="3918" y="11433"/>
                    </a:lnTo>
                    <a:lnTo>
                      <a:pt x="3918" y="10810"/>
                    </a:lnTo>
                    <a:lnTo>
                      <a:pt x="3333" y="10312"/>
                    </a:lnTo>
                    <a:lnTo>
                      <a:pt x="2690" y="9813"/>
                    </a:lnTo>
                    <a:lnTo>
                      <a:pt x="2690" y="8536"/>
                    </a:lnTo>
                    <a:lnTo>
                      <a:pt x="3918" y="6760"/>
                    </a:lnTo>
                    <a:lnTo>
                      <a:pt x="4211" y="6106"/>
                    </a:lnTo>
                    <a:lnTo>
                      <a:pt x="5380" y="5950"/>
                    </a:lnTo>
                    <a:lnTo>
                      <a:pt x="6316" y="5639"/>
                    </a:lnTo>
                    <a:lnTo>
                      <a:pt x="7251" y="5950"/>
                    </a:lnTo>
                    <a:lnTo>
                      <a:pt x="7251" y="5639"/>
                    </a:lnTo>
                    <a:lnTo>
                      <a:pt x="8129" y="5452"/>
                    </a:lnTo>
                    <a:lnTo>
                      <a:pt x="9064" y="5639"/>
                    </a:lnTo>
                    <a:lnTo>
                      <a:pt x="8713" y="5140"/>
                    </a:lnTo>
                    <a:lnTo>
                      <a:pt x="10526" y="4642"/>
                    </a:lnTo>
                    <a:lnTo>
                      <a:pt x="10526" y="5140"/>
                    </a:lnTo>
                    <a:lnTo>
                      <a:pt x="11813" y="4829"/>
                    </a:lnTo>
                    <a:lnTo>
                      <a:pt x="11111" y="4642"/>
                    </a:lnTo>
                    <a:lnTo>
                      <a:pt x="12047" y="3863"/>
                    </a:lnTo>
                    <a:lnTo>
                      <a:pt x="12047" y="4330"/>
                    </a:lnTo>
                    <a:lnTo>
                      <a:pt x="12982" y="3863"/>
                    </a:lnTo>
                    <a:lnTo>
                      <a:pt x="13626" y="3863"/>
                    </a:lnTo>
                    <a:lnTo>
                      <a:pt x="12690" y="3551"/>
                    </a:lnTo>
                    <a:lnTo>
                      <a:pt x="12982" y="3053"/>
                    </a:lnTo>
                    <a:lnTo>
                      <a:pt x="13626" y="3364"/>
                    </a:lnTo>
                    <a:lnTo>
                      <a:pt x="13626" y="3053"/>
                    </a:lnTo>
                    <a:lnTo>
                      <a:pt x="12982" y="2243"/>
                    </a:lnTo>
                    <a:lnTo>
                      <a:pt x="14211" y="2243"/>
                    </a:lnTo>
                    <a:lnTo>
                      <a:pt x="14211" y="2555"/>
                    </a:lnTo>
                    <a:lnTo>
                      <a:pt x="15088" y="2087"/>
                    </a:lnTo>
                    <a:lnTo>
                      <a:pt x="15380" y="2243"/>
                    </a:lnTo>
                    <a:lnTo>
                      <a:pt x="16023" y="1433"/>
                    </a:lnTo>
                    <a:lnTo>
                      <a:pt x="15380" y="623"/>
                    </a:lnTo>
                    <a:lnTo>
                      <a:pt x="16608" y="498"/>
                    </a:lnTo>
                    <a:lnTo>
                      <a:pt x="16959" y="0"/>
                    </a:lnTo>
                    <a:lnTo>
                      <a:pt x="16959" y="498"/>
                    </a:lnTo>
                    <a:lnTo>
                      <a:pt x="17544" y="498"/>
                    </a:lnTo>
                    <a:lnTo>
                      <a:pt x="17544" y="935"/>
                    </a:lnTo>
                    <a:lnTo>
                      <a:pt x="18129" y="1277"/>
                    </a:lnTo>
                    <a:lnTo>
                      <a:pt x="19357" y="3364"/>
                    </a:lnTo>
                    <a:lnTo>
                      <a:pt x="19942" y="4642"/>
                    </a:lnTo>
                    <a:lnTo>
                      <a:pt x="19006" y="5639"/>
                    </a:lnTo>
                    <a:lnTo>
                      <a:pt x="18129" y="5140"/>
                    </a:lnTo>
                    <a:lnTo>
                      <a:pt x="17544" y="5140"/>
                    </a:lnTo>
                    <a:lnTo>
                      <a:pt x="17544" y="5639"/>
                    </a:lnTo>
                    <a:lnTo>
                      <a:pt x="18129" y="6417"/>
                    </a:lnTo>
                    <a:lnTo>
                      <a:pt x="16959" y="7383"/>
                    </a:lnTo>
                    <a:lnTo>
                      <a:pt x="16959" y="8069"/>
                    </a:lnTo>
                    <a:lnTo>
                      <a:pt x="15088" y="11121"/>
                    </a:lnTo>
                    <a:lnTo>
                      <a:pt x="12047" y="14829"/>
                    </a:lnTo>
                    <a:lnTo>
                      <a:pt x="9064" y="19003"/>
                    </a:lnTo>
                    <a:lnTo>
                      <a:pt x="7836" y="19470"/>
                    </a:lnTo>
                    <a:lnTo>
                      <a:pt x="6316" y="19657"/>
                    </a:lnTo>
                    <a:lnTo>
                      <a:pt x="4795" y="1996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0" name="Freeform 119"/>
              <p:cNvSpPr>
                <a:spLocks/>
              </p:cNvSpPr>
              <p:nvPr/>
            </p:nvSpPr>
            <p:spPr bwMode="auto">
              <a:xfrm>
                <a:off x="5913438" y="4718050"/>
                <a:ext cx="90487" cy="230188"/>
              </a:xfrm>
              <a:custGeom>
                <a:avLst/>
                <a:gdLst>
                  <a:gd name="T0" fmla="*/ 845 w 20000"/>
                  <a:gd name="T1" fmla="*/ 0 h 20000"/>
                  <a:gd name="T2" fmla="*/ 4366 w 20000"/>
                  <a:gd name="T3" fmla="*/ 552 h 20000"/>
                  <a:gd name="T4" fmla="*/ 6620 w 20000"/>
                  <a:gd name="T5" fmla="*/ 1105 h 20000"/>
                  <a:gd name="T6" fmla="*/ 10282 w 20000"/>
                  <a:gd name="T7" fmla="*/ 4254 h 20000"/>
                  <a:gd name="T8" fmla="*/ 10282 w 20000"/>
                  <a:gd name="T9" fmla="*/ 5635 h 20000"/>
                  <a:gd name="T10" fmla="*/ 11831 w 20000"/>
                  <a:gd name="T11" fmla="*/ 5967 h 20000"/>
                  <a:gd name="T12" fmla="*/ 10282 w 20000"/>
                  <a:gd name="T13" fmla="*/ 7403 h 20000"/>
                  <a:gd name="T14" fmla="*/ 10282 w 20000"/>
                  <a:gd name="T15" fmla="*/ 10829 h 20000"/>
                  <a:gd name="T16" fmla="*/ 12394 w 20000"/>
                  <a:gd name="T17" fmla="*/ 10829 h 20000"/>
                  <a:gd name="T18" fmla="*/ 15493 w 20000"/>
                  <a:gd name="T19" fmla="*/ 11713 h 20000"/>
                  <a:gd name="T20" fmla="*/ 17606 w 20000"/>
                  <a:gd name="T21" fmla="*/ 13425 h 20000"/>
                  <a:gd name="T22" fmla="*/ 19859 w 20000"/>
                  <a:gd name="T23" fmla="*/ 13978 h 20000"/>
                  <a:gd name="T24" fmla="*/ 19014 w 20000"/>
                  <a:gd name="T25" fmla="*/ 15359 h 20000"/>
                  <a:gd name="T26" fmla="*/ 17606 w 20000"/>
                  <a:gd name="T27" fmla="*/ 17127 h 20000"/>
                  <a:gd name="T28" fmla="*/ 16056 w 20000"/>
                  <a:gd name="T29" fmla="*/ 17680 h 20000"/>
                  <a:gd name="T30" fmla="*/ 15493 w 20000"/>
                  <a:gd name="T31" fmla="*/ 17680 h 20000"/>
                  <a:gd name="T32" fmla="*/ 15493 w 20000"/>
                  <a:gd name="T33" fmla="*/ 19116 h 20000"/>
                  <a:gd name="T34" fmla="*/ 14085 w 20000"/>
                  <a:gd name="T35" fmla="*/ 19945 h 20000"/>
                  <a:gd name="T36" fmla="*/ 12394 w 20000"/>
                  <a:gd name="T37" fmla="*/ 19116 h 20000"/>
                  <a:gd name="T38" fmla="*/ 10282 w 20000"/>
                  <a:gd name="T39" fmla="*/ 17680 h 20000"/>
                  <a:gd name="T40" fmla="*/ 9577 w 20000"/>
                  <a:gd name="T41" fmla="*/ 16796 h 20000"/>
                  <a:gd name="T42" fmla="*/ 10282 w 20000"/>
                  <a:gd name="T43" fmla="*/ 15359 h 20000"/>
                  <a:gd name="T44" fmla="*/ 10282 w 20000"/>
                  <a:gd name="T45" fmla="*/ 13425 h 20000"/>
                  <a:gd name="T46" fmla="*/ 8028 w 20000"/>
                  <a:gd name="T47" fmla="*/ 13094 h 20000"/>
                  <a:gd name="T48" fmla="*/ 4366 w 20000"/>
                  <a:gd name="T49" fmla="*/ 13425 h 20000"/>
                  <a:gd name="T50" fmla="*/ 2254 w 20000"/>
                  <a:gd name="T51" fmla="*/ 11713 h 20000"/>
                  <a:gd name="T52" fmla="*/ 845 w 20000"/>
                  <a:gd name="T53" fmla="*/ 11934 h 20000"/>
                  <a:gd name="T54" fmla="*/ 0 w 20000"/>
                  <a:gd name="T55" fmla="*/ 10829 h 20000"/>
                  <a:gd name="T56" fmla="*/ 845 w 20000"/>
                  <a:gd name="T57" fmla="*/ 9669 h 20000"/>
                  <a:gd name="T58" fmla="*/ 845 w 20000"/>
                  <a:gd name="T59" fmla="*/ 8232 h 20000"/>
                  <a:gd name="T60" fmla="*/ 3803 w 20000"/>
                  <a:gd name="T61" fmla="*/ 8232 h 20000"/>
                  <a:gd name="T62" fmla="*/ 4366 w 20000"/>
                  <a:gd name="T63" fmla="*/ 8011 h 20000"/>
                  <a:gd name="T64" fmla="*/ 2254 w 20000"/>
                  <a:gd name="T65" fmla="*/ 7127 h 20000"/>
                  <a:gd name="T66" fmla="*/ 3803 w 20000"/>
                  <a:gd name="T67" fmla="*/ 6519 h 20000"/>
                  <a:gd name="T68" fmla="*/ 3803 w 20000"/>
                  <a:gd name="T69" fmla="*/ 4807 h 20000"/>
                  <a:gd name="T70" fmla="*/ 3803 w 20000"/>
                  <a:gd name="T71" fmla="*/ 3702 h 20000"/>
                  <a:gd name="T72" fmla="*/ 5775 w 20000"/>
                  <a:gd name="T73" fmla="*/ 3370 h 20000"/>
                  <a:gd name="T74" fmla="*/ 5775 w 20000"/>
                  <a:gd name="T75" fmla="*/ 2818 h 20000"/>
                  <a:gd name="T76" fmla="*/ 4366 w 20000"/>
                  <a:gd name="T77" fmla="*/ 1989 h 20000"/>
                  <a:gd name="T78" fmla="*/ 2254 w 20000"/>
                  <a:gd name="T79" fmla="*/ 1105 h 20000"/>
                  <a:gd name="T80" fmla="*/ 845 w 20000"/>
                  <a:gd name="T8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00" h="20000">
                    <a:moveTo>
                      <a:pt x="845" y="0"/>
                    </a:moveTo>
                    <a:lnTo>
                      <a:pt x="4366" y="552"/>
                    </a:lnTo>
                    <a:lnTo>
                      <a:pt x="6620" y="1105"/>
                    </a:lnTo>
                    <a:lnTo>
                      <a:pt x="10282" y="4254"/>
                    </a:lnTo>
                    <a:lnTo>
                      <a:pt x="10282" y="5635"/>
                    </a:lnTo>
                    <a:lnTo>
                      <a:pt x="11831" y="5967"/>
                    </a:lnTo>
                    <a:lnTo>
                      <a:pt x="10282" y="7403"/>
                    </a:lnTo>
                    <a:lnTo>
                      <a:pt x="10282" y="10829"/>
                    </a:lnTo>
                    <a:lnTo>
                      <a:pt x="12394" y="10829"/>
                    </a:lnTo>
                    <a:lnTo>
                      <a:pt x="15493" y="11713"/>
                    </a:lnTo>
                    <a:lnTo>
                      <a:pt x="17606" y="13425"/>
                    </a:lnTo>
                    <a:lnTo>
                      <a:pt x="19859" y="13978"/>
                    </a:lnTo>
                    <a:lnTo>
                      <a:pt x="19014" y="15359"/>
                    </a:lnTo>
                    <a:lnTo>
                      <a:pt x="17606" y="17127"/>
                    </a:lnTo>
                    <a:lnTo>
                      <a:pt x="16056" y="17680"/>
                    </a:lnTo>
                    <a:lnTo>
                      <a:pt x="15493" y="17680"/>
                    </a:lnTo>
                    <a:lnTo>
                      <a:pt x="15493" y="19116"/>
                    </a:lnTo>
                    <a:lnTo>
                      <a:pt x="14085" y="19945"/>
                    </a:lnTo>
                    <a:lnTo>
                      <a:pt x="12394" y="19116"/>
                    </a:lnTo>
                    <a:lnTo>
                      <a:pt x="10282" y="17680"/>
                    </a:lnTo>
                    <a:lnTo>
                      <a:pt x="9577" y="16796"/>
                    </a:lnTo>
                    <a:lnTo>
                      <a:pt x="10282" y="15359"/>
                    </a:lnTo>
                    <a:lnTo>
                      <a:pt x="10282" y="13425"/>
                    </a:lnTo>
                    <a:lnTo>
                      <a:pt x="8028" y="13094"/>
                    </a:lnTo>
                    <a:lnTo>
                      <a:pt x="4366" y="13425"/>
                    </a:lnTo>
                    <a:lnTo>
                      <a:pt x="2254" y="11713"/>
                    </a:lnTo>
                    <a:lnTo>
                      <a:pt x="845" y="11934"/>
                    </a:lnTo>
                    <a:lnTo>
                      <a:pt x="0" y="10829"/>
                    </a:lnTo>
                    <a:lnTo>
                      <a:pt x="845" y="9669"/>
                    </a:lnTo>
                    <a:lnTo>
                      <a:pt x="845" y="8232"/>
                    </a:lnTo>
                    <a:lnTo>
                      <a:pt x="3803" y="8232"/>
                    </a:lnTo>
                    <a:lnTo>
                      <a:pt x="4366" y="8011"/>
                    </a:lnTo>
                    <a:lnTo>
                      <a:pt x="2254" y="7127"/>
                    </a:lnTo>
                    <a:lnTo>
                      <a:pt x="3803" y="6519"/>
                    </a:lnTo>
                    <a:lnTo>
                      <a:pt x="3803" y="4807"/>
                    </a:lnTo>
                    <a:lnTo>
                      <a:pt x="3803" y="3702"/>
                    </a:lnTo>
                    <a:lnTo>
                      <a:pt x="5775" y="3370"/>
                    </a:lnTo>
                    <a:lnTo>
                      <a:pt x="5775" y="2818"/>
                    </a:lnTo>
                    <a:lnTo>
                      <a:pt x="4366" y="1989"/>
                    </a:lnTo>
                    <a:lnTo>
                      <a:pt x="2254" y="1105"/>
                    </a:lnTo>
                    <a:lnTo>
                      <a:pt x="84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1" name="Freeform 118"/>
              <p:cNvSpPr>
                <a:spLocks/>
              </p:cNvSpPr>
              <p:nvPr/>
            </p:nvSpPr>
            <p:spPr bwMode="auto">
              <a:xfrm>
                <a:off x="4648200" y="3724275"/>
                <a:ext cx="463550" cy="438150"/>
              </a:xfrm>
              <a:custGeom>
                <a:avLst/>
                <a:gdLst>
                  <a:gd name="T0" fmla="*/ 16279 w 20000"/>
                  <a:gd name="T1" fmla="*/ 5544 h 20000"/>
                  <a:gd name="T2" fmla="*/ 16990 w 20000"/>
                  <a:gd name="T3" fmla="*/ 6299 h 20000"/>
                  <a:gd name="T4" fmla="*/ 18112 w 20000"/>
                  <a:gd name="T5" fmla="*/ 6734 h 20000"/>
                  <a:gd name="T6" fmla="*/ 18851 w 20000"/>
                  <a:gd name="T7" fmla="*/ 7518 h 20000"/>
                  <a:gd name="T8" fmla="*/ 18851 w 20000"/>
                  <a:gd name="T9" fmla="*/ 8244 h 20000"/>
                  <a:gd name="T10" fmla="*/ 19973 w 20000"/>
                  <a:gd name="T11" fmla="*/ 10653 h 20000"/>
                  <a:gd name="T12" fmla="*/ 19398 w 20000"/>
                  <a:gd name="T13" fmla="*/ 12163 h 20000"/>
                  <a:gd name="T14" fmla="*/ 18550 w 20000"/>
                  <a:gd name="T15" fmla="*/ 12917 h 20000"/>
                  <a:gd name="T16" fmla="*/ 16005 w 20000"/>
                  <a:gd name="T17" fmla="*/ 13353 h 20000"/>
                  <a:gd name="T18" fmla="*/ 13707 w 20000"/>
                  <a:gd name="T19" fmla="*/ 13353 h 20000"/>
                  <a:gd name="T20" fmla="*/ 12312 w 20000"/>
                  <a:gd name="T21" fmla="*/ 13817 h 20000"/>
                  <a:gd name="T22" fmla="*/ 11190 w 20000"/>
                  <a:gd name="T23" fmla="*/ 15007 h 20000"/>
                  <a:gd name="T24" fmla="*/ 10451 w 20000"/>
                  <a:gd name="T25" fmla="*/ 15298 h 20000"/>
                  <a:gd name="T26" fmla="*/ 10342 w 20000"/>
                  <a:gd name="T27" fmla="*/ 16052 h 20000"/>
                  <a:gd name="T28" fmla="*/ 9330 w 20000"/>
                  <a:gd name="T29" fmla="*/ 15762 h 20000"/>
                  <a:gd name="T30" fmla="*/ 9330 w 20000"/>
                  <a:gd name="T31" fmla="*/ 16517 h 20000"/>
                  <a:gd name="T32" fmla="*/ 8892 w 20000"/>
                  <a:gd name="T33" fmla="*/ 17562 h 20000"/>
                  <a:gd name="T34" fmla="*/ 8044 w 20000"/>
                  <a:gd name="T35" fmla="*/ 17707 h 20000"/>
                  <a:gd name="T36" fmla="*/ 8044 w 20000"/>
                  <a:gd name="T37" fmla="*/ 18926 h 20000"/>
                  <a:gd name="T38" fmla="*/ 7497 w 20000"/>
                  <a:gd name="T39" fmla="*/ 19681 h 20000"/>
                  <a:gd name="T40" fmla="*/ 6922 w 20000"/>
                  <a:gd name="T41" fmla="*/ 19216 h 20000"/>
                  <a:gd name="T42" fmla="*/ 6375 w 20000"/>
                  <a:gd name="T43" fmla="*/ 19361 h 20000"/>
                  <a:gd name="T44" fmla="*/ 6211 w 20000"/>
                  <a:gd name="T45" fmla="*/ 19971 h 20000"/>
                  <a:gd name="T46" fmla="*/ 5527 w 20000"/>
                  <a:gd name="T47" fmla="*/ 19361 h 20000"/>
                  <a:gd name="T48" fmla="*/ 4514 w 20000"/>
                  <a:gd name="T49" fmla="*/ 19361 h 20000"/>
                  <a:gd name="T50" fmla="*/ 4378 w 20000"/>
                  <a:gd name="T51" fmla="*/ 18781 h 20000"/>
                  <a:gd name="T52" fmla="*/ 4077 w 20000"/>
                  <a:gd name="T53" fmla="*/ 18026 h 20000"/>
                  <a:gd name="T54" fmla="*/ 3393 w 20000"/>
                  <a:gd name="T55" fmla="*/ 16836 h 20000"/>
                  <a:gd name="T56" fmla="*/ 2955 w 20000"/>
                  <a:gd name="T57" fmla="*/ 17242 h 20000"/>
                  <a:gd name="T58" fmla="*/ 1833 w 20000"/>
                  <a:gd name="T59" fmla="*/ 17707 h 20000"/>
                  <a:gd name="T60" fmla="*/ 1122 w 20000"/>
                  <a:gd name="T61" fmla="*/ 17242 h 20000"/>
                  <a:gd name="T62" fmla="*/ 985 w 20000"/>
                  <a:gd name="T63" fmla="*/ 16836 h 20000"/>
                  <a:gd name="T64" fmla="*/ 438 w 20000"/>
                  <a:gd name="T65" fmla="*/ 15762 h 20000"/>
                  <a:gd name="T66" fmla="*/ 0 w 20000"/>
                  <a:gd name="T67" fmla="*/ 15298 h 20000"/>
                  <a:gd name="T68" fmla="*/ 0 w 20000"/>
                  <a:gd name="T69" fmla="*/ 14398 h 20000"/>
                  <a:gd name="T70" fmla="*/ 274 w 20000"/>
                  <a:gd name="T71" fmla="*/ 13643 h 20000"/>
                  <a:gd name="T72" fmla="*/ 711 w 20000"/>
                  <a:gd name="T73" fmla="*/ 12453 h 20000"/>
                  <a:gd name="T74" fmla="*/ 1560 w 20000"/>
                  <a:gd name="T75" fmla="*/ 12627 h 20000"/>
                  <a:gd name="T76" fmla="*/ 3256 w 20000"/>
                  <a:gd name="T77" fmla="*/ 12627 h 20000"/>
                  <a:gd name="T78" fmla="*/ 7770 w 20000"/>
                  <a:gd name="T79" fmla="*/ 12917 h 20000"/>
                  <a:gd name="T80" fmla="*/ 7770 w 20000"/>
                  <a:gd name="T81" fmla="*/ 11379 h 20000"/>
                  <a:gd name="T82" fmla="*/ 8892 w 20000"/>
                  <a:gd name="T8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8892" y="0"/>
                    </a:moveTo>
                    <a:lnTo>
                      <a:pt x="16279" y="5544"/>
                    </a:lnTo>
                    <a:lnTo>
                      <a:pt x="16279" y="5864"/>
                    </a:lnTo>
                    <a:lnTo>
                      <a:pt x="16990" y="6299"/>
                    </a:lnTo>
                    <a:lnTo>
                      <a:pt x="17565" y="6589"/>
                    </a:lnTo>
                    <a:lnTo>
                      <a:pt x="18112" y="6734"/>
                    </a:lnTo>
                    <a:lnTo>
                      <a:pt x="18550" y="7054"/>
                    </a:lnTo>
                    <a:lnTo>
                      <a:pt x="18851" y="7518"/>
                    </a:lnTo>
                    <a:lnTo>
                      <a:pt x="18550" y="8099"/>
                    </a:lnTo>
                    <a:lnTo>
                      <a:pt x="18851" y="8244"/>
                    </a:lnTo>
                    <a:lnTo>
                      <a:pt x="19973" y="8099"/>
                    </a:lnTo>
                    <a:lnTo>
                      <a:pt x="19973" y="10653"/>
                    </a:lnTo>
                    <a:lnTo>
                      <a:pt x="19672" y="10943"/>
                    </a:lnTo>
                    <a:lnTo>
                      <a:pt x="19398" y="12163"/>
                    </a:lnTo>
                    <a:lnTo>
                      <a:pt x="18960" y="13033"/>
                    </a:lnTo>
                    <a:lnTo>
                      <a:pt x="18550" y="12917"/>
                    </a:lnTo>
                    <a:lnTo>
                      <a:pt x="16279" y="13033"/>
                    </a:lnTo>
                    <a:lnTo>
                      <a:pt x="16005" y="13353"/>
                    </a:lnTo>
                    <a:lnTo>
                      <a:pt x="14856" y="13643"/>
                    </a:lnTo>
                    <a:lnTo>
                      <a:pt x="13707" y="13353"/>
                    </a:lnTo>
                    <a:lnTo>
                      <a:pt x="13434" y="13817"/>
                    </a:lnTo>
                    <a:lnTo>
                      <a:pt x="12312" y="13817"/>
                    </a:lnTo>
                    <a:lnTo>
                      <a:pt x="12175" y="14572"/>
                    </a:lnTo>
                    <a:lnTo>
                      <a:pt x="11190" y="15007"/>
                    </a:lnTo>
                    <a:lnTo>
                      <a:pt x="11026" y="15298"/>
                    </a:lnTo>
                    <a:lnTo>
                      <a:pt x="10451" y="15298"/>
                    </a:lnTo>
                    <a:lnTo>
                      <a:pt x="10752" y="15762"/>
                    </a:lnTo>
                    <a:lnTo>
                      <a:pt x="10342" y="16052"/>
                    </a:lnTo>
                    <a:lnTo>
                      <a:pt x="9904" y="15588"/>
                    </a:lnTo>
                    <a:lnTo>
                      <a:pt x="9330" y="15762"/>
                    </a:lnTo>
                    <a:lnTo>
                      <a:pt x="9631" y="16517"/>
                    </a:lnTo>
                    <a:lnTo>
                      <a:pt x="9330" y="16517"/>
                    </a:lnTo>
                    <a:lnTo>
                      <a:pt x="9330" y="16952"/>
                    </a:lnTo>
                    <a:lnTo>
                      <a:pt x="8892" y="17562"/>
                    </a:lnTo>
                    <a:lnTo>
                      <a:pt x="8618" y="17562"/>
                    </a:lnTo>
                    <a:lnTo>
                      <a:pt x="8044" y="17707"/>
                    </a:lnTo>
                    <a:lnTo>
                      <a:pt x="8208" y="18491"/>
                    </a:lnTo>
                    <a:lnTo>
                      <a:pt x="8044" y="18926"/>
                    </a:lnTo>
                    <a:lnTo>
                      <a:pt x="8044" y="19361"/>
                    </a:lnTo>
                    <a:lnTo>
                      <a:pt x="7497" y="19681"/>
                    </a:lnTo>
                    <a:lnTo>
                      <a:pt x="7086" y="19681"/>
                    </a:lnTo>
                    <a:lnTo>
                      <a:pt x="6922" y="19216"/>
                    </a:lnTo>
                    <a:lnTo>
                      <a:pt x="6648" y="19216"/>
                    </a:lnTo>
                    <a:lnTo>
                      <a:pt x="6375" y="19361"/>
                    </a:lnTo>
                    <a:lnTo>
                      <a:pt x="6211" y="19681"/>
                    </a:lnTo>
                    <a:lnTo>
                      <a:pt x="6211" y="19971"/>
                    </a:lnTo>
                    <a:lnTo>
                      <a:pt x="5636" y="19681"/>
                    </a:lnTo>
                    <a:lnTo>
                      <a:pt x="5527" y="19361"/>
                    </a:lnTo>
                    <a:lnTo>
                      <a:pt x="5089" y="19971"/>
                    </a:lnTo>
                    <a:lnTo>
                      <a:pt x="4514" y="19361"/>
                    </a:lnTo>
                    <a:lnTo>
                      <a:pt x="4514" y="18926"/>
                    </a:lnTo>
                    <a:lnTo>
                      <a:pt x="4378" y="18781"/>
                    </a:lnTo>
                    <a:lnTo>
                      <a:pt x="4378" y="18142"/>
                    </a:lnTo>
                    <a:lnTo>
                      <a:pt x="4077" y="18026"/>
                    </a:lnTo>
                    <a:lnTo>
                      <a:pt x="3967" y="17707"/>
                    </a:lnTo>
                    <a:lnTo>
                      <a:pt x="3393" y="16836"/>
                    </a:lnTo>
                    <a:lnTo>
                      <a:pt x="3256" y="16952"/>
                    </a:lnTo>
                    <a:lnTo>
                      <a:pt x="2955" y="17242"/>
                    </a:lnTo>
                    <a:lnTo>
                      <a:pt x="2517" y="17242"/>
                    </a:lnTo>
                    <a:lnTo>
                      <a:pt x="1833" y="17707"/>
                    </a:lnTo>
                    <a:lnTo>
                      <a:pt x="1395" y="17242"/>
                    </a:lnTo>
                    <a:lnTo>
                      <a:pt x="1122" y="17242"/>
                    </a:lnTo>
                    <a:lnTo>
                      <a:pt x="985" y="16952"/>
                    </a:lnTo>
                    <a:lnTo>
                      <a:pt x="985" y="16836"/>
                    </a:lnTo>
                    <a:lnTo>
                      <a:pt x="985" y="16226"/>
                    </a:lnTo>
                    <a:lnTo>
                      <a:pt x="438" y="15762"/>
                    </a:lnTo>
                    <a:lnTo>
                      <a:pt x="274" y="15762"/>
                    </a:lnTo>
                    <a:lnTo>
                      <a:pt x="0" y="15298"/>
                    </a:lnTo>
                    <a:lnTo>
                      <a:pt x="274" y="14572"/>
                    </a:lnTo>
                    <a:lnTo>
                      <a:pt x="0" y="14398"/>
                    </a:lnTo>
                    <a:lnTo>
                      <a:pt x="0" y="13817"/>
                    </a:lnTo>
                    <a:lnTo>
                      <a:pt x="274" y="13643"/>
                    </a:lnTo>
                    <a:lnTo>
                      <a:pt x="274" y="13033"/>
                    </a:lnTo>
                    <a:lnTo>
                      <a:pt x="711" y="12453"/>
                    </a:lnTo>
                    <a:lnTo>
                      <a:pt x="1395" y="13033"/>
                    </a:lnTo>
                    <a:lnTo>
                      <a:pt x="1560" y="12627"/>
                    </a:lnTo>
                    <a:lnTo>
                      <a:pt x="2955" y="12917"/>
                    </a:lnTo>
                    <a:lnTo>
                      <a:pt x="3256" y="12627"/>
                    </a:lnTo>
                    <a:lnTo>
                      <a:pt x="3393" y="12917"/>
                    </a:lnTo>
                    <a:lnTo>
                      <a:pt x="7770" y="12917"/>
                    </a:lnTo>
                    <a:lnTo>
                      <a:pt x="8208" y="11843"/>
                    </a:lnTo>
                    <a:lnTo>
                      <a:pt x="7770" y="11379"/>
                    </a:lnTo>
                    <a:lnTo>
                      <a:pt x="6922" y="0"/>
                    </a:lnTo>
                    <a:lnTo>
                      <a:pt x="889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2" name="Freeform 117"/>
              <p:cNvSpPr>
                <a:spLocks/>
              </p:cNvSpPr>
              <p:nvPr/>
            </p:nvSpPr>
            <p:spPr bwMode="auto">
              <a:xfrm>
                <a:off x="4510088" y="3395663"/>
                <a:ext cx="447675" cy="447675"/>
              </a:xfrm>
              <a:custGeom>
                <a:avLst/>
                <a:gdLst>
                  <a:gd name="T0" fmla="*/ 18807 w 20000"/>
                  <a:gd name="T1" fmla="*/ 878 h 20000"/>
                  <a:gd name="T2" fmla="*/ 19233 w 20000"/>
                  <a:gd name="T3" fmla="*/ 1473 h 20000"/>
                  <a:gd name="T4" fmla="*/ 19517 w 20000"/>
                  <a:gd name="T5" fmla="*/ 2210 h 20000"/>
                  <a:gd name="T6" fmla="*/ 19517 w 20000"/>
                  <a:gd name="T7" fmla="*/ 2805 h 20000"/>
                  <a:gd name="T8" fmla="*/ 19688 w 20000"/>
                  <a:gd name="T9" fmla="*/ 3824 h 20000"/>
                  <a:gd name="T10" fmla="*/ 19972 w 20000"/>
                  <a:gd name="T11" fmla="*/ 4278 h 20000"/>
                  <a:gd name="T12" fmla="*/ 19972 w 20000"/>
                  <a:gd name="T13" fmla="*/ 4703 h 20000"/>
                  <a:gd name="T14" fmla="*/ 19972 w 20000"/>
                  <a:gd name="T15" fmla="*/ 4986 h 20000"/>
                  <a:gd name="T16" fmla="*/ 17784 w 20000"/>
                  <a:gd name="T17" fmla="*/ 5297 h 20000"/>
                  <a:gd name="T18" fmla="*/ 17784 w 20000"/>
                  <a:gd name="T19" fmla="*/ 5722 h 20000"/>
                  <a:gd name="T20" fmla="*/ 16903 w 20000"/>
                  <a:gd name="T21" fmla="*/ 5864 h 20000"/>
                  <a:gd name="T22" fmla="*/ 16903 w 20000"/>
                  <a:gd name="T23" fmla="*/ 6147 h 20000"/>
                  <a:gd name="T24" fmla="*/ 16903 w 20000"/>
                  <a:gd name="T25" fmla="*/ 6601 h 20000"/>
                  <a:gd name="T26" fmla="*/ 16449 w 20000"/>
                  <a:gd name="T27" fmla="*/ 7054 h 20000"/>
                  <a:gd name="T28" fmla="*/ 14972 w 20000"/>
                  <a:gd name="T29" fmla="*/ 8385 h 20000"/>
                  <a:gd name="T30" fmla="*/ 13949 w 20000"/>
                  <a:gd name="T31" fmla="*/ 8527 h 20000"/>
                  <a:gd name="T32" fmla="*/ 13523 w 20000"/>
                  <a:gd name="T33" fmla="*/ 8385 h 20000"/>
                  <a:gd name="T34" fmla="*/ 13068 w 20000"/>
                  <a:gd name="T35" fmla="*/ 8527 h 20000"/>
                  <a:gd name="T36" fmla="*/ 12330 w 20000"/>
                  <a:gd name="T37" fmla="*/ 8527 h 20000"/>
                  <a:gd name="T38" fmla="*/ 11165 w 20000"/>
                  <a:gd name="T39" fmla="*/ 9263 h 20000"/>
                  <a:gd name="T40" fmla="*/ 10739 w 20000"/>
                  <a:gd name="T41" fmla="*/ 9547 h 20000"/>
                  <a:gd name="T42" fmla="*/ 10739 w 20000"/>
                  <a:gd name="T43" fmla="*/ 11445 h 20000"/>
                  <a:gd name="T44" fmla="*/ 10739 w 20000"/>
                  <a:gd name="T45" fmla="*/ 13371 h 20000"/>
                  <a:gd name="T46" fmla="*/ 6449 w 20000"/>
                  <a:gd name="T47" fmla="*/ 13484 h 20000"/>
                  <a:gd name="T48" fmla="*/ 6449 w 20000"/>
                  <a:gd name="T49" fmla="*/ 16601 h 20000"/>
                  <a:gd name="T50" fmla="*/ 5284 w 20000"/>
                  <a:gd name="T51" fmla="*/ 17025 h 20000"/>
                  <a:gd name="T52" fmla="*/ 4972 w 20000"/>
                  <a:gd name="T53" fmla="*/ 17309 h 20000"/>
                  <a:gd name="T54" fmla="*/ 4972 w 20000"/>
                  <a:gd name="T55" fmla="*/ 17762 h 20000"/>
                  <a:gd name="T56" fmla="*/ 4972 w 20000"/>
                  <a:gd name="T57" fmla="*/ 19518 h 20000"/>
                  <a:gd name="T58" fmla="*/ 284 w 20000"/>
                  <a:gd name="T59" fmla="*/ 19518 h 20000"/>
                  <a:gd name="T60" fmla="*/ 0 w 20000"/>
                  <a:gd name="T61" fmla="*/ 19972 h 20000"/>
                  <a:gd name="T62" fmla="*/ 284 w 20000"/>
                  <a:gd name="T63" fmla="*/ 18810 h 20000"/>
                  <a:gd name="T64" fmla="*/ 739 w 20000"/>
                  <a:gd name="T65" fmla="*/ 18187 h 20000"/>
                  <a:gd name="T66" fmla="*/ 1023 w 20000"/>
                  <a:gd name="T67" fmla="*/ 17762 h 20000"/>
                  <a:gd name="T68" fmla="*/ 1165 w 20000"/>
                  <a:gd name="T69" fmla="*/ 17309 h 20000"/>
                  <a:gd name="T70" fmla="*/ 1449 w 20000"/>
                  <a:gd name="T71" fmla="*/ 16884 h 20000"/>
                  <a:gd name="T72" fmla="*/ 1903 w 20000"/>
                  <a:gd name="T73" fmla="*/ 16147 h 20000"/>
                  <a:gd name="T74" fmla="*/ 2784 w 20000"/>
                  <a:gd name="T75" fmla="*/ 15127 h 20000"/>
                  <a:gd name="T76" fmla="*/ 2784 w 20000"/>
                  <a:gd name="T77" fmla="*/ 14249 h 20000"/>
                  <a:gd name="T78" fmla="*/ 3352 w 20000"/>
                  <a:gd name="T79" fmla="*/ 13371 h 20000"/>
                  <a:gd name="T80" fmla="*/ 4545 w 20000"/>
                  <a:gd name="T81" fmla="*/ 12040 h 20000"/>
                  <a:gd name="T82" fmla="*/ 5284 w 20000"/>
                  <a:gd name="T83" fmla="*/ 10878 h 20000"/>
                  <a:gd name="T84" fmla="*/ 6619 w 20000"/>
                  <a:gd name="T85" fmla="*/ 10425 h 20000"/>
                  <a:gd name="T86" fmla="*/ 7614 w 20000"/>
                  <a:gd name="T87" fmla="*/ 9972 h 20000"/>
                  <a:gd name="T88" fmla="*/ 8807 w 20000"/>
                  <a:gd name="T89" fmla="*/ 8810 h 20000"/>
                  <a:gd name="T90" fmla="*/ 9545 w 20000"/>
                  <a:gd name="T91" fmla="*/ 7649 h 20000"/>
                  <a:gd name="T92" fmla="*/ 9233 w 20000"/>
                  <a:gd name="T93" fmla="*/ 7054 h 20000"/>
                  <a:gd name="T94" fmla="*/ 9233 w 20000"/>
                  <a:gd name="T95" fmla="*/ 5864 h 20000"/>
                  <a:gd name="T96" fmla="*/ 9688 w 20000"/>
                  <a:gd name="T97" fmla="*/ 5297 h 20000"/>
                  <a:gd name="T98" fmla="*/ 9972 w 20000"/>
                  <a:gd name="T99" fmla="*/ 4561 h 20000"/>
                  <a:gd name="T100" fmla="*/ 10739 w 20000"/>
                  <a:gd name="T101" fmla="*/ 3541 h 20000"/>
                  <a:gd name="T102" fmla="*/ 11619 w 20000"/>
                  <a:gd name="T103" fmla="*/ 3088 h 20000"/>
                  <a:gd name="T104" fmla="*/ 13068 w 20000"/>
                  <a:gd name="T105" fmla="*/ 2380 h 20000"/>
                  <a:gd name="T106" fmla="*/ 13523 w 20000"/>
                  <a:gd name="T107" fmla="*/ 1190 h 20000"/>
                  <a:gd name="T108" fmla="*/ 13949 w 20000"/>
                  <a:gd name="T109" fmla="*/ 0 h 20000"/>
                  <a:gd name="T110" fmla="*/ 14688 w 20000"/>
                  <a:gd name="T111" fmla="*/ 0 h 20000"/>
                  <a:gd name="T112" fmla="*/ 15398 w 20000"/>
                  <a:gd name="T113" fmla="*/ 765 h 20000"/>
                  <a:gd name="T114" fmla="*/ 16619 w 20000"/>
                  <a:gd name="T115" fmla="*/ 765 h 20000"/>
                  <a:gd name="T116" fmla="*/ 17330 w 20000"/>
                  <a:gd name="T117" fmla="*/ 765 h 20000"/>
                  <a:gd name="T118" fmla="*/ 17784 w 20000"/>
                  <a:gd name="T119" fmla="*/ 453 h 20000"/>
                  <a:gd name="T120" fmla="*/ 18068 w 20000"/>
                  <a:gd name="T121" fmla="*/ 878 h 20000"/>
                  <a:gd name="T122" fmla="*/ 18807 w 20000"/>
                  <a:gd name="T123" fmla="*/ 8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00" h="20000">
                    <a:moveTo>
                      <a:pt x="18807" y="878"/>
                    </a:moveTo>
                    <a:lnTo>
                      <a:pt x="19233" y="1473"/>
                    </a:lnTo>
                    <a:lnTo>
                      <a:pt x="19517" y="2210"/>
                    </a:lnTo>
                    <a:lnTo>
                      <a:pt x="19517" y="2805"/>
                    </a:lnTo>
                    <a:lnTo>
                      <a:pt x="19688" y="3824"/>
                    </a:lnTo>
                    <a:lnTo>
                      <a:pt x="19972" y="4278"/>
                    </a:lnTo>
                    <a:lnTo>
                      <a:pt x="19972" y="4703"/>
                    </a:lnTo>
                    <a:lnTo>
                      <a:pt x="19972" y="4986"/>
                    </a:lnTo>
                    <a:lnTo>
                      <a:pt x="17784" y="5297"/>
                    </a:lnTo>
                    <a:lnTo>
                      <a:pt x="17784" y="5722"/>
                    </a:lnTo>
                    <a:lnTo>
                      <a:pt x="16903" y="5864"/>
                    </a:lnTo>
                    <a:lnTo>
                      <a:pt x="16903" y="6147"/>
                    </a:lnTo>
                    <a:lnTo>
                      <a:pt x="16903" y="6601"/>
                    </a:lnTo>
                    <a:lnTo>
                      <a:pt x="16449" y="7054"/>
                    </a:lnTo>
                    <a:lnTo>
                      <a:pt x="14972" y="8385"/>
                    </a:lnTo>
                    <a:lnTo>
                      <a:pt x="13949" y="8527"/>
                    </a:lnTo>
                    <a:lnTo>
                      <a:pt x="13523" y="8385"/>
                    </a:lnTo>
                    <a:lnTo>
                      <a:pt x="13068" y="8527"/>
                    </a:lnTo>
                    <a:lnTo>
                      <a:pt x="12330" y="8527"/>
                    </a:lnTo>
                    <a:lnTo>
                      <a:pt x="11165" y="9263"/>
                    </a:lnTo>
                    <a:lnTo>
                      <a:pt x="10739" y="9547"/>
                    </a:lnTo>
                    <a:lnTo>
                      <a:pt x="10739" y="11445"/>
                    </a:lnTo>
                    <a:lnTo>
                      <a:pt x="10739" y="13371"/>
                    </a:lnTo>
                    <a:lnTo>
                      <a:pt x="6449" y="13484"/>
                    </a:lnTo>
                    <a:lnTo>
                      <a:pt x="6449" y="16601"/>
                    </a:lnTo>
                    <a:lnTo>
                      <a:pt x="5284" y="17025"/>
                    </a:lnTo>
                    <a:lnTo>
                      <a:pt x="4972" y="17309"/>
                    </a:lnTo>
                    <a:lnTo>
                      <a:pt x="4972" y="17762"/>
                    </a:lnTo>
                    <a:lnTo>
                      <a:pt x="4972" y="19518"/>
                    </a:lnTo>
                    <a:lnTo>
                      <a:pt x="284" y="19518"/>
                    </a:lnTo>
                    <a:lnTo>
                      <a:pt x="0" y="19972"/>
                    </a:lnTo>
                    <a:lnTo>
                      <a:pt x="284" y="18810"/>
                    </a:lnTo>
                    <a:lnTo>
                      <a:pt x="739" y="18187"/>
                    </a:lnTo>
                    <a:lnTo>
                      <a:pt x="1023" y="17762"/>
                    </a:lnTo>
                    <a:lnTo>
                      <a:pt x="1165" y="17309"/>
                    </a:lnTo>
                    <a:lnTo>
                      <a:pt x="1449" y="16884"/>
                    </a:lnTo>
                    <a:lnTo>
                      <a:pt x="1903" y="16147"/>
                    </a:lnTo>
                    <a:lnTo>
                      <a:pt x="2784" y="15127"/>
                    </a:lnTo>
                    <a:lnTo>
                      <a:pt x="2784" y="14249"/>
                    </a:lnTo>
                    <a:lnTo>
                      <a:pt x="3352" y="13371"/>
                    </a:lnTo>
                    <a:lnTo>
                      <a:pt x="4545" y="12040"/>
                    </a:lnTo>
                    <a:lnTo>
                      <a:pt x="5284" y="10878"/>
                    </a:lnTo>
                    <a:lnTo>
                      <a:pt x="6619" y="10425"/>
                    </a:lnTo>
                    <a:lnTo>
                      <a:pt x="7614" y="9972"/>
                    </a:lnTo>
                    <a:lnTo>
                      <a:pt x="8807" y="8810"/>
                    </a:lnTo>
                    <a:lnTo>
                      <a:pt x="9545" y="7649"/>
                    </a:lnTo>
                    <a:lnTo>
                      <a:pt x="9233" y="7054"/>
                    </a:lnTo>
                    <a:lnTo>
                      <a:pt x="9233" y="5864"/>
                    </a:lnTo>
                    <a:lnTo>
                      <a:pt x="9688" y="5297"/>
                    </a:lnTo>
                    <a:lnTo>
                      <a:pt x="9972" y="4561"/>
                    </a:lnTo>
                    <a:lnTo>
                      <a:pt x="10739" y="3541"/>
                    </a:lnTo>
                    <a:lnTo>
                      <a:pt x="11619" y="3088"/>
                    </a:lnTo>
                    <a:lnTo>
                      <a:pt x="13068" y="2380"/>
                    </a:lnTo>
                    <a:lnTo>
                      <a:pt x="13523" y="1190"/>
                    </a:lnTo>
                    <a:lnTo>
                      <a:pt x="13949" y="0"/>
                    </a:lnTo>
                    <a:lnTo>
                      <a:pt x="14688" y="0"/>
                    </a:lnTo>
                    <a:lnTo>
                      <a:pt x="15398" y="765"/>
                    </a:lnTo>
                    <a:lnTo>
                      <a:pt x="16619" y="765"/>
                    </a:lnTo>
                    <a:lnTo>
                      <a:pt x="17330" y="765"/>
                    </a:lnTo>
                    <a:lnTo>
                      <a:pt x="17784" y="453"/>
                    </a:lnTo>
                    <a:lnTo>
                      <a:pt x="18068" y="878"/>
                    </a:lnTo>
                    <a:lnTo>
                      <a:pt x="18807" y="87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3" name="Freeform 116"/>
              <p:cNvSpPr>
                <a:spLocks/>
              </p:cNvSpPr>
              <p:nvPr/>
            </p:nvSpPr>
            <p:spPr bwMode="auto">
              <a:xfrm>
                <a:off x="4510088" y="3651250"/>
                <a:ext cx="346075" cy="376238"/>
              </a:xfrm>
              <a:custGeom>
                <a:avLst/>
                <a:gdLst>
                  <a:gd name="T0" fmla="*/ 13897 w 20000"/>
                  <a:gd name="T1" fmla="*/ 0 h 20000"/>
                  <a:gd name="T2" fmla="*/ 19963 w 20000"/>
                  <a:gd name="T3" fmla="*/ 3885 h 20000"/>
                  <a:gd name="T4" fmla="*/ 17279 w 20000"/>
                  <a:gd name="T5" fmla="*/ 3885 h 20000"/>
                  <a:gd name="T6" fmla="*/ 18456 w 20000"/>
                  <a:gd name="T7" fmla="*/ 17128 h 20000"/>
                  <a:gd name="T8" fmla="*/ 19007 w 20000"/>
                  <a:gd name="T9" fmla="*/ 17669 h 20000"/>
                  <a:gd name="T10" fmla="*/ 18456 w 20000"/>
                  <a:gd name="T11" fmla="*/ 18919 h 20000"/>
                  <a:gd name="T12" fmla="*/ 12537 w 20000"/>
                  <a:gd name="T13" fmla="*/ 18919 h 20000"/>
                  <a:gd name="T14" fmla="*/ 12390 w 20000"/>
                  <a:gd name="T15" fmla="*/ 18581 h 20000"/>
                  <a:gd name="T16" fmla="*/ 11985 w 20000"/>
                  <a:gd name="T17" fmla="*/ 18919 h 20000"/>
                  <a:gd name="T18" fmla="*/ 10074 w 20000"/>
                  <a:gd name="T19" fmla="*/ 18581 h 20000"/>
                  <a:gd name="T20" fmla="*/ 9890 w 20000"/>
                  <a:gd name="T21" fmla="*/ 19054 h 20000"/>
                  <a:gd name="T22" fmla="*/ 8934 w 20000"/>
                  <a:gd name="T23" fmla="*/ 18378 h 20000"/>
                  <a:gd name="T24" fmla="*/ 8346 w 20000"/>
                  <a:gd name="T25" fmla="*/ 19054 h 20000"/>
                  <a:gd name="T26" fmla="*/ 8346 w 20000"/>
                  <a:gd name="T27" fmla="*/ 19764 h 20000"/>
                  <a:gd name="T28" fmla="*/ 7978 w 20000"/>
                  <a:gd name="T29" fmla="*/ 19966 h 20000"/>
                  <a:gd name="T30" fmla="*/ 7022 w 20000"/>
                  <a:gd name="T31" fmla="*/ 19764 h 20000"/>
                  <a:gd name="T32" fmla="*/ 6838 w 20000"/>
                  <a:gd name="T33" fmla="*/ 19426 h 20000"/>
                  <a:gd name="T34" fmla="*/ 6434 w 20000"/>
                  <a:gd name="T35" fmla="*/ 18919 h 20000"/>
                  <a:gd name="T36" fmla="*/ 6066 w 20000"/>
                  <a:gd name="T37" fmla="*/ 18919 h 20000"/>
                  <a:gd name="T38" fmla="*/ 5919 w 20000"/>
                  <a:gd name="T39" fmla="*/ 18041 h 20000"/>
                  <a:gd name="T40" fmla="*/ 5331 w 20000"/>
                  <a:gd name="T41" fmla="*/ 18041 h 20000"/>
                  <a:gd name="T42" fmla="*/ 4559 w 20000"/>
                  <a:gd name="T43" fmla="*/ 17128 h 20000"/>
                  <a:gd name="T44" fmla="*/ 3971 w 20000"/>
                  <a:gd name="T45" fmla="*/ 16993 h 20000"/>
                  <a:gd name="T46" fmla="*/ 2463 w 20000"/>
                  <a:gd name="T47" fmla="*/ 17128 h 20000"/>
                  <a:gd name="T48" fmla="*/ 1324 w 20000"/>
                  <a:gd name="T49" fmla="*/ 17128 h 20000"/>
                  <a:gd name="T50" fmla="*/ 515 w 20000"/>
                  <a:gd name="T51" fmla="*/ 17669 h 20000"/>
                  <a:gd name="T52" fmla="*/ 956 w 20000"/>
                  <a:gd name="T53" fmla="*/ 16622 h 20000"/>
                  <a:gd name="T54" fmla="*/ 1507 w 20000"/>
                  <a:gd name="T55" fmla="*/ 15203 h 20000"/>
                  <a:gd name="T56" fmla="*/ 1324 w 20000"/>
                  <a:gd name="T57" fmla="*/ 13480 h 20000"/>
                  <a:gd name="T58" fmla="*/ 515 w 20000"/>
                  <a:gd name="T59" fmla="*/ 12601 h 20000"/>
                  <a:gd name="T60" fmla="*/ 1324 w 20000"/>
                  <a:gd name="T61" fmla="*/ 12601 h 20000"/>
                  <a:gd name="T62" fmla="*/ 1324 w 20000"/>
                  <a:gd name="T63" fmla="*/ 11723 h 20000"/>
                  <a:gd name="T64" fmla="*/ 956 w 20000"/>
                  <a:gd name="T65" fmla="*/ 10709 h 20000"/>
                  <a:gd name="T66" fmla="*/ 515 w 20000"/>
                  <a:gd name="T67" fmla="*/ 11047 h 20000"/>
                  <a:gd name="T68" fmla="*/ 368 w 20000"/>
                  <a:gd name="T69" fmla="*/ 10169 h 20000"/>
                  <a:gd name="T70" fmla="*/ 0 w 20000"/>
                  <a:gd name="T71" fmla="*/ 10169 h 20000"/>
                  <a:gd name="T72" fmla="*/ 368 w 20000"/>
                  <a:gd name="T73" fmla="*/ 9628 h 20000"/>
                  <a:gd name="T74" fmla="*/ 6434 w 20000"/>
                  <a:gd name="T75" fmla="*/ 9628 h 20000"/>
                  <a:gd name="T76" fmla="*/ 6434 w 20000"/>
                  <a:gd name="T77" fmla="*/ 7534 h 20000"/>
                  <a:gd name="T78" fmla="*/ 6434 w 20000"/>
                  <a:gd name="T79" fmla="*/ 6993 h 20000"/>
                  <a:gd name="T80" fmla="*/ 6838 w 20000"/>
                  <a:gd name="T81" fmla="*/ 6655 h 20000"/>
                  <a:gd name="T82" fmla="*/ 8346 w 20000"/>
                  <a:gd name="T83" fmla="*/ 6149 h 20000"/>
                  <a:gd name="T84" fmla="*/ 8346 w 20000"/>
                  <a:gd name="T85" fmla="*/ 2432 h 20000"/>
                  <a:gd name="T86" fmla="*/ 13897 w 20000"/>
                  <a:gd name="T87" fmla="*/ 2297 h 20000"/>
                  <a:gd name="T88" fmla="*/ 13897 w 20000"/>
                  <a:gd name="T8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13897" y="0"/>
                    </a:moveTo>
                    <a:lnTo>
                      <a:pt x="19963" y="3885"/>
                    </a:lnTo>
                    <a:lnTo>
                      <a:pt x="17279" y="3885"/>
                    </a:lnTo>
                    <a:lnTo>
                      <a:pt x="18456" y="17128"/>
                    </a:lnTo>
                    <a:lnTo>
                      <a:pt x="19007" y="17669"/>
                    </a:lnTo>
                    <a:lnTo>
                      <a:pt x="18456" y="18919"/>
                    </a:lnTo>
                    <a:lnTo>
                      <a:pt x="12537" y="18919"/>
                    </a:lnTo>
                    <a:lnTo>
                      <a:pt x="12390" y="18581"/>
                    </a:lnTo>
                    <a:lnTo>
                      <a:pt x="11985" y="18919"/>
                    </a:lnTo>
                    <a:lnTo>
                      <a:pt x="10074" y="18581"/>
                    </a:lnTo>
                    <a:lnTo>
                      <a:pt x="9890" y="19054"/>
                    </a:lnTo>
                    <a:lnTo>
                      <a:pt x="8934" y="18378"/>
                    </a:lnTo>
                    <a:lnTo>
                      <a:pt x="8346" y="19054"/>
                    </a:lnTo>
                    <a:lnTo>
                      <a:pt x="8346" y="19764"/>
                    </a:lnTo>
                    <a:lnTo>
                      <a:pt x="7978" y="19966"/>
                    </a:lnTo>
                    <a:lnTo>
                      <a:pt x="7022" y="19764"/>
                    </a:lnTo>
                    <a:lnTo>
                      <a:pt x="6838" y="19426"/>
                    </a:lnTo>
                    <a:lnTo>
                      <a:pt x="6434" y="18919"/>
                    </a:lnTo>
                    <a:lnTo>
                      <a:pt x="6066" y="18919"/>
                    </a:lnTo>
                    <a:lnTo>
                      <a:pt x="5919" y="18041"/>
                    </a:lnTo>
                    <a:lnTo>
                      <a:pt x="5331" y="18041"/>
                    </a:lnTo>
                    <a:lnTo>
                      <a:pt x="4559" y="17128"/>
                    </a:lnTo>
                    <a:lnTo>
                      <a:pt x="3971" y="16993"/>
                    </a:lnTo>
                    <a:lnTo>
                      <a:pt x="2463" y="17128"/>
                    </a:lnTo>
                    <a:lnTo>
                      <a:pt x="1324" y="17128"/>
                    </a:lnTo>
                    <a:lnTo>
                      <a:pt x="515" y="17669"/>
                    </a:lnTo>
                    <a:lnTo>
                      <a:pt x="956" y="16622"/>
                    </a:lnTo>
                    <a:lnTo>
                      <a:pt x="1507" y="15203"/>
                    </a:lnTo>
                    <a:lnTo>
                      <a:pt x="1324" y="13480"/>
                    </a:lnTo>
                    <a:lnTo>
                      <a:pt x="515" y="12601"/>
                    </a:lnTo>
                    <a:lnTo>
                      <a:pt x="1324" y="12601"/>
                    </a:lnTo>
                    <a:lnTo>
                      <a:pt x="1324" y="11723"/>
                    </a:lnTo>
                    <a:lnTo>
                      <a:pt x="956" y="10709"/>
                    </a:lnTo>
                    <a:lnTo>
                      <a:pt x="515" y="11047"/>
                    </a:lnTo>
                    <a:lnTo>
                      <a:pt x="368" y="10169"/>
                    </a:lnTo>
                    <a:lnTo>
                      <a:pt x="0" y="10169"/>
                    </a:lnTo>
                    <a:lnTo>
                      <a:pt x="368" y="9628"/>
                    </a:lnTo>
                    <a:lnTo>
                      <a:pt x="6434" y="9628"/>
                    </a:lnTo>
                    <a:lnTo>
                      <a:pt x="6434" y="7534"/>
                    </a:lnTo>
                    <a:lnTo>
                      <a:pt x="6434" y="6993"/>
                    </a:lnTo>
                    <a:lnTo>
                      <a:pt x="6838" y="6655"/>
                    </a:lnTo>
                    <a:lnTo>
                      <a:pt x="8346" y="6149"/>
                    </a:lnTo>
                    <a:lnTo>
                      <a:pt x="8346" y="2432"/>
                    </a:lnTo>
                    <a:lnTo>
                      <a:pt x="13897" y="2297"/>
                    </a:lnTo>
                    <a:lnTo>
                      <a:pt x="13897"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4" name="Freeform 115"/>
              <p:cNvSpPr>
                <a:spLocks/>
              </p:cNvSpPr>
              <p:nvPr/>
            </p:nvSpPr>
            <p:spPr bwMode="auto">
              <a:xfrm>
                <a:off x="6594475" y="5035550"/>
                <a:ext cx="11113" cy="23813"/>
              </a:xfrm>
              <a:custGeom>
                <a:avLst/>
                <a:gdLst>
                  <a:gd name="T0" fmla="*/ 7059 w 20000"/>
                  <a:gd name="T1" fmla="*/ 19459 h 20000"/>
                  <a:gd name="T2" fmla="*/ 0 w 20000"/>
                  <a:gd name="T3" fmla="*/ 14054 h 20000"/>
                  <a:gd name="T4" fmla="*/ 0 w 20000"/>
                  <a:gd name="T5" fmla="*/ 10811 h 20000"/>
                  <a:gd name="T6" fmla="*/ 7059 w 20000"/>
                  <a:gd name="T7" fmla="*/ 0 h 20000"/>
                  <a:gd name="T8" fmla="*/ 18824 w 20000"/>
                  <a:gd name="T9" fmla="*/ 10811 h 20000"/>
                  <a:gd name="T10" fmla="*/ 7059 w 20000"/>
                  <a:gd name="T11" fmla="*/ 19459 h 20000"/>
                </a:gdLst>
                <a:ahLst/>
                <a:cxnLst>
                  <a:cxn ang="0">
                    <a:pos x="T0" y="T1"/>
                  </a:cxn>
                  <a:cxn ang="0">
                    <a:pos x="T2" y="T3"/>
                  </a:cxn>
                  <a:cxn ang="0">
                    <a:pos x="T4" y="T5"/>
                  </a:cxn>
                  <a:cxn ang="0">
                    <a:pos x="T6" y="T7"/>
                  </a:cxn>
                  <a:cxn ang="0">
                    <a:pos x="T8" y="T9"/>
                  </a:cxn>
                  <a:cxn ang="0">
                    <a:pos x="T10" y="T11"/>
                  </a:cxn>
                </a:cxnLst>
                <a:rect l="0" t="0" r="r" b="b"/>
                <a:pathLst>
                  <a:path w="20000" h="20000">
                    <a:moveTo>
                      <a:pt x="7059" y="19459"/>
                    </a:moveTo>
                    <a:lnTo>
                      <a:pt x="0" y="14054"/>
                    </a:lnTo>
                    <a:lnTo>
                      <a:pt x="0" y="10811"/>
                    </a:lnTo>
                    <a:lnTo>
                      <a:pt x="7059" y="0"/>
                    </a:lnTo>
                    <a:lnTo>
                      <a:pt x="18824" y="10811"/>
                    </a:lnTo>
                    <a:lnTo>
                      <a:pt x="7059" y="194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5" name="Freeform 114"/>
              <p:cNvSpPr>
                <a:spLocks/>
              </p:cNvSpPr>
              <p:nvPr/>
            </p:nvSpPr>
            <p:spPr bwMode="auto">
              <a:xfrm>
                <a:off x="5830888" y="4756150"/>
                <a:ext cx="306387" cy="484188"/>
              </a:xfrm>
              <a:custGeom>
                <a:avLst/>
                <a:gdLst>
                  <a:gd name="T0" fmla="*/ 10062 w 20000"/>
                  <a:gd name="T1" fmla="*/ 1076 h 20000"/>
                  <a:gd name="T2" fmla="*/ 11180 w 20000"/>
                  <a:gd name="T3" fmla="*/ 1076 h 20000"/>
                  <a:gd name="T4" fmla="*/ 12671 w 20000"/>
                  <a:gd name="T5" fmla="*/ 1234 h 20000"/>
                  <a:gd name="T6" fmla="*/ 13954 w 20000"/>
                  <a:gd name="T7" fmla="*/ 1234 h 20000"/>
                  <a:gd name="T8" fmla="*/ 15031 w 20000"/>
                  <a:gd name="T9" fmla="*/ 814 h 20000"/>
                  <a:gd name="T10" fmla="*/ 15652 w 20000"/>
                  <a:gd name="T11" fmla="*/ 1076 h 20000"/>
                  <a:gd name="T12" fmla="*/ 17184 w 20000"/>
                  <a:gd name="T13" fmla="*/ 682 h 20000"/>
                  <a:gd name="T14" fmla="*/ 19130 w 20000"/>
                  <a:gd name="T15" fmla="*/ 0 h 20000"/>
                  <a:gd name="T16" fmla="*/ 19130 w 20000"/>
                  <a:gd name="T17" fmla="*/ 1076 h 20000"/>
                  <a:gd name="T18" fmla="*/ 19130 w 20000"/>
                  <a:gd name="T19" fmla="*/ 2310 h 20000"/>
                  <a:gd name="T20" fmla="*/ 19130 w 20000"/>
                  <a:gd name="T21" fmla="*/ 2992 h 20000"/>
                  <a:gd name="T22" fmla="*/ 19545 w 20000"/>
                  <a:gd name="T23" fmla="*/ 4619 h 20000"/>
                  <a:gd name="T24" fmla="*/ 19545 w 20000"/>
                  <a:gd name="T25" fmla="*/ 5171 h 20000"/>
                  <a:gd name="T26" fmla="*/ 19545 w 20000"/>
                  <a:gd name="T27" fmla="*/ 5696 h 20000"/>
                  <a:gd name="T28" fmla="*/ 18012 w 20000"/>
                  <a:gd name="T29" fmla="*/ 6772 h 20000"/>
                  <a:gd name="T30" fmla="*/ 17350 w 20000"/>
                  <a:gd name="T31" fmla="*/ 7192 h 20000"/>
                  <a:gd name="T32" fmla="*/ 16108 w 20000"/>
                  <a:gd name="T33" fmla="*/ 7874 h 20000"/>
                  <a:gd name="T34" fmla="*/ 12671 w 20000"/>
                  <a:gd name="T35" fmla="*/ 8688 h 20000"/>
                  <a:gd name="T36" fmla="*/ 12257 w 20000"/>
                  <a:gd name="T37" fmla="*/ 9239 h 20000"/>
                  <a:gd name="T38" fmla="*/ 10062 w 20000"/>
                  <a:gd name="T39" fmla="*/ 10315 h 20000"/>
                  <a:gd name="T40" fmla="*/ 8157 w 20000"/>
                  <a:gd name="T41" fmla="*/ 11811 h 20000"/>
                  <a:gd name="T42" fmla="*/ 8820 w 20000"/>
                  <a:gd name="T43" fmla="*/ 13307 h 20000"/>
                  <a:gd name="T44" fmla="*/ 9027 w 20000"/>
                  <a:gd name="T45" fmla="*/ 13990 h 20000"/>
                  <a:gd name="T46" fmla="*/ 9482 w 20000"/>
                  <a:gd name="T47" fmla="*/ 15092 h 20000"/>
                  <a:gd name="T48" fmla="*/ 8820 w 20000"/>
                  <a:gd name="T49" fmla="*/ 16430 h 20000"/>
                  <a:gd name="T50" fmla="*/ 9482 w 20000"/>
                  <a:gd name="T51" fmla="*/ 16588 h 20000"/>
                  <a:gd name="T52" fmla="*/ 5590 w 20000"/>
                  <a:gd name="T53" fmla="*/ 17769 h 20000"/>
                  <a:gd name="T54" fmla="*/ 4306 w 20000"/>
                  <a:gd name="T55" fmla="*/ 18346 h 20000"/>
                  <a:gd name="T56" fmla="*/ 3892 w 20000"/>
                  <a:gd name="T57" fmla="*/ 19003 h 20000"/>
                  <a:gd name="T58" fmla="*/ 4306 w 20000"/>
                  <a:gd name="T59" fmla="*/ 19003 h 20000"/>
                  <a:gd name="T60" fmla="*/ 3644 w 20000"/>
                  <a:gd name="T61" fmla="*/ 19974 h 20000"/>
                  <a:gd name="T62" fmla="*/ 3230 w 20000"/>
                  <a:gd name="T63" fmla="*/ 19003 h 20000"/>
                  <a:gd name="T64" fmla="*/ 2816 w 20000"/>
                  <a:gd name="T65" fmla="*/ 18346 h 20000"/>
                  <a:gd name="T66" fmla="*/ 2816 w 20000"/>
                  <a:gd name="T67" fmla="*/ 16588 h 20000"/>
                  <a:gd name="T68" fmla="*/ 2567 w 20000"/>
                  <a:gd name="T69" fmla="*/ 15092 h 20000"/>
                  <a:gd name="T70" fmla="*/ 1946 w 20000"/>
                  <a:gd name="T71" fmla="*/ 14278 h 20000"/>
                  <a:gd name="T72" fmla="*/ 4306 w 20000"/>
                  <a:gd name="T73" fmla="*/ 12625 h 20000"/>
                  <a:gd name="T74" fmla="*/ 4513 w 20000"/>
                  <a:gd name="T75" fmla="*/ 11811 h 20000"/>
                  <a:gd name="T76" fmla="*/ 4928 w 20000"/>
                  <a:gd name="T77" fmla="*/ 10735 h 20000"/>
                  <a:gd name="T78" fmla="*/ 4928 w 20000"/>
                  <a:gd name="T79" fmla="*/ 9764 h 20000"/>
                  <a:gd name="T80" fmla="*/ 4928 w 20000"/>
                  <a:gd name="T81" fmla="*/ 9659 h 20000"/>
                  <a:gd name="T82" fmla="*/ 5342 w 20000"/>
                  <a:gd name="T83" fmla="*/ 9239 h 20000"/>
                  <a:gd name="T84" fmla="*/ 5342 w 20000"/>
                  <a:gd name="T85" fmla="*/ 7874 h 20000"/>
                  <a:gd name="T86" fmla="*/ 4928 w 20000"/>
                  <a:gd name="T87" fmla="*/ 6929 h 20000"/>
                  <a:gd name="T88" fmla="*/ 3230 w 20000"/>
                  <a:gd name="T89" fmla="*/ 6772 h 20000"/>
                  <a:gd name="T90" fmla="*/ 2153 w 20000"/>
                  <a:gd name="T91" fmla="*/ 6378 h 20000"/>
                  <a:gd name="T92" fmla="*/ 414 w 20000"/>
                  <a:gd name="T93" fmla="*/ 6115 h 20000"/>
                  <a:gd name="T94" fmla="*/ 0 w 20000"/>
                  <a:gd name="T95" fmla="*/ 5171 h 20000"/>
                  <a:gd name="T96" fmla="*/ 6004 w 20000"/>
                  <a:gd name="T97" fmla="*/ 3937 h 20000"/>
                  <a:gd name="T98" fmla="*/ 7702 w 20000"/>
                  <a:gd name="T99" fmla="*/ 4619 h 20000"/>
                  <a:gd name="T100" fmla="*/ 8364 w 20000"/>
                  <a:gd name="T101" fmla="*/ 5696 h 20000"/>
                  <a:gd name="T102" fmla="*/ 8364 w 20000"/>
                  <a:gd name="T103" fmla="*/ 6772 h 20000"/>
                  <a:gd name="T104" fmla="*/ 9482 w 20000"/>
                  <a:gd name="T105" fmla="*/ 7874 h 20000"/>
                  <a:gd name="T106" fmla="*/ 9896 w 20000"/>
                  <a:gd name="T107" fmla="*/ 6772 h 20000"/>
                  <a:gd name="T108" fmla="*/ 10518 w 20000"/>
                  <a:gd name="T109" fmla="*/ 6509 h 20000"/>
                  <a:gd name="T110" fmla="*/ 11180 w 20000"/>
                  <a:gd name="T111" fmla="*/ 5039 h 20000"/>
                  <a:gd name="T112" fmla="*/ 9896 w 20000"/>
                  <a:gd name="T113" fmla="*/ 3937 h 20000"/>
                  <a:gd name="T114" fmla="*/ 8364 w 20000"/>
                  <a:gd name="T115" fmla="*/ 3543 h 20000"/>
                  <a:gd name="T116" fmla="*/ 8820 w 20000"/>
                  <a:gd name="T117" fmla="*/ 123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00" h="20000">
                    <a:moveTo>
                      <a:pt x="8820" y="1234"/>
                    </a:moveTo>
                    <a:lnTo>
                      <a:pt x="10062" y="1076"/>
                    </a:lnTo>
                    <a:lnTo>
                      <a:pt x="10518" y="1234"/>
                    </a:lnTo>
                    <a:lnTo>
                      <a:pt x="11180" y="1076"/>
                    </a:lnTo>
                    <a:lnTo>
                      <a:pt x="11843" y="1234"/>
                    </a:lnTo>
                    <a:lnTo>
                      <a:pt x="12671" y="1234"/>
                    </a:lnTo>
                    <a:lnTo>
                      <a:pt x="12878" y="1234"/>
                    </a:lnTo>
                    <a:lnTo>
                      <a:pt x="13954" y="1234"/>
                    </a:lnTo>
                    <a:lnTo>
                      <a:pt x="14576" y="1076"/>
                    </a:lnTo>
                    <a:lnTo>
                      <a:pt x="15031" y="814"/>
                    </a:lnTo>
                    <a:lnTo>
                      <a:pt x="15652" y="814"/>
                    </a:lnTo>
                    <a:lnTo>
                      <a:pt x="15652" y="1076"/>
                    </a:lnTo>
                    <a:lnTo>
                      <a:pt x="16315" y="814"/>
                    </a:lnTo>
                    <a:lnTo>
                      <a:pt x="17184" y="682"/>
                    </a:lnTo>
                    <a:lnTo>
                      <a:pt x="18468" y="420"/>
                    </a:lnTo>
                    <a:lnTo>
                      <a:pt x="19130" y="0"/>
                    </a:lnTo>
                    <a:lnTo>
                      <a:pt x="19545" y="420"/>
                    </a:lnTo>
                    <a:lnTo>
                      <a:pt x="19130" y="1076"/>
                    </a:lnTo>
                    <a:lnTo>
                      <a:pt x="19130" y="1785"/>
                    </a:lnTo>
                    <a:lnTo>
                      <a:pt x="19130" y="2310"/>
                    </a:lnTo>
                    <a:lnTo>
                      <a:pt x="19545" y="2861"/>
                    </a:lnTo>
                    <a:lnTo>
                      <a:pt x="19130" y="2992"/>
                    </a:lnTo>
                    <a:lnTo>
                      <a:pt x="19545" y="3543"/>
                    </a:lnTo>
                    <a:lnTo>
                      <a:pt x="19545" y="4619"/>
                    </a:lnTo>
                    <a:lnTo>
                      <a:pt x="19959" y="4777"/>
                    </a:lnTo>
                    <a:lnTo>
                      <a:pt x="19545" y="5171"/>
                    </a:lnTo>
                    <a:lnTo>
                      <a:pt x="19130" y="5433"/>
                    </a:lnTo>
                    <a:lnTo>
                      <a:pt x="19545" y="5696"/>
                    </a:lnTo>
                    <a:lnTo>
                      <a:pt x="18882" y="6115"/>
                    </a:lnTo>
                    <a:lnTo>
                      <a:pt x="18012" y="6772"/>
                    </a:lnTo>
                    <a:lnTo>
                      <a:pt x="17847" y="6929"/>
                    </a:lnTo>
                    <a:lnTo>
                      <a:pt x="17350" y="7192"/>
                    </a:lnTo>
                    <a:lnTo>
                      <a:pt x="16315" y="7480"/>
                    </a:lnTo>
                    <a:lnTo>
                      <a:pt x="16108" y="7874"/>
                    </a:lnTo>
                    <a:lnTo>
                      <a:pt x="13954" y="8268"/>
                    </a:lnTo>
                    <a:lnTo>
                      <a:pt x="12671" y="8688"/>
                    </a:lnTo>
                    <a:lnTo>
                      <a:pt x="12257" y="8976"/>
                    </a:lnTo>
                    <a:lnTo>
                      <a:pt x="12257" y="9239"/>
                    </a:lnTo>
                    <a:lnTo>
                      <a:pt x="11180" y="9764"/>
                    </a:lnTo>
                    <a:lnTo>
                      <a:pt x="10062" y="10315"/>
                    </a:lnTo>
                    <a:lnTo>
                      <a:pt x="8364" y="11391"/>
                    </a:lnTo>
                    <a:lnTo>
                      <a:pt x="8157" y="11811"/>
                    </a:lnTo>
                    <a:lnTo>
                      <a:pt x="8364" y="12493"/>
                    </a:lnTo>
                    <a:lnTo>
                      <a:pt x="8820" y="13307"/>
                    </a:lnTo>
                    <a:lnTo>
                      <a:pt x="9027" y="14278"/>
                    </a:lnTo>
                    <a:lnTo>
                      <a:pt x="9027" y="13990"/>
                    </a:lnTo>
                    <a:lnTo>
                      <a:pt x="9482" y="14278"/>
                    </a:lnTo>
                    <a:lnTo>
                      <a:pt x="9482" y="15092"/>
                    </a:lnTo>
                    <a:lnTo>
                      <a:pt x="9027" y="15459"/>
                    </a:lnTo>
                    <a:lnTo>
                      <a:pt x="8820" y="16430"/>
                    </a:lnTo>
                    <a:lnTo>
                      <a:pt x="9027" y="16168"/>
                    </a:lnTo>
                    <a:lnTo>
                      <a:pt x="9482" y="16588"/>
                    </a:lnTo>
                    <a:lnTo>
                      <a:pt x="8364" y="17113"/>
                    </a:lnTo>
                    <a:lnTo>
                      <a:pt x="5590" y="17769"/>
                    </a:lnTo>
                    <a:lnTo>
                      <a:pt x="4928" y="17927"/>
                    </a:lnTo>
                    <a:lnTo>
                      <a:pt x="4306" y="18346"/>
                    </a:lnTo>
                    <a:lnTo>
                      <a:pt x="3644" y="18609"/>
                    </a:lnTo>
                    <a:lnTo>
                      <a:pt x="3892" y="19003"/>
                    </a:lnTo>
                    <a:lnTo>
                      <a:pt x="4306" y="18871"/>
                    </a:lnTo>
                    <a:lnTo>
                      <a:pt x="4306" y="19003"/>
                    </a:lnTo>
                    <a:lnTo>
                      <a:pt x="4306" y="19974"/>
                    </a:lnTo>
                    <a:lnTo>
                      <a:pt x="3644" y="19974"/>
                    </a:lnTo>
                    <a:lnTo>
                      <a:pt x="2816" y="19685"/>
                    </a:lnTo>
                    <a:lnTo>
                      <a:pt x="3230" y="19003"/>
                    </a:lnTo>
                    <a:lnTo>
                      <a:pt x="2816" y="18609"/>
                    </a:lnTo>
                    <a:lnTo>
                      <a:pt x="2816" y="18346"/>
                    </a:lnTo>
                    <a:lnTo>
                      <a:pt x="2816" y="17507"/>
                    </a:lnTo>
                    <a:lnTo>
                      <a:pt x="2816" y="16588"/>
                    </a:lnTo>
                    <a:lnTo>
                      <a:pt x="2153" y="15459"/>
                    </a:lnTo>
                    <a:lnTo>
                      <a:pt x="2567" y="15092"/>
                    </a:lnTo>
                    <a:lnTo>
                      <a:pt x="2153" y="14934"/>
                    </a:lnTo>
                    <a:lnTo>
                      <a:pt x="1946" y="14278"/>
                    </a:lnTo>
                    <a:lnTo>
                      <a:pt x="3892" y="13176"/>
                    </a:lnTo>
                    <a:lnTo>
                      <a:pt x="4306" y="12625"/>
                    </a:lnTo>
                    <a:lnTo>
                      <a:pt x="4306" y="12231"/>
                    </a:lnTo>
                    <a:lnTo>
                      <a:pt x="4513" y="11811"/>
                    </a:lnTo>
                    <a:lnTo>
                      <a:pt x="5342" y="11129"/>
                    </a:lnTo>
                    <a:lnTo>
                      <a:pt x="4928" y="10735"/>
                    </a:lnTo>
                    <a:lnTo>
                      <a:pt x="4928" y="10315"/>
                    </a:lnTo>
                    <a:lnTo>
                      <a:pt x="4928" y="9764"/>
                    </a:lnTo>
                    <a:lnTo>
                      <a:pt x="5342" y="9764"/>
                    </a:lnTo>
                    <a:lnTo>
                      <a:pt x="4928" y="9659"/>
                    </a:lnTo>
                    <a:lnTo>
                      <a:pt x="5342" y="9396"/>
                    </a:lnTo>
                    <a:lnTo>
                      <a:pt x="5342" y="9239"/>
                    </a:lnTo>
                    <a:lnTo>
                      <a:pt x="5342" y="8556"/>
                    </a:lnTo>
                    <a:lnTo>
                      <a:pt x="5342" y="7874"/>
                    </a:lnTo>
                    <a:lnTo>
                      <a:pt x="4928" y="7192"/>
                    </a:lnTo>
                    <a:lnTo>
                      <a:pt x="4928" y="6929"/>
                    </a:lnTo>
                    <a:lnTo>
                      <a:pt x="3644" y="6929"/>
                    </a:lnTo>
                    <a:lnTo>
                      <a:pt x="3230" y="6772"/>
                    </a:lnTo>
                    <a:lnTo>
                      <a:pt x="2567" y="6509"/>
                    </a:lnTo>
                    <a:lnTo>
                      <a:pt x="2153" y="6378"/>
                    </a:lnTo>
                    <a:lnTo>
                      <a:pt x="870" y="6509"/>
                    </a:lnTo>
                    <a:lnTo>
                      <a:pt x="414" y="6115"/>
                    </a:lnTo>
                    <a:lnTo>
                      <a:pt x="414" y="5696"/>
                    </a:lnTo>
                    <a:lnTo>
                      <a:pt x="0" y="5171"/>
                    </a:lnTo>
                    <a:lnTo>
                      <a:pt x="5590" y="4068"/>
                    </a:lnTo>
                    <a:lnTo>
                      <a:pt x="6004" y="3937"/>
                    </a:lnTo>
                    <a:lnTo>
                      <a:pt x="6667" y="4777"/>
                    </a:lnTo>
                    <a:lnTo>
                      <a:pt x="7702" y="4619"/>
                    </a:lnTo>
                    <a:lnTo>
                      <a:pt x="8364" y="4777"/>
                    </a:lnTo>
                    <a:lnTo>
                      <a:pt x="8364" y="5696"/>
                    </a:lnTo>
                    <a:lnTo>
                      <a:pt x="8157" y="6378"/>
                    </a:lnTo>
                    <a:lnTo>
                      <a:pt x="8364" y="6772"/>
                    </a:lnTo>
                    <a:lnTo>
                      <a:pt x="9027" y="7480"/>
                    </a:lnTo>
                    <a:lnTo>
                      <a:pt x="9482" y="7874"/>
                    </a:lnTo>
                    <a:lnTo>
                      <a:pt x="9896" y="7480"/>
                    </a:lnTo>
                    <a:lnTo>
                      <a:pt x="9896" y="6772"/>
                    </a:lnTo>
                    <a:lnTo>
                      <a:pt x="10062" y="6772"/>
                    </a:lnTo>
                    <a:lnTo>
                      <a:pt x="10518" y="6509"/>
                    </a:lnTo>
                    <a:lnTo>
                      <a:pt x="10932" y="5696"/>
                    </a:lnTo>
                    <a:lnTo>
                      <a:pt x="11180" y="5039"/>
                    </a:lnTo>
                    <a:lnTo>
                      <a:pt x="10518" y="4777"/>
                    </a:lnTo>
                    <a:lnTo>
                      <a:pt x="9896" y="3937"/>
                    </a:lnTo>
                    <a:lnTo>
                      <a:pt x="9027" y="3543"/>
                    </a:lnTo>
                    <a:lnTo>
                      <a:pt x="8364" y="3543"/>
                    </a:lnTo>
                    <a:lnTo>
                      <a:pt x="8364" y="1890"/>
                    </a:lnTo>
                    <a:lnTo>
                      <a:pt x="8820" y="123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6" name="Freeform 113"/>
              <p:cNvSpPr>
                <a:spLocks/>
              </p:cNvSpPr>
              <p:nvPr/>
            </p:nvSpPr>
            <p:spPr bwMode="auto">
              <a:xfrm>
                <a:off x="5318125" y="4937125"/>
                <a:ext cx="376238" cy="358775"/>
              </a:xfrm>
              <a:custGeom>
                <a:avLst/>
                <a:gdLst>
                  <a:gd name="T0" fmla="*/ 17162 w 20000"/>
                  <a:gd name="T1" fmla="*/ 1062 h 20000"/>
                  <a:gd name="T2" fmla="*/ 18378 w 20000"/>
                  <a:gd name="T3" fmla="*/ 708 h 20000"/>
                  <a:gd name="T4" fmla="*/ 18581 w 20000"/>
                  <a:gd name="T5" fmla="*/ 708 h 20000"/>
                  <a:gd name="T6" fmla="*/ 19426 w 20000"/>
                  <a:gd name="T7" fmla="*/ 1062 h 20000"/>
                  <a:gd name="T8" fmla="*/ 19966 w 20000"/>
                  <a:gd name="T9" fmla="*/ 1451 h 20000"/>
                  <a:gd name="T10" fmla="*/ 19426 w 20000"/>
                  <a:gd name="T11" fmla="*/ 1451 h 20000"/>
                  <a:gd name="T12" fmla="*/ 18919 w 20000"/>
                  <a:gd name="T13" fmla="*/ 1628 h 20000"/>
                  <a:gd name="T14" fmla="*/ 18581 w 20000"/>
                  <a:gd name="T15" fmla="*/ 1628 h 20000"/>
                  <a:gd name="T16" fmla="*/ 17500 w 20000"/>
                  <a:gd name="T17" fmla="*/ 2372 h 20000"/>
                  <a:gd name="T18" fmla="*/ 16993 w 20000"/>
                  <a:gd name="T19" fmla="*/ 1628 h 20000"/>
                  <a:gd name="T20" fmla="*/ 15777 w 20000"/>
                  <a:gd name="T21" fmla="*/ 2018 h 20000"/>
                  <a:gd name="T22" fmla="*/ 13818 w 20000"/>
                  <a:gd name="T23" fmla="*/ 2372 h 20000"/>
                  <a:gd name="T24" fmla="*/ 13480 w 20000"/>
                  <a:gd name="T25" fmla="*/ 8212 h 20000"/>
                  <a:gd name="T26" fmla="*/ 12095 w 20000"/>
                  <a:gd name="T27" fmla="*/ 8212 h 20000"/>
                  <a:gd name="T28" fmla="*/ 11892 w 20000"/>
                  <a:gd name="T29" fmla="*/ 12991 h 20000"/>
                  <a:gd name="T30" fmla="*/ 11554 w 20000"/>
                  <a:gd name="T31" fmla="*/ 19221 h 20000"/>
                  <a:gd name="T32" fmla="*/ 11047 w 20000"/>
                  <a:gd name="T33" fmla="*/ 19221 h 20000"/>
                  <a:gd name="T34" fmla="*/ 10304 w 20000"/>
                  <a:gd name="T35" fmla="*/ 19752 h 20000"/>
                  <a:gd name="T36" fmla="*/ 10169 w 20000"/>
                  <a:gd name="T37" fmla="*/ 19965 h 20000"/>
                  <a:gd name="T38" fmla="*/ 9628 w 20000"/>
                  <a:gd name="T39" fmla="*/ 19752 h 20000"/>
                  <a:gd name="T40" fmla="*/ 8919 w 20000"/>
                  <a:gd name="T41" fmla="*/ 19752 h 20000"/>
                  <a:gd name="T42" fmla="*/ 8412 w 20000"/>
                  <a:gd name="T43" fmla="*/ 19752 h 20000"/>
                  <a:gd name="T44" fmla="*/ 7534 w 20000"/>
                  <a:gd name="T45" fmla="*/ 19398 h 20000"/>
                  <a:gd name="T46" fmla="*/ 7534 w 20000"/>
                  <a:gd name="T47" fmla="*/ 18478 h 20000"/>
                  <a:gd name="T48" fmla="*/ 7399 w 20000"/>
                  <a:gd name="T49" fmla="*/ 18478 h 20000"/>
                  <a:gd name="T50" fmla="*/ 6993 w 20000"/>
                  <a:gd name="T51" fmla="*/ 18478 h 20000"/>
                  <a:gd name="T52" fmla="*/ 6655 w 20000"/>
                  <a:gd name="T53" fmla="*/ 19221 h 20000"/>
                  <a:gd name="T54" fmla="*/ 6486 w 20000"/>
                  <a:gd name="T55" fmla="*/ 19398 h 20000"/>
                  <a:gd name="T56" fmla="*/ 5270 w 20000"/>
                  <a:gd name="T57" fmla="*/ 18301 h 20000"/>
                  <a:gd name="T58" fmla="*/ 4730 w 20000"/>
                  <a:gd name="T59" fmla="*/ 16850 h 20000"/>
                  <a:gd name="T60" fmla="*/ 4730 w 20000"/>
                  <a:gd name="T61" fmla="*/ 16106 h 20000"/>
                  <a:gd name="T62" fmla="*/ 4561 w 20000"/>
                  <a:gd name="T63" fmla="*/ 15540 h 20000"/>
                  <a:gd name="T64" fmla="*/ 4223 w 20000"/>
                  <a:gd name="T65" fmla="*/ 13522 h 20000"/>
                  <a:gd name="T66" fmla="*/ 3885 w 20000"/>
                  <a:gd name="T67" fmla="*/ 12637 h 20000"/>
                  <a:gd name="T68" fmla="*/ 3682 w 20000"/>
                  <a:gd name="T69" fmla="*/ 11150 h 20000"/>
                  <a:gd name="T70" fmla="*/ 3682 w 20000"/>
                  <a:gd name="T71" fmla="*/ 10053 h 20000"/>
                  <a:gd name="T72" fmla="*/ 3682 w 20000"/>
                  <a:gd name="T73" fmla="*/ 9168 h 20000"/>
                  <a:gd name="T74" fmla="*/ 2973 w 20000"/>
                  <a:gd name="T75" fmla="*/ 8212 h 20000"/>
                  <a:gd name="T76" fmla="*/ 1959 w 20000"/>
                  <a:gd name="T77" fmla="*/ 5487 h 20000"/>
                  <a:gd name="T78" fmla="*/ 912 w 20000"/>
                  <a:gd name="T79" fmla="*/ 3469 h 20000"/>
                  <a:gd name="T80" fmla="*/ 541 w 20000"/>
                  <a:gd name="T81" fmla="*/ 2549 h 20000"/>
                  <a:gd name="T82" fmla="*/ 0 w 20000"/>
                  <a:gd name="T83" fmla="*/ 1451 h 20000"/>
                  <a:gd name="T84" fmla="*/ 0 w 20000"/>
                  <a:gd name="T85" fmla="*/ 496 h 20000"/>
                  <a:gd name="T86" fmla="*/ 203 w 20000"/>
                  <a:gd name="T87" fmla="*/ 496 h 20000"/>
                  <a:gd name="T88" fmla="*/ 912 w 20000"/>
                  <a:gd name="T89" fmla="*/ 496 h 20000"/>
                  <a:gd name="T90" fmla="*/ 1047 w 20000"/>
                  <a:gd name="T91" fmla="*/ 496 h 20000"/>
                  <a:gd name="T92" fmla="*/ 1959 w 20000"/>
                  <a:gd name="T93" fmla="*/ 0 h 20000"/>
                  <a:gd name="T94" fmla="*/ 2432 w 20000"/>
                  <a:gd name="T95" fmla="*/ 142 h 20000"/>
                  <a:gd name="T96" fmla="*/ 3345 w 20000"/>
                  <a:gd name="T97" fmla="*/ 708 h 20000"/>
                  <a:gd name="T98" fmla="*/ 3682 w 20000"/>
                  <a:gd name="T99" fmla="*/ 708 h 20000"/>
                  <a:gd name="T100" fmla="*/ 9628 w 20000"/>
                  <a:gd name="T101" fmla="*/ 496 h 20000"/>
                  <a:gd name="T102" fmla="*/ 9831 w 20000"/>
                  <a:gd name="T103" fmla="*/ 1062 h 20000"/>
                  <a:gd name="T104" fmla="*/ 10304 w 20000"/>
                  <a:gd name="T105" fmla="*/ 1451 h 20000"/>
                  <a:gd name="T106" fmla="*/ 12432 w 20000"/>
                  <a:gd name="T107" fmla="*/ 1628 h 20000"/>
                  <a:gd name="T108" fmla="*/ 13311 w 20000"/>
                  <a:gd name="T109" fmla="*/ 1628 h 20000"/>
                  <a:gd name="T110" fmla="*/ 13818 w 20000"/>
                  <a:gd name="T111" fmla="*/ 1628 h 20000"/>
                  <a:gd name="T112" fmla="*/ 14358 w 20000"/>
                  <a:gd name="T113" fmla="*/ 1628 h 20000"/>
                  <a:gd name="T114" fmla="*/ 17162 w 20000"/>
                  <a:gd name="T115" fmla="*/ 106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00" h="20000">
                    <a:moveTo>
                      <a:pt x="17162" y="1062"/>
                    </a:moveTo>
                    <a:lnTo>
                      <a:pt x="18378" y="708"/>
                    </a:lnTo>
                    <a:lnTo>
                      <a:pt x="18581" y="708"/>
                    </a:lnTo>
                    <a:lnTo>
                      <a:pt x="19426" y="1062"/>
                    </a:lnTo>
                    <a:lnTo>
                      <a:pt x="19966" y="1451"/>
                    </a:lnTo>
                    <a:lnTo>
                      <a:pt x="19426" y="1451"/>
                    </a:lnTo>
                    <a:lnTo>
                      <a:pt x="18919" y="1628"/>
                    </a:lnTo>
                    <a:lnTo>
                      <a:pt x="18581" y="1628"/>
                    </a:lnTo>
                    <a:lnTo>
                      <a:pt x="17500" y="2372"/>
                    </a:lnTo>
                    <a:lnTo>
                      <a:pt x="16993" y="1628"/>
                    </a:lnTo>
                    <a:lnTo>
                      <a:pt x="15777" y="2018"/>
                    </a:lnTo>
                    <a:lnTo>
                      <a:pt x="13818" y="2372"/>
                    </a:lnTo>
                    <a:lnTo>
                      <a:pt x="13480" y="8212"/>
                    </a:lnTo>
                    <a:lnTo>
                      <a:pt x="12095" y="8212"/>
                    </a:lnTo>
                    <a:lnTo>
                      <a:pt x="11892" y="12991"/>
                    </a:lnTo>
                    <a:lnTo>
                      <a:pt x="11554" y="19221"/>
                    </a:lnTo>
                    <a:lnTo>
                      <a:pt x="11047" y="19221"/>
                    </a:lnTo>
                    <a:lnTo>
                      <a:pt x="10304" y="19752"/>
                    </a:lnTo>
                    <a:lnTo>
                      <a:pt x="10169" y="19965"/>
                    </a:lnTo>
                    <a:lnTo>
                      <a:pt x="9628" y="19752"/>
                    </a:lnTo>
                    <a:lnTo>
                      <a:pt x="8919" y="19752"/>
                    </a:lnTo>
                    <a:lnTo>
                      <a:pt x="8412" y="19752"/>
                    </a:lnTo>
                    <a:lnTo>
                      <a:pt x="7534" y="19398"/>
                    </a:lnTo>
                    <a:lnTo>
                      <a:pt x="7534" y="18478"/>
                    </a:lnTo>
                    <a:lnTo>
                      <a:pt x="7399" y="18478"/>
                    </a:lnTo>
                    <a:lnTo>
                      <a:pt x="6993" y="18478"/>
                    </a:lnTo>
                    <a:lnTo>
                      <a:pt x="6655" y="19221"/>
                    </a:lnTo>
                    <a:lnTo>
                      <a:pt x="6486" y="19398"/>
                    </a:lnTo>
                    <a:lnTo>
                      <a:pt x="5270" y="18301"/>
                    </a:lnTo>
                    <a:lnTo>
                      <a:pt x="4730" y="16850"/>
                    </a:lnTo>
                    <a:lnTo>
                      <a:pt x="4730" y="16106"/>
                    </a:lnTo>
                    <a:lnTo>
                      <a:pt x="4561" y="15540"/>
                    </a:lnTo>
                    <a:lnTo>
                      <a:pt x="4223" y="13522"/>
                    </a:lnTo>
                    <a:lnTo>
                      <a:pt x="3885" y="12637"/>
                    </a:lnTo>
                    <a:lnTo>
                      <a:pt x="3682" y="11150"/>
                    </a:lnTo>
                    <a:lnTo>
                      <a:pt x="3682" y="10053"/>
                    </a:lnTo>
                    <a:lnTo>
                      <a:pt x="3682" y="9168"/>
                    </a:lnTo>
                    <a:lnTo>
                      <a:pt x="2973" y="8212"/>
                    </a:lnTo>
                    <a:lnTo>
                      <a:pt x="1959" y="5487"/>
                    </a:lnTo>
                    <a:lnTo>
                      <a:pt x="912" y="3469"/>
                    </a:lnTo>
                    <a:lnTo>
                      <a:pt x="541" y="2549"/>
                    </a:lnTo>
                    <a:lnTo>
                      <a:pt x="0" y="1451"/>
                    </a:lnTo>
                    <a:lnTo>
                      <a:pt x="0" y="496"/>
                    </a:lnTo>
                    <a:lnTo>
                      <a:pt x="203" y="496"/>
                    </a:lnTo>
                    <a:lnTo>
                      <a:pt x="912" y="496"/>
                    </a:lnTo>
                    <a:lnTo>
                      <a:pt x="1047" y="496"/>
                    </a:lnTo>
                    <a:lnTo>
                      <a:pt x="1959" y="0"/>
                    </a:lnTo>
                    <a:lnTo>
                      <a:pt x="2432" y="142"/>
                    </a:lnTo>
                    <a:lnTo>
                      <a:pt x="3345" y="708"/>
                    </a:lnTo>
                    <a:lnTo>
                      <a:pt x="3682" y="708"/>
                    </a:lnTo>
                    <a:lnTo>
                      <a:pt x="9628" y="496"/>
                    </a:lnTo>
                    <a:lnTo>
                      <a:pt x="9831" y="1062"/>
                    </a:lnTo>
                    <a:lnTo>
                      <a:pt x="10304" y="1451"/>
                    </a:lnTo>
                    <a:lnTo>
                      <a:pt x="12432" y="1628"/>
                    </a:lnTo>
                    <a:lnTo>
                      <a:pt x="13311" y="1628"/>
                    </a:lnTo>
                    <a:lnTo>
                      <a:pt x="13818" y="1628"/>
                    </a:lnTo>
                    <a:lnTo>
                      <a:pt x="14358" y="1628"/>
                    </a:lnTo>
                    <a:lnTo>
                      <a:pt x="17162" y="106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7" name="Freeform 112"/>
              <p:cNvSpPr>
                <a:spLocks/>
              </p:cNvSpPr>
              <p:nvPr/>
            </p:nvSpPr>
            <p:spPr bwMode="auto">
              <a:xfrm>
                <a:off x="4992688" y="3773488"/>
                <a:ext cx="441325" cy="346075"/>
              </a:xfrm>
              <a:custGeom>
                <a:avLst/>
                <a:gdLst>
                  <a:gd name="T0" fmla="*/ 15201 w 20000"/>
                  <a:gd name="T1" fmla="*/ 0 h 20000"/>
                  <a:gd name="T2" fmla="*/ 16839 w 20000"/>
                  <a:gd name="T3" fmla="*/ 587 h 20000"/>
                  <a:gd name="T4" fmla="*/ 17874 w 20000"/>
                  <a:gd name="T5" fmla="*/ 1505 h 20000"/>
                  <a:gd name="T6" fmla="*/ 18793 w 20000"/>
                  <a:gd name="T7" fmla="*/ 954 h 20000"/>
                  <a:gd name="T8" fmla="*/ 19080 w 20000"/>
                  <a:gd name="T9" fmla="*/ 2092 h 20000"/>
                  <a:gd name="T10" fmla="*/ 19080 w 20000"/>
                  <a:gd name="T11" fmla="*/ 3450 h 20000"/>
                  <a:gd name="T12" fmla="*/ 19511 w 20000"/>
                  <a:gd name="T13" fmla="*/ 4000 h 20000"/>
                  <a:gd name="T14" fmla="*/ 19511 w 20000"/>
                  <a:gd name="T15" fmla="*/ 4587 h 20000"/>
                  <a:gd name="T16" fmla="*/ 19971 w 20000"/>
                  <a:gd name="T17" fmla="*/ 5505 h 20000"/>
                  <a:gd name="T18" fmla="*/ 19799 w 20000"/>
                  <a:gd name="T19" fmla="*/ 5688 h 20000"/>
                  <a:gd name="T20" fmla="*/ 19511 w 20000"/>
                  <a:gd name="T21" fmla="*/ 11009 h 20000"/>
                  <a:gd name="T22" fmla="*/ 17586 w 20000"/>
                  <a:gd name="T23" fmla="*/ 14055 h 20000"/>
                  <a:gd name="T24" fmla="*/ 17270 w 20000"/>
                  <a:gd name="T25" fmla="*/ 14642 h 20000"/>
                  <a:gd name="T26" fmla="*/ 17155 w 20000"/>
                  <a:gd name="T27" fmla="*/ 15376 h 20000"/>
                  <a:gd name="T28" fmla="*/ 17155 w 20000"/>
                  <a:gd name="T29" fmla="*/ 16147 h 20000"/>
                  <a:gd name="T30" fmla="*/ 16839 w 20000"/>
                  <a:gd name="T31" fmla="*/ 16881 h 20000"/>
                  <a:gd name="T32" fmla="*/ 16408 w 20000"/>
                  <a:gd name="T33" fmla="*/ 17101 h 20000"/>
                  <a:gd name="T34" fmla="*/ 15948 w 20000"/>
                  <a:gd name="T35" fmla="*/ 17468 h 20000"/>
                  <a:gd name="T36" fmla="*/ 13707 w 20000"/>
                  <a:gd name="T37" fmla="*/ 16881 h 20000"/>
                  <a:gd name="T38" fmla="*/ 13276 w 20000"/>
                  <a:gd name="T39" fmla="*/ 17101 h 20000"/>
                  <a:gd name="T40" fmla="*/ 12816 w 20000"/>
                  <a:gd name="T41" fmla="*/ 17468 h 20000"/>
                  <a:gd name="T42" fmla="*/ 12385 w 20000"/>
                  <a:gd name="T43" fmla="*/ 17651 h 20000"/>
                  <a:gd name="T44" fmla="*/ 11638 w 20000"/>
                  <a:gd name="T45" fmla="*/ 18055 h 20000"/>
                  <a:gd name="T46" fmla="*/ 10115 w 20000"/>
                  <a:gd name="T47" fmla="*/ 17101 h 20000"/>
                  <a:gd name="T48" fmla="*/ 8649 w 20000"/>
                  <a:gd name="T49" fmla="*/ 17468 h 20000"/>
                  <a:gd name="T50" fmla="*/ 8218 w 20000"/>
                  <a:gd name="T51" fmla="*/ 16881 h 20000"/>
                  <a:gd name="T52" fmla="*/ 7471 w 20000"/>
                  <a:gd name="T53" fmla="*/ 16514 h 20000"/>
                  <a:gd name="T54" fmla="*/ 6724 w 20000"/>
                  <a:gd name="T55" fmla="*/ 16147 h 20000"/>
                  <a:gd name="T56" fmla="*/ 6724 w 20000"/>
                  <a:gd name="T57" fmla="*/ 16514 h 20000"/>
                  <a:gd name="T58" fmla="*/ 5833 w 20000"/>
                  <a:gd name="T59" fmla="*/ 16514 h 20000"/>
                  <a:gd name="T60" fmla="*/ 5374 w 20000"/>
                  <a:gd name="T61" fmla="*/ 16881 h 20000"/>
                  <a:gd name="T62" fmla="*/ 5057 w 20000"/>
                  <a:gd name="T63" fmla="*/ 17651 h 20000"/>
                  <a:gd name="T64" fmla="*/ 4339 w 20000"/>
                  <a:gd name="T65" fmla="*/ 18459 h 20000"/>
                  <a:gd name="T66" fmla="*/ 4339 w 20000"/>
                  <a:gd name="T67" fmla="*/ 19963 h 20000"/>
                  <a:gd name="T68" fmla="*/ 3879 w 20000"/>
                  <a:gd name="T69" fmla="*/ 19376 h 20000"/>
                  <a:gd name="T70" fmla="*/ 3420 w 20000"/>
                  <a:gd name="T71" fmla="*/ 18606 h 20000"/>
                  <a:gd name="T72" fmla="*/ 3132 w 20000"/>
                  <a:gd name="T73" fmla="*/ 18606 h 20000"/>
                  <a:gd name="T74" fmla="*/ 2845 w 20000"/>
                  <a:gd name="T75" fmla="*/ 19376 h 20000"/>
                  <a:gd name="T76" fmla="*/ 2414 w 20000"/>
                  <a:gd name="T77" fmla="*/ 18606 h 20000"/>
                  <a:gd name="T78" fmla="*/ 2701 w 20000"/>
                  <a:gd name="T79" fmla="*/ 18459 h 20000"/>
                  <a:gd name="T80" fmla="*/ 2414 w 20000"/>
                  <a:gd name="T81" fmla="*/ 18055 h 20000"/>
                  <a:gd name="T82" fmla="*/ 1954 w 20000"/>
                  <a:gd name="T83" fmla="*/ 18055 h 20000"/>
                  <a:gd name="T84" fmla="*/ 1063 w 20000"/>
                  <a:gd name="T85" fmla="*/ 17468 h 20000"/>
                  <a:gd name="T86" fmla="*/ 1063 w 20000"/>
                  <a:gd name="T87" fmla="*/ 17101 h 20000"/>
                  <a:gd name="T88" fmla="*/ 1494 w 20000"/>
                  <a:gd name="T89" fmla="*/ 17101 h 20000"/>
                  <a:gd name="T90" fmla="*/ 1494 w 20000"/>
                  <a:gd name="T91" fmla="*/ 16881 h 20000"/>
                  <a:gd name="T92" fmla="*/ 1063 w 20000"/>
                  <a:gd name="T93" fmla="*/ 16881 h 20000"/>
                  <a:gd name="T94" fmla="*/ 460 w 20000"/>
                  <a:gd name="T95" fmla="*/ 16147 h 20000"/>
                  <a:gd name="T96" fmla="*/ 316 w 20000"/>
                  <a:gd name="T97" fmla="*/ 15596 h 20000"/>
                  <a:gd name="T98" fmla="*/ 0 w 20000"/>
                  <a:gd name="T99" fmla="*/ 15009 h 20000"/>
                  <a:gd name="T100" fmla="*/ 0 w 20000"/>
                  <a:gd name="T101" fmla="*/ 14422 h 20000"/>
                  <a:gd name="T102" fmla="*/ 1207 w 20000"/>
                  <a:gd name="T103" fmla="*/ 14055 h 20000"/>
                  <a:gd name="T104" fmla="*/ 1494 w 20000"/>
                  <a:gd name="T105" fmla="*/ 13651 h 20000"/>
                  <a:gd name="T106" fmla="*/ 3879 w 20000"/>
                  <a:gd name="T107" fmla="*/ 13505 h 20000"/>
                  <a:gd name="T108" fmla="*/ 4339 w 20000"/>
                  <a:gd name="T109" fmla="*/ 13651 h 20000"/>
                  <a:gd name="T110" fmla="*/ 4770 w 20000"/>
                  <a:gd name="T111" fmla="*/ 12550 h 20000"/>
                  <a:gd name="T112" fmla="*/ 5057 w 20000"/>
                  <a:gd name="T113" fmla="*/ 11009 h 20000"/>
                  <a:gd name="T114" fmla="*/ 5374 w 20000"/>
                  <a:gd name="T115" fmla="*/ 10642 h 20000"/>
                  <a:gd name="T116" fmla="*/ 5374 w 20000"/>
                  <a:gd name="T117" fmla="*/ 7413 h 20000"/>
                  <a:gd name="T118" fmla="*/ 7471 w 20000"/>
                  <a:gd name="T119" fmla="*/ 6459 h 20000"/>
                  <a:gd name="T120" fmla="*/ 9397 w 20000"/>
                  <a:gd name="T121" fmla="*/ 4183 h 20000"/>
                  <a:gd name="T122" fmla="*/ 13994 w 20000"/>
                  <a:gd name="T123" fmla="*/ 954 h 20000"/>
                  <a:gd name="T124" fmla="*/ 15201 w 20000"/>
                  <a:gd name="T12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5201" y="0"/>
                    </a:moveTo>
                    <a:lnTo>
                      <a:pt x="16839" y="587"/>
                    </a:lnTo>
                    <a:lnTo>
                      <a:pt x="17874" y="1505"/>
                    </a:lnTo>
                    <a:lnTo>
                      <a:pt x="18793" y="954"/>
                    </a:lnTo>
                    <a:lnTo>
                      <a:pt x="19080" y="2092"/>
                    </a:lnTo>
                    <a:lnTo>
                      <a:pt x="19080" y="3450"/>
                    </a:lnTo>
                    <a:lnTo>
                      <a:pt x="19511" y="4000"/>
                    </a:lnTo>
                    <a:lnTo>
                      <a:pt x="19511" y="4587"/>
                    </a:lnTo>
                    <a:lnTo>
                      <a:pt x="19971" y="5505"/>
                    </a:lnTo>
                    <a:lnTo>
                      <a:pt x="19799" y="5688"/>
                    </a:lnTo>
                    <a:lnTo>
                      <a:pt x="19511" y="11009"/>
                    </a:lnTo>
                    <a:lnTo>
                      <a:pt x="17586" y="14055"/>
                    </a:lnTo>
                    <a:lnTo>
                      <a:pt x="17270" y="14642"/>
                    </a:lnTo>
                    <a:lnTo>
                      <a:pt x="17155" y="15376"/>
                    </a:lnTo>
                    <a:lnTo>
                      <a:pt x="17155" y="16147"/>
                    </a:lnTo>
                    <a:lnTo>
                      <a:pt x="16839" y="16881"/>
                    </a:lnTo>
                    <a:lnTo>
                      <a:pt x="16408" y="17101"/>
                    </a:lnTo>
                    <a:lnTo>
                      <a:pt x="15948" y="17468"/>
                    </a:lnTo>
                    <a:lnTo>
                      <a:pt x="13707" y="16881"/>
                    </a:lnTo>
                    <a:lnTo>
                      <a:pt x="13276" y="17101"/>
                    </a:lnTo>
                    <a:lnTo>
                      <a:pt x="12816" y="17468"/>
                    </a:lnTo>
                    <a:lnTo>
                      <a:pt x="12385" y="17651"/>
                    </a:lnTo>
                    <a:lnTo>
                      <a:pt x="11638" y="18055"/>
                    </a:lnTo>
                    <a:lnTo>
                      <a:pt x="10115" y="17101"/>
                    </a:lnTo>
                    <a:lnTo>
                      <a:pt x="8649" y="17468"/>
                    </a:lnTo>
                    <a:lnTo>
                      <a:pt x="8218" y="16881"/>
                    </a:lnTo>
                    <a:lnTo>
                      <a:pt x="7471" y="16514"/>
                    </a:lnTo>
                    <a:lnTo>
                      <a:pt x="6724" y="16147"/>
                    </a:lnTo>
                    <a:lnTo>
                      <a:pt x="6724" y="16514"/>
                    </a:lnTo>
                    <a:lnTo>
                      <a:pt x="5833" y="16514"/>
                    </a:lnTo>
                    <a:lnTo>
                      <a:pt x="5374" y="16881"/>
                    </a:lnTo>
                    <a:lnTo>
                      <a:pt x="5057" y="17651"/>
                    </a:lnTo>
                    <a:lnTo>
                      <a:pt x="4339" y="18459"/>
                    </a:lnTo>
                    <a:lnTo>
                      <a:pt x="4339" y="19963"/>
                    </a:lnTo>
                    <a:lnTo>
                      <a:pt x="3879" y="19376"/>
                    </a:lnTo>
                    <a:lnTo>
                      <a:pt x="3420" y="18606"/>
                    </a:lnTo>
                    <a:lnTo>
                      <a:pt x="3132" y="18606"/>
                    </a:lnTo>
                    <a:lnTo>
                      <a:pt x="2845" y="19376"/>
                    </a:lnTo>
                    <a:lnTo>
                      <a:pt x="2414" y="18606"/>
                    </a:lnTo>
                    <a:lnTo>
                      <a:pt x="2701" y="18459"/>
                    </a:lnTo>
                    <a:lnTo>
                      <a:pt x="2414" y="18055"/>
                    </a:lnTo>
                    <a:lnTo>
                      <a:pt x="1954" y="18055"/>
                    </a:lnTo>
                    <a:lnTo>
                      <a:pt x="1063" y="17468"/>
                    </a:lnTo>
                    <a:lnTo>
                      <a:pt x="1063" y="17101"/>
                    </a:lnTo>
                    <a:lnTo>
                      <a:pt x="1494" y="17101"/>
                    </a:lnTo>
                    <a:lnTo>
                      <a:pt x="1494" y="16881"/>
                    </a:lnTo>
                    <a:lnTo>
                      <a:pt x="1063" y="16881"/>
                    </a:lnTo>
                    <a:lnTo>
                      <a:pt x="460" y="16147"/>
                    </a:lnTo>
                    <a:lnTo>
                      <a:pt x="316" y="15596"/>
                    </a:lnTo>
                    <a:lnTo>
                      <a:pt x="0" y="15009"/>
                    </a:lnTo>
                    <a:lnTo>
                      <a:pt x="0" y="14422"/>
                    </a:lnTo>
                    <a:lnTo>
                      <a:pt x="1207" y="14055"/>
                    </a:lnTo>
                    <a:lnTo>
                      <a:pt x="1494" y="13651"/>
                    </a:lnTo>
                    <a:lnTo>
                      <a:pt x="3879" y="13505"/>
                    </a:lnTo>
                    <a:lnTo>
                      <a:pt x="4339" y="13651"/>
                    </a:lnTo>
                    <a:lnTo>
                      <a:pt x="4770" y="12550"/>
                    </a:lnTo>
                    <a:lnTo>
                      <a:pt x="5057" y="11009"/>
                    </a:lnTo>
                    <a:lnTo>
                      <a:pt x="5374" y="10642"/>
                    </a:lnTo>
                    <a:lnTo>
                      <a:pt x="5374" y="7413"/>
                    </a:lnTo>
                    <a:lnTo>
                      <a:pt x="7471" y="6459"/>
                    </a:lnTo>
                    <a:lnTo>
                      <a:pt x="9397" y="4183"/>
                    </a:lnTo>
                    <a:lnTo>
                      <a:pt x="13994" y="954"/>
                    </a:lnTo>
                    <a:lnTo>
                      <a:pt x="1520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8" name="Freeform 111"/>
              <p:cNvSpPr>
                <a:spLocks/>
              </p:cNvSpPr>
              <p:nvPr/>
            </p:nvSpPr>
            <p:spPr bwMode="auto">
              <a:xfrm>
                <a:off x="5068887" y="4052889"/>
                <a:ext cx="336554" cy="276228"/>
              </a:xfrm>
              <a:custGeom>
                <a:avLst/>
                <a:gdLst>
                  <a:gd name="T0" fmla="*/ 18601 w 20000"/>
                  <a:gd name="T1" fmla="*/ 1193 h 20000"/>
                  <a:gd name="T2" fmla="*/ 18979 w 20000"/>
                  <a:gd name="T3" fmla="*/ 3073 h 20000"/>
                  <a:gd name="T4" fmla="*/ 19962 w 20000"/>
                  <a:gd name="T5" fmla="*/ 4771 h 20000"/>
                  <a:gd name="T6" fmla="*/ 18601 w 20000"/>
                  <a:gd name="T7" fmla="*/ 5459 h 20000"/>
                  <a:gd name="T8" fmla="*/ 18034 w 20000"/>
                  <a:gd name="T9" fmla="*/ 7385 h 20000"/>
                  <a:gd name="T10" fmla="*/ 17618 w 20000"/>
                  <a:gd name="T11" fmla="*/ 8991 h 20000"/>
                  <a:gd name="T12" fmla="*/ 16635 w 20000"/>
                  <a:gd name="T13" fmla="*/ 10413 h 20000"/>
                  <a:gd name="T14" fmla="*/ 15085 w 20000"/>
                  <a:gd name="T15" fmla="*/ 13486 h 20000"/>
                  <a:gd name="T16" fmla="*/ 15085 w 20000"/>
                  <a:gd name="T17" fmla="*/ 14220 h 20000"/>
                  <a:gd name="T18" fmla="*/ 13913 w 20000"/>
                  <a:gd name="T19" fmla="*/ 14954 h 20000"/>
                  <a:gd name="T20" fmla="*/ 13308 w 20000"/>
                  <a:gd name="T21" fmla="*/ 14037 h 20000"/>
                  <a:gd name="T22" fmla="*/ 12325 w 20000"/>
                  <a:gd name="T23" fmla="*/ 14220 h 20000"/>
                  <a:gd name="T24" fmla="*/ 10397 w 20000"/>
                  <a:gd name="T25" fmla="*/ 16101 h 20000"/>
                  <a:gd name="T26" fmla="*/ 9376 w 20000"/>
                  <a:gd name="T27" fmla="*/ 19220 h 20000"/>
                  <a:gd name="T28" fmla="*/ 9225 w 20000"/>
                  <a:gd name="T29" fmla="*/ 19220 h 20000"/>
                  <a:gd name="T30" fmla="*/ 6881 w 20000"/>
                  <a:gd name="T31" fmla="*/ 19220 h 20000"/>
                  <a:gd name="T32" fmla="*/ 5671 w 20000"/>
                  <a:gd name="T33" fmla="*/ 19954 h 20000"/>
                  <a:gd name="T34" fmla="*/ 4121 w 20000"/>
                  <a:gd name="T35" fmla="*/ 18073 h 20000"/>
                  <a:gd name="T36" fmla="*/ 4348 w 20000"/>
                  <a:gd name="T37" fmla="*/ 17339 h 20000"/>
                  <a:gd name="T38" fmla="*/ 3554 w 20000"/>
                  <a:gd name="T39" fmla="*/ 16101 h 20000"/>
                  <a:gd name="T40" fmla="*/ 227 w 20000"/>
                  <a:gd name="T41" fmla="*/ 15459 h 20000"/>
                  <a:gd name="T42" fmla="*/ 0 w 20000"/>
                  <a:gd name="T43" fmla="*/ 11147 h 20000"/>
                  <a:gd name="T44" fmla="*/ 605 w 20000"/>
                  <a:gd name="T45" fmla="*/ 9725 h 20000"/>
                  <a:gd name="T46" fmla="*/ 1172 w 20000"/>
                  <a:gd name="T47" fmla="*/ 8073 h 20000"/>
                  <a:gd name="T48" fmla="*/ 1550 w 20000"/>
                  <a:gd name="T49" fmla="*/ 6651 h 20000"/>
                  <a:gd name="T50" fmla="*/ 1172 w 20000"/>
                  <a:gd name="T51" fmla="*/ 4771 h 20000"/>
                  <a:gd name="T52" fmla="*/ 2155 w 20000"/>
                  <a:gd name="T53" fmla="*/ 1881 h 20000"/>
                  <a:gd name="T54" fmla="*/ 3176 w 20000"/>
                  <a:gd name="T55" fmla="*/ 459 h 20000"/>
                  <a:gd name="T56" fmla="*/ 4348 w 20000"/>
                  <a:gd name="T57" fmla="*/ 0 h 20000"/>
                  <a:gd name="T58" fmla="*/ 6276 w 20000"/>
                  <a:gd name="T59" fmla="*/ 917 h 20000"/>
                  <a:gd name="T60" fmla="*/ 8809 w 20000"/>
                  <a:gd name="T61" fmla="*/ 1193 h 20000"/>
                  <a:gd name="T62" fmla="*/ 11758 w 20000"/>
                  <a:gd name="T63" fmla="*/ 1881 h 20000"/>
                  <a:gd name="T64" fmla="*/ 12930 w 20000"/>
                  <a:gd name="T65" fmla="*/ 1193 h 20000"/>
                  <a:gd name="T66" fmla="*/ 16446 w 20000"/>
                  <a:gd name="T67" fmla="*/ 1651 h 20000"/>
                  <a:gd name="T68" fmla="*/ 17618 w 20000"/>
                  <a:gd name="T69" fmla="*/ 91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18034" y="0"/>
                    </a:moveTo>
                    <a:lnTo>
                      <a:pt x="18601" y="1193"/>
                    </a:lnTo>
                    <a:lnTo>
                      <a:pt x="18979" y="1651"/>
                    </a:lnTo>
                    <a:lnTo>
                      <a:pt x="18979" y="3073"/>
                    </a:lnTo>
                    <a:lnTo>
                      <a:pt x="19584" y="3532"/>
                    </a:lnTo>
                    <a:lnTo>
                      <a:pt x="19962" y="4771"/>
                    </a:lnTo>
                    <a:lnTo>
                      <a:pt x="19206" y="5917"/>
                    </a:lnTo>
                    <a:lnTo>
                      <a:pt x="18601" y="5459"/>
                    </a:lnTo>
                    <a:lnTo>
                      <a:pt x="18034" y="6651"/>
                    </a:lnTo>
                    <a:lnTo>
                      <a:pt x="18034" y="7385"/>
                    </a:lnTo>
                    <a:lnTo>
                      <a:pt x="17429" y="8073"/>
                    </a:lnTo>
                    <a:lnTo>
                      <a:pt x="17618" y="8991"/>
                    </a:lnTo>
                    <a:lnTo>
                      <a:pt x="16635" y="9266"/>
                    </a:lnTo>
                    <a:lnTo>
                      <a:pt x="16635" y="10413"/>
                    </a:lnTo>
                    <a:lnTo>
                      <a:pt x="16030" y="11147"/>
                    </a:lnTo>
                    <a:lnTo>
                      <a:pt x="15085" y="13486"/>
                    </a:lnTo>
                    <a:lnTo>
                      <a:pt x="15463" y="14220"/>
                    </a:lnTo>
                    <a:lnTo>
                      <a:pt x="15085" y="14220"/>
                    </a:lnTo>
                    <a:lnTo>
                      <a:pt x="14480" y="14954"/>
                    </a:lnTo>
                    <a:lnTo>
                      <a:pt x="13913" y="14954"/>
                    </a:lnTo>
                    <a:lnTo>
                      <a:pt x="13913" y="14725"/>
                    </a:lnTo>
                    <a:lnTo>
                      <a:pt x="13308" y="14037"/>
                    </a:lnTo>
                    <a:lnTo>
                      <a:pt x="12930" y="14220"/>
                    </a:lnTo>
                    <a:lnTo>
                      <a:pt x="12325" y="14220"/>
                    </a:lnTo>
                    <a:lnTo>
                      <a:pt x="11380" y="14954"/>
                    </a:lnTo>
                    <a:lnTo>
                      <a:pt x="10397" y="16101"/>
                    </a:lnTo>
                    <a:lnTo>
                      <a:pt x="9981" y="17798"/>
                    </a:lnTo>
                    <a:lnTo>
                      <a:pt x="9376" y="19220"/>
                    </a:lnTo>
                    <a:lnTo>
                      <a:pt x="9225" y="18991"/>
                    </a:lnTo>
                    <a:lnTo>
                      <a:pt x="9225" y="19220"/>
                    </a:lnTo>
                    <a:lnTo>
                      <a:pt x="7826" y="19679"/>
                    </a:lnTo>
                    <a:lnTo>
                      <a:pt x="6881" y="19220"/>
                    </a:lnTo>
                    <a:lnTo>
                      <a:pt x="6881" y="19679"/>
                    </a:lnTo>
                    <a:lnTo>
                      <a:pt x="5671" y="19954"/>
                    </a:lnTo>
                    <a:lnTo>
                      <a:pt x="5104" y="19679"/>
                    </a:lnTo>
                    <a:lnTo>
                      <a:pt x="4121" y="18073"/>
                    </a:lnTo>
                    <a:lnTo>
                      <a:pt x="4348" y="17798"/>
                    </a:lnTo>
                    <a:lnTo>
                      <a:pt x="4348" y="17339"/>
                    </a:lnTo>
                    <a:lnTo>
                      <a:pt x="3743" y="17339"/>
                    </a:lnTo>
                    <a:lnTo>
                      <a:pt x="3554" y="16101"/>
                    </a:lnTo>
                    <a:lnTo>
                      <a:pt x="2155" y="15459"/>
                    </a:lnTo>
                    <a:lnTo>
                      <a:pt x="227" y="15459"/>
                    </a:lnTo>
                    <a:lnTo>
                      <a:pt x="0" y="13486"/>
                    </a:lnTo>
                    <a:lnTo>
                      <a:pt x="0" y="11147"/>
                    </a:lnTo>
                    <a:lnTo>
                      <a:pt x="0" y="9954"/>
                    </a:lnTo>
                    <a:lnTo>
                      <a:pt x="605" y="9725"/>
                    </a:lnTo>
                    <a:lnTo>
                      <a:pt x="1021" y="8532"/>
                    </a:lnTo>
                    <a:lnTo>
                      <a:pt x="1172" y="8073"/>
                    </a:lnTo>
                    <a:lnTo>
                      <a:pt x="1172" y="7385"/>
                    </a:lnTo>
                    <a:lnTo>
                      <a:pt x="1550" y="6651"/>
                    </a:lnTo>
                    <a:lnTo>
                      <a:pt x="1172" y="4954"/>
                    </a:lnTo>
                    <a:lnTo>
                      <a:pt x="1172" y="4771"/>
                    </a:lnTo>
                    <a:lnTo>
                      <a:pt x="1172" y="2844"/>
                    </a:lnTo>
                    <a:lnTo>
                      <a:pt x="2155" y="1881"/>
                    </a:lnTo>
                    <a:lnTo>
                      <a:pt x="2571" y="917"/>
                    </a:lnTo>
                    <a:lnTo>
                      <a:pt x="3176" y="459"/>
                    </a:lnTo>
                    <a:lnTo>
                      <a:pt x="4348" y="459"/>
                    </a:lnTo>
                    <a:lnTo>
                      <a:pt x="4348" y="0"/>
                    </a:lnTo>
                    <a:lnTo>
                      <a:pt x="5293" y="459"/>
                    </a:lnTo>
                    <a:lnTo>
                      <a:pt x="6276" y="917"/>
                    </a:lnTo>
                    <a:lnTo>
                      <a:pt x="6881" y="1651"/>
                    </a:lnTo>
                    <a:lnTo>
                      <a:pt x="8809" y="1193"/>
                    </a:lnTo>
                    <a:lnTo>
                      <a:pt x="10775" y="2339"/>
                    </a:lnTo>
                    <a:lnTo>
                      <a:pt x="11758" y="1881"/>
                    </a:lnTo>
                    <a:lnTo>
                      <a:pt x="12325" y="1651"/>
                    </a:lnTo>
                    <a:lnTo>
                      <a:pt x="12930" y="1193"/>
                    </a:lnTo>
                    <a:lnTo>
                      <a:pt x="13497" y="917"/>
                    </a:lnTo>
                    <a:lnTo>
                      <a:pt x="16446" y="1651"/>
                    </a:lnTo>
                    <a:lnTo>
                      <a:pt x="17051" y="1193"/>
                    </a:lnTo>
                    <a:lnTo>
                      <a:pt x="17618" y="917"/>
                    </a:lnTo>
                    <a:lnTo>
                      <a:pt x="18034"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39" name="Freeform 110"/>
              <p:cNvSpPr>
                <a:spLocks/>
              </p:cNvSpPr>
              <p:nvPr/>
            </p:nvSpPr>
            <p:spPr bwMode="auto">
              <a:xfrm>
                <a:off x="5805488" y="4483100"/>
                <a:ext cx="57150" cy="50800"/>
              </a:xfrm>
              <a:custGeom>
                <a:avLst/>
                <a:gdLst>
                  <a:gd name="T0" fmla="*/ 8090 w 20000"/>
                  <a:gd name="T1" fmla="*/ 2532 h 20000"/>
                  <a:gd name="T2" fmla="*/ 11461 w 20000"/>
                  <a:gd name="T3" fmla="*/ 2532 h 20000"/>
                  <a:gd name="T4" fmla="*/ 11461 w 20000"/>
                  <a:gd name="T5" fmla="*/ 4051 h 20000"/>
                  <a:gd name="T6" fmla="*/ 17528 w 20000"/>
                  <a:gd name="T7" fmla="*/ 0 h 20000"/>
                  <a:gd name="T8" fmla="*/ 19775 w 20000"/>
                  <a:gd name="T9" fmla="*/ 6582 h 20000"/>
                  <a:gd name="T10" fmla="*/ 19775 w 20000"/>
                  <a:gd name="T11" fmla="*/ 12911 h 20000"/>
                  <a:gd name="T12" fmla="*/ 19775 w 20000"/>
                  <a:gd name="T13" fmla="*/ 15696 h 20000"/>
                  <a:gd name="T14" fmla="*/ 17528 w 20000"/>
                  <a:gd name="T15" fmla="*/ 16962 h 20000"/>
                  <a:gd name="T16" fmla="*/ 15056 w 20000"/>
                  <a:gd name="T17" fmla="*/ 12911 h 20000"/>
                  <a:gd name="T18" fmla="*/ 11461 w 20000"/>
                  <a:gd name="T19" fmla="*/ 15696 h 20000"/>
                  <a:gd name="T20" fmla="*/ 9213 w 20000"/>
                  <a:gd name="T21" fmla="*/ 16962 h 20000"/>
                  <a:gd name="T22" fmla="*/ 5843 w 20000"/>
                  <a:gd name="T23" fmla="*/ 19747 h 20000"/>
                  <a:gd name="T24" fmla="*/ 5843 w 20000"/>
                  <a:gd name="T25" fmla="*/ 15696 h 20000"/>
                  <a:gd name="T26" fmla="*/ 0 w 20000"/>
                  <a:gd name="T27" fmla="*/ 16962 h 20000"/>
                  <a:gd name="T28" fmla="*/ 0 w 20000"/>
                  <a:gd name="T29" fmla="*/ 15696 h 20000"/>
                  <a:gd name="T30" fmla="*/ 2247 w 20000"/>
                  <a:gd name="T31" fmla="*/ 12911 h 20000"/>
                  <a:gd name="T32" fmla="*/ 4719 w 20000"/>
                  <a:gd name="T33" fmla="*/ 6582 h 20000"/>
                  <a:gd name="T34" fmla="*/ 8090 w 20000"/>
                  <a:gd name="T35" fmla="*/ 4051 h 20000"/>
                  <a:gd name="T36" fmla="*/ 8090 w 20000"/>
                  <a:gd name="T37" fmla="*/ 253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00" h="20000">
                    <a:moveTo>
                      <a:pt x="8090" y="2532"/>
                    </a:moveTo>
                    <a:lnTo>
                      <a:pt x="11461" y="2532"/>
                    </a:lnTo>
                    <a:lnTo>
                      <a:pt x="11461" y="4051"/>
                    </a:lnTo>
                    <a:lnTo>
                      <a:pt x="17528" y="0"/>
                    </a:lnTo>
                    <a:lnTo>
                      <a:pt x="19775" y="6582"/>
                    </a:lnTo>
                    <a:lnTo>
                      <a:pt x="19775" y="12911"/>
                    </a:lnTo>
                    <a:lnTo>
                      <a:pt x="19775" y="15696"/>
                    </a:lnTo>
                    <a:lnTo>
                      <a:pt x="17528" y="16962"/>
                    </a:lnTo>
                    <a:lnTo>
                      <a:pt x="15056" y="12911"/>
                    </a:lnTo>
                    <a:lnTo>
                      <a:pt x="11461" y="15696"/>
                    </a:lnTo>
                    <a:lnTo>
                      <a:pt x="9213" y="16962"/>
                    </a:lnTo>
                    <a:lnTo>
                      <a:pt x="5843" y="19747"/>
                    </a:lnTo>
                    <a:lnTo>
                      <a:pt x="5843" y="15696"/>
                    </a:lnTo>
                    <a:lnTo>
                      <a:pt x="0" y="16962"/>
                    </a:lnTo>
                    <a:lnTo>
                      <a:pt x="0" y="15696"/>
                    </a:lnTo>
                    <a:lnTo>
                      <a:pt x="2247" y="12911"/>
                    </a:lnTo>
                    <a:lnTo>
                      <a:pt x="4719" y="6582"/>
                    </a:lnTo>
                    <a:lnTo>
                      <a:pt x="8090" y="4051"/>
                    </a:lnTo>
                    <a:lnTo>
                      <a:pt x="8090" y="253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0" name="Freeform 109"/>
              <p:cNvSpPr>
                <a:spLocks/>
              </p:cNvSpPr>
              <p:nvPr/>
            </p:nvSpPr>
            <p:spPr bwMode="auto">
              <a:xfrm>
                <a:off x="5603875" y="4687888"/>
                <a:ext cx="334963" cy="285750"/>
              </a:xfrm>
              <a:custGeom>
                <a:avLst/>
                <a:gdLst>
                  <a:gd name="T0" fmla="*/ 15871 w 20000"/>
                  <a:gd name="T1" fmla="*/ 1153 h 20000"/>
                  <a:gd name="T2" fmla="*/ 16818 w 20000"/>
                  <a:gd name="T3" fmla="*/ 1375 h 20000"/>
                  <a:gd name="T4" fmla="*/ 18030 w 20000"/>
                  <a:gd name="T5" fmla="*/ 1818 h 20000"/>
                  <a:gd name="T6" fmla="*/ 18598 w 20000"/>
                  <a:gd name="T7" fmla="*/ 2084 h 20000"/>
                  <a:gd name="T8" fmla="*/ 19583 w 20000"/>
                  <a:gd name="T9" fmla="*/ 3636 h 20000"/>
                  <a:gd name="T10" fmla="*/ 19962 w 20000"/>
                  <a:gd name="T11" fmla="*/ 4789 h 20000"/>
                  <a:gd name="T12" fmla="*/ 19394 w 20000"/>
                  <a:gd name="T13" fmla="*/ 5942 h 20000"/>
                  <a:gd name="T14" fmla="*/ 18977 w 20000"/>
                  <a:gd name="T15" fmla="*/ 7805 h 20000"/>
                  <a:gd name="T16" fmla="*/ 19394 w 20000"/>
                  <a:gd name="T17" fmla="*/ 8692 h 20000"/>
                  <a:gd name="T18" fmla="*/ 18598 w 20000"/>
                  <a:gd name="T19" fmla="*/ 9845 h 20000"/>
                  <a:gd name="T20" fmla="*/ 18598 w 20000"/>
                  <a:gd name="T21" fmla="*/ 11663 h 20000"/>
                  <a:gd name="T22" fmla="*/ 13864 w 20000"/>
                  <a:gd name="T23" fmla="*/ 14412 h 20000"/>
                  <a:gd name="T24" fmla="*/ 13485 w 20000"/>
                  <a:gd name="T25" fmla="*/ 15122 h 20000"/>
                  <a:gd name="T26" fmla="*/ 11364 w 20000"/>
                  <a:gd name="T27" fmla="*/ 15565 h 20000"/>
                  <a:gd name="T28" fmla="*/ 10379 w 20000"/>
                  <a:gd name="T29" fmla="*/ 16940 h 20000"/>
                  <a:gd name="T30" fmla="*/ 8598 w 20000"/>
                  <a:gd name="T31" fmla="*/ 19468 h 20000"/>
                  <a:gd name="T32" fmla="*/ 7652 w 20000"/>
                  <a:gd name="T33" fmla="*/ 19468 h 20000"/>
                  <a:gd name="T34" fmla="*/ 5265 w 20000"/>
                  <a:gd name="T35" fmla="*/ 19246 h 20000"/>
                  <a:gd name="T36" fmla="*/ 3712 w 20000"/>
                  <a:gd name="T37" fmla="*/ 18315 h 20000"/>
                  <a:gd name="T38" fmla="*/ 2159 w 20000"/>
                  <a:gd name="T39" fmla="*/ 18758 h 20000"/>
                  <a:gd name="T40" fmla="*/ 0 w 20000"/>
                  <a:gd name="T41" fmla="*/ 15787 h 20000"/>
                  <a:gd name="T42" fmla="*/ 3485 w 20000"/>
                  <a:gd name="T43" fmla="*/ 9623 h 20000"/>
                  <a:gd name="T44" fmla="*/ 3485 w 20000"/>
                  <a:gd name="T45" fmla="*/ 8692 h 20000"/>
                  <a:gd name="T46" fmla="*/ 3485 w 20000"/>
                  <a:gd name="T47" fmla="*/ 5055 h 20000"/>
                  <a:gd name="T48" fmla="*/ 4470 w 20000"/>
                  <a:gd name="T49" fmla="*/ 6608 h 20000"/>
                  <a:gd name="T50" fmla="*/ 6061 w 20000"/>
                  <a:gd name="T51" fmla="*/ 6608 h 20000"/>
                  <a:gd name="T52" fmla="*/ 7803 w 20000"/>
                  <a:gd name="T53" fmla="*/ 7317 h 20000"/>
                  <a:gd name="T54" fmla="*/ 8598 w 20000"/>
                  <a:gd name="T55" fmla="*/ 6608 h 20000"/>
                  <a:gd name="T56" fmla="*/ 9773 w 20000"/>
                  <a:gd name="T57" fmla="*/ 7982 h 20000"/>
                  <a:gd name="T58" fmla="*/ 11742 w 20000"/>
                  <a:gd name="T59" fmla="*/ 9623 h 20000"/>
                  <a:gd name="T60" fmla="*/ 12917 w 20000"/>
                  <a:gd name="T61" fmla="*/ 9845 h 20000"/>
                  <a:gd name="T62" fmla="*/ 13295 w 20000"/>
                  <a:gd name="T63" fmla="*/ 7982 h 20000"/>
                  <a:gd name="T64" fmla="*/ 12727 w 20000"/>
                  <a:gd name="T65" fmla="*/ 8514 h 20000"/>
                  <a:gd name="T66" fmla="*/ 11136 w 20000"/>
                  <a:gd name="T67" fmla="*/ 7317 h 20000"/>
                  <a:gd name="T68" fmla="*/ 11136 w 20000"/>
                  <a:gd name="T69" fmla="*/ 5942 h 20000"/>
                  <a:gd name="T70" fmla="*/ 11364 w 20000"/>
                  <a:gd name="T71" fmla="*/ 4346 h 20000"/>
                  <a:gd name="T72" fmla="*/ 11136 w 20000"/>
                  <a:gd name="T73" fmla="*/ 2528 h 20000"/>
                  <a:gd name="T74" fmla="*/ 11932 w 20000"/>
                  <a:gd name="T75" fmla="*/ 710 h 20000"/>
                  <a:gd name="T76" fmla="*/ 15265 w 20000"/>
                  <a:gd name="T7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15265" y="0"/>
                    </a:moveTo>
                    <a:lnTo>
                      <a:pt x="15871" y="1153"/>
                    </a:lnTo>
                    <a:lnTo>
                      <a:pt x="16439" y="1153"/>
                    </a:lnTo>
                    <a:lnTo>
                      <a:pt x="16818" y="1375"/>
                    </a:lnTo>
                    <a:lnTo>
                      <a:pt x="17424" y="1818"/>
                    </a:lnTo>
                    <a:lnTo>
                      <a:pt x="18030" y="1818"/>
                    </a:lnTo>
                    <a:lnTo>
                      <a:pt x="18409" y="2084"/>
                    </a:lnTo>
                    <a:lnTo>
                      <a:pt x="18598" y="2084"/>
                    </a:lnTo>
                    <a:lnTo>
                      <a:pt x="18977" y="2971"/>
                    </a:lnTo>
                    <a:lnTo>
                      <a:pt x="19583" y="3636"/>
                    </a:lnTo>
                    <a:lnTo>
                      <a:pt x="19962" y="4346"/>
                    </a:lnTo>
                    <a:lnTo>
                      <a:pt x="19962" y="4789"/>
                    </a:lnTo>
                    <a:lnTo>
                      <a:pt x="19394" y="5055"/>
                    </a:lnTo>
                    <a:lnTo>
                      <a:pt x="19394" y="5942"/>
                    </a:lnTo>
                    <a:lnTo>
                      <a:pt x="19394" y="7317"/>
                    </a:lnTo>
                    <a:lnTo>
                      <a:pt x="18977" y="7805"/>
                    </a:lnTo>
                    <a:lnTo>
                      <a:pt x="19583" y="8514"/>
                    </a:lnTo>
                    <a:lnTo>
                      <a:pt x="19394" y="8692"/>
                    </a:lnTo>
                    <a:lnTo>
                      <a:pt x="18598" y="8692"/>
                    </a:lnTo>
                    <a:lnTo>
                      <a:pt x="18598" y="9845"/>
                    </a:lnTo>
                    <a:lnTo>
                      <a:pt x="18409" y="10776"/>
                    </a:lnTo>
                    <a:lnTo>
                      <a:pt x="18598" y="11663"/>
                    </a:lnTo>
                    <a:lnTo>
                      <a:pt x="13485" y="13525"/>
                    </a:lnTo>
                    <a:lnTo>
                      <a:pt x="13864" y="14412"/>
                    </a:lnTo>
                    <a:lnTo>
                      <a:pt x="13864" y="15122"/>
                    </a:lnTo>
                    <a:lnTo>
                      <a:pt x="13485" y="15122"/>
                    </a:lnTo>
                    <a:lnTo>
                      <a:pt x="12727" y="15122"/>
                    </a:lnTo>
                    <a:lnTo>
                      <a:pt x="11364" y="15565"/>
                    </a:lnTo>
                    <a:lnTo>
                      <a:pt x="11364" y="16497"/>
                    </a:lnTo>
                    <a:lnTo>
                      <a:pt x="10379" y="16940"/>
                    </a:lnTo>
                    <a:lnTo>
                      <a:pt x="9394" y="17650"/>
                    </a:lnTo>
                    <a:lnTo>
                      <a:pt x="8598" y="19468"/>
                    </a:lnTo>
                    <a:lnTo>
                      <a:pt x="7803" y="19956"/>
                    </a:lnTo>
                    <a:lnTo>
                      <a:pt x="7652" y="19468"/>
                    </a:lnTo>
                    <a:lnTo>
                      <a:pt x="6061" y="19468"/>
                    </a:lnTo>
                    <a:lnTo>
                      <a:pt x="5265" y="19246"/>
                    </a:lnTo>
                    <a:lnTo>
                      <a:pt x="4697" y="18758"/>
                    </a:lnTo>
                    <a:lnTo>
                      <a:pt x="3712" y="18315"/>
                    </a:lnTo>
                    <a:lnTo>
                      <a:pt x="3485" y="18315"/>
                    </a:lnTo>
                    <a:lnTo>
                      <a:pt x="2159" y="18758"/>
                    </a:lnTo>
                    <a:lnTo>
                      <a:pt x="1553" y="17428"/>
                    </a:lnTo>
                    <a:lnTo>
                      <a:pt x="0" y="15787"/>
                    </a:lnTo>
                    <a:lnTo>
                      <a:pt x="379" y="9623"/>
                    </a:lnTo>
                    <a:lnTo>
                      <a:pt x="3485" y="9623"/>
                    </a:lnTo>
                    <a:lnTo>
                      <a:pt x="3485" y="9135"/>
                    </a:lnTo>
                    <a:lnTo>
                      <a:pt x="3485" y="8692"/>
                    </a:lnTo>
                    <a:lnTo>
                      <a:pt x="3485" y="7317"/>
                    </a:lnTo>
                    <a:lnTo>
                      <a:pt x="3485" y="5055"/>
                    </a:lnTo>
                    <a:lnTo>
                      <a:pt x="4091" y="5499"/>
                    </a:lnTo>
                    <a:lnTo>
                      <a:pt x="4470" y="6608"/>
                    </a:lnTo>
                    <a:lnTo>
                      <a:pt x="5644" y="5499"/>
                    </a:lnTo>
                    <a:lnTo>
                      <a:pt x="6061" y="6608"/>
                    </a:lnTo>
                    <a:lnTo>
                      <a:pt x="7197" y="7317"/>
                    </a:lnTo>
                    <a:lnTo>
                      <a:pt x="7803" y="7317"/>
                    </a:lnTo>
                    <a:lnTo>
                      <a:pt x="8598" y="7317"/>
                    </a:lnTo>
                    <a:lnTo>
                      <a:pt x="8598" y="6608"/>
                    </a:lnTo>
                    <a:lnTo>
                      <a:pt x="8826" y="6608"/>
                    </a:lnTo>
                    <a:lnTo>
                      <a:pt x="9773" y="7982"/>
                    </a:lnTo>
                    <a:lnTo>
                      <a:pt x="10758" y="7982"/>
                    </a:lnTo>
                    <a:lnTo>
                      <a:pt x="11742" y="9623"/>
                    </a:lnTo>
                    <a:lnTo>
                      <a:pt x="11932" y="10333"/>
                    </a:lnTo>
                    <a:lnTo>
                      <a:pt x="12917" y="9845"/>
                    </a:lnTo>
                    <a:lnTo>
                      <a:pt x="12917" y="10333"/>
                    </a:lnTo>
                    <a:lnTo>
                      <a:pt x="13295" y="7982"/>
                    </a:lnTo>
                    <a:lnTo>
                      <a:pt x="12727" y="7982"/>
                    </a:lnTo>
                    <a:lnTo>
                      <a:pt x="12727" y="8514"/>
                    </a:lnTo>
                    <a:lnTo>
                      <a:pt x="11932" y="7982"/>
                    </a:lnTo>
                    <a:lnTo>
                      <a:pt x="11136" y="7317"/>
                    </a:lnTo>
                    <a:lnTo>
                      <a:pt x="10758" y="6874"/>
                    </a:lnTo>
                    <a:lnTo>
                      <a:pt x="11136" y="5942"/>
                    </a:lnTo>
                    <a:lnTo>
                      <a:pt x="11136" y="5055"/>
                    </a:lnTo>
                    <a:lnTo>
                      <a:pt x="11364" y="4346"/>
                    </a:lnTo>
                    <a:lnTo>
                      <a:pt x="11364" y="2971"/>
                    </a:lnTo>
                    <a:lnTo>
                      <a:pt x="11136" y="2528"/>
                    </a:lnTo>
                    <a:lnTo>
                      <a:pt x="11742" y="1818"/>
                    </a:lnTo>
                    <a:lnTo>
                      <a:pt x="11932" y="710"/>
                    </a:lnTo>
                    <a:lnTo>
                      <a:pt x="11932" y="177"/>
                    </a:lnTo>
                    <a:lnTo>
                      <a:pt x="1526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1" name="Freeform 108"/>
              <p:cNvSpPr>
                <a:spLocks/>
              </p:cNvSpPr>
              <p:nvPr/>
            </p:nvSpPr>
            <p:spPr bwMode="auto">
              <a:xfrm>
                <a:off x="4498975" y="3971925"/>
                <a:ext cx="171450" cy="125413"/>
              </a:xfrm>
              <a:custGeom>
                <a:avLst/>
                <a:gdLst>
                  <a:gd name="T0" fmla="*/ 2222 w 20000"/>
                  <a:gd name="T1" fmla="*/ 2030 h 20000"/>
                  <a:gd name="T2" fmla="*/ 3778 w 20000"/>
                  <a:gd name="T3" fmla="*/ 406 h 20000"/>
                  <a:gd name="T4" fmla="*/ 6148 w 20000"/>
                  <a:gd name="T5" fmla="*/ 406 h 20000"/>
                  <a:gd name="T6" fmla="*/ 9185 w 20000"/>
                  <a:gd name="T7" fmla="*/ 0 h 20000"/>
                  <a:gd name="T8" fmla="*/ 10296 w 20000"/>
                  <a:gd name="T9" fmla="*/ 406 h 20000"/>
                  <a:gd name="T10" fmla="*/ 11926 w 20000"/>
                  <a:gd name="T11" fmla="*/ 3147 h 20000"/>
                  <a:gd name="T12" fmla="*/ 13037 w 20000"/>
                  <a:gd name="T13" fmla="*/ 3147 h 20000"/>
                  <a:gd name="T14" fmla="*/ 13407 w 20000"/>
                  <a:gd name="T15" fmla="*/ 5787 h 20000"/>
                  <a:gd name="T16" fmla="*/ 14148 w 20000"/>
                  <a:gd name="T17" fmla="*/ 5787 h 20000"/>
                  <a:gd name="T18" fmla="*/ 14963 w 20000"/>
                  <a:gd name="T19" fmla="*/ 7310 h 20000"/>
                  <a:gd name="T20" fmla="*/ 15259 w 20000"/>
                  <a:gd name="T21" fmla="*/ 8325 h 20000"/>
                  <a:gd name="T22" fmla="*/ 17259 w 20000"/>
                  <a:gd name="T23" fmla="*/ 8934 h 20000"/>
                  <a:gd name="T24" fmla="*/ 17259 w 20000"/>
                  <a:gd name="T25" fmla="*/ 10964 h 20000"/>
                  <a:gd name="T26" fmla="*/ 18000 w 20000"/>
                  <a:gd name="T27" fmla="*/ 11574 h 20000"/>
                  <a:gd name="T28" fmla="*/ 17259 w 20000"/>
                  <a:gd name="T29" fmla="*/ 14112 h 20000"/>
                  <a:gd name="T30" fmla="*/ 18000 w 20000"/>
                  <a:gd name="T31" fmla="*/ 15736 h 20000"/>
                  <a:gd name="T32" fmla="*/ 18444 w 20000"/>
                  <a:gd name="T33" fmla="*/ 15736 h 20000"/>
                  <a:gd name="T34" fmla="*/ 19926 w 20000"/>
                  <a:gd name="T35" fmla="*/ 17259 h 20000"/>
                  <a:gd name="T36" fmla="*/ 19926 w 20000"/>
                  <a:gd name="T37" fmla="*/ 19391 h 20000"/>
                  <a:gd name="T38" fmla="*/ 18000 w 20000"/>
                  <a:gd name="T39" fmla="*/ 19391 h 20000"/>
                  <a:gd name="T40" fmla="*/ 17259 w 20000"/>
                  <a:gd name="T41" fmla="*/ 19391 h 20000"/>
                  <a:gd name="T42" fmla="*/ 16148 w 20000"/>
                  <a:gd name="T43" fmla="*/ 19898 h 20000"/>
                  <a:gd name="T44" fmla="*/ 14148 w 20000"/>
                  <a:gd name="T45" fmla="*/ 19391 h 20000"/>
                  <a:gd name="T46" fmla="*/ 14148 w 20000"/>
                  <a:gd name="T47" fmla="*/ 18274 h 20000"/>
                  <a:gd name="T48" fmla="*/ 11926 w 20000"/>
                  <a:gd name="T49" fmla="*/ 18274 h 20000"/>
                  <a:gd name="T50" fmla="*/ 6889 w 20000"/>
                  <a:gd name="T51" fmla="*/ 18274 h 20000"/>
                  <a:gd name="T52" fmla="*/ 5407 w 20000"/>
                  <a:gd name="T53" fmla="*/ 19391 h 20000"/>
                  <a:gd name="T54" fmla="*/ 4222 w 20000"/>
                  <a:gd name="T55" fmla="*/ 19391 h 20000"/>
                  <a:gd name="T56" fmla="*/ 1926 w 20000"/>
                  <a:gd name="T57" fmla="*/ 19898 h 20000"/>
                  <a:gd name="T58" fmla="*/ 4222 w 20000"/>
                  <a:gd name="T59" fmla="*/ 18274 h 20000"/>
                  <a:gd name="T60" fmla="*/ 1926 w 20000"/>
                  <a:gd name="T61" fmla="*/ 18274 h 20000"/>
                  <a:gd name="T62" fmla="*/ 1185 w 20000"/>
                  <a:gd name="T63" fmla="*/ 16751 h 20000"/>
                  <a:gd name="T64" fmla="*/ 4963 w 20000"/>
                  <a:gd name="T65" fmla="*/ 15736 h 20000"/>
                  <a:gd name="T66" fmla="*/ 4963 w 20000"/>
                  <a:gd name="T67" fmla="*/ 15127 h 20000"/>
                  <a:gd name="T68" fmla="*/ 6148 w 20000"/>
                  <a:gd name="T69" fmla="*/ 15127 h 20000"/>
                  <a:gd name="T70" fmla="*/ 7259 w 20000"/>
                  <a:gd name="T71" fmla="*/ 14112 h 20000"/>
                  <a:gd name="T72" fmla="*/ 10296 w 20000"/>
                  <a:gd name="T73" fmla="*/ 15736 h 20000"/>
                  <a:gd name="T74" fmla="*/ 11926 w 20000"/>
                  <a:gd name="T75" fmla="*/ 14112 h 20000"/>
                  <a:gd name="T76" fmla="*/ 9926 w 20000"/>
                  <a:gd name="T77" fmla="*/ 14112 h 20000"/>
                  <a:gd name="T78" fmla="*/ 8000 w 20000"/>
                  <a:gd name="T79" fmla="*/ 13096 h 20000"/>
                  <a:gd name="T80" fmla="*/ 5407 w 20000"/>
                  <a:gd name="T81" fmla="*/ 13096 h 20000"/>
                  <a:gd name="T82" fmla="*/ 1926 w 20000"/>
                  <a:gd name="T83" fmla="*/ 14112 h 20000"/>
                  <a:gd name="T84" fmla="*/ 1926 w 20000"/>
                  <a:gd name="T85" fmla="*/ 13096 h 20000"/>
                  <a:gd name="T86" fmla="*/ 2222 w 20000"/>
                  <a:gd name="T87" fmla="*/ 12589 h 20000"/>
                  <a:gd name="T88" fmla="*/ 1185 w 20000"/>
                  <a:gd name="T89" fmla="*/ 12589 h 20000"/>
                  <a:gd name="T90" fmla="*/ 296 w 20000"/>
                  <a:gd name="T91" fmla="*/ 11574 h 20000"/>
                  <a:gd name="T92" fmla="*/ 0 w 20000"/>
                  <a:gd name="T93" fmla="*/ 8934 h 20000"/>
                  <a:gd name="T94" fmla="*/ 296 w 20000"/>
                  <a:gd name="T95" fmla="*/ 7310 h 20000"/>
                  <a:gd name="T96" fmla="*/ 1926 w 20000"/>
                  <a:gd name="T97" fmla="*/ 4772 h 20000"/>
                  <a:gd name="T98" fmla="*/ 2222 w 20000"/>
                  <a:gd name="T99" fmla="*/ 203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00" h="20000">
                    <a:moveTo>
                      <a:pt x="2222" y="2030"/>
                    </a:moveTo>
                    <a:lnTo>
                      <a:pt x="3778" y="406"/>
                    </a:lnTo>
                    <a:lnTo>
                      <a:pt x="6148" y="406"/>
                    </a:lnTo>
                    <a:lnTo>
                      <a:pt x="9185" y="0"/>
                    </a:lnTo>
                    <a:lnTo>
                      <a:pt x="10296" y="406"/>
                    </a:lnTo>
                    <a:lnTo>
                      <a:pt x="11926" y="3147"/>
                    </a:lnTo>
                    <a:lnTo>
                      <a:pt x="13037" y="3147"/>
                    </a:lnTo>
                    <a:lnTo>
                      <a:pt x="13407" y="5787"/>
                    </a:lnTo>
                    <a:lnTo>
                      <a:pt x="14148" y="5787"/>
                    </a:lnTo>
                    <a:lnTo>
                      <a:pt x="14963" y="7310"/>
                    </a:lnTo>
                    <a:lnTo>
                      <a:pt x="15259" y="8325"/>
                    </a:lnTo>
                    <a:lnTo>
                      <a:pt x="17259" y="8934"/>
                    </a:lnTo>
                    <a:lnTo>
                      <a:pt x="17259" y="10964"/>
                    </a:lnTo>
                    <a:lnTo>
                      <a:pt x="18000" y="11574"/>
                    </a:lnTo>
                    <a:lnTo>
                      <a:pt x="17259" y="14112"/>
                    </a:lnTo>
                    <a:lnTo>
                      <a:pt x="18000" y="15736"/>
                    </a:lnTo>
                    <a:lnTo>
                      <a:pt x="18444" y="15736"/>
                    </a:lnTo>
                    <a:lnTo>
                      <a:pt x="19926" y="17259"/>
                    </a:lnTo>
                    <a:lnTo>
                      <a:pt x="19926" y="19391"/>
                    </a:lnTo>
                    <a:lnTo>
                      <a:pt x="18000" y="19391"/>
                    </a:lnTo>
                    <a:lnTo>
                      <a:pt x="17259" y="19391"/>
                    </a:lnTo>
                    <a:lnTo>
                      <a:pt x="16148" y="19898"/>
                    </a:lnTo>
                    <a:lnTo>
                      <a:pt x="14148" y="19391"/>
                    </a:lnTo>
                    <a:lnTo>
                      <a:pt x="14148" y="18274"/>
                    </a:lnTo>
                    <a:lnTo>
                      <a:pt x="11926" y="18274"/>
                    </a:lnTo>
                    <a:lnTo>
                      <a:pt x="6889" y="18274"/>
                    </a:lnTo>
                    <a:lnTo>
                      <a:pt x="5407" y="19391"/>
                    </a:lnTo>
                    <a:lnTo>
                      <a:pt x="4222" y="19391"/>
                    </a:lnTo>
                    <a:lnTo>
                      <a:pt x="1926" y="19898"/>
                    </a:lnTo>
                    <a:lnTo>
                      <a:pt x="4222" y="18274"/>
                    </a:lnTo>
                    <a:lnTo>
                      <a:pt x="1926" y="18274"/>
                    </a:lnTo>
                    <a:lnTo>
                      <a:pt x="1185" y="16751"/>
                    </a:lnTo>
                    <a:lnTo>
                      <a:pt x="4963" y="15736"/>
                    </a:lnTo>
                    <a:lnTo>
                      <a:pt x="4963" y="15127"/>
                    </a:lnTo>
                    <a:lnTo>
                      <a:pt x="6148" y="15127"/>
                    </a:lnTo>
                    <a:lnTo>
                      <a:pt x="7259" y="14112"/>
                    </a:lnTo>
                    <a:lnTo>
                      <a:pt x="10296" y="15736"/>
                    </a:lnTo>
                    <a:lnTo>
                      <a:pt x="11926" y="14112"/>
                    </a:lnTo>
                    <a:lnTo>
                      <a:pt x="9926" y="14112"/>
                    </a:lnTo>
                    <a:lnTo>
                      <a:pt x="8000" y="13096"/>
                    </a:lnTo>
                    <a:lnTo>
                      <a:pt x="5407" y="13096"/>
                    </a:lnTo>
                    <a:lnTo>
                      <a:pt x="1926" y="14112"/>
                    </a:lnTo>
                    <a:lnTo>
                      <a:pt x="1926" y="13096"/>
                    </a:lnTo>
                    <a:lnTo>
                      <a:pt x="2222" y="12589"/>
                    </a:lnTo>
                    <a:lnTo>
                      <a:pt x="1185" y="12589"/>
                    </a:lnTo>
                    <a:lnTo>
                      <a:pt x="296" y="11574"/>
                    </a:lnTo>
                    <a:lnTo>
                      <a:pt x="0" y="8934"/>
                    </a:lnTo>
                    <a:lnTo>
                      <a:pt x="296" y="7310"/>
                    </a:lnTo>
                    <a:lnTo>
                      <a:pt x="1926" y="4772"/>
                    </a:lnTo>
                    <a:lnTo>
                      <a:pt x="2222" y="20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2" name="Freeform 107"/>
              <p:cNvSpPr>
                <a:spLocks/>
              </p:cNvSpPr>
              <p:nvPr/>
            </p:nvSpPr>
            <p:spPr bwMode="auto">
              <a:xfrm>
                <a:off x="4611688" y="4162425"/>
                <a:ext cx="85725" cy="96838"/>
              </a:xfrm>
              <a:custGeom>
                <a:avLst/>
                <a:gdLst>
                  <a:gd name="T0" fmla="*/ 0 w 20000"/>
                  <a:gd name="T1" fmla="*/ 6184 h 20000"/>
                  <a:gd name="T2" fmla="*/ 2222 w 20000"/>
                  <a:gd name="T3" fmla="*/ 4079 h 20000"/>
                  <a:gd name="T4" fmla="*/ 3852 w 20000"/>
                  <a:gd name="T5" fmla="*/ 4079 h 20000"/>
                  <a:gd name="T6" fmla="*/ 6074 w 20000"/>
                  <a:gd name="T7" fmla="*/ 789 h 20000"/>
                  <a:gd name="T8" fmla="*/ 6815 w 20000"/>
                  <a:gd name="T9" fmla="*/ 789 h 20000"/>
                  <a:gd name="T10" fmla="*/ 13778 w 20000"/>
                  <a:gd name="T11" fmla="*/ 0 h 20000"/>
                  <a:gd name="T12" fmla="*/ 16000 w 20000"/>
                  <a:gd name="T13" fmla="*/ 3421 h 20000"/>
                  <a:gd name="T14" fmla="*/ 16000 w 20000"/>
                  <a:gd name="T15" fmla="*/ 5395 h 20000"/>
                  <a:gd name="T16" fmla="*/ 16889 w 20000"/>
                  <a:gd name="T17" fmla="*/ 6184 h 20000"/>
                  <a:gd name="T18" fmla="*/ 16889 w 20000"/>
                  <a:gd name="T19" fmla="*/ 9605 h 20000"/>
                  <a:gd name="T20" fmla="*/ 19852 w 20000"/>
                  <a:gd name="T21" fmla="*/ 9605 h 20000"/>
                  <a:gd name="T22" fmla="*/ 19852 w 20000"/>
                  <a:gd name="T23" fmla="*/ 11579 h 20000"/>
                  <a:gd name="T24" fmla="*/ 18370 w 20000"/>
                  <a:gd name="T25" fmla="*/ 11579 h 20000"/>
                  <a:gd name="T26" fmla="*/ 18370 w 20000"/>
                  <a:gd name="T27" fmla="*/ 14211 h 20000"/>
                  <a:gd name="T28" fmla="*/ 16000 w 20000"/>
                  <a:gd name="T29" fmla="*/ 16316 h 20000"/>
                  <a:gd name="T30" fmla="*/ 13778 w 20000"/>
                  <a:gd name="T31" fmla="*/ 19868 h 20000"/>
                  <a:gd name="T32" fmla="*/ 8444 w 20000"/>
                  <a:gd name="T33" fmla="*/ 17763 h 20000"/>
                  <a:gd name="T34" fmla="*/ 2222 w 20000"/>
                  <a:gd name="T35" fmla="*/ 15000 h 20000"/>
                  <a:gd name="T36" fmla="*/ 2222 w 20000"/>
                  <a:gd name="T37" fmla="*/ 12895 h 20000"/>
                  <a:gd name="T38" fmla="*/ 0 w 20000"/>
                  <a:gd name="T39" fmla="*/ 9605 h 20000"/>
                  <a:gd name="T40" fmla="*/ 0 w 20000"/>
                  <a:gd name="T41" fmla="*/ 7500 h 20000"/>
                  <a:gd name="T42" fmla="*/ 0 w 20000"/>
                  <a:gd name="T43" fmla="*/ 61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0" y="6184"/>
                    </a:moveTo>
                    <a:lnTo>
                      <a:pt x="2222" y="4079"/>
                    </a:lnTo>
                    <a:lnTo>
                      <a:pt x="3852" y="4079"/>
                    </a:lnTo>
                    <a:lnTo>
                      <a:pt x="6074" y="789"/>
                    </a:lnTo>
                    <a:lnTo>
                      <a:pt x="6815" y="789"/>
                    </a:lnTo>
                    <a:lnTo>
                      <a:pt x="13778" y="0"/>
                    </a:lnTo>
                    <a:lnTo>
                      <a:pt x="16000" y="3421"/>
                    </a:lnTo>
                    <a:lnTo>
                      <a:pt x="16000" y="5395"/>
                    </a:lnTo>
                    <a:lnTo>
                      <a:pt x="16889" y="6184"/>
                    </a:lnTo>
                    <a:lnTo>
                      <a:pt x="16889" y="9605"/>
                    </a:lnTo>
                    <a:lnTo>
                      <a:pt x="19852" y="9605"/>
                    </a:lnTo>
                    <a:lnTo>
                      <a:pt x="19852" y="11579"/>
                    </a:lnTo>
                    <a:lnTo>
                      <a:pt x="18370" y="11579"/>
                    </a:lnTo>
                    <a:lnTo>
                      <a:pt x="18370" y="14211"/>
                    </a:lnTo>
                    <a:lnTo>
                      <a:pt x="16000" y="16316"/>
                    </a:lnTo>
                    <a:lnTo>
                      <a:pt x="13778" y="19868"/>
                    </a:lnTo>
                    <a:lnTo>
                      <a:pt x="8444" y="17763"/>
                    </a:lnTo>
                    <a:lnTo>
                      <a:pt x="2222" y="15000"/>
                    </a:lnTo>
                    <a:lnTo>
                      <a:pt x="2222" y="12895"/>
                    </a:lnTo>
                    <a:lnTo>
                      <a:pt x="0" y="9605"/>
                    </a:lnTo>
                    <a:lnTo>
                      <a:pt x="0" y="7500"/>
                    </a:lnTo>
                    <a:lnTo>
                      <a:pt x="0" y="61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3" name="Freeform 106"/>
              <p:cNvSpPr>
                <a:spLocks/>
              </p:cNvSpPr>
              <p:nvPr/>
            </p:nvSpPr>
            <p:spPr bwMode="auto">
              <a:xfrm>
                <a:off x="5692775" y="4903788"/>
                <a:ext cx="220663" cy="198437"/>
              </a:xfrm>
              <a:custGeom>
                <a:avLst/>
                <a:gdLst>
                  <a:gd name="T0" fmla="*/ 0 w 20000"/>
                  <a:gd name="T1" fmla="*/ 6026 h 20000"/>
                  <a:gd name="T2" fmla="*/ 1207 w 20000"/>
                  <a:gd name="T3" fmla="*/ 6282 h 20000"/>
                  <a:gd name="T4" fmla="*/ 3563 w 20000"/>
                  <a:gd name="T5" fmla="*/ 6282 h 20000"/>
                  <a:gd name="T6" fmla="*/ 3851 w 20000"/>
                  <a:gd name="T7" fmla="*/ 6987 h 20000"/>
                  <a:gd name="T8" fmla="*/ 5057 w 20000"/>
                  <a:gd name="T9" fmla="*/ 6282 h 20000"/>
                  <a:gd name="T10" fmla="*/ 6264 w 20000"/>
                  <a:gd name="T11" fmla="*/ 3654 h 20000"/>
                  <a:gd name="T12" fmla="*/ 7759 w 20000"/>
                  <a:gd name="T13" fmla="*/ 2628 h 20000"/>
                  <a:gd name="T14" fmla="*/ 9253 w 20000"/>
                  <a:gd name="T15" fmla="*/ 1987 h 20000"/>
                  <a:gd name="T16" fmla="*/ 9253 w 20000"/>
                  <a:gd name="T17" fmla="*/ 641 h 20000"/>
                  <a:gd name="T18" fmla="*/ 11322 w 20000"/>
                  <a:gd name="T19" fmla="*/ 0 h 20000"/>
                  <a:gd name="T20" fmla="*/ 12529 w 20000"/>
                  <a:gd name="T21" fmla="*/ 0 h 20000"/>
                  <a:gd name="T22" fmla="*/ 13103 w 20000"/>
                  <a:gd name="T23" fmla="*/ 0 h 20000"/>
                  <a:gd name="T24" fmla="*/ 13736 w 20000"/>
                  <a:gd name="T25" fmla="*/ 1026 h 20000"/>
                  <a:gd name="T26" fmla="*/ 15517 w 20000"/>
                  <a:gd name="T27" fmla="*/ 641 h 20000"/>
                  <a:gd name="T28" fmla="*/ 16092 w 20000"/>
                  <a:gd name="T29" fmla="*/ 1026 h 20000"/>
                  <a:gd name="T30" fmla="*/ 17011 w 20000"/>
                  <a:gd name="T31" fmla="*/ 1667 h 20000"/>
                  <a:gd name="T32" fmla="*/ 17586 w 20000"/>
                  <a:gd name="T33" fmla="*/ 1987 h 20000"/>
                  <a:gd name="T34" fmla="*/ 19368 w 20000"/>
                  <a:gd name="T35" fmla="*/ 1987 h 20000"/>
                  <a:gd name="T36" fmla="*/ 19368 w 20000"/>
                  <a:gd name="T37" fmla="*/ 2628 h 20000"/>
                  <a:gd name="T38" fmla="*/ 19943 w 20000"/>
                  <a:gd name="T39" fmla="*/ 4295 h 20000"/>
                  <a:gd name="T40" fmla="*/ 19943 w 20000"/>
                  <a:gd name="T41" fmla="*/ 6026 h 20000"/>
                  <a:gd name="T42" fmla="*/ 19943 w 20000"/>
                  <a:gd name="T43" fmla="*/ 7628 h 20000"/>
                  <a:gd name="T44" fmla="*/ 19943 w 20000"/>
                  <a:gd name="T45" fmla="*/ 8013 h 20000"/>
                  <a:gd name="T46" fmla="*/ 19368 w 20000"/>
                  <a:gd name="T47" fmla="*/ 8654 h 20000"/>
                  <a:gd name="T48" fmla="*/ 19943 w 20000"/>
                  <a:gd name="T49" fmla="*/ 8910 h 20000"/>
                  <a:gd name="T50" fmla="*/ 19368 w 20000"/>
                  <a:gd name="T51" fmla="*/ 8910 h 20000"/>
                  <a:gd name="T52" fmla="*/ 19368 w 20000"/>
                  <a:gd name="T53" fmla="*/ 10256 h 20000"/>
                  <a:gd name="T54" fmla="*/ 19368 w 20000"/>
                  <a:gd name="T55" fmla="*/ 11282 h 20000"/>
                  <a:gd name="T56" fmla="*/ 19943 w 20000"/>
                  <a:gd name="T57" fmla="*/ 12308 h 20000"/>
                  <a:gd name="T58" fmla="*/ 18793 w 20000"/>
                  <a:gd name="T59" fmla="*/ 13910 h 20000"/>
                  <a:gd name="T60" fmla="*/ 18448 w 20000"/>
                  <a:gd name="T61" fmla="*/ 14936 h 20000"/>
                  <a:gd name="T62" fmla="*/ 18448 w 20000"/>
                  <a:gd name="T63" fmla="*/ 15897 h 20000"/>
                  <a:gd name="T64" fmla="*/ 17874 w 20000"/>
                  <a:gd name="T65" fmla="*/ 17308 h 20000"/>
                  <a:gd name="T66" fmla="*/ 15172 w 20000"/>
                  <a:gd name="T67" fmla="*/ 19936 h 20000"/>
                  <a:gd name="T68" fmla="*/ 14598 w 20000"/>
                  <a:gd name="T69" fmla="*/ 19231 h 20000"/>
                  <a:gd name="T70" fmla="*/ 13103 w 20000"/>
                  <a:gd name="T71" fmla="*/ 19936 h 20000"/>
                  <a:gd name="T72" fmla="*/ 11609 w 20000"/>
                  <a:gd name="T73" fmla="*/ 19231 h 20000"/>
                  <a:gd name="T74" fmla="*/ 10115 w 20000"/>
                  <a:gd name="T75" fmla="*/ 19231 h 20000"/>
                  <a:gd name="T76" fmla="*/ 9253 w 20000"/>
                  <a:gd name="T77" fmla="*/ 19231 h 20000"/>
                  <a:gd name="T78" fmla="*/ 9253 w 20000"/>
                  <a:gd name="T79" fmla="*/ 17564 h 20000"/>
                  <a:gd name="T80" fmla="*/ 7759 w 20000"/>
                  <a:gd name="T81" fmla="*/ 17308 h 20000"/>
                  <a:gd name="T82" fmla="*/ 6839 w 20000"/>
                  <a:gd name="T83" fmla="*/ 17308 h 20000"/>
                  <a:gd name="T84" fmla="*/ 6264 w 20000"/>
                  <a:gd name="T85" fmla="*/ 15897 h 20000"/>
                  <a:gd name="T86" fmla="*/ 5977 w 20000"/>
                  <a:gd name="T87" fmla="*/ 13910 h 20000"/>
                  <a:gd name="T88" fmla="*/ 5402 w 20000"/>
                  <a:gd name="T89" fmla="*/ 13910 h 20000"/>
                  <a:gd name="T90" fmla="*/ 5057 w 20000"/>
                  <a:gd name="T91" fmla="*/ 12308 h 20000"/>
                  <a:gd name="T92" fmla="*/ 3563 w 20000"/>
                  <a:gd name="T93" fmla="*/ 11667 h 20000"/>
                  <a:gd name="T94" fmla="*/ 2126 w 20000"/>
                  <a:gd name="T95" fmla="*/ 10641 h 20000"/>
                  <a:gd name="T96" fmla="*/ 2126 w 20000"/>
                  <a:gd name="T97" fmla="*/ 9615 h 20000"/>
                  <a:gd name="T98" fmla="*/ 575 w 20000"/>
                  <a:gd name="T99" fmla="*/ 7628 h 20000"/>
                  <a:gd name="T100" fmla="*/ 0 w 20000"/>
                  <a:gd name="T101" fmla="*/ 602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0" y="6026"/>
                    </a:moveTo>
                    <a:lnTo>
                      <a:pt x="1207" y="6282"/>
                    </a:lnTo>
                    <a:lnTo>
                      <a:pt x="3563" y="6282"/>
                    </a:lnTo>
                    <a:lnTo>
                      <a:pt x="3851" y="6987"/>
                    </a:lnTo>
                    <a:lnTo>
                      <a:pt x="5057" y="6282"/>
                    </a:lnTo>
                    <a:lnTo>
                      <a:pt x="6264" y="3654"/>
                    </a:lnTo>
                    <a:lnTo>
                      <a:pt x="7759" y="2628"/>
                    </a:lnTo>
                    <a:lnTo>
                      <a:pt x="9253" y="1987"/>
                    </a:lnTo>
                    <a:lnTo>
                      <a:pt x="9253" y="641"/>
                    </a:lnTo>
                    <a:lnTo>
                      <a:pt x="11322" y="0"/>
                    </a:lnTo>
                    <a:lnTo>
                      <a:pt x="12529" y="0"/>
                    </a:lnTo>
                    <a:lnTo>
                      <a:pt x="13103" y="0"/>
                    </a:lnTo>
                    <a:lnTo>
                      <a:pt x="13736" y="1026"/>
                    </a:lnTo>
                    <a:lnTo>
                      <a:pt x="15517" y="641"/>
                    </a:lnTo>
                    <a:lnTo>
                      <a:pt x="16092" y="1026"/>
                    </a:lnTo>
                    <a:lnTo>
                      <a:pt x="17011" y="1667"/>
                    </a:lnTo>
                    <a:lnTo>
                      <a:pt x="17586" y="1987"/>
                    </a:lnTo>
                    <a:lnTo>
                      <a:pt x="19368" y="1987"/>
                    </a:lnTo>
                    <a:lnTo>
                      <a:pt x="19368" y="2628"/>
                    </a:lnTo>
                    <a:lnTo>
                      <a:pt x="19943" y="4295"/>
                    </a:lnTo>
                    <a:lnTo>
                      <a:pt x="19943" y="6026"/>
                    </a:lnTo>
                    <a:lnTo>
                      <a:pt x="19943" y="7628"/>
                    </a:lnTo>
                    <a:lnTo>
                      <a:pt x="19943" y="8013"/>
                    </a:lnTo>
                    <a:lnTo>
                      <a:pt x="19368" y="8654"/>
                    </a:lnTo>
                    <a:lnTo>
                      <a:pt x="19943" y="8910"/>
                    </a:lnTo>
                    <a:lnTo>
                      <a:pt x="19368" y="8910"/>
                    </a:lnTo>
                    <a:lnTo>
                      <a:pt x="19368" y="10256"/>
                    </a:lnTo>
                    <a:lnTo>
                      <a:pt x="19368" y="11282"/>
                    </a:lnTo>
                    <a:lnTo>
                      <a:pt x="19943" y="12308"/>
                    </a:lnTo>
                    <a:lnTo>
                      <a:pt x="18793" y="13910"/>
                    </a:lnTo>
                    <a:lnTo>
                      <a:pt x="18448" y="14936"/>
                    </a:lnTo>
                    <a:lnTo>
                      <a:pt x="18448" y="15897"/>
                    </a:lnTo>
                    <a:lnTo>
                      <a:pt x="17874" y="17308"/>
                    </a:lnTo>
                    <a:lnTo>
                      <a:pt x="15172" y="19936"/>
                    </a:lnTo>
                    <a:lnTo>
                      <a:pt x="14598" y="19231"/>
                    </a:lnTo>
                    <a:lnTo>
                      <a:pt x="13103" y="19936"/>
                    </a:lnTo>
                    <a:lnTo>
                      <a:pt x="11609" y="19231"/>
                    </a:lnTo>
                    <a:lnTo>
                      <a:pt x="10115" y="19231"/>
                    </a:lnTo>
                    <a:lnTo>
                      <a:pt x="9253" y="19231"/>
                    </a:lnTo>
                    <a:lnTo>
                      <a:pt x="9253" y="17564"/>
                    </a:lnTo>
                    <a:lnTo>
                      <a:pt x="7759" y="17308"/>
                    </a:lnTo>
                    <a:lnTo>
                      <a:pt x="6839" y="17308"/>
                    </a:lnTo>
                    <a:lnTo>
                      <a:pt x="6264" y="15897"/>
                    </a:lnTo>
                    <a:lnTo>
                      <a:pt x="5977" y="13910"/>
                    </a:lnTo>
                    <a:lnTo>
                      <a:pt x="5402" y="13910"/>
                    </a:lnTo>
                    <a:lnTo>
                      <a:pt x="5057" y="12308"/>
                    </a:lnTo>
                    <a:lnTo>
                      <a:pt x="3563" y="11667"/>
                    </a:lnTo>
                    <a:lnTo>
                      <a:pt x="2126" y="10641"/>
                    </a:lnTo>
                    <a:lnTo>
                      <a:pt x="2126" y="9615"/>
                    </a:lnTo>
                    <a:lnTo>
                      <a:pt x="575" y="7628"/>
                    </a:lnTo>
                    <a:lnTo>
                      <a:pt x="0" y="602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4" name="Freeform 105"/>
              <p:cNvSpPr>
                <a:spLocks/>
              </p:cNvSpPr>
              <p:nvPr/>
            </p:nvSpPr>
            <p:spPr bwMode="auto">
              <a:xfrm>
                <a:off x="6149975" y="4111625"/>
                <a:ext cx="282575" cy="382588"/>
              </a:xfrm>
              <a:custGeom>
                <a:avLst/>
                <a:gdLst>
                  <a:gd name="T0" fmla="*/ 3453 w 20000"/>
                  <a:gd name="T1" fmla="*/ 1728 h 20000"/>
                  <a:gd name="T2" fmla="*/ 3946 w 20000"/>
                  <a:gd name="T3" fmla="*/ 1229 h 20000"/>
                  <a:gd name="T4" fmla="*/ 4170 w 20000"/>
                  <a:gd name="T5" fmla="*/ 897 h 20000"/>
                  <a:gd name="T6" fmla="*/ 5785 w 20000"/>
                  <a:gd name="T7" fmla="*/ 2259 h 20000"/>
                  <a:gd name="T8" fmla="*/ 6951 w 20000"/>
                  <a:gd name="T9" fmla="*/ 2591 h 20000"/>
                  <a:gd name="T10" fmla="*/ 9058 w 20000"/>
                  <a:gd name="T11" fmla="*/ 1728 h 20000"/>
                  <a:gd name="T12" fmla="*/ 10628 w 20000"/>
                  <a:gd name="T13" fmla="*/ 1894 h 20000"/>
                  <a:gd name="T14" fmla="*/ 12556 w 20000"/>
                  <a:gd name="T15" fmla="*/ 1395 h 20000"/>
                  <a:gd name="T16" fmla="*/ 13229 w 20000"/>
                  <a:gd name="T17" fmla="*/ 1395 h 20000"/>
                  <a:gd name="T18" fmla="*/ 15112 w 20000"/>
                  <a:gd name="T19" fmla="*/ 1229 h 20000"/>
                  <a:gd name="T20" fmla="*/ 16233 w 20000"/>
                  <a:gd name="T21" fmla="*/ 1229 h 20000"/>
                  <a:gd name="T22" fmla="*/ 17668 w 20000"/>
                  <a:gd name="T23" fmla="*/ 897 h 20000"/>
                  <a:gd name="T24" fmla="*/ 18565 w 20000"/>
                  <a:gd name="T25" fmla="*/ 532 h 20000"/>
                  <a:gd name="T26" fmla="*/ 18789 w 20000"/>
                  <a:gd name="T27" fmla="*/ 0 h 20000"/>
                  <a:gd name="T28" fmla="*/ 19955 w 20000"/>
                  <a:gd name="T29" fmla="*/ 365 h 20000"/>
                  <a:gd name="T30" fmla="*/ 19507 w 20000"/>
                  <a:gd name="T31" fmla="*/ 1229 h 20000"/>
                  <a:gd name="T32" fmla="*/ 19507 w 20000"/>
                  <a:gd name="T33" fmla="*/ 1395 h 20000"/>
                  <a:gd name="T34" fmla="*/ 19507 w 20000"/>
                  <a:gd name="T35" fmla="*/ 2591 h 20000"/>
                  <a:gd name="T36" fmla="*/ 19238 w 20000"/>
                  <a:gd name="T37" fmla="*/ 3953 h 20000"/>
                  <a:gd name="T38" fmla="*/ 17668 w 20000"/>
                  <a:gd name="T39" fmla="*/ 5515 h 20000"/>
                  <a:gd name="T40" fmla="*/ 17399 w 20000"/>
                  <a:gd name="T41" fmla="*/ 6179 h 20000"/>
                  <a:gd name="T42" fmla="*/ 17399 w 20000"/>
                  <a:gd name="T43" fmla="*/ 6711 h 20000"/>
                  <a:gd name="T44" fmla="*/ 15785 w 20000"/>
                  <a:gd name="T45" fmla="*/ 8439 h 20000"/>
                  <a:gd name="T46" fmla="*/ 15785 w 20000"/>
                  <a:gd name="T47" fmla="*/ 8970 h 20000"/>
                  <a:gd name="T48" fmla="*/ 13722 w 20000"/>
                  <a:gd name="T49" fmla="*/ 11362 h 20000"/>
                  <a:gd name="T50" fmla="*/ 10179 w 20000"/>
                  <a:gd name="T51" fmla="*/ 13920 h 20000"/>
                  <a:gd name="T52" fmla="*/ 7892 w 20000"/>
                  <a:gd name="T53" fmla="*/ 15349 h 20000"/>
                  <a:gd name="T54" fmla="*/ 4170 w 20000"/>
                  <a:gd name="T55" fmla="*/ 17542 h 20000"/>
                  <a:gd name="T56" fmla="*/ 1166 w 20000"/>
                  <a:gd name="T57" fmla="*/ 19967 h 20000"/>
                  <a:gd name="T58" fmla="*/ 0 w 20000"/>
                  <a:gd name="T59" fmla="*/ 18937 h 20000"/>
                  <a:gd name="T60" fmla="*/ 0 w 20000"/>
                  <a:gd name="T61" fmla="*/ 13588 h 20000"/>
                  <a:gd name="T62" fmla="*/ 1839 w 20000"/>
                  <a:gd name="T63" fmla="*/ 12027 h 20000"/>
                  <a:gd name="T64" fmla="*/ 2780 w 20000"/>
                  <a:gd name="T65" fmla="*/ 11694 h 20000"/>
                  <a:gd name="T66" fmla="*/ 3946 w 20000"/>
                  <a:gd name="T67" fmla="*/ 11694 h 20000"/>
                  <a:gd name="T68" fmla="*/ 4664 w 20000"/>
                  <a:gd name="T69" fmla="*/ 10864 h 20000"/>
                  <a:gd name="T70" fmla="*/ 7220 w 20000"/>
                  <a:gd name="T71" fmla="*/ 10332 h 20000"/>
                  <a:gd name="T72" fmla="*/ 7892 w 20000"/>
                  <a:gd name="T73" fmla="*/ 10332 h 20000"/>
                  <a:gd name="T74" fmla="*/ 13722 w 20000"/>
                  <a:gd name="T75" fmla="*/ 5847 h 20000"/>
                  <a:gd name="T76" fmla="*/ 11839 w 20000"/>
                  <a:gd name="T77" fmla="*/ 5847 h 20000"/>
                  <a:gd name="T78" fmla="*/ 5785 w 20000"/>
                  <a:gd name="T79" fmla="*/ 4153 h 20000"/>
                  <a:gd name="T80" fmla="*/ 4664 w 20000"/>
                  <a:gd name="T81" fmla="*/ 3621 h 20000"/>
                  <a:gd name="T82" fmla="*/ 3004 w 20000"/>
                  <a:gd name="T83" fmla="*/ 2259 h 20000"/>
                  <a:gd name="T84" fmla="*/ 3453 w 20000"/>
                  <a:gd name="T85" fmla="*/ 172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3453" y="1728"/>
                    </a:moveTo>
                    <a:lnTo>
                      <a:pt x="3946" y="1229"/>
                    </a:lnTo>
                    <a:lnTo>
                      <a:pt x="4170" y="897"/>
                    </a:lnTo>
                    <a:lnTo>
                      <a:pt x="5785" y="2259"/>
                    </a:lnTo>
                    <a:lnTo>
                      <a:pt x="6951" y="2591"/>
                    </a:lnTo>
                    <a:lnTo>
                      <a:pt x="9058" y="1728"/>
                    </a:lnTo>
                    <a:lnTo>
                      <a:pt x="10628" y="1894"/>
                    </a:lnTo>
                    <a:lnTo>
                      <a:pt x="12556" y="1395"/>
                    </a:lnTo>
                    <a:lnTo>
                      <a:pt x="13229" y="1395"/>
                    </a:lnTo>
                    <a:lnTo>
                      <a:pt x="15112" y="1229"/>
                    </a:lnTo>
                    <a:lnTo>
                      <a:pt x="16233" y="1229"/>
                    </a:lnTo>
                    <a:lnTo>
                      <a:pt x="17668" y="897"/>
                    </a:lnTo>
                    <a:lnTo>
                      <a:pt x="18565" y="532"/>
                    </a:lnTo>
                    <a:lnTo>
                      <a:pt x="18789" y="0"/>
                    </a:lnTo>
                    <a:lnTo>
                      <a:pt x="19955" y="365"/>
                    </a:lnTo>
                    <a:lnTo>
                      <a:pt x="19507" y="1229"/>
                    </a:lnTo>
                    <a:lnTo>
                      <a:pt x="19507" y="1395"/>
                    </a:lnTo>
                    <a:lnTo>
                      <a:pt x="19507" y="2591"/>
                    </a:lnTo>
                    <a:lnTo>
                      <a:pt x="19238" y="3953"/>
                    </a:lnTo>
                    <a:lnTo>
                      <a:pt x="17668" y="5515"/>
                    </a:lnTo>
                    <a:lnTo>
                      <a:pt x="17399" y="6179"/>
                    </a:lnTo>
                    <a:lnTo>
                      <a:pt x="17399" y="6711"/>
                    </a:lnTo>
                    <a:lnTo>
                      <a:pt x="15785" y="8439"/>
                    </a:lnTo>
                    <a:lnTo>
                      <a:pt x="15785" y="8970"/>
                    </a:lnTo>
                    <a:lnTo>
                      <a:pt x="13722" y="11362"/>
                    </a:lnTo>
                    <a:lnTo>
                      <a:pt x="10179" y="13920"/>
                    </a:lnTo>
                    <a:lnTo>
                      <a:pt x="7892" y="15349"/>
                    </a:lnTo>
                    <a:lnTo>
                      <a:pt x="4170" y="17542"/>
                    </a:lnTo>
                    <a:lnTo>
                      <a:pt x="1166" y="19967"/>
                    </a:lnTo>
                    <a:lnTo>
                      <a:pt x="0" y="18937"/>
                    </a:lnTo>
                    <a:lnTo>
                      <a:pt x="0" y="13588"/>
                    </a:lnTo>
                    <a:lnTo>
                      <a:pt x="1839" y="12027"/>
                    </a:lnTo>
                    <a:lnTo>
                      <a:pt x="2780" y="11694"/>
                    </a:lnTo>
                    <a:lnTo>
                      <a:pt x="3946" y="11694"/>
                    </a:lnTo>
                    <a:lnTo>
                      <a:pt x="4664" y="10864"/>
                    </a:lnTo>
                    <a:lnTo>
                      <a:pt x="7220" y="10332"/>
                    </a:lnTo>
                    <a:lnTo>
                      <a:pt x="7892" y="10332"/>
                    </a:lnTo>
                    <a:lnTo>
                      <a:pt x="13722" y="5847"/>
                    </a:lnTo>
                    <a:lnTo>
                      <a:pt x="11839" y="5847"/>
                    </a:lnTo>
                    <a:lnTo>
                      <a:pt x="5785" y="4153"/>
                    </a:lnTo>
                    <a:lnTo>
                      <a:pt x="4664" y="3621"/>
                    </a:lnTo>
                    <a:lnTo>
                      <a:pt x="3004" y="2259"/>
                    </a:lnTo>
                    <a:lnTo>
                      <a:pt x="3453" y="172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5" name="Freeform 104"/>
              <p:cNvSpPr>
                <a:spLocks/>
              </p:cNvSpPr>
              <p:nvPr/>
            </p:nvSpPr>
            <p:spPr bwMode="auto">
              <a:xfrm>
                <a:off x="5440363" y="5094288"/>
                <a:ext cx="457200" cy="388937"/>
              </a:xfrm>
              <a:custGeom>
                <a:avLst/>
                <a:gdLst>
                  <a:gd name="T0" fmla="*/ 15090 w 20000"/>
                  <a:gd name="T1" fmla="*/ 523 h 20000"/>
                  <a:gd name="T2" fmla="*/ 13953 w 20000"/>
                  <a:gd name="T3" fmla="*/ 1373 h 20000"/>
                  <a:gd name="T4" fmla="*/ 13509 w 20000"/>
                  <a:gd name="T5" fmla="*/ 1699 h 20000"/>
                  <a:gd name="T6" fmla="*/ 12788 w 20000"/>
                  <a:gd name="T7" fmla="*/ 2549 h 20000"/>
                  <a:gd name="T8" fmla="*/ 12372 w 20000"/>
                  <a:gd name="T9" fmla="*/ 3562 h 20000"/>
                  <a:gd name="T10" fmla="*/ 11068 w 20000"/>
                  <a:gd name="T11" fmla="*/ 5261 h 20000"/>
                  <a:gd name="T12" fmla="*/ 9764 w 20000"/>
                  <a:gd name="T13" fmla="*/ 5261 h 20000"/>
                  <a:gd name="T14" fmla="*/ 8350 w 20000"/>
                  <a:gd name="T15" fmla="*/ 4739 h 20000"/>
                  <a:gd name="T16" fmla="*/ 7628 w 20000"/>
                  <a:gd name="T17" fmla="*/ 5752 h 20000"/>
                  <a:gd name="T18" fmla="*/ 6463 w 20000"/>
                  <a:gd name="T19" fmla="*/ 6601 h 20000"/>
                  <a:gd name="T20" fmla="*/ 5742 w 20000"/>
                  <a:gd name="T21" fmla="*/ 6765 h 20000"/>
                  <a:gd name="T22" fmla="*/ 5049 w 20000"/>
                  <a:gd name="T23" fmla="*/ 6275 h 20000"/>
                  <a:gd name="T24" fmla="*/ 5049 w 20000"/>
                  <a:gd name="T25" fmla="*/ 5261 h 20000"/>
                  <a:gd name="T26" fmla="*/ 4438 w 20000"/>
                  <a:gd name="T27" fmla="*/ 3889 h 20000"/>
                  <a:gd name="T28" fmla="*/ 3745 w 20000"/>
                  <a:gd name="T29" fmla="*/ 9641 h 20000"/>
                  <a:gd name="T30" fmla="*/ 3024 w 20000"/>
                  <a:gd name="T31" fmla="*/ 10359 h 20000"/>
                  <a:gd name="T32" fmla="*/ 1997 w 20000"/>
                  <a:gd name="T33" fmla="*/ 10163 h 20000"/>
                  <a:gd name="T34" fmla="*/ 860 w 20000"/>
                  <a:gd name="T35" fmla="*/ 9837 h 20000"/>
                  <a:gd name="T36" fmla="*/ 749 w 20000"/>
                  <a:gd name="T37" fmla="*/ 8954 h 20000"/>
                  <a:gd name="T38" fmla="*/ 166 w 20000"/>
                  <a:gd name="T39" fmla="*/ 9641 h 20000"/>
                  <a:gd name="T40" fmla="*/ 166 w 20000"/>
                  <a:gd name="T41" fmla="*/ 10686 h 20000"/>
                  <a:gd name="T42" fmla="*/ 1886 w 20000"/>
                  <a:gd name="T43" fmla="*/ 14706 h 20000"/>
                  <a:gd name="T44" fmla="*/ 1886 w 20000"/>
                  <a:gd name="T45" fmla="*/ 16438 h 20000"/>
                  <a:gd name="T46" fmla="*/ 1442 w 20000"/>
                  <a:gd name="T47" fmla="*/ 16765 h 20000"/>
                  <a:gd name="T48" fmla="*/ 1886 w 20000"/>
                  <a:gd name="T49" fmla="*/ 18954 h 20000"/>
                  <a:gd name="T50" fmla="*/ 1997 w 20000"/>
                  <a:gd name="T51" fmla="*/ 18627 h 20000"/>
                  <a:gd name="T52" fmla="*/ 2607 w 20000"/>
                  <a:gd name="T53" fmla="*/ 19118 h 20000"/>
                  <a:gd name="T54" fmla="*/ 3162 w 20000"/>
                  <a:gd name="T55" fmla="*/ 19641 h 20000"/>
                  <a:gd name="T56" fmla="*/ 4161 w 20000"/>
                  <a:gd name="T57" fmla="*/ 19444 h 20000"/>
                  <a:gd name="T58" fmla="*/ 5603 w 20000"/>
                  <a:gd name="T59" fmla="*/ 19118 h 20000"/>
                  <a:gd name="T60" fmla="*/ 6463 w 20000"/>
                  <a:gd name="T61" fmla="*/ 18627 h 20000"/>
                  <a:gd name="T62" fmla="*/ 8350 w 20000"/>
                  <a:gd name="T63" fmla="*/ 18627 h 20000"/>
                  <a:gd name="T64" fmla="*/ 9931 w 20000"/>
                  <a:gd name="T65" fmla="*/ 18627 h 20000"/>
                  <a:gd name="T66" fmla="*/ 10902 w 20000"/>
                  <a:gd name="T67" fmla="*/ 18301 h 20000"/>
                  <a:gd name="T68" fmla="*/ 14092 w 20000"/>
                  <a:gd name="T69" fmla="*/ 16438 h 20000"/>
                  <a:gd name="T70" fmla="*/ 16533 w 20000"/>
                  <a:gd name="T71" fmla="*/ 13889 h 20000"/>
                  <a:gd name="T72" fmla="*/ 17365 w 20000"/>
                  <a:gd name="T73" fmla="*/ 12353 h 20000"/>
                  <a:gd name="T74" fmla="*/ 18974 w 20000"/>
                  <a:gd name="T75" fmla="*/ 10163 h 20000"/>
                  <a:gd name="T76" fmla="*/ 19972 w 20000"/>
                  <a:gd name="T77" fmla="*/ 7484 h 20000"/>
                  <a:gd name="T78" fmla="*/ 18974 w 20000"/>
                  <a:gd name="T79" fmla="*/ 7092 h 20000"/>
                  <a:gd name="T80" fmla="*/ 18114 w 20000"/>
                  <a:gd name="T81" fmla="*/ 7614 h 20000"/>
                  <a:gd name="T82" fmla="*/ 18114 w 20000"/>
                  <a:gd name="T83" fmla="*/ 5752 h 20000"/>
                  <a:gd name="T84" fmla="*/ 18974 w 20000"/>
                  <a:gd name="T85" fmla="*/ 5425 h 20000"/>
                  <a:gd name="T86" fmla="*/ 18974 w 20000"/>
                  <a:gd name="T87" fmla="*/ 3235 h 20000"/>
                  <a:gd name="T88" fmla="*/ 18835 w 20000"/>
                  <a:gd name="T89" fmla="*/ 1373 h 20000"/>
                  <a:gd name="T90" fmla="*/ 18391 w 20000"/>
                  <a:gd name="T91" fmla="*/ 359 h 20000"/>
                  <a:gd name="T92" fmla="*/ 17365 w 20000"/>
                  <a:gd name="T93" fmla="*/ 359 h 20000"/>
                  <a:gd name="T94" fmla="*/ 15950 w 20000"/>
                  <a:gd name="T95"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00" h="20000">
                    <a:moveTo>
                      <a:pt x="15506" y="0"/>
                    </a:moveTo>
                    <a:lnTo>
                      <a:pt x="15090" y="523"/>
                    </a:lnTo>
                    <a:lnTo>
                      <a:pt x="14646" y="523"/>
                    </a:lnTo>
                    <a:lnTo>
                      <a:pt x="13953" y="1373"/>
                    </a:lnTo>
                    <a:lnTo>
                      <a:pt x="13675" y="1373"/>
                    </a:lnTo>
                    <a:lnTo>
                      <a:pt x="13509" y="1699"/>
                    </a:lnTo>
                    <a:lnTo>
                      <a:pt x="13232" y="1863"/>
                    </a:lnTo>
                    <a:lnTo>
                      <a:pt x="12788" y="2549"/>
                    </a:lnTo>
                    <a:lnTo>
                      <a:pt x="12788" y="3235"/>
                    </a:lnTo>
                    <a:lnTo>
                      <a:pt x="12372" y="3562"/>
                    </a:lnTo>
                    <a:lnTo>
                      <a:pt x="11650" y="3889"/>
                    </a:lnTo>
                    <a:lnTo>
                      <a:pt x="11068" y="5261"/>
                    </a:lnTo>
                    <a:lnTo>
                      <a:pt x="10485" y="5261"/>
                    </a:lnTo>
                    <a:lnTo>
                      <a:pt x="9764" y="5261"/>
                    </a:lnTo>
                    <a:lnTo>
                      <a:pt x="9071" y="5261"/>
                    </a:lnTo>
                    <a:lnTo>
                      <a:pt x="8350" y="4739"/>
                    </a:lnTo>
                    <a:lnTo>
                      <a:pt x="7628" y="4739"/>
                    </a:lnTo>
                    <a:lnTo>
                      <a:pt x="7628" y="5752"/>
                    </a:lnTo>
                    <a:lnTo>
                      <a:pt x="6907" y="6601"/>
                    </a:lnTo>
                    <a:lnTo>
                      <a:pt x="6463" y="6601"/>
                    </a:lnTo>
                    <a:lnTo>
                      <a:pt x="6463" y="6765"/>
                    </a:lnTo>
                    <a:lnTo>
                      <a:pt x="5742" y="6765"/>
                    </a:lnTo>
                    <a:lnTo>
                      <a:pt x="5049" y="7092"/>
                    </a:lnTo>
                    <a:lnTo>
                      <a:pt x="5049" y="6275"/>
                    </a:lnTo>
                    <a:lnTo>
                      <a:pt x="5326" y="5752"/>
                    </a:lnTo>
                    <a:lnTo>
                      <a:pt x="5049" y="5261"/>
                    </a:lnTo>
                    <a:lnTo>
                      <a:pt x="4882" y="4412"/>
                    </a:lnTo>
                    <a:lnTo>
                      <a:pt x="4438" y="3889"/>
                    </a:lnTo>
                    <a:lnTo>
                      <a:pt x="4161" y="9641"/>
                    </a:lnTo>
                    <a:lnTo>
                      <a:pt x="3745" y="9641"/>
                    </a:lnTo>
                    <a:lnTo>
                      <a:pt x="3162" y="10163"/>
                    </a:lnTo>
                    <a:lnTo>
                      <a:pt x="3024" y="10359"/>
                    </a:lnTo>
                    <a:lnTo>
                      <a:pt x="2607" y="10163"/>
                    </a:lnTo>
                    <a:lnTo>
                      <a:pt x="1997" y="10163"/>
                    </a:lnTo>
                    <a:lnTo>
                      <a:pt x="1581" y="10163"/>
                    </a:lnTo>
                    <a:lnTo>
                      <a:pt x="860" y="9837"/>
                    </a:lnTo>
                    <a:lnTo>
                      <a:pt x="860" y="8954"/>
                    </a:lnTo>
                    <a:lnTo>
                      <a:pt x="749" y="8954"/>
                    </a:lnTo>
                    <a:lnTo>
                      <a:pt x="444" y="8954"/>
                    </a:lnTo>
                    <a:lnTo>
                      <a:pt x="166" y="9641"/>
                    </a:lnTo>
                    <a:lnTo>
                      <a:pt x="0" y="9837"/>
                    </a:lnTo>
                    <a:lnTo>
                      <a:pt x="166" y="10686"/>
                    </a:lnTo>
                    <a:lnTo>
                      <a:pt x="860" y="12516"/>
                    </a:lnTo>
                    <a:lnTo>
                      <a:pt x="1886" y="14706"/>
                    </a:lnTo>
                    <a:lnTo>
                      <a:pt x="1997" y="15556"/>
                    </a:lnTo>
                    <a:lnTo>
                      <a:pt x="1886" y="16438"/>
                    </a:lnTo>
                    <a:lnTo>
                      <a:pt x="1442" y="16438"/>
                    </a:lnTo>
                    <a:lnTo>
                      <a:pt x="1442" y="16765"/>
                    </a:lnTo>
                    <a:lnTo>
                      <a:pt x="1997" y="18105"/>
                    </a:lnTo>
                    <a:lnTo>
                      <a:pt x="1886" y="18954"/>
                    </a:lnTo>
                    <a:lnTo>
                      <a:pt x="1997" y="18954"/>
                    </a:lnTo>
                    <a:lnTo>
                      <a:pt x="1997" y="18627"/>
                    </a:lnTo>
                    <a:lnTo>
                      <a:pt x="2607" y="18627"/>
                    </a:lnTo>
                    <a:lnTo>
                      <a:pt x="2607" y="19118"/>
                    </a:lnTo>
                    <a:lnTo>
                      <a:pt x="2746" y="19118"/>
                    </a:lnTo>
                    <a:lnTo>
                      <a:pt x="3162" y="19641"/>
                    </a:lnTo>
                    <a:lnTo>
                      <a:pt x="3883" y="19967"/>
                    </a:lnTo>
                    <a:lnTo>
                      <a:pt x="4161" y="19444"/>
                    </a:lnTo>
                    <a:lnTo>
                      <a:pt x="4438" y="19118"/>
                    </a:lnTo>
                    <a:lnTo>
                      <a:pt x="5603" y="19118"/>
                    </a:lnTo>
                    <a:lnTo>
                      <a:pt x="6463" y="18954"/>
                    </a:lnTo>
                    <a:lnTo>
                      <a:pt x="6463" y="18627"/>
                    </a:lnTo>
                    <a:lnTo>
                      <a:pt x="7628" y="18627"/>
                    </a:lnTo>
                    <a:lnTo>
                      <a:pt x="8350" y="18627"/>
                    </a:lnTo>
                    <a:lnTo>
                      <a:pt x="9764" y="18954"/>
                    </a:lnTo>
                    <a:lnTo>
                      <a:pt x="9931" y="18627"/>
                    </a:lnTo>
                    <a:lnTo>
                      <a:pt x="10624" y="18627"/>
                    </a:lnTo>
                    <a:lnTo>
                      <a:pt x="10902" y="18301"/>
                    </a:lnTo>
                    <a:lnTo>
                      <a:pt x="11789" y="18301"/>
                    </a:lnTo>
                    <a:lnTo>
                      <a:pt x="14092" y="16438"/>
                    </a:lnTo>
                    <a:lnTo>
                      <a:pt x="15368" y="15098"/>
                    </a:lnTo>
                    <a:lnTo>
                      <a:pt x="16533" y="13889"/>
                    </a:lnTo>
                    <a:lnTo>
                      <a:pt x="16533" y="13366"/>
                    </a:lnTo>
                    <a:lnTo>
                      <a:pt x="17365" y="12353"/>
                    </a:lnTo>
                    <a:lnTo>
                      <a:pt x="17365" y="11830"/>
                    </a:lnTo>
                    <a:lnTo>
                      <a:pt x="18974" y="10163"/>
                    </a:lnTo>
                    <a:lnTo>
                      <a:pt x="19528" y="8824"/>
                    </a:lnTo>
                    <a:lnTo>
                      <a:pt x="19972" y="7484"/>
                    </a:lnTo>
                    <a:lnTo>
                      <a:pt x="19528" y="7484"/>
                    </a:lnTo>
                    <a:lnTo>
                      <a:pt x="18974" y="7092"/>
                    </a:lnTo>
                    <a:lnTo>
                      <a:pt x="18974" y="7614"/>
                    </a:lnTo>
                    <a:lnTo>
                      <a:pt x="18114" y="7614"/>
                    </a:lnTo>
                    <a:lnTo>
                      <a:pt x="17365" y="6601"/>
                    </a:lnTo>
                    <a:lnTo>
                      <a:pt x="18114" y="5752"/>
                    </a:lnTo>
                    <a:lnTo>
                      <a:pt x="18974" y="5752"/>
                    </a:lnTo>
                    <a:lnTo>
                      <a:pt x="18974" y="5425"/>
                    </a:lnTo>
                    <a:lnTo>
                      <a:pt x="18974" y="4412"/>
                    </a:lnTo>
                    <a:lnTo>
                      <a:pt x="18974" y="3235"/>
                    </a:lnTo>
                    <a:lnTo>
                      <a:pt x="18558" y="1863"/>
                    </a:lnTo>
                    <a:lnTo>
                      <a:pt x="18835" y="1373"/>
                    </a:lnTo>
                    <a:lnTo>
                      <a:pt x="18558" y="1209"/>
                    </a:lnTo>
                    <a:lnTo>
                      <a:pt x="18391" y="359"/>
                    </a:lnTo>
                    <a:lnTo>
                      <a:pt x="18114" y="0"/>
                    </a:lnTo>
                    <a:lnTo>
                      <a:pt x="17365" y="359"/>
                    </a:lnTo>
                    <a:lnTo>
                      <a:pt x="16671" y="0"/>
                    </a:lnTo>
                    <a:lnTo>
                      <a:pt x="15950" y="0"/>
                    </a:lnTo>
                    <a:lnTo>
                      <a:pt x="1550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6" name="Freeform 103"/>
              <p:cNvSpPr>
                <a:spLocks/>
              </p:cNvSpPr>
              <p:nvPr/>
            </p:nvSpPr>
            <p:spPr bwMode="auto">
              <a:xfrm>
                <a:off x="5732463" y="5286375"/>
                <a:ext cx="63500" cy="66675"/>
              </a:xfrm>
              <a:custGeom>
                <a:avLst/>
                <a:gdLst>
                  <a:gd name="T0" fmla="*/ 18586 w 20000"/>
                  <a:gd name="T1" fmla="*/ 12885 h 20000"/>
                  <a:gd name="T2" fmla="*/ 9495 w 20000"/>
                  <a:gd name="T3" fmla="*/ 14808 h 20000"/>
                  <a:gd name="T4" fmla="*/ 8283 w 20000"/>
                  <a:gd name="T5" fmla="*/ 19808 h 20000"/>
                  <a:gd name="T6" fmla="*/ 3232 w 20000"/>
                  <a:gd name="T7" fmla="*/ 17885 h 20000"/>
                  <a:gd name="T8" fmla="*/ 808 w 20000"/>
                  <a:gd name="T9" fmla="*/ 11923 h 20000"/>
                  <a:gd name="T10" fmla="*/ 0 w 20000"/>
                  <a:gd name="T11" fmla="*/ 9808 h 20000"/>
                  <a:gd name="T12" fmla="*/ 808 w 20000"/>
                  <a:gd name="T13" fmla="*/ 7885 h 20000"/>
                  <a:gd name="T14" fmla="*/ 5253 w 20000"/>
                  <a:gd name="T15" fmla="*/ 3077 h 20000"/>
                  <a:gd name="T16" fmla="*/ 13535 w 20000"/>
                  <a:gd name="T17" fmla="*/ 0 h 20000"/>
                  <a:gd name="T18" fmla="*/ 16566 w 20000"/>
                  <a:gd name="T19" fmla="*/ 1923 h 20000"/>
                  <a:gd name="T20" fmla="*/ 19798 w 20000"/>
                  <a:gd name="T21" fmla="*/ 6923 h 20000"/>
                  <a:gd name="T22" fmla="*/ 18586 w 20000"/>
                  <a:gd name="T23" fmla="*/ 9808 h 20000"/>
                  <a:gd name="T24" fmla="*/ 18586 w 20000"/>
                  <a:gd name="T25" fmla="*/ 1288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8586" y="12885"/>
                    </a:moveTo>
                    <a:lnTo>
                      <a:pt x="9495" y="14808"/>
                    </a:lnTo>
                    <a:lnTo>
                      <a:pt x="8283" y="19808"/>
                    </a:lnTo>
                    <a:lnTo>
                      <a:pt x="3232" y="17885"/>
                    </a:lnTo>
                    <a:lnTo>
                      <a:pt x="808" y="11923"/>
                    </a:lnTo>
                    <a:lnTo>
                      <a:pt x="0" y="9808"/>
                    </a:lnTo>
                    <a:lnTo>
                      <a:pt x="808" y="7885"/>
                    </a:lnTo>
                    <a:lnTo>
                      <a:pt x="5253" y="3077"/>
                    </a:lnTo>
                    <a:lnTo>
                      <a:pt x="13535" y="0"/>
                    </a:lnTo>
                    <a:lnTo>
                      <a:pt x="16566" y="1923"/>
                    </a:lnTo>
                    <a:lnTo>
                      <a:pt x="19798" y="6923"/>
                    </a:lnTo>
                    <a:lnTo>
                      <a:pt x="18586" y="9808"/>
                    </a:lnTo>
                    <a:lnTo>
                      <a:pt x="18586" y="1288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7" name="Freeform 102"/>
              <p:cNvSpPr>
                <a:spLocks/>
              </p:cNvSpPr>
              <p:nvPr/>
            </p:nvSpPr>
            <p:spPr bwMode="auto">
              <a:xfrm>
                <a:off x="5611813" y="3816350"/>
                <a:ext cx="460375" cy="536575"/>
              </a:xfrm>
              <a:custGeom>
                <a:avLst/>
                <a:gdLst>
                  <a:gd name="T0" fmla="*/ 17410 w 20000"/>
                  <a:gd name="T1" fmla="*/ 95 h 20000"/>
                  <a:gd name="T2" fmla="*/ 18127 w 20000"/>
                  <a:gd name="T3" fmla="*/ 1090 h 20000"/>
                  <a:gd name="T4" fmla="*/ 18567 w 20000"/>
                  <a:gd name="T5" fmla="*/ 3531 h 20000"/>
                  <a:gd name="T6" fmla="*/ 19835 w 20000"/>
                  <a:gd name="T7" fmla="*/ 4289 h 20000"/>
                  <a:gd name="T8" fmla="*/ 19835 w 20000"/>
                  <a:gd name="T9" fmla="*/ 5142 h 20000"/>
                  <a:gd name="T10" fmla="*/ 18843 w 20000"/>
                  <a:gd name="T11" fmla="*/ 5261 h 20000"/>
                  <a:gd name="T12" fmla="*/ 18402 w 20000"/>
                  <a:gd name="T13" fmla="*/ 5498 h 20000"/>
                  <a:gd name="T14" fmla="*/ 18127 w 20000"/>
                  <a:gd name="T15" fmla="*/ 6730 h 20000"/>
                  <a:gd name="T16" fmla="*/ 17410 w 20000"/>
                  <a:gd name="T17" fmla="*/ 9431 h 20000"/>
                  <a:gd name="T18" fmla="*/ 16832 w 20000"/>
                  <a:gd name="T19" fmla="*/ 10308 h 20000"/>
                  <a:gd name="T20" fmla="*/ 16116 w 20000"/>
                  <a:gd name="T21" fmla="*/ 12014 h 20000"/>
                  <a:gd name="T22" fmla="*/ 15427 w 20000"/>
                  <a:gd name="T23" fmla="*/ 12251 h 20000"/>
                  <a:gd name="T24" fmla="*/ 15124 w 20000"/>
                  <a:gd name="T25" fmla="*/ 13009 h 20000"/>
                  <a:gd name="T26" fmla="*/ 14986 w 20000"/>
                  <a:gd name="T27" fmla="*/ 14573 h 20000"/>
                  <a:gd name="T28" fmla="*/ 13554 w 20000"/>
                  <a:gd name="T29" fmla="*/ 14810 h 20000"/>
                  <a:gd name="T30" fmla="*/ 14408 w 20000"/>
                  <a:gd name="T31" fmla="*/ 15806 h 20000"/>
                  <a:gd name="T32" fmla="*/ 16116 w 20000"/>
                  <a:gd name="T33" fmla="*/ 17038 h 20000"/>
                  <a:gd name="T34" fmla="*/ 16556 w 20000"/>
                  <a:gd name="T35" fmla="*/ 18009 h 20000"/>
                  <a:gd name="T36" fmla="*/ 16997 w 20000"/>
                  <a:gd name="T37" fmla="*/ 18768 h 20000"/>
                  <a:gd name="T38" fmla="*/ 16556 w 20000"/>
                  <a:gd name="T39" fmla="*/ 18389 h 20000"/>
                  <a:gd name="T40" fmla="*/ 15124 w 20000"/>
                  <a:gd name="T41" fmla="*/ 19005 h 20000"/>
                  <a:gd name="T42" fmla="*/ 14242 w 20000"/>
                  <a:gd name="T43" fmla="*/ 19739 h 20000"/>
                  <a:gd name="T44" fmla="*/ 12562 w 20000"/>
                  <a:gd name="T45" fmla="*/ 19739 h 20000"/>
                  <a:gd name="T46" fmla="*/ 11983 w 20000"/>
                  <a:gd name="T47" fmla="*/ 19739 h 20000"/>
                  <a:gd name="T48" fmla="*/ 10854 w 20000"/>
                  <a:gd name="T49" fmla="*/ 19739 h 20000"/>
                  <a:gd name="T50" fmla="*/ 9394 w 20000"/>
                  <a:gd name="T51" fmla="*/ 18768 h 20000"/>
                  <a:gd name="T52" fmla="*/ 9118 w 20000"/>
                  <a:gd name="T53" fmla="*/ 19005 h 20000"/>
                  <a:gd name="T54" fmla="*/ 8430 w 20000"/>
                  <a:gd name="T55" fmla="*/ 18768 h 20000"/>
                  <a:gd name="T56" fmla="*/ 7989 w 20000"/>
                  <a:gd name="T57" fmla="*/ 19123 h 20000"/>
                  <a:gd name="T58" fmla="*/ 7135 w 20000"/>
                  <a:gd name="T59" fmla="*/ 18768 h 20000"/>
                  <a:gd name="T60" fmla="*/ 6584 w 20000"/>
                  <a:gd name="T61" fmla="*/ 18152 h 20000"/>
                  <a:gd name="T62" fmla="*/ 5702 w 20000"/>
                  <a:gd name="T63" fmla="*/ 17156 h 20000"/>
                  <a:gd name="T64" fmla="*/ 5289 w 20000"/>
                  <a:gd name="T65" fmla="*/ 16422 h 20000"/>
                  <a:gd name="T66" fmla="*/ 4848 w 20000"/>
                  <a:gd name="T67" fmla="*/ 16066 h 20000"/>
                  <a:gd name="T68" fmla="*/ 3829 w 20000"/>
                  <a:gd name="T69" fmla="*/ 15190 h 20000"/>
                  <a:gd name="T70" fmla="*/ 2700 w 20000"/>
                  <a:gd name="T71" fmla="*/ 14810 h 20000"/>
                  <a:gd name="T72" fmla="*/ 1983 w 20000"/>
                  <a:gd name="T73" fmla="*/ 14455 h 20000"/>
                  <a:gd name="T74" fmla="*/ 1846 w 20000"/>
                  <a:gd name="T75" fmla="*/ 13981 h 20000"/>
                  <a:gd name="T76" fmla="*/ 1983 w 20000"/>
                  <a:gd name="T77" fmla="*/ 13602 h 20000"/>
                  <a:gd name="T78" fmla="*/ 1129 w 20000"/>
                  <a:gd name="T79" fmla="*/ 12251 h 20000"/>
                  <a:gd name="T80" fmla="*/ 1129 w 20000"/>
                  <a:gd name="T81" fmla="*/ 11659 h 20000"/>
                  <a:gd name="T82" fmla="*/ 551 w 20000"/>
                  <a:gd name="T83" fmla="*/ 10900 h 20000"/>
                  <a:gd name="T84" fmla="*/ 441 w 20000"/>
                  <a:gd name="T85" fmla="*/ 10308 h 20000"/>
                  <a:gd name="T86" fmla="*/ 0 w 20000"/>
                  <a:gd name="T87" fmla="*/ 10308 h 20000"/>
                  <a:gd name="T88" fmla="*/ 441 w 20000"/>
                  <a:gd name="T89" fmla="*/ 9431 h 20000"/>
                  <a:gd name="T90" fmla="*/ 551 w 20000"/>
                  <a:gd name="T91" fmla="*/ 8460 h 20000"/>
                  <a:gd name="T92" fmla="*/ 551 w 20000"/>
                  <a:gd name="T93" fmla="*/ 7844 h 20000"/>
                  <a:gd name="T94" fmla="*/ 854 w 20000"/>
                  <a:gd name="T95" fmla="*/ 7109 h 20000"/>
                  <a:gd name="T96" fmla="*/ 2287 w 20000"/>
                  <a:gd name="T97" fmla="*/ 6730 h 20000"/>
                  <a:gd name="T98" fmla="*/ 2287 w 20000"/>
                  <a:gd name="T99" fmla="*/ 2322 h 20000"/>
                  <a:gd name="T100" fmla="*/ 3416 w 20000"/>
                  <a:gd name="T10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000" h="20000">
                    <a:moveTo>
                      <a:pt x="3416" y="0"/>
                    </a:moveTo>
                    <a:lnTo>
                      <a:pt x="17410" y="95"/>
                    </a:lnTo>
                    <a:lnTo>
                      <a:pt x="17686" y="711"/>
                    </a:lnTo>
                    <a:lnTo>
                      <a:pt x="18127" y="1090"/>
                    </a:lnTo>
                    <a:lnTo>
                      <a:pt x="17961" y="1090"/>
                    </a:lnTo>
                    <a:lnTo>
                      <a:pt x="18567" y="3531"/>
                    </a:lnTo>
                    <a:lnTo>
                      <a:pt x="19118" y="3910"/>
                    </a:lnTo>
                    <a:lnTo>
                      <a:pt x="19835" y="4289"/>
                    </a:lnTo>
                    <a:lnTo>
                      <a:pt x="19972" y="4526"/>
                    </a:lnTo>
                    <a:lnTo>
                      <a:pt x="19835" y="5142"/>
                    </a:lnTo>
                    <a:lnTo>
                      <a:pt x="19256" y="4882"/>
                    </a:lnTo>
                    <a:lnTo>
                      <a:pt x="18843" y="5261"/>
                    </a:lnTo>
                    <a:lnTo>
                      <a:pt x="18843" y="5498"/>
                    </a:lnTo>
                    <a:lnTo>
                      <a:pt x="18402" y="5498"/>
                    </a:lnTo>
                    <a:lnTo>
                      <a:pt x="18127" y="6137"/>
                    </a:lnTo>
                    <a:lnTo>
                      <a:pt x="18127" y="6730"/>
                    </a:lnTo>
                    <a:lnTo>
                      <a:pt x="17686" y="8081"/>
                    </a:lnTo>
                    <a:lnTo>
                      <a:pt x="17410" y="9431"/>
                    </a:lnTo>
                    <a:lnTo>
                      <a:pt x="17273" y="10047"/>
                    </a:lnTo>
                    <a:lnTo>
                      <a:pt x="16832" y="10308"/>
                    </a:lnTo>
                    <a:lnTo>
                      <a:pt x="16253" y="11019"/>
                    </a:lnTo>
                    <a:lnTo>
                      <a:pt x="16116" y="12014"/>
                    </a:lnTo>
                    <a:lnTo>
                      <a:pt x="15840" y="12251"/>
                    </a:lnTo>
                    <a:lnTo>
                      <a:pt x="15427" y="12251"/>
                    </a:lnTo>
                    <a:lnTo>
                      <a:pt x="15124" y="12630"/>
                    </a:lnTo>
                    <a:lnTo>
                      <a:pt x="15124" y="13009"/>
                    </a:lnTo>
                    <a:lnTo>
                      <a:pt x="14986" y="13483"/>
                    </a:lnTo>
                    <a:lnTo>
                      <a:pt x="14986" y="14573"/>
                    </a:lnTo>
                    <a:lnTo>
                      <a:pt x="14408" y="14810"/>
                    </a:lnTo>
                    <a:lnTo>
                      <a:pt x="13554" y="14810"/>
                    </a:lnTo>
                    <a:lnTo>
                      <a:pt x="13554" y="15427"/>
                    </a:lnTo>
                    <a:lnTo>
                      <a:pt x="14408" y="15806"/>
                    </a:lnTo>
                    <a:lnTo>
                      <a:pt x="15124" y="16422"/>
                    </a:lnTo>
                    <a:lnTo>
                      <a:pt x="16116" y="17038"/>
                    </a:lnTo>
                    <a:lnTo>
                      <a:pt x="16253" y="17512"/>
                    </a:lnTo>
                    <a:lnTo>
                      <a:pt x="16556" y="18009"/>
                    </a:lnTo>
                    <a:lnTo>
                      <a:pt x="16997" y="18009"/>
                    </a:lnTo>
                    <a:lnTo>
                      <a:pt x="16997" y="18768"/>
                    </a:lnTo>
                    <a:lnTo>
                      <a:pt x="16832" y="18768"/>
                    </a:lnTo>
                    <a:lnTo>
                      <a:pt x="16556" y="18389"/>
                    </a:lnTo>
                    <a:lnTo>
                      <a:pt x="15840" y="18768"/>
                    </a:lnTo>
                    <a:lnTo>
                      <a:pt x="15124" y="19005"/>
                    </a:lnTo>
                    <a:lnTo>
                      <a:pt x="14986" y="19360"/>
                    </a:lnTo>
                    <a:lnTo>
                      <a:pt x="14242" y="19739"/>
                    </a:lnTo>
                    <a:lnTo>
                      <a:pt x="13278" y="19739"/>
                    </a:lnTo>
                    <a:lnTo>
                      <a:pt x="12562" y="19739"/>
                    </a:lnTo>
                    <a:lnTo>
                      <a:pt x="12424" y="19976"/>
                    </a:lnTo>
                    <a:lnTo>
                      <a:pt x="11983" y="19739"/>
                    </a:lnTo>
                    <a:lnTo>
                      <a:pt x="10992" y="19597"/>
                    </a:lnTo>
                    <a:lnTo>
                      <a:pt x="10854" y="19739"/>
                    </a:lnTo>
                    <a:lnTo>
                      <a:pt x="9835" y="19123"/>
                    </a:lnTo>
                    <a:lnTo>
                      <a:pt x="9394" y="18768"/>
                    </a:lnTo>
                    <a:lnTo>
                      <a:pt x="9118" y="18768"/>
                    </a:lnTo>
                    <a:lnTo>
                      <a:pt x="9118" y="19005"/>
                    </a:lnTo>
                    <a:lnTo>
                      <a:pt x="8430" y="19005"/>
                    </a:lnTo>
                    <a:lnTo>
                      <a:pt x="8430" y="18768"/>
                    </a:lnTo>
                    <a:lnTo>
                      <a:pt x="8264" y="19005"/>
                    </a:lnTo>
                    <a:lnTo>
                      <a:pt x="7989" y="19123"/>
                    </a:lnTo>
                    <a:lnTo>
                      <a:pt x="7548" y="19005"/>
                    </a:lnTo>
                    <a:lnTo>
                      <a:pt x="7135" y="18768"/>
                    </a:lnTo>
                    <a:lnTo>
                      <a:pt x="7135" y="18389"/>
                    </a:lnTo>
                    <a:lnTo>
                      <a:pt x="6584" y="18152"/>
                    </a:lnTo>
                    <a:lnTo>
                      <a:pt x="6419" y="17512"/>
                    </a:lnTo>
                    <a:lnTo>
                      <a:pt x="5702" y="17156"/>
                    </a:lnTo>
                    <a:lnTo>
                      <a:pt x="5399" y="16540"/>
                    </a:lnTo>
                    <a:lnTo>
                      <a:pt x="5289" y="16422"/>
                    </a:lnTo>
                    <a:lnTo>
                      <a:pt x="4986" y="16422"/>
                    </a:lnTo>
                    <a:lnTo>
                      <a:pt x="4848" y="16066"/>
                    </a:lnTo>
                    <a:lnTo>
                      <a:pt x="4160" y="16066"/>
                    </a:lnTo>
                    <a:lnTo>
                      <a:pt x="3829" y="15190"/>
                    </a:lnTo>
                    <a:lnTo>
                      <a:pt x="3416" y="14810"/>
                    </a:lnTo>
                    <a:lnTo>
                      <a:pt x="2700" y="14810"/>
                    </a:lnTo>
                    <a:lnTo>
                      <a:pt x="2700" y="14455"/>
                    </a:lnTo>
                    <a:lnTo>
                      <a:pt x="1983" y="14455"/>
                    </a:lnTo>
                    <a:lnTo>
                      <a:pt x="1846" y="14218"/>
                    </a:lnTo>
                    <a:lnTo>
                      <a:pt x="1846" y="13981"/>
                    </a:lnTo>
                    <a:lnTo>
                      <a:pt x="1570" y="13839"/>
                    </a:lnTo>
                    <a:lnTo>
                      <a:pt x="1983" y="13602"/>
                    </a:lnTo>
                    <a:lnTo>
                      <a:pt x="1846" y="13009"/>
                    </a:lnTo>
                    <a:lnTo>
                      <a:pt x="1129" y="12251"/>
                    </a:lnTo>
                    <a:lnTo>
                      <a:pt x="854" y="12014"/>
                    </a:lnTo>
                    <a:lnTo>
                      <a:pt x="1129" y="11659"/>
                    </a:lnTo>
                    <a:lnTo>
                      <a:pt x="551" y="11398"/>
                    </a:lnTo>
                    <a:lnTo>
                      <a:pt x="551" y="10900"/>
                    </a:lnTo>
                    <a:lnTo>
                      <a:pt x="441" y="10403"/>
                    </a:lnTo>
                    <a:lnTo>
                      <a:pt x="441" y="10308"/>
                    </a:lnTo>
                    <a:lnTo>
                      <a:pt x="165" y="10047"/>
                    </a:lnTo>
                    <a:lnTo>
                      <a:pt x="0" y="10308"/>
                    </a:lnTo>
                    <a:lnTo>
                      <a:pt x="0" y="9810"/>
                    </a:lnTo>
                    <a:lnTo>
                      <a:pt x="441" y="9431"/>
                    </a:lnTo>
                    <a:lnTo>
                      <a:pt x="165" y="8815"/>
                    </a:lnTo>
                    <a:lnTo>
                      <a:pt x="551" y="8460"/>
                    </a:lnTo>
                    <a:lnTo>
                      <a:pt x="441" y="8081"/>
                    </a:lnTo>
                    <a:lnTo>
                      <a:pt x="551" y="7844"/>
                    </a:lnTo>
                    <a:lnTo>
                      <a:pt x="1129" y="7204"/>
                    </a:lnTo>
                    <a:lnTo>
                      <a:pt x="854" y="7109"/>
                    </a:lnTo>
                    <a:lnTo>
                      <a:pt x="1295" y="6872"/>
                    </a:lnTo>
                    <a:lnTo>
                      <a:pt x="2287" y="6730"/>
                    </a:lnTo>
                    <a:lnTo>
                      <a:pt x="2287" y="2701"/>
                    </a:lnTo>
                    <a:lnTo>
                      <a:pt x="2287" y="2322"/>
                    </a:lnTo>
                    <a:lnTo>
                      <a:pt x="3416" y="2322"/>
                    </a:lnTo>
                    <a:lnTo>
                      <a:pt x="341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8" name="Freeform 101"/>
              <p:cNvSpPr>
                <a:spLocks/>
              </p:cNvSpPr>
              <p:nvPr/>
            </p:nvSpPr>
            <p:spPr bwMode="auto">
              <a:xfrm>
                <a:off x="5837238" y="5207000"/>
                <a:ext cx="44450" cy="36513"/>
              </a:xfrm>
              <a:custGeom>
                <a:avLst/>
                <a:gdLst>
                  <a:gd name="T0" fmla="*/ 16812 w 20000"/>
                  <a:gd name="T1" fmla="*/ 0 h 20000"/>
                  <a:gd name="T2" fmla="*/ 19710 w 20000"/>
                  <a:gd name="T3" fmla="*/ 5517 h 20000"/>
                  <a:gd name="T4" fmla="*/ 16812 w 20000"/>
                  <a:gd name="T5" fmla="*/ 14138 h 20000"/>
                  <a:gd name="T6" fmla="*/ 16812 w 20000"/>
                  <a:gd name="T7" fmla="*/ 19655 h 20000"/>
                  <a:gd name="T8" fmla="*/ 7826 w 20000"/>
                  <a:gd name="T9" fmla="*/ 19655 h 20000"/>
                  <a:gd name="T10" fmla="*/ 0 w 20000"/>
                  <a:gd name="T11" fmla="*/ 8966 h 20000"/>
                  <a:gd name="T12" fmla="*/ 7826 w 20000"/>
                  <a:gd name="T13" fmla="*/ 0 h 20000"/>
                  <a:gd name="T14" fmla="*/ 16812 w 20000"/>
                  <a:gd name="T15" fmla="*/ 0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6812" y="0"/>
                    </a:moveTo>
                    <a:lnTo>
                      <a:pt x="19710" y="5517"/>
                    </a:lnTo>
                    <a:lnTo>
                      <a:pt x="16812" y="14138"/>
                    </a:lnTo>
                    <a:lnTo>
                      <a:pt x="16812" y="19655"/>
                    </a:lnTo>
                    <a:lnTo>
                      <a:pt x="7826" y="19655"/>
                    </a:lnTo>
                    <a:lnTo>
                      <a:pt x="0" y="8966"/>
                    </a:lnTo>
                    <a:lnTo>
                      <a:pt x="7826" y="0"/>
                    </a:lnTo>
                    <a:lnTo>
                      <a:pt x="1681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49" name="Freeform 100"/>
              <p:cNvSpPr>
                <a:spLocks/>
              </p:cNvSpPr>
              <p:nvPr/>
            </p:nvSpPr>
            <p:spPr bwMode="auto">
              <a:xfrm>
                <a:off x="5821363" y="4479925"/>
                <a:ext cx="303212" cy="306388"/>
              </a:xfrm>
              <a:custGeom>
                <a:avLst/>
                <a:gdLst>
                  <a:gd name="T0" fmla="*/ 2845 w 20000"/>
                  <a:gd name="T1" fmla="*/ 0 h 20000"/>
                  <a:gd name="T2" fmla="*/ 8452 w 20000"/>
                  <a:gd name="T3" fmla="*/ 0 h 20000"/>
                  <a:gd name="T4" fmla="*/ 15816 w 20000"/>
                  <a:gd name="T5" fmla="*/ 4058 h 20000"/>
                  <a:gd name="T6" fmla="*/ 18201 w 20000"/>
                  <a:gd name="T7" fmla="*/ 7288 h 20000"/>
                  <a:gd name="T8" fmla="*/ 17573 w 20000"/>
                  <a:gd name="T9" fmla="*/ 9896 h 20000"/>
                  <a:gd name="T10" fmla="*/ 18201 w 20000"/>
                  <a:gd name="T11" fmla="*/ 10932 h 20000"/>
                  <a:gd name="T12" fmla="*/ 18661 w 20000"/>
                  <a:gd name="T13" fmla="*/ 11843 h 20000"/>
                  <a:gd name="T14" fmla="*/ 18661 w 20000"/>
                  <a:gd name="T15" fmla="*/ 13085 h 20000"/>
                  <a:gd name="T16" fmla="*/ 18661 w 20000"/>
                  <a:gd name="T17" fmla="*/ 15487 h 20000"/>
                  <a:gd name="T18" fmla="*/ 19707 w 20000"/>
                  <a:gd name="T19" fmla="*/ 17184 h 20000"/>
                  <a:gd name="T20" fmla="*/ 19958 w 20000"/>
                  <a:gd name="T21" fmla="*/ 18012 h 20000"/>
                  <a:gd name="T22" fmla="*/ 17992 w 20000"/>
                  <a:gd name="T23" fmla="*/ 19089 h 20000"/>
                  <a:gd name="T24" fmla="*/ 16444 w 20000"/>
                  <a:gd name="T25" fmla="*/ 19710 h 20000"/>
                  <a:gd name="T26" fmla="*/ 15816 w 20000"/>
                  <a:gd name="T27" fmla="*/ 19296 h 20000"/>
                  <a:gd name="T28" fmla="*/ 14728 w 20000"/>
                  <a:gd name="T29" fmla="*/ 19959 h 20000"/>
                  <a:gd name="T30" fmla="*/ 13431 w 20000"/>
                  <a:gd name="T31" fmla="*/ 19959 h 20000"/>
                  <a:gd name="T32" fmla="*/ 11925 w 20000"/>
                  <a:gd name="T33" fmla="*/ 19710 h 20000"/>
                  <a:gd name="T34" fmla="*/ 10795 w 20000"/>
                  <a:gd name="T35" fmla="*/ 19710 h 20000"/>
                  <a:gd name="T36" fmla="*/ 9079 w 20000"/>
                  <a:gd name="T37" fmla="*/ 19710 h 20000"/>
                  <a:gd name="T38" fmla="*/ 8033 w 20000"/>
                  <a:gd name="T39" fmla="*/ 16315 h 20000"/>
                  <a:gd name="T40" fmla="*/ 6276 w 20000"/>
                  <a:gd name="T41" fmla="*/ 15487 h 20000"/>
                  <a:gd name="T42" fmla="*/ 5649 w 20000"/>
                  <a:gd name="T43" fmla="*/ 15238 h 20000"/>
                  <a:gd name="T44" fmla="*/ 4351 w 20000"/>
                  <a:gd name="T45" fmla="*/ 14824 h 20000"/>
                  <a:gd name="T46" fmla="*/ 3264 w 20000"/>
                  <a:gd name="T47" fmla="*/ 14576 h 20000"/>
                  <a:gd name="T48" fmla="*/ 1715 w 20000"/>
                  <a:gd name="T49" fmla="*/ 11843 h 20000"/>
                  <a:gd name="T50" fmla="*/ 0 w 20000"/>
                  <a:gd name="T51" fmla="*/ 9648 h 20000"/>
                  <a:gd name="T52" fmla="*/ 0 w 20000"/>
                  <a:gd name="T53" fmla="*/ 7288 h 20000"/>
                  <a:gd name="T54" fmla="*/ 1088 w 20000"/>
                  <a:gd name="T55" fmla="*/ 6253 h 20000"/>
                  <a:gd name="T56" fmla="*/ 2845 w 20000"/>
                  <a:gd name="T57" fmla="*/ 4513 h 20000"/>
                  <a:gd name="T58" fmla="*/ 2176 w 20000"/>
                  <a:gd name="T59" fmla="*/ 3478 h 20000"/>
                  <a:gd name="T60" fmla="*/ 2594 w 20000"/>
                  <a:gd name="T61" fmla="*/ 2816 h 20000"/>
                  <a:gd name="T62" fmla="*/ 2594 w 20000"/>
                  <a:gd name="T63" fmla="*/ 12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2176" y="248"/>
                    </a:moveTo>
                    <a:lnTo>
                      <a:pt x="2845" y="0"/>
                    </a:lnTo>
                    <a:lnTo>
                      <a:pt x="5649" y="0"/>
                    </a:lnTo>
                    <a:lnTo>
                      <a:pt x="8452" y="0"/>
                    </a:lnTo>
                    <a:lnTo>
                      <a:pt x="9079" y="0"/>
                    </a:lnTo>
                    <a:lnTo>
                      <a:pt x="15816" y="4058"/>
                    </a:lnTo>
                    <a:lnTo>
                      <a:pt x="15816" y="5176"/>
                    </a:lnTo>
                    <a:lnTo>
                      <a:pt x="18201" y="7288"/>
                    </a:lnTo>
                    <a:lnTo>
                      <a:pt x="17573" y="8571"/>
                    </a:lnTo>
                    <a:lnTo>
                      <a:pt x="17573" y="9896"/>
                    </a:lnTo>
                    <a:lnTo>
                      <a:pt x="17992" y="10725"/>
                    </a:lnTo>
                    <a:lnTo>
                      <a:pt x="18201" y="10932"/>
                    </a:lnTo>
                    <a:lnTo>
                      <a:pt x="18661" y="11346"/>
                    </a:lnTo>
                    <a:lnTo>
                      <a:pt x="18661" y="11843"/>
                    </a:lnTo>
                    <a:lnTo>
                      <a:pt x="18201" y="12008"/>
                    </a:lnTo>
                    <a:lnTo>
                      <a:pt x="18661" y="13085"/>
                    </a:lnTo>
                    <a:lnTo>
                      <a:pt x="18201" y="14161"/>
                    </a:lnTo>
                    <a:lnTo>
                      <a:pt x="18661" y="15487"/>
                    </a:lnTo>
                    <a:lnTo>
                      <a:pt x="18828" y="16936"/>
                    </a:lnTo>
                    <a:lnTo>
                      <a:pt x="19707" y="17184"/>
                    </a:lnTo>
                    <a:lnTo>
                      <a:pt x="19958" y="17598"/>
                    </a:lnTo>
                    <a:lnTo>
                      <a:pt x="19958" y="18012"/>
                    </a:lnTo>
                    <a:lnTo>
                      <a:pt x="19289" y="18675"/>
                    </a:lnTo>
                    <a:lnTo>
                      <a:pt x="17992" y="19089"/>
                    </a:lnTo>
                    <a:lnTo>
                      <a:pt x="17113" y="19296"/>
                    </a:lnTo>
                    <a:lnTo>
                      <a:pt x="16444" y="19710"/>
                    </a:lnTo>
                    <a:lnTo>
                      <a:pt x="16444" y="19296"/>
                    </a:lnTo>
                    <a:lnTo>
                      <a:pt x="15816" y="19296"/>
                    </a:lnTo>
                    <a:lnTo>
                      <a:pt x="15397" y="19710"/>
                    </a:lnTo>
                    <a:lnTo>
                      <a:pt x="14728" y="19959"/>
                    </a:lnTo>
                    <a:lnTo>
                      <a:pt x="13640" y="19959"/>
                    </a:lnTo>
                    <a:lnTo>
                      <a:pt x="13431" y="19959"/>
                    </a:lnTo>
                    <a:lnTo>
                      <a:pt x="12594" y="19959"/>
                    </a:lnTo>
                    <a:lnTo>
                      <a:pt x="11925" y="19710"/>
                    </a:lnTo>
                    <a:lnTo>
                      <a:pt x="11297" y="19959"/>
                    </a:lnTo>
                    <a:lnTo>
                      <a:pt x="10795" y="19710"/>
                    </a:lnTo>
                    <a:lnTo>
                      <a:pt x="9540" y="19959"/>
                    </a:lnTo>
                    <a:lnTo>
                      <a:pt x="9079" y="19710"/>
                    </a:lnTo>
                    <a:lnTo>
                      <a:pt x="9079" y="18675"/>
                    </a:lnTo>
                    <a:lnTo>
                      <a:pt x="8033" y="16315"/>
                    </a:lnTo>
                    <a:lnTo>
                      <a:pt x="7364" y="15901"/>
                    </a:lnTo>
                    <a:lnTo>
                      <a:pt x="6276" y="15487"/>
                    </a:lnTo>
                    <a:lnTo>
                      <a:pt x="6067" y="15487"/>
                    </a:lnTo>
                    <a:lnTo>
                      <a:pt x="5649" y="15238"/>
                    </a:lnTo>
                    <a:lnTo>
                      <a:pt x="4979" y="15238"/>
                    </a:lnTo>
                    <a:lnTo>
                      <a:pt x="4351" y="14824"/>
                    </a:lnTo>
                    <a:lnTo>
                      <a:pt x="3933" y="14576"/>
                    </a:lnTo>
                    <a:lnTo>
                      <a:pt x="3264" y="14576"/>
                    </a:lnTo>
                    <a:lnTo>
                      <a:pt x="2594" y="13540"/>
                    </a:lnTo>
                    <a:lnTo>
                      <a:pt x="1715" y="11843"/>
                    </a:lnTo>
                    <a:lnTo>
                      <a:pt x="669" y="10725"/>
                    </a:lnTo>
                    <a:lnTo>
                      <a:pt x="0" y="9648"/>
                    </a:lnTo>
                    <a:lnTo>
                      <a:pt x="0" y="8157"/>
                    </a:lnTo>
                    <a:lnTo>
                      <a:pt x="0" y="7288"/>
                    </a:lnTo>
                    <a:lnTo>
                      <a:pt x="0" y="6460"/>
                    </a:lnTo>
                    <a:lnTo>
                      <a:pt x="1088" y="6253"/>
                    </a:lnTo>
                    <a:lnTo>
                      <a:pt x="2176" y="5176"/>
                    </a:lnTo>
                    <a:lnTo>
                      <a:pt x="2845" y="4513"/>
                    </a:lnTo>
                    <a:lnTo>
                      <a:pt x="2845" y="3644"/>
                    </a:lnTo>
                    <a:lnTo>
                      <a:pt x="2176" y="3478"/>
                    </a:lnTo>
                    <a:lnTo>
                      <a:pt x="2176" y="3023"/>
                    </a:lnTo>
                    <a:lnTo>
                      <a:pt x="2594" y="2816"/>
                    </a:lnTo>
                    <a:lnTo>
                      <a:pt x="2594" y="2360"/>
                    </a:lnTo>
                    <a:lnTo>
                      <a:pt x="2594" y="1284"/>
                    </a:lnTo>
                    <a:lnTo>
                      <a:pt x="2176" y="2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0" name="Freeform 99"/>
              <p:cNvSpPr>
                <a:spLocks/>
              </p:cNvSpPr>
              <p:nvPr/>
            </p:nvSpPr>
            <p:spPr bwMode="auto">
              <a:xfrm>
                <a:off x="4986338" y="4138613"/>
                <a:ext cx="50800" cy="138112"/>
              </a:xfrm>
              <a:custGeom>
                <a:avLst/>
                <a:gdLst>
                  <a:gd name="T0" fmla="*/ 2532 w 20000"/>
                  <a:gd name="T1" fmla="*/ 0 h 20000"/>
                  <a:gd name="T2" fmla="*/ 5316 w 20000"/>
                  <a:gd name="T3" fmla="*/ 0 h 20000"/>
                  <a:gd name="T4" fmla="*/ 9367 w 20000"/>
                  <a:gd name="T5" fmla="*/ 0 h 20000"/>
                  <a:gd name="T6" fmla="*/ 11899 w 20000"/>
                  <a:gd name="T7" fmla="*/ 2396 h 20000"/>
                  <a:gd name="T8" fmla="*/ 15696 w 20000"/>
                  <a:gd name="T9" fmla="*/ 3779 h 20000"/>
                  <a:gd name="T10" fmla="*/ 17215 w 20000"/>
                  <a:gd name="T11" fmla="*/ 5622 h 20000"/>
                  <a:gd name="T12" fmla="*/ 19747 w 20000"/>
                  <a:gd name="T13" fmla="*/ 7097 h 20000"/>
                  <a:gd name="T14" fmla="*/ 19747 w 20000"/>
                  <a:gd name="T15" fmla="*/ 17143 h 20000"/>
                  <a:gd name="T16" fmla="*/ 19747 w 20000"/>
                  <a:gd name="T17" fmla="*/ 17512 h 20000"/>
                  <a:gd name="T18" fmla="*/ 19747 w 20000"/>
                  <a:gd name="T19" fmla="*/ 19447 h 20000"/>
                  <a:gd name="T20" fmla="*/ 17215 w 20000"/>
                  <a:gd name="T21" fmla="*/ 19447 h 20000"/>
                  <a:gd name="T22" fmla="*/ 13165 w 20000"/>
                  <a:gd name="T23" fmla="*/ 19908 h 20000"/>
                  <a:gd name="T24" fmla="*/ 9367 w 20000"/>
                  <a:gd name="T25" fmla="*/ 18525 h 20000"/>
                  <a:gd name="T26" fmla="*/ 6582 w 20000"/>
                  <a:gd name="T27" fmla="*/ 15668 h 20000"/>
                  <a:gd name="T28" fmla="*/ 6582 w 20000"/>
                  <a:gd name="T29" fmla="*/ 13272 h 20000"/>
                  <a:gd name="T30" fmla="*/ 6582 w 20000"/>
                  <a:gd name="T31" fmla="*/ 11429 h 20000"/>
                  <a:gd name="T32" fmla="*/ 9367 w 20000"/>
                  <a:gd name="T33" fmla="*/ 9954 h 20000"/>
                  <a:gd name="T34" fmla="*/ 6582 w 20000"/>
                  <a:gd name="T35" fmla="*/ 8479 h 20000"/>
                  <a:gd name="T36" fmla="*/ 6582 w 20000"/>
                  <a:gd name="T37" fmla="*/ 7558 h 20000"/>
                  <a:gd name="T38" fmla="*/ 6582 w 20000"/>
                  <a:gd name="T39" fmla="*/ 6175 h 20000"/>
                  <a:gd name="T40" fmla="*/ 2532 w 20000"/>
                  <a:gd name="T41" fmla="*/ 5622 h 20000"/>
                  <a:gd name="T42" fmla="*/ 5316 w 20000"/>
                  <a:gd name="T43" fmla="*/ 3779 h 20000"/>
                  <a:gd name="T44" fmla="*/ 5316 w 20000"/>
                  <a:gd name="T45" fmla="*/ 2396 h 20000"/>
                  <a:gd name="T46" fmla="*/ 0 w 20000"/>
                  <a:gd name="T47" fmla="*/ 922 h 20000"/>
                  <a:gd name="T48" fmla="*/ 2532 w 20000"/>
                  <a:gd name="T4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000" h="20000">
                    <a:moveTo>
                      <a:pt x="2532" y="0"/>
                    </a:moveTo>
                    <a:lnTo>
                      <a:pt x="5316" y="0"/>
                    </a:lnTo>
                    <a:lnTo>
                      <a:pt x="9367" y="0"/>
                    </a:lnTo>
                    <a:lnTo>
                      <a:pt x="11899" y="2396"/>
                    </a:lnTo>
                    <a:lnTo>
                      <a:pt x="15696" y="3779"/>
                    </a:lnTo>
                    <a:lnTo>
                      <a:pt x="17215" y="5622"/>
                    </a:lnTo>
                    <a:lnTo>
                      <a:pt x="19747" y="7097"/>
                    </a:lnTo>
                    <a:lnTo>
                      <a:pt x="19747" y="17143"/>
                    </a:lnTo>
                    <a:lnTo>
                      <a:pt x="19747" y="17512"/>
                    </a:lnTo>
                    <a:lnTo>
                      <a:pt x="19747" y="19447"/>
                    </a:lnTo>
                    <a:lnTo>
                      <a:pt x="17215" y="19447"/>
                    </a:lnTo>
                    <a:lnTo>
                      <a:pt x="13165" y="19908"/>
                    </a:lnTo>
                    <a:lnTo>
                      <a:pt x="9367" y="18525"/>
                    </a:lnTo>
                    <a:lnTo>
                      <a:pt x="6582" y="15668"/>
                    </a:lnTo>
                    <a:lnTo>
                      <a:pt x="6582" y="13272"/>
                    </a:lnTo>
                    <a:lnTo>
                      <a:pt x="6582" y="11429"/>
                    </a:lnTo>
                    <a:lnTo>
                      <a:pt x="9367" y="9954"/>
                    </a:lnTo>
                    <a:lnTo>
                      <a:pt x="6582" y="8479"/>
                    </a:lnTo>
                    <a:lnTo>
                      <a:pt x="6582" y="7558"/>
                    </a:lnTo>
                    <a:lnTo>
                      <a:pt x="6582" y="6175"/>
                    </a:lnTo>
                    <a:lnTo>
                      <a:pt x="2532" y="5622"/>
                    </a:lnTo>
                    <a:lnTo>
                      <a:pt x="5316" y="3779"/>
                    </a:lnTo>
                    <a:lnTo>
                      <a:pt x="5316" y="2396"/>
                    </a:lnTo>
                    <a:lnTo>
                      <a:pt x="0" y="922"/>
                    </a:lnTo>
                    <a:lnTo>
                      <a:pt x="253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1" name="Freeform 98"/>
              <p:cNvSpPr>
                <a:spLocks/>
              </p:cNvSpPr>
              <p:nvPr/>
            </p:nvSpPr>
            <p:spPr bwMode="auto">
              <a:xfrm>
                <a:off x="5372100" y="3778250"/>
                <a:ext cx="292100" cy="463550"/>
              </a:xfrm>
              <a:custGeom>
                <a:avLst/>
                <a:gdLst>
                  <a:gd name="T0" fmla="*/ 4685 w 20000"/>
                  <a:gd name="T1" fmla="*/ 0 h 20000"/>
                  <a:gd name="T2" fmla="*/ 19957 w 20000"/>
                  <a:gd name="T3" fmla="*/ 9507 h 20000"/>
                  <a:gd name="T4" fmla="*/ 17744 w 20000"/>
                  <a:gd name="T5" fmla="*/ 9918 h 20000"/>
                  <a:gd name="T6" fmla="*/ 17267 w 20000"/>
                  <a:gd name="T7" fmla="*/ 10767 h 20000"/>
                  <a:gd name="T8" fmla="*/ 17267 w 20000"/>
                  <a:gd name="T9" fmla="*/ 11479 h 20000"/>
                  <a:gd name="T10" fmla="*/ 17050 w 20000"/>
                  <a:gd name="T11" fmla="*/ 12603 h 20000"/>
                  <a:gd name="T12" fmla="*/ 16356 w 20000"/>
                  <a:gd name="T13" fmla="*/ 13616 h 20000"/>
                  <a:gd name="T14" fmla="*/ 17050 w 20000"/>
                  <a:gd name="T15" fmla="*/ 13616 h 20000"/>
                  <a:gd name="T16" fmla="*/ 17267 w 20000"/>
                  <a:gd name="T17" fmla="*/ 14329 h 20000"/>
                  <a:gd name="T18" fmla="*/ 18178 w 20000"/>
                  <a:gd name="T19" fmla="*/ 15178 h 20000"/>
                  <a:gd name="T20" fmla="*/ 17050 w 20000"/>
                  <a:gd name="T21" fmla="*/ 15616 h 20000"/>
                  <a:gd name="T22" fmla="*/ 15445 w 20000"/>
                  <a:gd name="T23" fmla="*/ 16575 h 20000"/>
                  <a:gd name="T24" fmla="*/ 14100 w 20000"/>
                  <a:gd name="T25" fmla="*/ 17288 h 20000"/>
                  <a:gd name="T26" fmla="*/ 13015 w 20000"/>
                  <a:gd name="T27" fmla="*/ 17699 h 20000"/>
                  <a:gd name="T28" fmla="*/ 10542 w 20000"/>
                  <a:gd name="T29" fmla="*/ 18137 h 20000"/>
                  <a:gd name="T30" fmla="*/ 10542 w 20000"/>
                  <a:gd name="T31" fmla="*/ 18849 h 20000"/>
                  <a:gd name="T32" fmla="*/ 8980 w 20000"/>
                  <a:gd name="T33" fmla="*/ 18986 h 20000"/>
                  <a:gd name="T34" fmla="*/ 7809 w 20000"/>
                  <a:gd name="T35" fmla="*/ 18986 h 20000"/>
                  <a:gd name="T36" fmla="*/ 6030 w 20000"/>
                  <a:gd name="T37" fmla="*/ 19534 h 20000"/>
                  <a:gd name="T38" fmla="*/ 4685 w 20000"/>
                  <a:gd name="T39" fmla="*/ 19699 h 20000"/>
                  <a:gd name="T40" fmla="*/ 3991 w 20000"/>
                  <a:gd name="T41" fmla="*/ 19534 h 20000"/>
                  <a:gd name="T42" fmla="*/ 3124 w 20000"/>
                  <a:gd name="T43" fmla="*/ 18411 h 20000"/>
                  <a:gd name="T44" fmla="*/ 1128 w 20000"/>
                  <a:gd name="T45" fmla="*/ 17288 h 20000"/>
                  <a:gd name="T46" fmla="*/ 2213 w 20000"/>
                  <a:gd name="T47" fmla="*/ 16740 h 20000"/>
                  <a:gd name="T48" fmla="*/ 3124 w 20000"/>
                  <a:gd name="T49" fmla="*/ 16301 h 20000"/>
                  <a:gd name="T50" fmla="*/ 2907 w 20000"/>
                  <a:gd name="T51" fmla="*/ 14877 h 20000"/>
                  <a:gd name="T52" fmla="*/ 2473 w 20000"/>
                  <a:gd name="T53" fmla="*/ 13616 h 20000"/>
                  <a:gd name="T54" fmla="*/ 1779 w 20000"/>
                  <a:gd name="T55" fmla="*/ 12877 h 20000"/>
                  <a:gd name="T56" fmla="*/ 694 w 20000"/>
                  <a:gd name="T57" fmla="*/ 12603 h 20000"/>
                  <a:gd name="T58" fmla="*/ 0 w 20000"/>
                  <a:gd name="T59" fmla="*/ 11315 h 20000"/>
                  <a:gd name="T60" fmla="*/ 694 w 20000"/>
                  <a:gd name="T61" fmla="*/ 10356 h 20000"/>
                  <a:gd name="T62" fmla="*/ 3991 w 20000"/>
                  <a:gd name="T63" fmla="*/ 4082 h 20000"/>
                  <a:gd name="T64" fmla="*/ 3557 w 20000"/>
                  <a:gd name="T65" fmla="*/ 3260 h 20000"/>
                  <a:gd name="T66" fmla="*/ 2907 w 20000"/>
                  <a:gd name="T67" fmla="*/ 2411 h 20000"/>
                  <a:gd name="T68" fmla="*/ 2473 w 20000"/>
                  <a:gd name="T69" fmla="*/ 54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2473" y="548"/>
                    </a:moveTo>
                    <a:lnTo>
                      <a:pt x="4685" y="0"/>
                    </a:lnTo>
                    <a:lnTo>
                      <a:pt x="19957" y="4822"/>
                    </a:lnTo>
                    <a:lnTo>
                      <a:pt x="19957" y="9507"/>
                    </a:lnTo>
                    <a:lnTo>
                      <a:pt x="18395" y="9644"/>
                    </a:lnTo>
                    <a:lnTo>
                      <a:pt x="17744" y="9918"/>
                    </a:lnTo>
                    <a:lnTo>
                      <a:pt x="18178" y="10055"/>
                    </a:lnTo>
                    <a:lnTo>
                      <a:pt x="17267" y="10767"/>
                    </a:lnTo>
                    <a:lnTo>
                      <a:pt x="17050" y="11041"/>
                    </a:lnTo>
                    <a:lnTo>
                      <a:pt x="17267" y="11479"/>
                    </a:lnTo>
                    <a:lnTo>
                      <a:pt x="16616" y="11918"/>
                    </a:lnTo>
                    <a:lnTo>
                      <a:pt x="17050" y="12603"/>
                    </a:lnTo>
                    <a:lnTo>
                      <a:pt x="16356" y="13041"/>
                    </a:lnTo>
                    <a:lnTo>
                      <a:pt x="16356" y="13616"/>
                    </a:lnTo>
                    <a:lnTo>
                      <a:pt x="16616" y="13315"/>
                    </a:lnTo>
                    <a:lnTo>
                      <a:pt x="17050" y="13616"/>
                    </a:lnTo>
                    <a:lnTo>
                      <a:pt x="17050" y="13753"/>
                    </a:lnTo>
                    <a:lnTo>
                      <a:pt x="17267" y="14329"/>
                    </a:lnTo>
                    <a:lnTo>
                      <a:pt x="17267" y="14877"/>
                    </a:lnTo>
                    <a:lnTo>
                      <a:pt x="18178" y="15178"/>
                    </a:lnTo>
                    <a:lnTo>
                      <a:pt x="17744" y="15616"/>
                    </a:lnTo>
                    <a:lnTo>
                      <a:pt x="17050" y="15616"/>
                    </a:lnTo>
                    <a:lnTo>
                      <a:pt x="15922" y="15890"/>
                    </a:lnTo>
                    <a:lnTo>
                      <a:pt x="15445" y="16575"/>
                    </a:lnTo>
                    <a:lnTo>
                      <a:pt x="14794" y="16740"/>
                    </a:lnTo>
                    <a:lnTo>
                      <a:pt x="14100" y="17288"/>
                    </a:lnTo>
                    <a:lnTo>
                      <a:pt x="13666" y="17425"/>
                    </a:lnTo>
                    <a:lnTo>
                      <a:pt x="13015" y="17699"/>
                    </a:lnTo>
                    <a:lnTo>
                      <a:pt x="11193" y="17863"/>
                    </a:lnTo>
                    <a:lnTo>
                      <a:pt x="10542" y="18137"/>
                    </a:lnTo>
                    <a:lnTo>
                      <a:pt x="10759" y="18411"/>
                    </a:lnTo>
                    <a:lnTo>
                      <a:pt x="10542" y="18849"/>
                    </a:lnTo>
                    <a:lnTo>
                      <a:pt x="9414" y="18986"/>
                    </a:lnTo>
                    <a:lnTo>
                      <a:pt x="8980" y="18986"/>
                    </a:lnTo>
                    <a:lnTo>
                      <a:pt x="8330" y="19260"/>
                    </a:lnTo>
                    <a:lnTo>
                      <a:pt x="7809" y="18986"/>
                    </a:lnTo>
                    <a:lnTo>
                      <a:pt x="6941" y="19260"/>
                    </a:lnTo>
                    <a:lnTo>
                      <a:pt x="6030" y="19534"/>
                    </a:lnTo>
                    <a:lnTo>
                      <a:pt x="5857" y="19260"/>
                    </a:lnTo>
                    <a:lnTo>
                      <a:pt x="4685" y="19699"/>
                    </a:lnTo>
                    <a:lnTo>
                      <a:pt x="3991" y="19973"/>
                    </a:lnTo>
                    <a:lnTo>
                      <a:pt x="3991" y="19534"/>
                    </a:lnTo>
                    <a:lnTo>
                      <a:pt x="3557" y="19260"/>
                    </a:lnTo>
                    <a:lnTo>
                      <a:pt x="3124" y="18411"/>
                    </a:lnTo>
                    <a:lnTo>
                      <a:pt x="2473" y="18137"/>
                    </a:lnTo>
                    <a:lnTo>
                      <a:pt x="1128" y="17288"/>
                    </a:lnTo>
                    <a:lnTo>
                      <a:pt x="1345" y="16740"/>
                    </a:lnTo>
                    <a:lnTo>
                      <a:pt x="2213" y="16740"/>
                    </a:lnTo>
                    <a:lnTo>
                      <a:pt x="3991" y="16740"/>
                    </a:lnTo>
                    <a:lnTo>
                      <a:pt x="3124" y="16301"/>
                    </a:lnTo>
                    <a:lnTo>
                      <a:pt x="2907" y="15616"/>
                    </a:lnTo>
                    <a:lnTo>
                      <a:pt x="2907" y="14877"/>
                    </a:lnTo>
                    <a:lnTo>
                      <a:pt x="2907" y="14329"/>
                    </a:lnTo>
                    <a:lnTo>
                      <a:pt x="2473" y="13616"/>
                    </a:lnTo>
                    <a:lnTo>
                      <a:pt x="1779" y="13315"/>
                    </a:lnTo>
                    <a:lnTo>
                      <a:pt x="1779" y="12877"/>
                    </a:lnTo>
                    <a:lnTo>
                      <a:pt x="1128" y="12877"/>
                    </a:lnTo>
                    <a:lnTo>
                      <a:pt x="694" y="12603"/>
                    </a:lnTo>
                    <a:lnTo>
                      <a:pt x="0" y="11918"/>
                    </a:lnTo>
                    <a:lnTo>
                      <a:pt x="0" y="11315"/>
                    </a:lnTo>
                    <a:lnTo>
                      <a:pt x="174" y="10767"/>
                    </a:lnTo>
                    <a:lnTo>
                      <a:pt x="694" y="10356"/>
                    </a:lnTo>
                    <a:lnTo>
                      <a:pt x="3557" y="8055"/>
                    </a:lnTo>
                    <a:lnTo>
                      <a:pt x="3991" y="4082"/>
                    </a:lnTo>
                    <a:lnTo>
                      <a:pt x="4252" y="3973"/>
                    </a:lnTo>
                    <a:lnTo>
                      <a:pt x="3557" y="3260"/>
                    </a:lnTo>
                    <a:lnTo>
                      <a:pt x="3557" y="2849"/>
                    </a:lnTo>
                    <a:lnTo>
                      <a:pt x="2907" y="2411"/>
                    </a:lnTo>
                    <a:lnTo>
                      <a:pt x="2907" y="1397"/>
                    </a:lnTo>
                    <a:lnTo>
                      <a:pt x="2473" y="5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2" name="Freeform 97"/>
              <p:cNvSpPr>
                <a:spLocks/>
              </p:cNvSpPr>
              <p:nvPr/>
            </p:nvSpPr>
            <p:spPr bwMode="auto">
              <a:xfrm>
                <a:off x="5197475" y="3343275"/>
                <a:ext cx="115888" cy="223838"/>
              </a:xfrm>
              <a:custGeom>
                <a:avLst/>
                <a:gdLst>
                  <a:gd name="T0" fmla="*/ 5055 w 20000"/>
                  <a:gd name="T1" fmla="*/ 1473 h 20000"/>
                  <a:gd name="T2" fmla="*/ 6703 w 20000"/>
                  <a:gd name="T3" fmla="*/ 340 h 20000"/>
                  <a:gd name="T4" fmla="*/ 9560 w 20000"/>
                  <a:gd name="T5" fmla="*/ 0 h 20000"/>
                  <a:gd name="T6" fmla="*/ 11868 w 20000"/>
                  <a:gd name="T7" fmla="*/ 340 h 20000"/>
                  <a:gd name="T8" fmla="*/ 12527 w 20000"/>
                  <a:gd name="T9" fmla="*/ 1756 h 20000"/>
                  <a:gd name="T10" fmla="*/ 15385 w 20000"/>
                  <a:gd name="T11" fmla="*/ 907 h 20000"/>
                  <a:gd name="T12" fmla="*/ 16484 w 20000"/>
                  <a:gd name="T13" fmla="*/ 1473 h 20000"/>
                  <a:gd name="T14" fmla="*/ 14286 w 20000"/>
                  <a:gd name="T15" fmla="*/ 2323 h 20000"/>
                  <a:gd name="T16" fmla="*/ 13626 w 20000"/>
                  <a:gd name="T17" fmla="*/ 3796 h 20000"/>
                  <a:gd name="T18" fmla="*/ 15385 w 20000"/>
                  <a:gd name="T19" fmla="*/ 4646 h 20000"/>
                  <a:gd name="T20" fmla="*/ 16484 w 20000"/>
                  <a:gd name="T21" fmla="*/ 6176 h 20000"/>
                  <a:gd name="T22" fmla="*/ 14286 w 20000"/>
                  <a:gd name="T23" fmla="*/ 7649 h 20000"/>
                  <a:gd name="T24" fmla="*/ 11868 w 20000"/>
                  <a:gd name="T25" fmla="*/ 9065 h 20000"/>
                  <a:gd name="T26" fmla="*/ 12527 w 20000"/>
                  <a:gd name="T27" fmla="*/ 10312 h 20000"/>
                  <a:gd name="T28" fmla="*/ 14286 w 20000"/>
                  <a:gd name="T29" fmla="*/ 10312 h 20000"/>
                  <a:gd name="T30" fmla="*/ 14286 w 20000"/>
                  <a:gd name="T31" fmla="*/ 10878 h 20000"/>
                  <a:gd name="T32" fmla="*/ 16484 w 20000"/>
                  <a:gd name="T33" fmla="*/ 10878 h 20000"/>
                  <a:gd name="T34" fmla="*/ 17033 w 20000"/>
                  <a:gd name="T35" fmla="*/ 11445 h 20000"/>
                  <a:gd name="T36" fmla="*/ 18791 w 20000"/>
                  <a:gd name="T37" fmla="*/ 12295 h 20000"/>
                  <a:gd name="T38" fmla="*/ 18791 w 20000"/>
                  <a:gd name="T39" fmla="*/ 13201 h 20000"/>
                  <a:gd name="T40" fmla="*/ 19890 w 20000"/>
                  <a:gd name="T41" fmla="*/ 14051 h 20000"/>
                  <a:gd name="T42" fmla="*/ 16484 w 20000"/>
                  <a:gd name="T43" fmla="*/ 14618 h 20000"/>
                  <a:gd name="T44" fmla="*/ 12527 w 20000"/>
                  <a:gd name="T45" fmla="*/ 16431 h 20000"/>
                  <a:gd name="T46" fmla="*/ 13626 w 20000"/>
                  <a:gd name="T47" fmla="*/ 18470 h 20000"/>
                  <a:gd name="T48" fmla="*/ 10769 w 20000"/>
                  <a:gd name="T49" fmla="*/ 19943 h 20000"/>
                  <a:gd name="T50" fmla="*/ 9560 w 20000"/>
                  <a:gd name="T51" fmla="*/ 19943 h 20000"/>
                  <a:gd name="T52" fmla="*/ 8022 w 20000"/>
                  <a:gd name="T53" fmla="*/ 14618 h 20000"/>
                  <a:gd name="T54" fmla="*/ 4505 w 20000"/>
                  <a:gd name="T55" fmla="*/ 13768 h 20000"/>
                  <a:gd name="T56" fmla="*/ 3297 w 20000"/>
                  <a:gd name="T57" fmla="*/ 11728 h 20000"/>
                  <a:gd name="T58" fmla="*/ 1648 w 20000"/>
                  <a:gd name="T59" fmla="*/ 11445 h 20000"/>
                  <a:gd name="T60" fmla="*/ 0 w 20000"/>
                  <a:gd name="T61" fmla="*/ 9405 h 20000"/>
                  <a:gd name="T62" fmla="*/ 3297 w 20000"/>
                  <a:gd name="T63" fmla="*/ 7082 h 20000"/>
                  <a:gd name="T64" fmla="*/ 3297 w 20000"/>
                  <a:gd name="T65" fmla="*/ 4646 h 20000"/>
                  <a:gd name="T66" fmla="*/ 3297 w 20000"/>
                  <a:gd name="T67" fmla="*/ 2946 h 20000"/>
                  <a:gd name="T68" fmla="*/ 3297 w 20000"/>
                  <a:gd name="T69" fmla="*/ 2323 h 20000"/>
                  <a:gd name="T70" fmla="*/ 5055 w 20000"/>
                  <a:gd name="T71" fmla="*/ 1756 h 20000"/>
                  <a:gd name="T72" fmla="*/ 5055 w 20000"/>
                  <a:gd name="T73" fmla="*/ 147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00" h="20000">
                    <a:moveTo>
                      <a:pt x="5055" y="1473"/>
                    </a:moveTo>
                    <a:lnTo>
                      <a:pt x="6703" y="340"/>
                    </a:lnTo>
                    <a:lnTo>
                      <a:pt x="9560" y="0"/>
                    </a:lnTo>
                    <a:lnTo>
                      <a:pt x="11868" y="340"/>
                    </a:lnTo>
                    <a:lnTo>
                      <a:pt x="12527" y="1756"/>
                    </a:lnTo>
                    <a:lnTo>
                      <a:pt x="15385" y="907"/>
                    </a:lnTo>
                    <a:lnTo>
                      <a:pt x="16484" y="1473"/>
                    </a:lnTo>
                    <a:lnTo>
                      <a:pt x="14286" y="2323"/>
                    </a:lnTo>
                    <a:lnTo>
                      <a:pt x="13626" y="3796"/>
                    </a:lnTo>
                    <a:lnTo>
                      <a:pt x="15385" y="4646"/>
                    </a:lnTo>
                    <a:lnTo>
                      <a:pt x="16484" y="6176"/>
                    </a:lnTo>
                    <a:lnTo>
                      <a:pt x="14286" y="7649"/>
                    </a:lnTo>
                    <a:lnTo>
                      <a:pt x="11868" y="9065"/>
                    </a:lnTo>
                    <a:lnTo>
                      <a:pt x="12527" y="10312"/>
                    </a:lnTo>
                    <a:lnTo>
                      <a:pt x="14286" y="10312"/>
                    </a:lnTo>
                    <a:lnTo>
                      <a:pt x="14286" y="10878"/>
                    </a:lnTo>
                    <a:lnTo>
                      <a:pt x="16484" y="10878"/>
                    </a:lnTo>
                    <a:lnTo>
                      <a:pt x="17033" y="11445"/>
                    </a:lnTo>
                    <a:lnTo>
                      <a:pt x="18791" y="12295"/>
                    </a:lnTo>
                    <a:lnTo>
                      <a:pt x="18791" y="13201"/>
                    </a:lnTo>
                    <a:lnTo>
                      <a:pt x="19890" y="14051"/>
                    </a:lnTo>
                    <a:lnTo>
                      <a:pt x="16484" y="14618"/>
                    </a:lnTo>
                    <a:lnTo>
                      <a:pt x="12527" y="16431"/>
                    </a:lnTo>
                    <a:lnTo>
                      <a:pt x="13626" y="18470"/>
                    </a:lnTo>
                    <a:lnTo>
                      <a:pt x="10769" y="19943"/>
                    </a:lnTo>
                    <a:lnTo>
                      <a:pt x="9560" y="19943"/>
                    </a:lnTo>
                    <a:lnTo>
                      <a:pt x="8022" y="14618"/>
                    </a:lnTo>
                    <a:lnTo>
                      <a:pt x="4505" y="13768"/>
                    </a:lnTo>
                    <a:lnTo>
                      <a:pt x="3297" y="11728"/>
                    </a:lnTo>
                    <a:lnTo>
                      <a:pt x="1648" y="11445"/>
                    </a:lnTo>
                    <a:lnTo>
                      <a:pt x="0" y="9405"/>
                    </a:lnTo>
                    <a:lnTo>
                      <a:pt x="3297" y="7082"/>
                    </a:lnTo>
                    <a:lnTo>
                      <a:pt x="3297" y="4646"/>
                    </a:lnTo>
                    <a:lnTo>
                      <a:pt x="3297" y="2946"/>
                    </a:lnTo>
                    <a:lnTo>
                      <a:pt x="3297" y="2323"/>
                    </a:lnTo>
                    <a:lnTo>
                      <a:pt x="5055" y="1756"/>
                    </a:lnTo>
                    <a:lnTo>
                      <a:pt x="5055" y="147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3" name="Freeform 96"/>
              <p:cNvSpPr>
                <a:spLocks/>
              </p:cNvSpPr>
              <p:nvPr/>
            </p:nvSpPr>
            <p:spPr bwMode="auto">
              <a:xfrm>
                <a:off x="5827713" y="4335463"/>
                <a:ext cx="155575" cy="158750"/>
              </a:xfrm>
              <a:custGeom>
                <a:avLst/>
                <a:gdLst>
                  <a:gd name="T0" fmla="*/ 4245 w 20000"/>
                  <a:gd name="T1" fmla="*/ 1280 h 20000"/>
                  <a:gd name="T2" fmla="*/ 4735 w 20000"/>
                  <a:gd name="T3" fmla="*/ 800 h 20000"/>
                  <a:gd name="T4" fmla="*/ 7673 w 20000"/>
                  <a:gd name="T5" fmla="*/ 1280 h 20000"/>
                  <a:gd name="T6" fmla="*/ 8898 w 20000"/>
                  <a:gd name="T7" fmla="*/ 2080 h 20000"/>
                  <a:gd name="T8" fmla="*/ 9388 w 20000"/>
                  <a:gd name="T9" fmla="*/ 1280 h 20000"/>
                  <a:gd name="T10" fmla="*/ 11429 w 20000"/>
                  <a:gd name="T11" fmla="*/ 1280 h 20000"/>
                  <a:gd name="T12" fmla="*/ 14367 w 20000"/>
                  <a:gd name="T13" fmla="*/ 1280 h 20000"/>
                  <a:gd name="T14" fmla="*/ 16571 w 20000"/>
                  <a:gd name="T15" fmla="*/ 0 h 20000"/>
                  <a:gd name="T16" fmla="*/ 16571 w 20000"/>
                  <a:gd name="T17" fmla="*/ 800 h 20000"/>
                  <a:gd name="T18" fmla="*/ 17796 w 20000"/>
                  <a:gd name="T19" fmla="*/ 1280 h 20000"/>
                  <a:gd name="T20" fmla="*/ 17796 w 20000"/>
                  <a:gd name="T21" fmla="*/ 2480 h 20000"/>
                  <a:gd name="T22" fmla="*/ 18204 w 20000"/>
                  <a:gd name="T23" fmla="*/ 4560 h 20000"/>
                  <a:gd name="T24" fmla="*/ 19918 w 20000"/>
                  <a:gd name="T25" fmla="*/ 7840 h 20000"/>
                  <a:gd name="T26" fmla="*/ 18204 w 20000"/>
                  <a:gd name="T27" fmla="*/ 9920 h 20000"/>
                  <a:gd name="T28" fmla="*/ 15673 w 20000"/>
                  <a:gd name="T29" fmla="*/ 14080 h 20000"/>
                  <a:gd name="T30" fmla="*/ 15673 w 20000"/>
                  <a:gd name="T31" fmla="*/ 18240 h 20000"/>
                  <a:gd name="T32" fmla="*/ 10204 w 20000"/>
                  <a:gd name="T33" fmla="*/ 18240 h 20000"/>
                  <a:gd name="T34" fmla="*/ 4735 w 20000"/>
                  <a:gd name="T35" fmla="*/ 18240 h 20000"/>
                  <a:gd name="T36" fmla="*/ 3429 w 20000"/>
                  <a:gd name="T37" fmla="*/ 18640 h 20000"/>
                  <a:gd name="T38" fmla="*/ 1306 w 20000"/>
                  <a:gd name="T39" fmla="*/ 19920 h 20000"/>
                  <a:gd name="T40" fmla="*/ 1306 w 20000"/>
                  <a:gd name="T41" fmla="*/ 19440 h 20000"/>
                  <a:gd name="T42" fmla="*/ 0 w 20000"/>
                  <a:gd name="T43" fmla="*/ 19440 h 20000"/>
                  <a:gd name="T44" fmla="*/ 490 w 20000"/>
                  <a:gd name="T45" fmla="*/ 14880 h 20000"/>
                  <a:gd name="T46" fmla="*/ 1306 w 20000"/>
                  <a:gd name="T47" fmla="*/ 12880 h 20000"/>
                  <a:gd name="T48" fmla="*/ 2531 w 20000"/>
                  <a:gd name="T49" fmla="*/ 10800 h 20000"/>
                  <a:gd name="T50" fmla="*/ 4735 w 20000"/>
                  <a:gd name="T51" fmla="*/ 8720 h 20000"/>
                  <a:gd name="T52" fmla="*/ 6041 w 20000"/>
                  <a:gd name="T53" fmla="*/ 7520 h 20000"/>
                  <a:gd name="T54" fmla="*/ 4735 w 20000"/>
                  <a:gd name="T55" fmla="*/ 5360 h 20000"/>
                  <a:gd name="T56" fmla="*/ 4735 w 20000"/>
                  <a:gd name="T57" fmla="*/ 4080 h 20000"/>
                  <a:gd name="T58" fmla="*/ 4735 w 20000"/>
                  <a:gd name="T59" fmla="*/ 2480 h 20000"/>
                  <a:gd name="T60" fmla="*/ 4245 w 20000"/>
                  <a:gd name="T61" fmla="*/ 128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000" h="20000">
                    <a:moveTo>
                      <a:pt x="4245" y="1280"/>
                    </a:moveTo>
                    <a:lnTo>
                      <a:pt x="4735" y="800"/>
                    </a:lnTo>
                    <a:lnTo>
                      <a:pt x="7673" y="1280"/>
                    </a:lnTo>
                    <a:lnTo>
                      <a:pt x="8898" y="2080"/>
                    </a:lnTo>
                    <a:lnTo>
                      <a:pt x="9388" y="1280"/>
                    </a:lnTo>
                    <a:lnTo>
                      <a:pt x="11429" y="1280"/>
                    </a:lnTo>
                    <a:lnTo>
                      <a:pt x="14367" y="1280"/>
                    </a:lnTo>
                    <a:lnTo>
                      <a:pt x="16571" y="0"/>
                    </a:lnTo>
                    <a:lnTo>
                      <a:pt x="16571" y="800"/>
                    </a:lnTo>
                    <a:lnTo>
                      <a:pt x="17796" y="1280"/>
                    </a:lnTo>
                    <a:lnTo>
                      <a:pt x="17796" y="2480"/>
                    </a:lnTo>
                    <a:lnTo>
                      <a:pt x="18204" y="4560"/>
                    </a:lnTo>
                    <a:lnTo>
                      <a:pt x="19918" y="7840"/>
                    </a:lnTo>
                    <a:lnTo>
                      <a:pt x="18204" y="9920"/>
                    </a:lnTo>
                    <a:lnTo>
                      <a:pt x="15673" y="14080"/>
                    </a:lnTo>
                    <a:lnTo>
                      <a:pt x="15673" y="18240"/>
                    </a:lnTo>
                    <a:lnTo>
                      <a:pt x="10204" y="18240"/>
                    </a:lnTo>
                    <a:lnTo>
                      <a:pt x="4735" y="18240"/>
                    </a:lnTo>
                    <a:lnTo>
                      <a:pt x="3429" y="18640"/>
                    </a:lnTo>
                    <a:lnTo>
                      <a:pt x="1306" y="19920"/>
                    </a:lnTo>
                    <a:lnTo>
                      <a:pt x="1306" y="19440"/>
                    </a:lnTo>
                    <a:lnTo>
                      <a:pt x="0" y="19440"/>
                    </a:lnTo>
                    <a:lnTo>
                      <a:pt x="490" y="14880"/>
                    </a:lnTo>
                    <a:lnTo>
                      <a:pt x="1306" y="12880"/>
                    </a:lnTo>
                    <a:lnTo>
                      <a:pt x="2531" y="10800"/>
                    </a:lnTo>
                    <a:lnTo>
                      <a:pt x="4735" y="8720"/>
                    </a:lnTo>
                    <a:lnTo>
                      <a:pt x="6041" y="7520"/>
                    </a:lnTo>
                    <a:lnTo>
                      <a:pt x="4735" y="5360"/>
                    </a:lnTo>
                    <a:lnTo>
                      <a:pt x="4735" y="4080"/>
                    </a:lnTo>
                    <a:lnTo>
                      <a:pt x="4735" y="2480"/>
                    </a:lnTo>
                    <a:lnTo>
                      <a:pt x="4245" y="128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4" name="Freeform 95"/>
              <p:cNvSpPr>
                <a:spLocks/>
              </p:cNvSpPr>
              <p:nvPr/>
            </p:nvSpPr>
            <p:spPr bwMode="auto">
              <a:xfrm>
                <a:off x="5335588" y="4298950"/>
                <a:ext cx="539750" cy="536575"/>
              </a:xfrm>
              <a:custGeom>
                <a:avLst/>
                <a:gdLst>
                  <a:gd name="T0" fmla="*/ 6565 w 20000"/>
                  <a:gd name="T1" fmla="*/ 970 h 20000"/>
                  <a:gd name="T2" fmla="*/ 8376 w 20000"/>
                  <a:gd name="T3" fmla="*/ 734 h 20000"/>
                  <a:gd name="T4" fmla="*/ 10212 w 20000"/>
                  <a:gd name="T5" fmla="*/ 1112 h 20000"/>
                  <a:gd name="T6" fmla="*/ 11200 w 20000"/>
                  <a:gd name="T7" fmla="*/ 734 h 20000"/>
                  <a:gd name="T8" fmla="*/ 12776 w 20000"/>
                  <a:gd name="T9" fmla="*/ 379 h 20000"/>
                  <a:gd name="T10" fmla="*/ 13765 w 20000"/>
                  <a:gd name="T11" fmla="*/ 142 h 20000"/>
                  <a:gd name="T12" fmla="*/ 14729 w 20000"/>
                  <a:gd name="T13" fmla="*/ 142 h 20000"/>
                  <a:gd name="T14" fmla="*/ 15459 w 20000"/>
                  <a:gd name="T15" fmla="*/ 142 h 20000"/>
                  <a:gd name="T16" fmla="*/ 16306 w 20000"/>
                  <a:gd name="T17" fmla="*/ 734 h 20000"/>
                  <a:gd name="T18" fmla="*/ 17271 w 20000"/>
                  <a:gd name="T19" fmla="*/ 970 h 20000"/>
                  <a:gd name="T20" fmla="*/ 18000 w 20000"/>
                  <a:gd name="T21" fmla="*/ 970 h 20000"/>
                  <a:gd name="T22" fmla="*/ 18612 w 20000"/>
                  <a:gd name="T23" fmla="*/ 1112 h 20000"/>
                  <a:gd name="T24" fmla="*/ 19600 w 20000"/>
                  <a:gd name="T25" fmla="*/ 2556 h 20000"/>
                  <a:gd name="T26" fmla="*/ 19600 w 20000"/>
                  <a:gd name="T27" fmla="*/ 3929 h 20000"/>
                  <a:gd name="T28" fmla="*/ 18376 w 20000"/>
                  <a:gd name="T29" fmla="*/ 5751 h 20000"/>
                  <a:gd name="T30" fmla="*/ 17906 w 20000"/>
                  <a:gd name="T31" fmla="*/ 7456 h 20000"/>
                  <a:gd name="T32" fmla="*/ 17412 w 20000"/>
                  <a:gd name="T33" fmla="*/ 8450 h 20000"/>
                  <a:gd name="T34" fmla="*/ 17906 w 20000"/>
                  <a:gd name="T35" fmla="*/ 9325 h 20000"/>
                  <a:gd name="T36" fmla="*/ 18000 w 20000"/>
                  <a:gd name="T37" fmla="*/ 10414 h 20000"/>
                  <a:gd name="T38" fmla="*/ 18000 w 20000"/>
                  <a:gd name="T39" fmla="*/ 12237 h 20000"/>
                  <a:gd name="T40" fmla="*/ 19482 w 20000"/>
                  <a:gd name="T41" fmla="*/ 14462 h 20000"/>
                  <a:gd name="T42" fmla="*/ 17271 w 20000"/>
                  <a:gd name="T43" fmla="*/ 15432 h 20000"/>
                  <a:gd name="T44" fmla="*/ 17035 w 20000"/>
                  <a:gd name="T45" fmla="*/ 16781 h 20000"/>
                  <a:gd name="T46" fmla="*/ 16682 w 20000"/>
                  <a:gd name="T47" fmla="*/ 18130 h 20000"/>
                  <a:gd name="T48" fmla="*/ 17906 w 20000"/>
                  <a:gd name="T49" fmla="*/ 19006 h 20000"/>
                  <a:gd name="T50" fmla="*/ 18000 w 20000"/>
                  <a:gd name="T51" fmla="*/ 19976 h 20000"/>
                  <a:gd name="T52" fmla="*/ 17271 w 20000"/>
                  <a:gd name="T53" fmla="*/ 19598 h 20000"/>
                  <a:gd name="T54" fmla="*/ 15459 w 20000"/>
                  <a:gd name="T55" fmla="*/ 17988 h 20000"/>
                  <a:gd name="T56" fmla="*/ 14847 w 20000"/>
                  <a:gd name="T57" fmla="*/ 18367 h 20000"/>
                  <a:gd name="T58" fmla="*/ 13506 w 20000"/>
                  <a:gd name="T59" fmla="*/ 17396 h 20000"/>
                  <a:gd name="T60" fmla="*/ 12165 w 20000"/>
                  <a:gd name="T61" fmla="*/ 17160 h 20000"/>
                  <a:gd name="T62" fmla="*/ 11200 w 20000"/>
                  <a:gd name="T63" fmla="*/ 17396 h 20000"/>
                  <a:gd name="T64" fmla="*/ 10353 w 20000"/>
                  <a:gd name="T65" fmla="*/ 17396 h 20000"/>
                  <a:gd name="T66" fmla="*/ 10212 w 20000"/>
                  <a:gd name="T67" fmla="*/ 16047 h 20000"/>
                  <a:gd name="T68" fmla="*/ 9976 w 20000"/>
                  <a:gd name="T69" fmla="*/ 14201 h 20000"/>
                  <a:gd name="T70" fmla="*/ 8753 w 20000"/>
                  <a:gd name="T71" fmla="*/ 12852 h 20000"/>
                  <a:gd name="T72" fmla="*/ 7647 w 20000"/>
                  <a:gd name="T73" fmla="*/ 13586 h 20000"/>
                  <a:gd name="T74" fmla="*/ 6565 w 20000"/>
                  <a:gd name="T75" fmla="*/ 13964 h 20000"/>
                  <a:gd name="T76" fmla="*/ 4847 w 20000"/>
                  <a:gd name="T77" fmla="*/ 13231 h 20000"/>
                  <a:gd name="T78" fmla="*/ 4612 w 20000"/>
                  <a:gd name="T79" fmla="*/ 12379 h 20000"/>
                  <a:gd name="T80" fmla="*/ 1929 w 20000"/>
                  <a:gd name="T81" fmla="*/ 11882 h 20000"/>
                  <a:gd name="T82" fmla="*/ 729 w 20000"/>
                  <a:gd name="T83" fmla="*/ 11882 h 20000"/>
                  <a:gd name="T84" fmla="*/ 376 w 20000"/>
                  <a:gd name="T85" fmla="*/ 11645 h 20000"/>
                  <a:gd name="T86" fmla="*/ 729 w 20000"/>
                  <a:gd name="T87" fmla="*/ 10414 h 20000"/>
                  <a:gd name="T88" fmla="*/ 1435 w 20000"/>
                  <a:gd name="T89" fmla="*/ 10651 h 20000"/>
                  <a:gd name="T90" fmla="*/ 2306 w 20000"/>
                  <a:gd name="T91" fmla="*/ 10414 h 20000"/>
                  <a:gd name="T92" fmla="*/ 3035 w 20000"/>
                  <a:gd name="T93" fmla="*/ 10296 h 20000"/>
                  <a:gd name="T94" fmla="*/ 4000 w 20000"/>
                  <a:gd name="T95" fmla="*/ 9041 h 20000"/>
                  <a:gd name="T96" fmla="*/ 4518 w 20000"/>
                  <a:gd name="T97" fmla="*/ 7456 h 20000"/>
                  <a:gd name="T98" fmla="*/ 5224 w 20000"/>
                  <a:gd name="T99" fmla="*/ 6722 h 20000"/>
                  <a:gd name="T100" fmla="*/ 5835 w 20000"/>
                  <a:gd name="T101" fmla="*/ 5278 h 20000"/>
                  <a:gd name="T102" fmla="*/ 6071 w 20000"/>
                  <a:gd name="T103" fmla="*/ 3550 h 20000"/>
                  <a:gd name="T104" fmla="*/ 6565 w 20000"/>
                  <a:gd name="T105" fmla="*/ 170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6565" y="1704"/>
                    </a:moveTo>
                    <a:lnTo>
                      <a:pt x="6565" y="1112"/>
                    </a:lnTo>
                    <a:lnTo>
                      <a:pt x="6565" y="970"/>
                    </a:lnTo>
                    <a:lnTo>
                      <a:pt x="7059" y="615"/>
                    </a:lnTo>
                    <a:lnTo>
                      <a:pt x="7647" y="142"/>
                    </a:lnTo>
                    <a:lnTo>
                      <a:pt x="8376" y="734"/>
                    </a:lnTo>
                    <a:lnTo>
                      <a:pt x="8988" y="970"/>
                    </a:lnTo>
                    <a:lnTo>
                      <a:pt x="9624" y="1112"/>
                    </a:lnTo>
                    <a:lnTo>
                      <a:pt x="10212" y="1112"/>
                    </a:lnTo>
                    <a:lnTo>
                      <a:pt x="10588" y="1349"/>
                    </a:lnTo>
                    <a:lnTo>
                      <a:pt x="10965" y="734"/>
                    </a:lnTo>
                    <a:lnTo>
                      <a:pt x="11200" y="734"/>
                    </a:lnTo>
                    <a:lnTo>
                      <a:pt x="11788" y="734"/>
                    </a:lnTo>
                    <a:lnTo>
                      <a:pt x="12165" y="615"/>
                    </a:lnTo>
                    <a:lnTo>
                      <a:pt x="12776" y="379"/>
                    </a:lnTo>
                    <a:lnTo>
                      <a:pt x="13129" y="379"/>
                    </a:lnTo>
                    <a:lnTo>
                      <a:pt x="13506" y="379"/>
                    </a:lnTo>
                    <a:lnTo>
                      <a:pt x="13765" y="142"/>
                    </a:lnTo>
                    <a:lnTo>
                      <a:pt x="13859" y="0"/>
                    </a:lnTo>
                    <a:lnTo>
                      <a:pt x="14353" y="142"/>
                    </a:lnTo>
                    <a:lnTo>
                      <a:pt x="14729" y="142"/>
                    </a:lnTo>
                    <a:lnTo>
                      <a:pt x="14847" y="379"/>
                    </a:lnTo>
                    <a:lnTo>
                      <a:pt x="15341" y="379"/>
                    </a:lnTo>
                    <a:lnTo>
                      <a:pt x="15459" y="142"/>
                    </a:lnTo>
                    <a:lnTo>
                      <a:pt x="15835" y="142"/>
                    </a:lnTo>
                    <a:lnTo>
                      <a:pt x="16306" y="379"/>
                    </a:lnTo>
                    <a:lnTo>
                      <a:pt x="16306" y="734"/>
                    </a:lnTo>
                    <a:lnTo>
                      <a:pt x="16682" y="970"/>
                    </a:lnTo>
                    <a:lnTo>
                      <a:pt x="17035" y="1112"/>
                    </a:lnTo>
                    <a:lnTo>
                      <a:pt x="17271" y="970"/>
                    </a:lnTo>
                    <a:lnTo>
                      <a:pt x="17412" y="734"/>
                    </a:lnTo>
                    <a:lnTo>
                      <a:pt x="17412" y="970"/>
                    </a:lnTo>
                    <a:lnTo>
                      <a:pt x="18000" y="970"/>
                    </a:lnTo>
                    <a:lnTo>
                      <a:pt x="18000" y="734"/>
                    </a:lnTo>
                    <a:lnTo>
                      <a:pt x="18235" y="734"/>
                    </a:lnTo>
                    <a:lnTo>
                      <a:pt x="18612" y="1112"/>
                    </a:lnTo>
                    <a:lnTo>
                      <a:pt x="19482" y="1704"/>
                    </a:lnTo>
                    <a:lnTo>
                      <a:pt x="19600" y="2083"/>
                    </a:lnTo>
                    <a:lnTo>
                      <a:pt x="19600" y="2556"/>
                    </a:lnTo>
                    <a:lnTo>
                      <a:pt x="19600" y="2935"/>
                    </a:lnTo>
                    <a:lnTo>
                      <a:pt x="19976" y="3550"/>
                    </a:lnTo>
                    <a:lnTo>
                      <a:pt x="19600" y="3929"/>
                    </a:lnTo>
                    <a:lnTo>
                      <a:pt x="18988" y="4544"/>
                    </a:lnTo>
                    <a:lnTo>
                      <a:pt x="18612" y="5136"/>
                    </a:lnTo>
                    <a:lnTo>
                      <a:pt x="18376" y="5751"/>
                    </a:lnTo>
                    <a:lnTo>
                      <a:pt x="18235" y="7101"/>
                    </a:lnTo>
                    <a:lnTo>
                      <a:pt x="18235" y="7219"/>
                    </a:lnTo>
                    <a:lnTo>
                      <a:pt x="17906" y="7456"/>
                    </a:lnTo>
                    <a:lnTo>
                      <a:pt x="17647" y="8071"/>
                    </a:lnTo>
                    <a:lnTo>
                      <a:pt x="17412" y="8331"/>
                    </a:lnTo>
                    <a:lnTo>
                      <a:pt x="17412" y="8450"/>
                    </a:lnTo>
                    <a:lnTo>
                      <a:pt x="17647" y="8805"/>
                    </a:lnTo>
                    <a:lnTo>
                      <a:pt x="17906" y="9041"/>
                    </a:lnTo>
                    <a:lnTo>
                      <a:pt x="17906" y="9325"/>
                    </a:lnTo>
                    <a:lnTo>
                      <a:pt x="17906" y="9680"/>
                    </a:lnTo>
                    <a:lnTo>
                      <a:pt x="18000" y="10296"/>
                    </a:lnTo>
                    <a:lnTo>
                      <a:pt x="18000" y="10414"/>
                    </a:lnTo>
                    <a:lnTo>
                      <a:pt x="18000" y="10888"/>
                    </a:lnTo>
                    <a:lnTo>
                      <a:pt x="18000" y="11408"/>
                    </a:lnTo>
                    <a:lnTo>
                      <a:pt x="18000" y="12237"/>
                    </a:lnTo>
                    <a:lnTo>
                      <a:pt x="18376" y="12852"/>
                    </a:lnTo>
                    <a:lnTo>
                      <a:pt x="18988" y="13491"/>
                    </a:lnTo>
                    <a:lnTo>
                      <a:pt x="19482" y="14462"/>
                    </a:lnTo>
                    <a:lnTo>
                      <a:pt x="17412" y="14556"/>
                    </a:lnTo>
                    <a:lnTo>
                      <a:pt x="17412" y="14840"/>
                    </a:lnTo>
                    <a:lnTo>
                      <a:pt x="17271" y="15432"/>
                    </a:lnTo>
                    <a:lnTo>
                      <a:pt x="16918" y="15811"/>
                    </a:lnTo>
                    <a:lnTo>
                      <a:pt x="17035" y="16047"/>
                    </a:lnTo>
                    <a:lnTo>
                      <a:pt x="17035" y="16781"/>
                    </a:lnTo>
                    <a:lnTo>
                      <a:pt x="16918" y="17160"/>
                    </a:lnTo>
                    <a:lnTo>
                      <a:pt x="16918" y="17633"/>
                    </a:lnTo>
                    <a:lnTo>
                      <a:pt x="16682" y="18130"/>
                    </a:lnTo>
                    <a:lnTo>
                      <a:pt x="16918" y="18367"/>
                    </a:lnTo>
                    <a:lnTo>
                      <a:pt x="17412" y="18722"/>
                    </a:lnTo>
                    <a:lnTo>
                      <a:pt x="17906" y="19006"/>
                    </a:lnTo>
                    <a:lnTo>
                      <a:pt x="17906" y="18722"/>
                    </a:lnTo>
                    <a:lnTo>
                      <a:pt x="18235" y="18722"/>
                    </a:lnTo>
                    <a:lnTo>
                      <a:pt x="18000" y="19976"/>
                    </a:lnTo>
                    <a:lnTo>
                      <a:pt x="18000" y="19716"/>
                    </a:lnTo>
                    <a:lnTo>
                      <a:pt x="17412" y="19976"/>
                    </a:lnTo>
                    <a:lnTo>
                      <a:pt x="17271" y="19598"/>
                    </a:lnTo>
                    <a:lnTo>
                      <a:pt x="16682" y="18722"/>
                    </a:lnTo>
                    <a:lnTo>
                      <a:pt x="16071" y="18722"/>
                    </a:lnTo>
                    <a:lnTo>
                      <a:pt x="15459" y="17988"/>
                    </a:lnTo>
                    <a:lnTo>
                      <a:pt x="15341" y="17988"/>
                    </a:lnTo>
                    <a:lnTo>
                      <a:pt x="15341" y="18367"/>
                    </a:lnTo>
                    <a:lnTo>
                      <a:pt x="14847" y="18367"/>
                    </a:lnTo>
                    <a:lnTo>
                      <a:pt x="14471" y="18367"/>
                    </a:lnTo>
                    <a:lnTo>
                      <a:pt x="13765" y="17988"/>
                    </a:lnTo>
                    <a:lnTo>
                      <a:pt x="13506" y="17396"/>
                    </a:lnTo>
                    <a:lnTo>
                      <a:pt x="12776" y="17988"/>
                    </a:lnTo>
                    <a:lnTo>
                      <a:pt x="12541" y="17396"/>
                    </a:lnTo>
                    <a:lnTo>
                      <a:pt x="12165" y="17160"/>
                    </a:lnTo>
                    <a:lnTo>
                      <a:pt x="12165" y="17396"/>
                    </a:lnTo>
                    <a:lnTo>
                      <a:pt x="11788" y="17160"/>
                    </a:lnTo>
                    <a:lnTo>
                      <a:pt x="11200" y="17396"/>
                    </a:lnTo>
                    <a:lnTo>
                      <a:pt x="10706" y="17396"/>
                    </a:lnTo>
                    <a:lnTo>
                      <a:pt x="10588" y="17633"/>
                    </a:lnTo>
                    <a:lnTo>
                      <a:pt x="10353" y="17396"/>
                    </a:lnTo>
                    <a:lnTo>
                      <a:pt x="10353" y="17018"/>
                    </a:lnTo>
                    <a:lnTo>
                      <a:pt x="10353" y="16166"/>
                    </a:lnTo>
                    <a:lnTo>
                      <a:pt x="10212" y="16047"/>
                    </a:lnTo>
                    <a:lnTo>
                      <a:pt x="9718" y="15574"/>
                    </a:lnTo>
                    <a:lnTo>
                      <a:pt x="10212" y="14840"/>
                    </a:lnTo>
                    <a:lnTo>
                      <a:pt x="9976" y="14201"/>
                    </a:lnTo>
                    <a:lnTo>
                      <a:pt x="9718" y="13491"/>
                    </a:lnTo>
                    <a:lnTo>
                      <a:pt x="8753" y="13491"/>
                    </a:lnTo>
                    <a:lnTo>
                      <a:pt x="8753" y="12852"/>
                    </a:lnTo>
                    <a:lnTo>
                      <a:pt x="8141" y="12970"/>
                    </a:lnTo>
                    <a:lnTo>
                      <a:pt x="7647" y="13231"/>
                    </a:lnTo>
                    <a:lnTo>
                      <a:pt x="7647" y="13586"/>
                    </a:lnTo>
                    <a:lnTo>
                      <a:pt x="7412" y="13586"/>
                    </a:lnTo>
                    <a:lnTo>
                      <a:pt x="7412" y="13964"/>
                    </a:lnTo>
                    <a:lnTo>
                      <a:pt x="6565" y="13964"/>
                    </a:lnTo>
                    <a:lnTo>
                      <a:pt x="6447" y="14201"/>
                    </a:lnTo>
                    <a:lnTo>
                      <a:pt x="5482" y="14201"/>
                    </a:lnTo>
                    <a:lnTo>
                      <a:pt x="4847" y="13231"/>
                    </a:lnTo>
                    <a:lnTo>
                      <a:pt x="4847" y="12970"/>
                    </a:lnTo>
                    <a:lnTo>
                      <a:pt x="4612" y="12615"/>
                    </a:lnTo>
                    <a:lnTo>
                      <a:pt x="4612" y="12379"/>
                    </a:lnTo>
                    <a:lnTo>
                      <a:pt x="4518" y="11882"/>
                    </a:lnTo>
                    <a:lnTo>
                      <a:pt x="3882" y="11882"/>
                    </a:lnTo>
                    <a:lnTo>
                      <a:pt x="1929" y="11882"/>
                    </a:lnTo>
                    <a:lnTo>
                      <a:pt x="1435" y="12000"/>
                    </a:lnTo>
                    <a:lnTo>
                      <a:pt x="1082" y="11882"/>
                    </a:lnTo>
                    <a:lnTo>
                      <a:pt x="729" y="11882"/>
                    </a:lnTo>
                    <a:lnTo>
                      <a:pt x="94" y="11882"/>
                    </a:lnTo>
                    <a:lnTo>
                      <a:pt x="0" y="11645"/>
                    </a:lnTo>
                    <a:lnTo>
                      <a:pt x="376" y="11645"/>
                    </a:lnTo>
                    <a:lnTo>
                      <a:pt x="376" y="11030"/>
                    </a:lnTo>
                    <a:lnTo>
                      <a:pt x="729" y="10651"/>
                    </a:lnTo>
                    <a:lnTo>
                      <a:pt x="729" y="10414"/>
                    </a:lnTo>
                    <a:lnTo>
                      <a:pt x="965" y="10414"/>
                    </a:lnTo>
                    <a:lnTo>
                      <a:pt x="1082" y="10651"/>
                    </a:lnTo>
                    <a:lnTo>
                      <a:pt x="1435" y="10651"/>
                    </a:lnTo>
                    <a:lnTo>
                      <a:pt x="1694" y="10296"/>
                    </a:lnTo>
                    <a:lnTo>
                      <a:pt x="2071" y="10296"/>
                    </a:lnTo>
                    <a:lnTo>
                      <a:pt x="2306" y="10414"/>
                    </a:lnTo>
                    <a:lnTo>
                      <a:pt x="2541" y="10888"/>
                    </a:lnTo>
                    <a:lnTo>
                      <a:pt x="2918" y="10414"/>
                    </a:lnTo>
                    <a:lnTo>
                      <a:pt x="3035" y="10296"/>
                    </a:lnTo>
                    <a:lnTo>
                      <a:pt x="3506" y="10059"/>
                    </a:lnTo>
                    <a:lnTo>
                      <a:pt x="3882" y="9680"/>
                    </a:lnTo>
                    <a:lnTo>
                      <a:pt x="4000" y="9041"/>
                    </a:lnTo>
                    <a:lnTo>
                      <a:pt x="4000" y="8450"/>
                    </a:lnTo>
                    <a:lnTo>
                      <a:pt x="4000" y="7834"/>
                    </a:lnTo>
                    <a:lnTo>
                      <a:pt x="4518" y="7456"/>
                    </a:lnTo>
                    <a:lnTo>
                      <a:pt x="4612" y="7219"/>
                    </a:lnTo>
                    <a:lnTo>
                      <a:pt x="4847" y="6722"/>
                    </a:lnTo>
                    <a:lnTo>
                      <a:pt x="5224" y="6722"/>
                    </a:lnTo>
                    <a:lnTo>
                      <a:pt x="5835" y="6130"/>
                    </a:lnTo>
                    <a:lnTo>
                      <a:pt x="5835" y="5751"/>
                    </a:lnTo>
                    <a:lnTo>
                      <a:pt x="5835" y="5278"/>
                    </a:lnTo>
                    <a:lnTo>
                      <a:pt x="5835" y="4639"/>
                    </a:lnTo>
                    <a:lnTo>
                      <a:pt x="6071" y="4166"/>
                    </a:lnTo>
                    <a:lnTo>
                      <a:pt x="6071" y="3550"/>
                    </a:lnTo>
                    <a:lnTo>
                      <a:pt x="6447" y="2698"/>
                    </a:lnTo>
                    <a:lnTo>
                      <a:pt x="6565" y="2320"/>
                    </a:lnTo>
                    <a:lnTo>
                      <a:pt x="6565" y="170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5" name="Freeform 94"/>
              <p:cNvSpPr>
                <a:spLocks/>
              </p:cNvSpPr>
              <p:nvPr/>
            </p:nvSpPr>
            <p:spPr bwMode="auto">
              <a:xfrm>
                <a:off x="5403850" y="4138613"/>
                <a:ext cx="358775" cy="247650"/>
              </a:xfrm>
              <a:custGeom>
                <a:avLst/>
                <a:gdLst>
                  <a:gd name="T0" fmla="*/ 2014 w 20000"/>
                  <a:gd name="T1" fmla="*/ 7661 h 20000"/>
                  <a:gd name="T2" fmla="*/ 3110 w 20000"/>
                  <a:gd name="T3" fmla="*/ 7404 h 20000"/>
                  <a:gd name="T4" fmla="*/ 4558 w 20000"/>
                  <a:gd name="T5" fmla="*/ 6375 h 20000"/>
                  <a:gd name="T6" fmla="*/ 5512 w 20000"/>
                  <a:gd name="T7" fmla="*/ 6375 h 20000"/>
                  <a:gd name="T8" fmla="*/ 6784 w 20000"/>
                  <a:gd name="T9" fmla="*/ 6067 h 20000"/>
                  <a:gd name="T10" fmla="*/ 6784 w 20000"/>
                  <a:gd name="T11" fmla="*/ 4781 h 20000"/>
                  <a:gd name="T12" fmla="*/ 8763 w 20000"/>
                  <a:gd name="T13" fmla="*/ 3959 h 20000"/>
                  <a:gd name="T14" fmla="*/ 9682 w 20000"/>
                  <a:gd name="T15" fmla="*/ 3136 h 20000"/>
                  <a:gd name="T16" fmla="*/ 10777 w 20000"/>
                  <a:gd name="T17" fmla="*/ 1851 h 20000"/>
                  <a:gd name="T18" fmla="*/ 12085 w 20000"/>
                  <a:gd name="T19" fmla="*/ 0 h 20000"/>
                  <a:gd name="T20" fmla="*/ 13004 w 20000"/>
                  <a:gd name="T21" fmla="*/ 514 h 20000"/>
                  <a:gd name="T22" fmla="*/ 14099 w 20000"/>
                  <a:gd name="T23" fmla="*/ 3445 h 20000"/>
                  <a:gd name="T24" fmla="*/ 13887 w 20000"/>
                  <a:gd name="T25" fmla="*/ 4216 h 20000"/>
                  <a:gd name="T26" fmla="*/ 14099 w 20000"/>
                  <a:gd name="T27" fmla="*/ 5296 h 20000"/>
                  <a:gd name="T28" fmla="*/ 15018 w 20000"/>
                  <a:gd name="T29" fmla="*/ 6067 h 20000"/>
                  <a:gd name="T30" fmla="*/ 16466 w 20000"/>
                  <a:gd name="T31" fmla="*/ 6889 h 20000"/>
                  <a:gd name="T32" fmla="*/ 17739 w 20000"/>
                  <a:gd name="T33" fmla="*/ 8792 h 20000"/>
                  <a:gd name="T34" fmla="*/ 18304 w 20000"/>
                  <a:gd name="T35" fmla="*/ 9563 h 20000"/>
                  <a:gd name="T36" fmla="*/ 18869 w 20000"/>
                  <a:gd name="T37" fmla="*/ 11105 h 20000"/>
                  <a:gd name="T38" fmla="*/ 19965 w 20000"/>
                  <a:gd name="T39" fmla="*/ 13316 h 20000"/>
                  <a:gd name="T40" fmla="*/ 19223 w 20000"/>
                  <a:gd name="T41" fmla="*/ 13830 h 20000"/>
                  <a:gd name="T42" fmla="*/ 18304 w 20000"/>
                  <a:gd name="T43" fmla="*/ 13316 h 20000"/>
                  <a:gd name="T44" fmla="*/ 16996 w 20000"/>
                  <a:gd name="T45" fmla="*/ 13008 h 20000"/>
                  <a:gd name="T46" fmla="*/ 16466 w 20000"/>
                  <a:gd name="T47" fmla="*/ 13830 h 20000"/>
                  <a:gd name="T48" fmla="*/ 15371 w 20000"/>
                  <a:gd name="T49" fmla="*/ 13830 h 20000"/>
                  <a:gd name="T50" fmla="*/ 13887 w 20000"/>
                  <a:gd name="T51" fmla="*/ 14602 h 20000"/>
                  <a:gd name="T52" fmla="*/ 12650 w 20000"/>
                  <a:gd name="T53" fmla="*/ 14602 h 20000"/>
                  <a:gd name="T54" fmla="*/ 11519 w 20000"/>
                  <a:gd name="T55" fmla="*/ 15424 h 20000"/>
                  <a:gd name="T56" fmla="*/ 9682 w 20000"/>
                  <a:gd name="T57" fmla="*/ 15116 h 20000"/>
                  <a:gd name="T58" fmla="*/ 7668 w 20000"/>
                  <a:gd name="T59" fmla="*/ 13316 h 20000"/>
                  <a:gd name="T60" fmla="*/ 6007 w 20000"/>
                  <a:gd name="T61" fmla="*/ 15116 h 20000"/>
                  <a:gd name="T62" fmla="*/ 6007 w 20000"/>
                  <a:gd name="T63" fmla="*/ 16710 h 20000"/>
                  <a:gd name="T64" fmla="*/ 4417 w 20000"/>
                  <a:gd name="T65" fmla="*/ 16710 h 20000"/>
                  <a:gd name="T66" fmla="*/ 2968 w 20000"/>
                  <a:gd name="T67" fmla="*/ 18560 h 20000"/>
                  <a:gd name="T68" fmla="*/ 2014 w 20000"/>
                  <a:gd name="T69" fmla="*/ 19383 h 20000"/>
                  <a:gd name="T70" fmla="*/ 2014 w 20000"/>
                  <a:gd name="T71" fmla="*/ 18046 h 20000"/>
                  <a:gd name="T72" fmla="*/ 742 w 20000"/>
                  <a:gd name="T73" fmla="*/ 15116 h 20000"/>
                  <a:gd name="T74" fmla="*/ 212 w 20000"/>
                  <a:gd name="T75" fmla="*/ 13316 h 20000"/>
                  <a:gd name="T76" fmla="*/ 0 w 20000"/>
                  <a:gd name="T77" fmla="*/ 11105 h 20000"/>
                  <a:gd name="T78" fmla="*/ 742 w 20000"/>
                  <a:gd name="T79" fmla="*/ 879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1449" y="8175"/>
                    </a:moveTo>
                    <a:lnTo>
                      <a:pt x="2014" y="7661"/>
                    </a:lnTo>
                    <a:lnTo>
                      <a:pt x="2968" y="6889"/>
                    </a:lnTo>
                    <a:lnTo>
                      <a:pt x="3110" y="7404"/>
                    </a:lnTo>
                    <a:lnTo>
                      <a:pt x="3852" y="6889"/>
                    </a:lnTo>
                    <a:lnTo>
                      <a:pt x="4558" y="6375"/>
                    </a:lnTo>
                    <a:lnTo>
                      <a:pt x="4947" y="6889"/>
                    </a:lnTo>
                    <a:lnTo>
                      <a:pt x="5512" y="6375"/>
                    </a:lnTo>
                    <a:lnTo>
                      <a:pt x="5866" y="6375"/>
                    </a:lnTo>
                    <a:lnTo>
                      <a:pt x="6784" y="6067"/>
                    </a:lnTo>
                    <a:lnTo>
                      <a:pt x="6961" y="5296"/>
                    </a:lnTo>
                    <a:lnTo>
                      <a:pt x="6784" y="4781"/>
                    </a:lnTo>
                    <a:lnTo>
                      <a:pt x="7314" y="4216"/>
                    </a:lnTo>
                    <a:lnTo>
                      <a:pt x="8763" y="3959"/>
                    </a:lnTo>
                    <a:lnTo>
                      <a:pt x="9329" y="3445"/>
                    </a:lnTo>
                    <a:lnTo>
                      <a:pt x="9682" y="3136"/>
                    </a:lnTo>
                    <a:lnTo>
                      <a:pt x="10247" y="2108"/>
                    </a:lnTo>
                    <a:lnTo>
                      <a:pt x="10777" y="1851"/>
                    </a:lnTo>
                    <a:lnTo>
                      <a:pt x="11166" y="514"/>
                    </a:lnTo>
                    <a:lnTo>
                      <a:pt x="12085" y="0"/>
                    </a:lnTo>
                    <a:lnTo>
                      <a:pt x="12650" y="0"/>
                    </a:lnTo>
                    <a:lnTo>
                      <a:pt x="13004" y="514"/>
                    </a:lnTo>
                    <a:lnTo>
                      <a:pt x="13887" y="2108"/>
                    </a:lnTo>
                    <a:lnTo>
                      <a:pt x="14099" y="3445"/>
                    </a:lnTo>
                    <a:lnTo>
                      <a:pt x="13534" y="3959"/>
                    </a:lnTo>
                    <a:lnTo>
                      <a:pt x="13887" y="4216"/>
                    </a:lnTo>
                    <a:lnTo>
                      <a:pt x="13887" y="4781"/>
                    </a:lnTo>
                    <a:lnTo>
                      <a:pt x="14099" y="5296"/>
                    </a:lnTo>
                    <a:lnTo>
                      <a:pt x="15018" y="5296"/>
                    </a:lnTo>
                    <a:lnTo>
                      <a:pt x="15018" y="6067"/>
                    </a:lnTo>
                    <a:lnTo>
                      <a:pt x="15901" y="6067"/>
                    </a:lnTo>
                    <a:lnTo>
                      <a:pt x="16466" y="6889"/>
                    </a:lnTo>
                    <a:lnTo>
                      <a:pt x="16855" y="8792"/>
                    </a:lnTo>
                    <a:lnTo>
                      <a:pt x="17739" y="8792"/>
                    </a:lnTo>
                    <a:lnTo>
                      <a:pt x="17915" y="9563"/>
                    </a:lnTo>
                    <a:lnTo>
                      <a:pt x="18304" y="9563"/>
                    </a:lnTo>
                    <a:lnTo>
                      <a:pt x="18481" y="9820"/>
                    </a:lnTo>
                    <a:lnTo>
                      <a:pt x="18869" y="11105"/>
                    </a:lnTo>
                    <a:lnTo>
                      <a:pt x="19753" y="11928"/>
                    </a:lnTo>
                    <a:lnTo>
                      <a:pt x="19965" y="13316"/>
                    </a:lnTo>
                    <a:lnTo>
                      <a:pt x="19399" y="13316"/>
                    </a:lnTo>
                    <a:lnTo>
                      <a:pt x="19223" y="13830"/>
                    </a:lnTo>
                    <a:lnTo>
                      <a:pt x="18481" y="13830"/>
                    </a:lnTo>
                    <a:lnTo>
                      <a:pt x="18304" y="13316"/>
                    </a:lnTo>
                    <a:lnTo>
                      <a:pt x="17739" y="13316"/>
                    </a:lnTo>
                    <a:lnTo>
                      <a:pt x="16996" y="13008"/>
                    </a:lnTo>
                    <a:lnTo>
                      <a:pt x="16855" y="13316"/>
                    </a:lnTo>
                    <a:lnTo>
                      <a:pt x="16466" y="13830"/>
                    </a:lnTo>
                    <a:lnTo>
                      <a:pt x="15901" y="13830"/>
                    </a:lnTo>
                    <a:lnTo>
                      <a:pt x="15371" y="13830"/>
                    </a:lnTo>
                    <a:lnTo>
                      <a:pt x="14452" y="14344"/>
                    </a:lnTo>
                    <a:lnTo>
                      <a:pt x="13887" y="14602"/>
                    </a:lnTo>
                    <a:lnTo>
                      <a:pt x="13004" y="14602"/>
                    </a:lnTo>
                    <a:lnTo>
                      <a:pt x="12650" y="14602"/>
                    </a:lnTo>
                    <a:lnTo>
                      <a:pt x="12085" y="15938"/>
                    </a:lnTo>
                    <a:lnTo>
                      <a:pt x="11519" y="15424"/>
                    </a:lnTo>
                    <a:lnTo>
                      <a:pt x="10636" y="15424"/>
                    </a:lnTo>
                    <a:lnTo>
                      <a:pt x="9682" y="15116"/>
                    </a:lnTo>
                    <a:lnTo>
                      <a:pt x="8763" y="14602"/>
                    </a:lnTo>
                    <a:lnTo>
                      <a:pt x="7668" y="13316"/>
                    </a:lnTo>
                    <a:lnTo>
                      <a:pt x="6784" y="14344"/>
                    </a:lnTo>
                    <a:lnTo>
                      <a:pt x="6007" y="15116"/>
                    </a:lnTo>
                    <a:lnTo>
                      <a:pt x="6007" y="15424"/>
                    </a:lnTo>
                    <a:lnTo>
                      <a:pt x="6007" y="16710"/>
                    </a:lnTo>
                    <a:lnTo>
                      <a:pt x="5300" y="16710"/>
                    </a:lnTo>
                    <a:lnTo>
                      <a:pt x="4417" y="16710"/>
                    </a:lnTo>
                    <a:lnTo>
                      <a:pt x="3110" y="16710"/>
                    </a:lnTo>
                    <a:lnTo>
                      <a:pt x="2968" y="18560"/>
                    </a:lnTo>
                    <a:lnTo>
                      <a:pt x="2191" y="19949"/>
                    </a:lnTo>
                    <a:lnTo>
                      <a:pt x="2014" y="19383"/>
                    </a:lnTo>
                    <a:lnTo>
                      <a:pt x="2191" y="18046"/>
                    </a:lnTo>
                    <a:lnTo>
                      <a:pt x="2014" y="18046"/>
                    </a:lnTo>
                    <a:lnTo>
                      <a:pt x="742" y="16452"/>
                    </a:lnTo>
                    <a:lnTo>
                      <a:pt x="742" y="15116"/>
                    </a:lnTo>
                    <a:lnTo>
                      <a:pt x="212" y="14602"/>
                    </a:lnTo>
                    <a:lnTo>
                      <a:pt x="212" y="13316"/>
                    </a:lnTo>
                    <a:lnTo>
                      <a:pt x="0" y="13008"/>
                    </a:lnTo>
                    <a:lnTo>
                      <a:pt x="0" y="11105"/>
                    </a:lnTo>
                    <a:lnTo>
                      <a:pt x="212" y="10900"/>
                    </a:lnTo>
                    <a:lnTo>
                      <a:pt x="742" y="8792"/>
                    </a:lnTo>
                    <a:lnTo>
                      <a:pt x="1449" y="81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6" name="Freeform 93"/>
              <p:cNvSpPr>
                <a:spLocks/>
              </p:cNvSpPr>
              <p:nvPr/>
            </p:nvSpPr>
            <p:spPr bwMode="auto">
              <a:xfrm>
                <a:off x="5732463" y="5286375"/>
                <a:ext cx="63500" cy="66675"/>
              </a:xfrm>
              <a:custGeom>
                <a:avLst/>
                <a:gdLst>
                  <a:gd name="T0" fmla="*/ 5253 w 20000"/>
                  <a:gd name="T1" fmla="*/ 3077 h 20000"/>
                  <a:gd name="T2" fmla="*/ 13535 w 20000"/>
                  <a:gd name="T3" fmla="*/ 0 h 20000"/>
                  <a:gd name="T4" fmla="*/ 16566 w 20000"/>
                  <a:gd name="T5" fmla="*/ 1923 h 20000"/>
                  <a:gd name="T6" fmla="*/ 19798 w 20000"/>
                  <a:gd name="T7" fmla="*/ 6923 h 20000"/>
                  <a:gd name="T8" fmla="*/ 18586 w 20000"/>
                  <a:gd name="T9" fmla="*/ 9808 h 20000"/>
                  <a:gd name="T10" fmla="*/ 18586 w 20000"/>
                  <a:gd name="T11" fmla="*/ 12885 h 20000"/>
                  <a:gd name="T12" fmla="*/ 9495 w 20000"/>
                  <a:gd name="T13" fmla="*/ 14808 h 20000"/>
                  <a:gd name="T14" fmla="*/ 8283 w 20000"/>
                  <a:gd name="T15" fmla="*/ 19808 h 20000"/>
                  <a:gd name="T16" fmla="*/ 3232 w 20000"/>
                  <a:gd name="T17" fmla="*/ 17885 h 20000"/>
                  <a:gd name="T18" fmla="*/ 808 w 20000"/>
                  <a:gd name="T19" fmla="*/ 11923 h 20000"/>
                  <a:gd name="T20" fmla="*/ 0 w 20000"/>
                  <a:gd name="T21" fmla="*/ 9808 h 20000"/>
                  <a:gd name="T22" fmla="*/ 808 w 20000"/>
                  <a:gd name="T23" fmla="*/ 7885 h 20000"/>
                  <a:gd name="T24" fmla="*/ 5253 w 20000"/>
                  <a:gd name="T25" fmla="*/ 307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5253" y="3077"/>
                    </a:moveTo>
                    <a:lnTo>
                      <a:pt x="13535" y="0"/>
                    </a:lnTo>
                    <a:lnTo>
                      <a:pt x="16566" y="1923"/>
                    </a:lnTo>
                    <a:lnTo>
                      <a:pt x="19798" y="6923"/>
                    </a:lnTo>
                    <a:lnTo>
                      <a:pt x="18586" y="9808"/>
                    </a:lnTo>
                    <a:lnTo>
                      <a:pt x="18586" y="12885"/>
                    </a:lnTo>
                    <a:lnTo>
                      <a:pt x="9495" y="14808"/>
                    </a:lnTo>
                    <a:lnTo>
                      <a:pt x="8283" y="19808"/>
                    </a:lnTo>
                    <a:lnTo>
                      <a:pt x="3232" y="17885"/>
                    </a:lnTo>
                    <a:lnTo>
                      <a:pt x="808" y="11923"/>
                    </a:lnTo>
                    <a:lnTo>
                      <a:pt x="0" y="9808"/>
                    </a:lnTo>
                    <a:lnTo>
                      <a:pt x="808" y="7885"/>
                    </a:lnTo>
                    <a:lnTo>
                      <a:pt x="5253" y="307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7" name="Freeform 92"/>
              <p:cNvSpPr>
                <a:spLocks/>
              </p:cNvSpPr>
              <p:nvPr/>
            </p:nvSpPr>
            <p:spPr bwMode="auto">
              <a:xfrm>
                <a:off x="3052763" y="5075238"/>
                <a:ext cx="447675" cy="1062037"/>
              </a:xfrm>
              <a:custGeom>
                <a:avLst/>
                <a:gdLst>
                  <a:gd name="T0" fmla="*/ 3824 w 20000"/>
                  <a:gd name="T1" fmla="*/ 48 h 20000"/>
                  <a:gd name="T2" fmla="*/ 5751 w 20000"/>
                  <a:gd name="T3" fmla="*/ 167 h 20000"/>
                  <a:gd name="T4" fmla="*/ 8102 w 20000"/>
                  <a:gd name="T5" fmla="*/ 48 h 20000"/>
                  <a:gd name="T6" fmla="*/ 12210 w 20000"/>
                  <a:gd name="T7" fmla="*/ 1292 h 20000"/>
                  <a:gd name="T8" fmla="*/ 15297 w 20000"/>
                  <a:gd name="T9" fmla="*/ 1854 h 20000"/>
                  <a:gd name="T10" fmla="*/ 14079 w 20000"/>
                  <a:gd name="T11" fmla="*/ 3098 h 20000"/>
                  <a:gd name="T12" fmla="*/ 17790 w 20000"/>
                  <a:gd name="T13" fmla="*/ 3146 h 20000"/>
                  <a:gd name="T14" fmla="*/ 18810 w 20000"/>
                  <a:gd name="T15" fmla="*/ 1782 h 20000"/>
                  <a:gd name="T16" fmla="*/ 19972 w 20000"/>
                  <a:gd name="T17" fmla="*/ 2584 h 20000"/>
                  <a:gd name="T18" fmla="*/ 17790 w 20000"/>
                  <a:gd name="T19" fmla="*/ 3768 h 20000"/>
                  <a:gd name="T20" fmla="*/ 16006 w 20000"/>
                  <a:gd name="T21" fmla="*/ 4880 h 20000"/>
                  <a:gd name="T22" fmla="*/ 15297 w 20000"/>
                  <a:gd name="T23" fmla="*/ 5885 h 20000"/>
                  <a:gd name="T24" fmla="*/ 15297 w 20000"/>
                  <a:gd name="T25" fmla="*/ 6746 h 20000"/>
                  <a:gd name="T26" fmla="*/ 15411 w 20000"/>
                  <a:gd name="T27" fmla="*/ 7787 h 20000"/>
                  <a:gd name="T28" fmla="*/ 16912 w 20000"/>
                  <a:gd name="T29" fmla="*/ 8289 h 20000"/>
                  <a:gd name="T30" fmla="*/ 17790 w 20000"/>
                  <a:gd name="T31" fmla="*/ 8971 h 20000"/>
                  <a:gd name="T32" fmla="*/ 14986 w 20000"/>
                  <a:gd name="T33" fmla="*/ 10263 h 20000"/>
                  <a:gd name="T34" fmla="*/ 11898 w 20000"/>
                  <a:gd name="T35" fmla="*/ 10646 h 20000"/>
                  <a:gd name="T36" fmla="*/ 11898 w 20000"/>
                  <a:gd name="T37" fmla="*/ 11579 h 20000"/>
                  <a:gd name="T38" fmla="*/ 8527 w 20000"/>
                  <a:gd name="T39" fmla="*/ 11699 h 20000"/>
                  <a:gd name="T40" fmla="*/ 9263 w 20000"/>
                  <a:gd name="T41" fmla="*/ 12560 h 20000"/>
                  <a:gd name="T42" fmla="*/ 10737 w 20000"/>
                  <a:gd name="T43" fmla="*/ 12990 h 20000"/>
                  <a:gd name="T44" fmla="*/ 9263 w 20000"/>
                  <a:gd name="T45" fmla="*/ 12871 h 20000"/>
                  <a:gd name="T46" fmla="*/ 9122 w 20000"/>
                  <a:gd name="T47" fmla="*/ 13493 h 20000"/>
                  <a:gd name="T48" fmla="*/ 8385 w 20000"/>
                  <a:gd name="T49" fmla="*/ 14605 h 20000"/>
                  <a:gd name="T50" fmla="*/ 8527 w 20000"/>
                  <a:gd name="T51" fmla="*/ 16077 h 20000"/>
                  <a:gd name="T52" fmla="*/ 8102 w 20000"/>
                  <a:gd name="T53" fmla="*/ 17392 h 20000"/>
                  <a:gd name="T54" fmla="*/ 6912 w 20000"/>
                  <a:gd name="T55" fmla="*/ 18864 h 20000"/>
                  <a:gd name="T56" fmla="*/ 6912 w 20000"/>
                  <a:gd name="T57" fmla="*/ 19797 h 20000"/>
                  <a:gd name="T58" fmla="*/ 3088 w 20000"/>
                  <a:gd name="T59" fmla="*/ 19378 h 20000"/>
                  <a:gd name="T60" fmla="*/ 1473 w 20000"/>
                  <a:gd name="T61" fmla="*/ 18373 h 20000"/>
                  <a:gd name="T62" fmla="*/ 2210 w 20000"/>
                  <a:gd name="T63" fmla="*/ 16950 h 20000"/>
                  <a:gd name="T64" fmla="*/ 2210 w 20000"/>
                  <a:gd name="T65" fmla="*/ 15778 h 20000"/>
                  <a:gd name="T66" fmla="*/ 1926 w 20000"/>
                  <a:gd name="T67" fmla="*/ 14605 h 20000"/>
                  <a:gd name="T68" fmla="*/ 2210 w 20000"/>
                  <a:gd name="T69" fmla="*/ 14175 h 20000"/>
                  <a:gd name="T70" fmla="*/ 1190 w 20000"/>
                  <a:gd name="T71" fmla="*/ 13493 h 20000"/>
                  <a:gd name="T72" fmla="*/ 1048 w 20000"/>
                  <a:gd name="T73" fmla="*/ 12679 h 20000"/>
                  <a:gd name="T74" fmla="*/ 453 w 20000"/>
                  <a:gd name="T75" fmla="*/ 10455 h 20000"/>
                  <a:gd name="T76" fmla="*/ 312 w 20000"/>
                  <a:gd name="T77" fmla="*/ 8840 h 20000"/>
                  <a:gd name="T78" fmla="*/ 1190 w 20000"/>
                  <a:gd name="T79" fmla="*/ 7356 h 20000"/>
                  <a:gd name="T80" fmla="*/ 0 w 20000"/>
                  <a:gd name="T81" fmla="*/ 5562 h 20000"/>
                  <a:gd name="T82" fmla="*/ 1048 w 20000"/>
                  <a:gd name="T83" fmla="*/ 3589 h 20000"/>
                  <a:gd name="T84" fmla="*/ 1473 w 20000"/>
                  <a:gd name="T85" fmla="*/ 2656 h 20000"/>
                  <a:gd name="T86" fmla="*/ 1473 w 20000"/>
                  <a:gd name="T87" fmla="*/ 1663 h 20000"/>
                  <a:gd name="T88" fmla="*/ 3088 w 20000"/>
                  <a:gd name="T89" fmla="*/ 55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3088" y="550"/>
                    </a:moveTo>
                    <a:lnTo>
                      <a:pt x="3371" y="167"/>
                    </a:lnTo>
                    <a:lnTo>
                      <a:pt x="3824" y="48"/>
                    </a:lnTo>
                    <a:lnTo>
                      <a:pt x="3824" y="0"/>
                    </a:lnTo>
                    <a:lnTo>
                      <a:pt x="4561" y="167"/>
                    </a:lnTo>
                    <a:lnTo>
                      <a:pt x="5751" y="167"/>
                    </a:lnTo>
                    <a:lnTo>
                      <a:pt x="6487" y="490"/>
                    </a:lnTo>
                    <a:lnTo>
                      <a:pt x="6912" y="48"/>
                    </a:lnTo>
                    <a:lnTo>
                      <a:pt x="8102" y="48"/>
                    </a:lnTo>
                    <a:lnTo>
                      <a:pt x="9547" y="682"/>
                    </a:lnTo>
                    <a:lnTo>
                      <a:pt x="10737" y="1172"/>
                    </a:lnTo>
                    <a:lnTo>
                      <a:pt x="12210" y="1292"/>
                    </a:lnTo>
                    <a:lnTo>
                      <a:pt x="13371" y="1543"/>
                    </a:lnTo>
                    <a:lnTo>
                      <a:pt x="14703" y="1663"/>
                    </a:lnTo>
                    <a:lnTo>
                      <a:pt x="15297" y="1854"/>
                    </a:lnTo>
                    <a:lnTo>
                      <a:pt x="14986" y="2285"/>
                    </a:lnTo>
                    <a:lnTo>
                      <a:pt x="14533" y="2584"/>
                    </a:lnTo>
                    <a:lnTo>
                      <a:pt x="14079" y="3098"/>
                    </a:lnTo>
                    <a:lnTo>
                      <a:pt x="15411" y="3146"/>
                    </a:lnTo>
                    <a:lnTo>
                      <a:pt x="16601" y="3397"/>
                    </a:lnTo>
                    <a:lnTo>
                      <a:pt x="17790" y="3146"/>
                    </a:lnTo>
                    <a:lnTo>
                      <a:pt x="18810" y="2775"/>
                    </a:lnTo>
                    <a:lnTo>
                      <a:pt x="19093" y="2285"/>
                    </a:lnTo>
                    <a:lnTo>
                      <a:pt x="18810" y="1782"/>
                    </a:lnTo>
                    <a:lnTo>
                      <a:pt x="19093" y="1292"/>
                    </a:lnTo>
                    <a:lnTo>
                      <a:pt x="19235" y="2093"/>
                    </a:lnTo>
                    <a:lnTo>
                      <a:pt x="19972" y="2584"/>
                    </a:lnTo>
                    <a:lnTo>
                      <a:pt x="19688" y="3098"/>
                    </a:lnTo>
                    <a:lnTo>
                      <a:pt x="18810" y="3397"/>
                    </a:lnTo>
                    <a:lnTo>
                      <a:pt x="17790" y="3768"/>
                    </a:lnTo>
                    <a:lnTo>
                      <a:pt x="17195" y="4151"/>
                    </a:lnTo>
                    <a:lnTo>
                      <a:pt x="16459" y="4569"/>
                    </a:lnTo>
                    <a:lnTo>
                      <a:pt x="16006" y="4880"/>
                    </a:lnTo>
                    <a:lnTo>
                      <a:pt x="15411" y="4952"/>
                    </a:lnTo>
                    <a:lnTo>
                      <a:pt x="15411" y="5371"/>
                    </a:lnTo>
                    <a:lnTo>
                      <a:pt x="15297" y="5885"/>
                    </a:lnTo>
                    <a:lnTo>
                      <a:pt x="15297" y="6376"/>
                    </a:lnTo>
                    <a:lnTo>
                      <a:pt x="15297" y="6675"/>
                    </a:lnTo>
                    <a:lnTo>
                      <a:pt x="15297" y="6746"/>
                    </a:lnTo>
                    <a:lnTo>
                      <a:pt x="15297" y="7297"/>
                    </a:lnTo>
                    <a:lnTo>
                      <a:pt x="15297" y="7476"/>
                    </a:lnTo>
                    <a:lnTo>
                      <a:pt x="15411" y="7787"/>
                    </a:lnTo>
                    <a:lnTo>
                      <a:pt x="16176" y="7859"/>
                    </a:lnTo>
                    <a:lnTo>
                      <a:pt x="16912" y="8158"/>
                    </a:lnTo>
                    <a:lnTo>
                      <a:pt x="16912" y="8289"/>
                    </a:lnTo>
                    <a:lnTo>
                      <a:pt x="16912" y="8600"/>
                    </a:lnTo>
                    <a:lnTo>
                      <a:pt x="17790" y="8792"/>
                    </a:lnTo>
                    <a:lnTo>
                      <a:pt x="17790" y="8971"/>
                    </a:lnTo>
                    <a:lnTo>
                      <a:pt x="17337" y="9462"/>
                    </a:lnTo>
                    <a:lnTo>
                      <a:pt x="16912" y="9964"/>
                    </a:lnTo>
                    <a:lnTo>
                      <a:pt x="14986" y="10263"/>
                    </a:lnTo>
                    <a:lnTo>
                      <a:pt x="13088" y="10383"/>
                    </a:lnTo>
                    <a:lnTo>
                      <a:pt x="11190" y="10383"/>
                    </a:lnTo>
                    <a:lnTo>
                      <a:pt x="11898" y="10646"/>
                    </a:lnTo>
                    <a:lnTo>
                      <a:pt x="11898" y="10945"/>
                    </a:lnTo>
                    <a:lnTo>
                      <a:pt x="11586" y="11388"/>
                    </a:lnTo>
                    <a:lnTo>
                      <a:pt x="11898" y="11579"/>
                    </a:lnTo>
                    <a:lnTo>
                      <a:pt x="11473" y="11878"/>
                    </a:lnTo>
                    <a:lnTo>
                      <a:pt x="9858" y="11878"/>
                    </a:lnTo>
                    <a:lnTo>
                      <a:pt x="8527" y="11699"/>
                    </a:lnTo>
                    <a:lnTo>
                      <a:pt x="8527" y="11998"/>
                    </a:lnTo>
                    <a:lnTo>
                      <a:pt x="8810" y="12249"/>
                    </a:lnTo>
                    <a:lnTo>
                      <a:pt x="9263" y="12560"/>
                    </a:lnTo>
                    <a:lnTo>
                      <a:pt x="10425" y="12560"/>
                    </a:lnTo>
                    <a:lnTo>
                      <a:pt x="10737" y="12679"/>
                    </a:lnTo>
                    <a:lnTo>
                      <a:pt x="10737" y="12990"/>
                    </a:lnTo>
                    <a:lnTo>
                      <a:pt x="10312" y="13050"/>
                    </a:lnTo>
                    <a:lnTo>
                      <a:pt x="9972" y="12871"/>
                    </a:lnTo>
                    <a:lnTo>
                      <a:pt x="9263" y="12871"/>
                    </a:lnTo>
                    <a:lnTo>
                      <a:pt x="9263" y="13050"/>
                    </a:lnTo>
                    <a:lnTo>
                      <a:pt x="9858" y="13301"/>
                    </a:lnTo>
                    <a:lnTo>
                      <a:pt x="9122" y="13493"/>
                    </a:lnTo>
                    <a:lnTo>
                      <a:pt x="9263" y="13983"/>
                    </a:lnTo>
                    <a:lnTo>
                      <a:pt x="9263" y="14605"/>
                    </a:lnTo>
                    <a:lnTo>
                      <a:pt x="8385" y="14605"/>
                    </a:lnTo>
                    <a:lnTo>
                      <a:pt x="7365" y="15096"/>
                    </a:lnTo>
                    <a:lnTo>
                      <a:pt x="7195" y="15586"/>
                    </a:lnTo>
                    <a:lnTo>
                      <a:pt x="8527" y="16077"/>
                    </a:lnTo>
                    <a:lnTo>
                      <a:pt x="9858" y="16148"/>
                    </a:lnTo>
                    <a:lnTo>
                      <a:pt x="9263" y="16890"/>
                    </a:lnTo>
                    <a:lnTo>
                      <a:pt x="8102" y="17392"/>
                    </a:lnTo>
                    <a:lnTo>
                      <a:pt x="8102" y="17883"/>
                    </a:lnTo>
                    <a:lnTo>
                      <a:pt x="7195" y="18373"/>
                    </a:lnTo>
                    <a:lnTo>
                      <a:pt x="6912" y="18864"/>
                    </a:lnTo>
                    <a:lnTo>
                      <a:pt x="7365" y="19378"/>
                    </a:lnTo>
                    <a:lnTo>
                      <a:pt x="8102" y="19988"/>
                    </a:lnTo>
                    <a:lnTo>
                      <a:pt x="6912" y="19797"/>
                    </a:lnTo>
                    <a:lnTo>
                      <a:pt x="5439" y="19797"/>
                    </a:lnTo>
                    <a:lnTo>
                      <a:pt x="4278" y="19797"/>
                    </a:lnTo>
                    <a:lnTo>
                      <a:pt x="3088" y="19378"/>
                    </a:lnTo>
                    <a:lnTo>
                      <a:pt x="3088" y="18744"/>
                    </a:lnTo>
                    <a:lnTo>
                      <a:pt x="2210" y="18744"/>
                    </a:lnTo>
                    <a:lnTo>
                      <a:pt x="1473" y="18373"/>
                    </a:lnTo>
                    <a:lnTo>
                      <a:pt x="1190" y="17763"/>
                    </a:lnTo>
                    <a:lnTo>
                      <a:pt x="1926" y="17452"/>
                    </a:lnTo>
                    <a:lnTo>
                      <a:pt x="2210" y="16950"/>
                    </a:lnTo>
                    <a:lnTo>
                      <a:pt x="1926" y="16639"/>
                    </a:lnTo>
                    <a:lnTo>
                      <a:pt x="2210" y="16268"/>
                    </a:lnTo>
                    <a:lnTo>
                      <a:pt x="2210" y="15778"/>
                    </a:lnTo>
                    <a:lnTo>
                      <a:pt x="2210" y="15347"/>
                    </a:lnTo>
                    <a:lnTo>
                      <a:pt x="2210" y="14976"/>
                    </a:lnTo>
                    <a:lnTo>
                      <a:pt x="1926" y="14605"/>
                    </a:lnTo>
                    <a:lnTo>
                      <a:pt x="1473" y="14486"/>
                    </a:lnTo>
                    <a:lnTo>
                      <a:pt x="2210" y="14486"/>
                    </a:lnTo>
                    <a:lnTo>
                      <a:pt x="2210" y="14175"/>
                    </a:lnTo>
                    <a:lnTo>
                      <a:pt x="1473" y="14175"/>
                    </a:lnTo>
                    <a:lnTo>
                      <a:pt x="1473" y="13672"/>
                    </a:lnTo>
                    <a:lnTo>
                      <a:pt x="1190" y="13493"/>
                    </a:lnTo>
                    <a:lnTo>
                      <a:pt x="453" y="13301"/>
                    </a:lnTo>
                    <a:lnTo>
                      <a:pt x="453" y="12560"/>
                    </a:lnTo>
                    <a:lnTo>
                      <a:pt x="1048" y="12679"/>
                    </a:lnTo>
                    <a:lnTo>
                      <a:pt x="312" y="11998"/>
                    </a:lnTo>
                    <a:lnTo>
                      <a:pt x="312" y="11256"/>
                    </a:lnTo>
                    <a:lnTo>
                      <a:pt x="453" y="10455"/>
                    </a:lnTo>
                    <a:lnTo>
                      <a:pt x="1048" y="10383"/>
                    </a:lnTo>
                    <a:lnTo>
                      <a:pt x="312" y="9653"/>
                    </a:lnTo>
                    <a:lnTo>
                      <a:pt x="312" y="8840"/>
                    </a:lnTo>
                    <a:lnTo>
                      <a:pt x="1048" y="8648"/>
                    </a:lnTo>
                    <a:lnTo>
                      <a:pt x="765" y="8038"/>
                    </a:lnTo>
                    <a:lnTo>
                      <a:pt x="1190" y="7356"/>
                    </a:lnTo>
                    <a:lnTo>
                      <a:pt x="765" y="6675"/>
                    </a:lnTo>
                    <a:lnTo>
                      <a:pt x="453" y="6053"/>
                    </a:lnTo>
                    <a:lnTo>
                      <a:pt x="0" y="5562"/>
                    </a:lnTo>
                    <a:lnTo>
                      <a:pt x="312" y="4952"/>
                    </a:lnTo>
                    <a:lnTo>
                      <a:pt x="312" y="4079"/>
                    </a:lnTo>
                    <a:lnTo>
                      <a:pt x="1048" y="3589"/>
                    </a:lnTo>
                    <a:lnTo>
                      <a:pt x="1473" y="3146"/>
                    </a:lnTo>
                    <a:lnTo>
                      <a:pt x="1926" y="2955"/>
                    </a:lnTo>
                    <a:lnTo>
                      <a:pt x="1473" y="2656"/>
                    </a:lnTo>
                    <a:lnTo>
                      <a:pt x="1756" y="2464"/>
                    </a:lnTo>
                    <a:lnTo>
                      <a:pt x="1473" y="1974"/>
                    </a:lnTo>
                    <a:lnTo>
                      <a:pt x="1473" y="1663"/>
                    </a:lnTo>
                    <a:lnTo>
                      <a:pt x="1756" y="1483"/>
                    </a:lnTo>
                    <a:lnTo>
                      <a:pt x="2946" y="1292"/>
                    </a:lnTo>
                    <a:lnTo>
                      <a:pt x="3088" y="55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8" name="Freeform 91"/>
              <p:cNvSpPr>
                <a:spLocks/>
              </p:cNvSpPr>
              <p:nvPr/>
            </p:nvSpPr>
            <p:spPr bwMode="auto">
              <a:xfrm>
                <a:off x="3233738" y="6153150"/>
                <a:ext cx="112712" cy="96838"/>
              </a:xfrm>
              <a:custGeom>
                <a:avLst/>
                <a:gdLst>
                  <a:gd name="T0" fmla="*/ 4181 w 20000"/>
                  <a:gd name="T1" fmla="*/ 18421 h 20000"/>
                  <a:gd name="T2" fmla="*/ 1808 w 20000"/>
                  <a:gd name="T3" fmla="*/ 9605 h 20000"/>
                  <a:gd name="T4" fmla="*/ 0 w 20000"/>
                  <a:gd name="T5" fmla="*/ 0 h 20000"/>
                  <a:gd name="T6" fmla="*/ 2938 w 20000"/>
                  <a:gd name="T7" fmla="*/ 2763 h 20000"/>
                  <a:gd name="T8" fmla="*/ 4181 w 20000"/>
                  <a:gd name="T9" fmla="*/ 6184 h 20000"/>
                  <a:gd name="T10" fmla="*/ 10621 w 20000"/>
                  <a:gd name="T11" fmla="*/ 10921 h 20000"/>
                  <a:gd name="T12" fmla="*/ 15254 w 20000"/>
                  <a:gd name="T13" fmla="*/ 15000 h 20000"/>
                  <a:gd name="T14" fmla="*/ 19887 w 20000"/>
                  <a:gd name="T15" fmla="*/ 16447 h 20000"/>
                  <a:gd name="T16" fmla="*/ 14011 w 20000"/>
                  <a:gd name="T17" fmla="*/ 19868 h 20000"/>
                  <a:gd name="T18" fmla="*/ 8814 w 20000"/>
                  <a:gd name="T19" fmla="*/ 18421 h 20000"/>
                  <a:gd name="T20" fmla="*/ 4181 w 20000"/>
                  <a:gd name="T21" fmla="*/ 1842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4181" y="18421"/>
                    </a:moveTo>
                    <a:lnTo>
                      <a:pt x="1808" y="9605"/>
                    </a:lnTo>
                    <a:lnTo>
                      <a:pt x="0" y="0"/>
                    </a:lnTo>
                    <a:lnTo>
                      <a:pt x="2938" y="2763"/>
                    </a:lnTo>
                    <a:lnTo>
                      <a:pt x="4181" y="6184"/>
                    </a:lnTo>
                    <a:lnTo>
                      <a:pt x="10621" y="10921"/>
                    </a:lnTo>
                    <a:lnTo>
                      <a:pt x="15254" y="15000"/>
                    </a:lnTo>
                    <a:lnTo>
                      <a:pt x="19887" y="16447"/>
                    </a:lnTo>
                    <a:lnTo>
                      <a:pt x="14011" y="19868"/>
                    </a:lnTo>
                    <a:lnTo>
                      <a:pt x="8814" y="18421"/>
                    </a:lnTo>
                    <a:lnTo>
                      <a:pt x="4181" y="1842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59" name="Freeform 90"/>
              <p:cNvSpPr>
                <a:spLocks/>
              </p:cNvSpPr>
              <p:nvPr/>
            </p:nvSpPr>
            <p:spPr bwMode="auto">
              <a:xfrm>
                <a:off x="2835275" y="3629025"/>
                <a:ext cx="20638" cy="42863"/>
              </a:xfrm>
              <a:custGeom>
                <a:avLst/>
                <a:gdLst>
                  <a:gd name="T0" fmla="*/ 15625 w 20000"/>
                  <a:gd name="T1" fmla="*/ 19706 h 20000"/>
                  <a:gd name="T2" fmla="*/ 9375 w 20000"/>
                  <a:gd name="T3" fmla="*/ 15000 h 20000"/>
                  <a:gd name="T4" fmla="*/ 9375 w 20000"/>
                  <a:gd name="T5" fmla="*/ 12059 h 20000"/>
                  <a:gd name="T6" fmla="*/ 9375 w 20000"/>
                  <a:gd name="T7" fmla="*/ 4706 h 20000"/>
                  <a:gd name="T8" fmla="*/ 0 w 20000"/>
                  <a:gd name="T9" fmla="*/ 2941 h 20000"/>
                  <a:gd name="T10" fmla="*/ 0 w 20000"/>
                  <a:gd name="T11" fmla="*/ 0 h 20000"/>
                  <a:gd name="T12" fmla="*/ 9375 w 20000"/>
                  <a:gd name="T13" fmla="*/ 2941 h 20000"/>
                  <a:gd name="T14" fmla="*/ 19375 w 20000"/>
                  <a:gd name="T15" fmla="*/ 12059 h 20000"/>
                  <a:gd name="T16" fmla="*/ 15625 w 20000"/>
                  <a:gd name="T17"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5625" y="19706"/>
                    </a:moveTo>
                    <a:lnTo>
                      <a:pt x="9375" y="15000"/>
                    </a:lnTo>
                    <a:lnTo>
                      <a:pt x="9375" y="12059"/>
                    </a:lnTo>
                    <a:lnTo>
                      <a:pt x="9375" y="4706"/>
                    </a:lnTo>
                    <a:lnTo>
                      <a:pt x="0" y="2941"/>
                    </a:lnTo>
                    <a:lnTo>
                      <a:pt x="0" y="0"/>
                    </a:lnTo>
                    <a:lnTo>
                      <a:pt x="9375" y="2941"/>
                    </a:lnTo>
                    <a:lnTo>
                      <a:pt x="19375" y="12059"/>
                    </a:lnTo>
                    <a:lnTo>
                      <a:pt x="15625"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0" name="Freeform 89"/>
              <p:cNvSpPr>
                <a:spLocks/>
              </p:cNvSpPr>
              <p:nvPr/>
            </p:nvSpPr>
            <p:spPr bwMode="auto">
              <a:xfrm>
                <a:off x="2816225" y="3695700"/>
                <a:ext cx="14288" cy="20638"/>
              </a:xfrm>
              <a:custGeom>
                <a:avLst/>
                <a:gdLst>
                  <a:gd name="T0" fmla="*/ 5455 w 20000"/>
                  <a:gd name="T1" fmla="*/ 19375 h 20000"/>
                  <a:gd name="T2" fmla="*/ 0 w 20000"/>
                  <a:gd name="T3" fmla="*/ 12500 h 20000"/>
                  <a:gd name="T4" fmla="*/ 5455 w 20000"/>
                  <a:gd name="T5" fmla="*/ 9375 h 20000"/>
                  <a:gd name="T6" fmla="*/ 5455 w 20000"/>
                  <a:gd name="T7" fmla="*/ 0 h 20000"/>
                  <a:gd name="T8" fmla="*/ 19091 w 20000"/>
                  <a:gd name="T9" fmla="*/ 0 h 20000"/>
                  <a:gd name="T10" fmla="*/ 19091 w 20000"/>
                  <a:gd name="T11" fmla="*/ 12500 h 20000"/>
                  <a:gd name="T12" fmla="*/ 5455 w 20000"/>
                  <a:gd name="T13" fmla="*/ 1937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455" y="19375"/>
                    </a:moveTo>
                    <a:lnTo>
                      <a:pt x="0" y="12500"/>
                    </a:lnTo>
                    <a:lnTo>
                      <a:pt x="5455" y="9375"/>
                    </a:lnTo>
                    <a:lnTo>
                      <a:pt x="5455" y="0"/>
                    </a:lnTo>
                    <a:lnTo>
                      <a:pt x="19091" y="0"/>
                    </a:lnTo>
                    <a:lnTo>
                      <a:pt x="19091" y="12500"/>
                    </a:lnTo>
                    <a:lnTo>
                      <a:pt x="5455"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1" name="Freeform 88"/>
              <p:cNvSpPr>
                <a:spLocks/>
              </p:cNvSpPr>
              <p:nvPr/>
            </p:nvSpPr>
            <p:spPr bwMode="auto">
              <a:xfrm>
                <a:off x="2855913" y="3679825"/>
                <a:ext cx="23812" cy="30163"/>
              </a:xfrm>
              <a:custGeom>
                <a:avLst/>
                <a:gdLst>
                  <a:gd name="T0" fmla="*/ 19459 w 20000"/>
                  <a:gd name="T1" fmla="*/ 19574 h 20000"/>
                  <a:gd name="T2" fmla="*/ 10811 w 20000"/>
                  <a:gd name="T3" fmla="*/ 17447 h 20000"/>
                  <a:gd name="T4" fmla="*/ 14054 w 20000"/>
                  <a:gd name="T5" fmla="*/ 11064 h 20000"/>
                  <a:gd name="T6" fmla="*/ 0 w 20000"/>
                  <a:gd name="T7" fmla="*/ 1702 h 20000"/>
                  <a:gd name="T8" fmla="*/ 5405 w 20000"/>
                  <a:gd name="T9" fmla="*/ 0 h 20000"/>
                  <a:gd name="T10" fmla="*/ 19459 w 20000"/>
                  <a:gd name="T11" fmla="*/ 11064 h 20000"/>
                  <a:gd name="T12" fmla="*/ 19459 w 20000"/>
                  <a:gd name="T13" fmla="*/ 1957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9459" y="19574"/>
                    </a:moveTo>
                    <a:lnTo>
                      <a:pt x="10811" y="17447"/>
                    </a:lnTo>
                    <a:lnTo>
                      <a:pt x="14054" y="11064"/>
                    </a:lnTo>
                    <a:lnTo>
                      <a:pt x="0" y="1702"/>
                    </a:lnTo>
                    <a:lnTo>
                      <a:pt x="5405" y="0"/>
                    </a:lnTo>
                    <a:lnTo>
                      <a:pt x="19459" y="11064"/>
                    </a:lnTo>
                    <a:lnTo>
                      <a:pt x="19459" y="1957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2" name="Freeform 87"/>
              <p:cNvSpPr>
                <a:spLocks/>
              </p:cNvSpPr>
              <p:nvPr/>
            </p:nvSpPr>
            <p:spPr bwMode="auto">
              <a:xfrm>
                <a:off x="2801938" y="3638550"/>
                <a:ext cx="34925" cy="12700"/>
              </a:xfrm>
              <a:custGeom>
                <a:avLst/>
                <a:gdLst>
                  <a:gd name="T0" fmla="*/ 4074 w 20000"/>
                  <a:gd name="T1" fmla="*/ 19048 h 20000"/>
                  <a:gd name="T2" fmla="*/ 0 w 20000"/>
                  <a:gd name="T3" fmla="*/ 0 h 20000"/>
                  <a:gd name="T4" fmla="*/ 7778 w 20000"/>
                  <a:gd name="T5" fmla="*/ 0 h 20000"/>
                  <a:gd name="T6" fmla="*/ 15926 w 20000"/>
                  <a:gd name="T7" fmla="*/ 0 h 20000"/>
                  <a:gd name="T8" fmla="*/ 19630 w 20000"/>
                  <a:gd name="T9" fmla="*/ 0 h 20000"/>
                  <a:gd name="T10" fmla="*/ 4074 w 20000"/>
                  <a:gd name="T11" fmla="*/ 19048 h 20000"/>
                </a:gdLst>
                <a:ahLst/>
                <a:cxnLst>
                  <a:cxn ang="0">
                    <a:pos x="T0" y="T1"/>
                  </a:cxn>
                  <a:cxn ang="0">
                    <a:pos x="T2" y="T3"/>
                  </a:cxn>
                  <a:cxn ang="0">
                    <a:pos x="T4" y="T5"/>
                  </a:cxn>
                  <a:cxn ang="0">
                    <a:pos x="T6" y="T7"/>
                  </a:cxn>
                  <a:cxn ang="0">
                    <a:pos x="T8" y="T9"/>
                  </a:cxn>
                  <a:cxn ang="0">
                    <a:pos x="T10" y="T11"/>
                  </a:cxn>
                </a:cxnLst>
                <a:rect l="0" t="0" r="r" b="b"/>
                <a:pathLst>
                  <a:path w="20000" h="20000">
                    <a:moveTo>
                      <a:pt x="4074" y="19048"/>
                    </a:moveTo>
                    <a:lnTo>
                      <a:pt x="0" y="0"/>
                    </a:lnTo>
                    <a:lnTo>
                      <a:pt x="7778" y="0"/>
                    </a:lnTo>
                    <a:lnTo>
                      <a:pt x="15926" y="0"/>
                    </a:lnTo>
                    <a:lnTo>
                      <a:pt x="19630" y="0"/>
                    </a:lnTo>
                    <a:lnTo>
                      <a:pt x="4074" y="190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3" name="Freeform 86"/>
              <p:cNvSpPr>
                <a:spLocks/>
              </p:cNvSpPr>
              <p:nvPr/>
            </p:nvSpPr>
            <p:spPr bwMode="auto">
              <a:xfrm>
                <a:off x="2930525" y="3816350"/>
                <a:ext cx="23813" cy="11113"/>
              </a:xfrm>
              <a:custGeom>
                <a:avLst/>
                <a:gdLst>
                  <a:gd name="T0" fmla="*/ 5405 w 20000"/>
                  <a:gd name="T1" fmla="*/ 18824 h 20000"/>
                  <a:gd name="T2" fmla="*/ 0 w 20000"/>
                  <a:gd name="T3" fmla="*/ 5882 h 20000"/>
                  <a:gd name="T4" fmla="*/ 8649 w 20000"/>
                  <a:gd name="T5" fmla="*/ 0 h 20000"/>
                  <a:gd name="T6" fmla="*/ 19459 w 20000"/>
                  <a:gd name="T7" fmla="*/ 0 h 20000"/>
                  <a:gd name="T8" fmla="*/ 14054 w 20000"/>
                  <a:gd name="T9" fmla="*/ 18824 h 20000"/>
                  <a:gd name="T10" fmla="*/ 5405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5405" y="18824"/>
                    </a:moveTo>
                    <a:lnTo>
                      <a:pt x="0" y="5882"/>
                    </a:lnTo>
                    <a:lnTo>
                      <a:pt x="8649" y="0"/>
                    </a:lnTo>
                    <a:lnTo>
                      <a:pt x="19459" y="0"/>
                    </a:lnTo>
                    <a:lnTo>
                      <a:pt x="14054" y="18824"/>
                    </a:lnTo>
                    <a:lnTo>
                      <a:pt x="5405"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4" name="Freeform 85"/>
              <p:cNvSpPr>
                <a:spLocks/>
              </p:cNvSpPr>
              <p:nvPr/>
            </p:nvSpPr>
            <p:spPr bwMode="auto">
              <a:xfrm>
                <a:off x="2886075" y="3705225"/>
                <a:ext cx="12700" cy="20638"/>
              </a:xfrm>
              <a:custGeom>
                <a:avLst/>
                <a:gdLst>
                  <a:gd name="T0" fmla="*/ 3810 w 20000"/>
                  <a:gd name="T1" fmla="*/ 19375 h 20000"/>
                  <a:gd name="T2" fmla="*/ 3810 w 20000"/>
                  <a:gd name="T3" fmla="*/ 15625 h 20000"/>
                  <a:gd name="T4" fmla="*/ 0 w 20000"/>
                  <a:gd name="T5" fmla="*/ 2500 h 20000"/>
                  <a:gd name="T6" fmla="*/ 3810 w 20000"/>
                  <a:gd name="T7" fmla="*/ 0 h 20000"/>
                  <a:gd name="T8" fmla="*/ 19048 w 20000"/>
                  <a:gd name="T9" fmla="*/ 19375 h 20000"/>
                  <a:gd name="T10" fmla="*/ 3810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3810" y="19375"/>
                    </a:moveTo>
                    <a:lnTo>
                      <a:pt x="3810" y="15625"/>
                    </a:lnTo>
                    <a:lnTo>
                      <a:pt x="0" y="2500"/>
                    </a:lnTo>
                    <a:lnTo>
                      <a:pt x="3810" y="0"/>
                    </a:lnTo>
                    <a:lnTo>
                      <a:pt x="19048" y="19375"/>
                    </a:lnTo>
                    <a:lnTo>
                      <a:pt x="3810"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5" name="Freeform 84"/>
              <p:cNvSpPr>
                <a:spLocks/>
              </p:cNvSpPr>
              <p:nvPr/>
            </p:nvSpPr>
            <p:spPr bwMode="auto">
              <a:xfrm>
                <a:off x="2894013" y="3741738"/>
                <a:ext cx="11112" cy="26987"/>
              </a:xfrm>
              <a:custGeom>
                <a:avLst/>
                <a:gdLst>
                  <a:gd name="T0" fmla="*/ 18824 w 20000"/>
                  <a:gd name="T1" fmla="*/ 19524 h 20000"/>
                  <a:gd name="T2" fmla="*/ 0 w 20000"/>
                  <a:gd name="T3" fmla="*/ 0 h 20000"/>
                  <a:gd name="T4" fmla="*/ 18824 w 20000"/>
                  <a:gd name="T5" fmla="*/ 16667 h 20000"/>
                  <a:gd name="T6" fmla="*/ 18824 w 20000"/>
                  <a:gd name="T7" fmla="*/ 19524 h 20000"/>
                </a:gdLst>
                <a:ahLst/>
                <a:cxnLst>
                  <a:cxn ang="0">
                    <a:pos x="T0" y="T1"/>
                  </a:cxn>
                  <a:cxn ang="0">
                    <a:pos x="T2" y="T3"/>
                  </a:cxn>
                  <a:cxn ang="0">
                    <a:pos x="T4" y="T5"/>
                  </a:cxn>
                  <a:cxn ang="0">
                    <a:pos x="T6" y="T7"/>
                  </a:cxn>
                </a:cxnLst>
                <a:rect l="0" t="0" r="r" b="b"/>
                <a:pathLst>
                  <a:path w="20000" h="20000">
                    <a:moveTo>
                      <a:pt x="18824" y="19524"/>
                    </a:moveTo>
                    <a:lnTo>
                      <a:pt x="0" y="0"/>
                    </a:lnTo>
                    <a:lnTo>
                      <a:pt x="18824" y="16667"/>
                    </a:lnTo>
                    <a:lnTo>
                      <a:pt x="18824"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6" name="Freeform 83"/>
              <p:cNvSpPr>
                <a:spLocks/>
              </p:cNvSpPr>
              <p:nvPr/>
            </p:nvSpPr>
            <p:spPr bwMode="auto">
              <a:xfrm>
                <a:off x="2828925" y="3724275"/>
                <a:ext cx="6350" cy="11113"/>
              </a:xfrm>
              <a:custGeom>
                <a:avLst/>
                <a:gdLst>
                  <a:gd name="T0" fmla="*/ 0 w 20000"/>
                  <a:gd name="T1" fmla="*/ 18824 h 20000"/>
                  <a:gd name="T2" fmla="*/ 0 w 20000"/>
                  <a:gd name="T3" fmla="*/ 11765 h 20000"/>
                  <a:gd name="T4" fmla="*/ 18182 w 20000"/>
                  <a:gd name="T5" fmla="*/ 0 h 20000"/>
                  <a:gd name="T6" fmla="*/ 18182 w 20000"/>
                  <a:gd name="T7" fmla="*/ 18824 h 20000"/>
                  <a:gd name="T8" fmla="*/ 0 w 20000"/>
                  <a:gd name="T9" fmla="*/ 18824 h 20000"/>
                </a:gdLst>
                <a:ahLst/>
                <a:cxnLst>
                  <a:cxn ang="0">
                    <a:pos x="T0" y="T1"/>
                  </a:cxn>
                  <a:cxn ang="0">
                    <a:pos x="T2" y="T3"/>
                  </a:cxn>
                  <a:cxn ang="0">
                    <a:pos x="T4" y="T5"/>
                  </a:cxn>
                  <a:cxn ang="0">
                    <a:pos x="T6" y="T7"/>
                  </a:cxn>
                  <a:cxn ang="0">
                    <a:pos x="T8" y="T9"/>
                  </a:cxn>
                </a:cxnLst>
                <a:rect l="0" t="0" r="r" b="b"/>
                <a:pathLst>
                  <a:path w="20000" h="20000">
                    <a:moveTo>
                      <a:pt x="0" y="18824"/>
                    </a:moveTo>
                    <a:lnTo>
                      <a:pt x="0" y="11765"/>
                    </a:lnTo>
                    <a:lnTo>
                      <a:pt x="18182" y="0"/>
                    </a:lnTo>
                    <a:lnTo>
                      <a:pt x="18182" y="18824"/>
                    </a:lnTo>
                    <a:lnTo>
                      <a:pt x="0"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7" name="Freeform 82"/>
              <p:cNvSpPr>
                <a:spLocks/>
              </p:cNvSpPr>
              <p:nvPr/>
            </p:nvSpPr>
            <p:spPr bwMode="auto">
              <a:xfrm>
                <a:off x="2954338" y="3778250"/>
                <a:ext cx="11112" cy="6350"/>
              </a:xfrm>
              <a:custGeom>
                <a:avLst/>
                <a:gdLst>
                  <a:gd name="T0" fmla="*/ 18824 w 20000"/>
                  <a:gd name="T1" fmla="*/ 18182 h 20000"/>
                  <a:gd name="T2" fmla="*/ 0 w 20000"/>
                  <a:gd name="T3" fmla="*/ 18182 h 20000"/>
                  <a:gd name="T4" fmla="*/ 0 w 20000"/>
                  <a:gd name="T5" fmla="*/ 0 h 20000"/>
                  <a:gd name="T6" fmla="*/ 18824 w 20000"/>
                  <a:gd name="T7" fmla="*/ 18182 h 20000"/>
                </a:gdLst>
                <a:ahLst/>
                <a:cxnLst>
                  <a:cxn ang="0">
                    <a:pos x="T0" y="T1"/>
                  </a:cxn>
                  <a:cxn ang="0">
                    <a:pos x="T2" y="T3"/>
                  </a:cxn>
                  <a:cxn ang="0">
                    <a:pos x="T4" y="T5"/>
                  </a:cxn>
                  <a:cxn ang="0">
                    <a:pos x="T6" y="T7"/>
                  </a:cxn>
                </a:cxnLst>
                <a:rect l="0" t="0" r="r" b="b"/>
                <a:pathLst>
                  <a:path w="20000" h="20000">
                    <a:moveTo>
                      <a:pt x="18824" y="18182"/>
                    </a:moveTo>
                    <a:lnTo>
                      <a:pt x="0" y="18182"/>
                    </a:lnTo>
                    <a:lnTo>
                      <a:pt x="0" y="0"/>
                    </a:lnTo>
                    <a:lnTo>
                      <a:pt x="18824" y="181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8" name="Freeform 81"/>
              <p:cNvSpPr>
                <a:spLocks/>
              </p:cNvSpPr>
              <p:nvPr/>
            </p:nvSpPr>
            <p:spPr bwMode="auto">
              <a:xfrm>
                <a:off x="3309938" y="4059238"/>
                <a:ext cx="11112" cy="17462"/>
              </a:xfrm>
              <a:custGeom>
                <a:avLst/>
                <a:gdLst>
                  <a:gd name="T0" fmla="*/ 5882 w 20000"/>
                  <a:gd name="T1" fmla="*/ 19259 h 20000"/>
                  <a:gd name="T2" fmla="*/ 0 w 20000"/>
                  <a:gd name="T3" fmla="*/ 0 h 20000"/>
                  <a:gd name="T4" fmla="*/ 5882 w 20000"/>
                  <a:gd name="T5" fmla="*/ 0 h 20000"/>
                  <a:gd name="T6" fmla="*/ 18824 w 20000"/>
                  <a:gd name="T7" fmla="*/ 11852 h 20000"/>
                  <a:gd name="T8" fmla="*/ 5882 w 20000"/>
                  <a:gd name="T9" fmla="*/ 19259 h 20000"/>
                </a:gdLst>
                <a:ahLst/>
                <a:cxnLst>
                  <a:cxn ang="0">
                    <a:pos x="T0" y="T1"/>
                  </a:cxn>
                  <a:cxn ang="0">
                    <a:pos x="T2" y="T3"/>
                  </a:cxn>
                  <a:cxn ang="0">
                    <a:pos x="T4" y="T5"/>
                  </a:cxn>
                  <a:cxn ang="0">
                    <a:pos x="T6" y="T7"/>
                  </a:cxn>
                  <a:cxn ang="0">
                    <a:pos x="T8" y="T9"/>
                  </a:cxn>
                </a:cxnLst>
                <a:rect l="0" t="0" r="r" b="b"/>
                <a:pathLst>
                  <a:path w="20000" h="20000">
                    <a:moveTo>
                      <a:pt x="5882" y="19259"/>
                    </a:moveTo>
                    <a:lnTo>
                      <a:pt x="0" y="0"/>
                    </a:lnTo>
                    <a:lnTo>
                      <a:pt x="5882" y="0"/>
                    </a:lnTo>
                    <a:lnTo>
                      <a:pt x="18824" y="11852"/>
                    </a:lnTo>
                    <a:lnTo>
                      <a:pt x="5882"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69" name="Freeform 80"/>
              <p:cNvSpPr>
                <a:spLocks/>
              </p:cNvSpPr>
              <p:nvPr/>
            </p:nvSpPr>
            <p:spPr bwMode="auto">
              <a:xfrm>
                <a:off x="2484438" y="3895725"/>
                <a:ext cx="41275" cy="76200"/>
              </a:xfrm>
              <a:custGeom>
                <a:avLst/>
                <a:gdLst>
                  <a:gd name="T0" fmla="*/ 3125 w 20000"/>
                  <a:gd name="T1" fmla="*/ 4333 h 20000"/>
                  <a:gd name="T2" fmla="*/ 11250 w 20000"/>
                  <a:gd name="T3" fmla="*/ 0 h 20000"/>
                  <a:gd name="T4" fmla="*/ 16250 w 20000"/>
                  <a:gd name="T5" fmla="*/ 0 h 20000"/>
                  <a:gd name="T6" fmla="*/ 19688 w 20000"/>
                  <a:gd name="T7" fmla="*/ 1667 h 20000"/>
                  <a:gd name="T8" fmla="*/ 16250 w 20000"/>
                  <a:gd name="T9" fmla="*/ 8500 h 20000"/>
                  <a:gd name="T10" fmla="*/ 13125 w 20000"/>
                  <a:gd name="T11" fmla="*/ 13667 h 20000"/>
                  <a:gd name="T12" fmla="*/ 8125 w 20000"/>
                  <a:gd name="T13" fmla="*/ 16333 h 20000"/>
                  <a:gd name="T14" fmla="*/ 3125 w 20000"/>
                  <a:gd name="T15" fmla="*/ 19833 h 20000"/>
                  <a:gd name="T16" fmla="*/ 0 w 20000"/>
                  <a:gd name="T17" fmla="*/ 18000 h 20000"/>
                  <a:gd name="T18" fmla="*/ 3125 w 20000"/>
                  <a:gd name="T19" fmla="*/ 433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3125" y="4333"/>
                    </a:moveTo>
                    <a:lnTo>
                      <a:pt x="11250" y="0"/>
                    </a:lnTo>
                    <a:lnTo>
                      <a:pt x="16250" y="0"/>
                    </a:lnTo>
                    <a:lnTo>
                      <a:pt x="19688" y="1667"/>
                    </a:lnTo>
                    <a:lnTo>
                      <a:pt x="16250" y="8500"/>
                    </a:lnTo>
                    <a:lnTo>
                      <a:pt x="13125" y="13667"/>
                    </a:lnTo>
                    <a:lnTo>
                      <a:pt x="8125" y="16333"/>
                    </a:lnTo>
                    <a:lnTo>
                      <a:pt x="3125" y="19833"/>
                    </a:lnTo>
                    <a:lnTo>
                      <a:pt x="0" y="18000"/>
                    </a:lnTo>
                    <a:lnTo>
                      <a:pt x="3125" y="433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0" name="Freeform 79"/>
              <p:cNvSpPr>
                <a:spLocks/>
              </p:cNvSpPr>
              <p:nvPr/>
            </p:nvSpPr>
            <p:spPr bwMode="auto">
              <a:xfrm>
                <a:off x="3025775" y="4718050"/>
                <a:ext cx="346075" cy="387350"/>
              </a:xfrm>
              <a:custGeom>
                <a:avLst/>
                <a:gdLst>
                  <a:gd name="T0" fmla="*/ 587 w 20000"/>
                  <a:gd name="T1" fmla="*/ 8478 h 20000"/>
                  <a:gd name="T2" fmla="*/ 991 w 20000"/>
                  <a:gd name="T3" fmla="*/ 6939 h 20000"/>
                  <a:gd name="T4" fmla="*/ 991 w 20000"/>
                  <a:gd name="T5" fmla="*/ 5728 h 20000"/>
                  <a:gd name="T6" fmla="*/ 1505 w 20000"/>
                  <a:gd name="T7" fmla="*/ 3863 h 20000"/>
                  <a:gd name="T8" fmla="*/ 0 w 20000"/>
                  <a:gd name="T9" fmla="*/ 1669 h 20000"/>
                  <a:gd name="T10" fmla="*/ 1908 w 20000"/>
                  <a:gd name="T11" fmla="*/ 1997 h 20000"/>
                  <a:gd name="T12" fmla="*/ 2862 w 20000"/>
                  <a:gd name="T13" fmla="*/ 1342 h 20000"/>
                  <a:gd name="T14" fmla="*/ 4954 w 20000"/>
                  <a:gd name="T15" fmla="*/ 0 h 20000"/>
                  <a:gd name="T16" fmla="*/ 6862 w 20000"/>
                  <a:gd name="T17" fmla="*/ 0 h 20000"/>
                  <a:gd name="T18" fmla="*/ 7046 w 20000"/>
                  <a:gd name="T19" fmla="*/ 1997 h 20000"/>
                  <a:gd name="T20" fmla="*/ 7817 w 20000"/>
                  <a:gd name="T21" fmla="*/ 3372 h 20000"/>
                  <a:gd name="T22" fmla="*/ 9321 w 20000"/>
                  <a:gd name="T23" fmla="*/ 4223 h 20000"/>
                  <a:gd name="T24" fmla="*/ 12000 w 20000"/>
                  <a:gd name="T25" fmla="*/ 4877 h 20000"/>
                  <a:gd name="T26" fmla="*/ 15009 w 20000"/>
                  <a:gd name="T27" fmla="*/ 6088 h 20000"/>
                  <a:gd name="T28" fmla="*/ 15413 w 20000"/>
                  <a:gd name="T29" fmla="*/ 7954 h 20000"/>
                  <a:gd name="T30" fmla="*/ 15413 w 20000"/>
                  <a:gd name="T31" fmla="*/ 9624 h 20000"/>
                  <a:gd name="T32" fmla="*/ 18826 w 20000"/>
                  <a:gd name="T33" fmla="*/ 9951 h 20000"/>
                  <a:gd name="T34" fmla="*/ 19963 w 20000"/>
                  <a:gd name="T35" fmla="*/ 12013 h 20000"/>
                  <a:gd name="T36" fmla="*/ 19963 w 20000"/>
                  <a:gd name="T37" fmla="*/ 14043 h 20000"/>
                  <a:gd name="T38" fmla="*/ 19376 w 20000"/>
                  <a:gd name="T39" fmla="*/ 15908 h 20000"/>
                  <a:gd name="T40" fmla="*/ 18239 w 20000"/>
                  <a:gd name="T41" fmla="*/ 14894 h 20000"/>
                  <a:gd name="T42" fmla="*/ 13505 w 20000"/>
                  <a:gd name="T43" fmla="*/ 14894 h 20000"/>
                  <a:gd name="T44" fmla="*/ 13505 w 20000"/>
                  <a:gd name="T45" fmla="*/ 15417 h 20000"/>
                  <a:gd name="T46" fmla="*/ 12550 w 20000"/>
                  <a:gd name="T47" fmla="*/ 16236 h 20000"/>
                  <a:gd name="T48" fmla="*/ 12917 w 20000"/>
                  <a:gd name="T49" fmla="*/ 17250 h 20000"/>
                  <a:gd name="T50" fmla="*/ 12000 w 20000"/>
                  <a:gd name="T51" fmla="*/ 18625 h 20000"/>
                  <a:gd name="T52" fmla="*/ 10459 w 20000"/>
                  <a:gd name="T53" fmla="*/ 18625 h 20000"/>
                  <a:gd name="T54" fmla="*/ 9908 w 20000"/>
                  <a:gd name="T55" fmla="*/ 19804 h 20000"/>
                  <a:gd name="T56" fmla="*/ 8954 w 20000"/>
                  <a:gd name="T57" fmla="*/ 18953 h 20000"/>
                  <a:gd name="T58" fmla="*/ 7413 w 20000"/>
                  <a:gd name="T59" fmla="*/ 18953 h 20000"/>
                  <a:gd name="T60" fmla="*/ 6459 w 20000"/>
                  <a:gd name="T61" fmla="*/ 18462 h 20000"/>
                  <a:gd name="T62" fmla="*/ 6459 w 20000"/>
                  <a:gd name="T63" fmla="*/ 18625 h 20000"/>
                  <a:gd name="T64" fmla="*/ 5872 w 20000"/>
                  <a:gd name="T65" fmla="*/ 18953 h 20000"/>
                  <a:gd name="T66" fmla="*/ 5505 w 20000"/>
                  <a:gd name="T67" fmla="*/ 19967 h 20000"/>
                  <a:gd name="T68" fmla="*/ 4367 w 20000"/>
                  <a:gd name="T69" fmla="*/ 19967 h 20000"/>
                  <a:gd name="T70" fmla="*/ 3817 w 20000"/>
                  <a:gd name="T71" fmla="*/ 18462 h 20000"/>
                  <a:gd name="T72" fmla="*/ 3083 w 20000"/>
                  <a:gd name="T73" fmla="*/ 16759 h 20000"/>
                  <a:gd name="T74" fmla="*/ 2495 w 20000"/>
                  <a:gd name="T75" fmla="*/ 14566 h 20000"/>
                  <a:gd name="T76" fmla="*/ 1505 w 20000"/>
                  <a:gd name="T77" fmla="*/ 12831 h 20000"/>
                  <a:gd name="T78" fmla="*/ 587 w 20000"/>
                  <a:gd name="T79" fmla="*/ 11817 h 20000"/>
                  <a:gd name="T80" fmla="*/ 991 w 20000"/>
                  <a:gd name="T81" fmla="*/ 10671 h 20000"/>
                  <a:gd name="T82" fmla="*/ 1358 w 20000"/>
                  <a:gd name="T83" fmla="*/ 9951 h 20000"/>
                  <a:gd name="T84" fmla="*/ 1505 w 20000"/>
                  <a:gd name="T85" fmla="*/ 10147 h 20000"/>
                  <a:gd name="T86" fmla="*/ 2092 w 20000"/>
                  <a:gd name="T87" fmla="*/ 9624 h 20000"/>
                  <a:gd name="T88" fmla="*/ 587 w 20000"/>
                  <a:gd name="T89" fmla="*/ 847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000" h="20000">
                    <a:moveTo>
                      <a:pt x="587" y="8478"/>
                    </a:moveTo>
                    <a:lnTo>
                      <a:pt x="991" y="6939"/>
                    </a:lnTo>
                    <a:lnTo>
                      <a:pt x="991" y="5728"/>
                    </a:lnTo>
                    <a:lnTo>
                      <a:pt x="1505" y="3863"/>
                    </a:lnTo>
                    <a:lnTo>
                      <a:pt x="0" y="1669"/>
                    </a:lnTo>
                    <a:lnTo>
                      <a:pt x="1908" y="1997"/>
                    </a:lnTo>
                    <a:lnTo>
                      <a:pt x="2862" y="1342"/>
                    </a:lnTo>
                    <a:lnTo>
                      <a:pt x="4954" y="0"/>
                    </a:lnTo>
                    <a:lnTo>
                      <a:pt x="6862" y="0"/>
                    </a:lnTo>
                    <a:lnTo>
                      <a:pt x="7046" y="1997"/>
                    </a:lnTo>
                    <a:lnTo>
                      <a:pt x="7817" y="3372"/>
                    </a:lnTo>
                    <a:lnTo>
                      <a:pt x="9321" y="4223"/>
                    </a:lnTo>
                    <a:lnTo>
                      <a:pt x="12000" y="4877"/>
                    </a:lnTo>
                    <a:lnTo>
                      <a:pt x="15009" y="6088"/>
                    </a:lnTo>
                    <a:lnTo>
                      <a:pt x="15413" y="7954"/>
                    </a:lnTo>
                    <a:lnTo>
                      <a:pt x="15413" y="9624"/>
                    </a:lnTo>
                    <a:lnTo>
                      <a:pt x="18826" y="9951"/>
                    </a:lnTo>
                    <a:lnTo>
                      <a:pt x="19963" y="12013"/>
                    </a:lnTo>
                    <a:lnTo>
                      <a:pt x="19963" y="14043"/>
                    </a:lnTo>
                    <a:lnTo>
                      <a:pt x="19376" y="15908"/>
                    </a:lnTo>
                    <a:lnTo>
                      <a:pt x="18239" y="14894"/>
                    </a:lnTo>
                    <a:lnTo>
                      <a:pt x="13505" y="14894"/>
                    </a:lnTo>
                    <a:lnTo>
                      <a:pt x="13505" y="15417"/>
                    </a:lnTo>
                    <a:lnTo>
                      <a:pt x="12550" y="16236"/>
                    </a:lnTo>
                    <a:lnTo>
                      <a:pt x="12917" y="17250"/>
                    </a:lnTo>
                    <a:lnTo>
                      <a:pt x="12000" y="18625"/>
                    </a:lnTo>
                    <a:lnTo>
                      <a:pt x="10459" y="18625"/>
                    </a:lnTo>
                    <a:lnTo>
                      <a:pt x="9908" y="19804"/>
                    </a:lnTo>
                    <a:lnTo>
                      <a:pt x="8954" y="18953"/>
                    </a:lnTo>
                    <a:lnTo>
                      <a:pt x="7413" y="18953"/>
                    </a:lnTo>
                    <a:lnTo>
                      <a:pt x="6459" y="18462"/>
                    </a:lnTo>
                    <a:lnTo>
                      <a:pt x="6459" y="18625"/>
                    </a:lnTo>
                    <a:lnTo>
                      <a:pt x="5872" y="18953"/>
                    </a:lnTo>
                    <a:lnTo>
                      <a:pt x="5505" y="19967"/>
                    </a:lnTo>
                    <a:lnTo>
                      <a:pt x="4367" y="19967"/>
                    </a:lnTo>
                    <a:lnTo>
                      <a:pt x="3817" y="18462"/>
                    </a:lnTo>
                    <a:lnTo>
                      <a:pt x="3083" y="16759"/>
                    </a:lnTo>
                    <a:lnTo>
                      <a:pt x="2495" y="14566"/>
                    </a:lnTo>
                    <a:lnTo>
                      <a:pt x="1505" y="12831"/>
                    </a:lnTo>
                    <a:lnTo>
                      <a:pt x="587" y="11817"/>
                    </a:lnTo>
                    <a:lnTo>
                      <a:pt x="991" y="10671"/>
                    </a:lnTo>
                    <a:lnTo>
                      <a:pt x="1358" y="9951"/>
                    </a:lnTo>
                    <a:lnTo>
                      <a:pt x="1505" y="10147"/>
                    </a:lnTo>
                    <a:lnTo>
                      <a:pt x="2092" y="9624"/>
                    </a:lnTo>
                    <a:lnTo>
                      <a:pt x="587" y="847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1" name="Freeform 78"/>
              <p:cNvSpPr>
                <a:spLocks/>
              </p:cNvSpPr>
              <p:nvPr/>
            </p:nvSpPr>
            <p:spPr bwMode="auto">
              <a:xfrm>
                <a:off x="2905125" y="4286250"/>
                <a:ext cx="1103313" cy="1160463"/>
              </a:xfrm>
              <a:custGeom>
                <a:avLst/>
                <a:gdLst>
                  <a:gd name="T0" fmla="*/ 10800 w 20000"/>
                  <a:gd name="T1" fmla="*/ 1586 h 20000"/>
                  <a:gd name="T2" fmla="*/ 11399 w 20000"/>
                  <a:gd name="T3" fmla="*/ 569 h 20000"/>
                  <a:gd name="T4" fmla="*/ 12228 w 20000"/>
                  <a:gd name="T5" fmla="*/ 1761 h 20000"/>
                  <a:gd name="T6" fmla="*/ 11272 w 20000"/>
                  <a:gd name="T7" fmla="*/ 2954 h 20000"/>
                  <a:gd name="T8" fmla="*/ 11940 w 20000"/>
                  <a:gd name="T9" fmla="*/ 2779 h 20000"/>
                  <a:gd name="T10" fmla="*/ 11871 w 20000"/>
                  <a:gd name="T11" fmla="*/ 3578 h 20000"/>
                  <a:gd name="T12" fmla="*/ 13898 w 20000"/>
                  <a:gd name="T13" fmla="*/ 3118 h 20000"/>
                  <a:gd name="T14" fmla="*/ 14922 w 20000"/>
                  <a:gd name="T15" fmla="*/ 4081 h 20000"/>
                  <a:gd name="T16" fmla="*/ 17179 w 20000"/>
                  <a:gd name="T17" fmla="*/ 4081 h 20000"/>
                  <a:gd name="T18" fmla="*/ 19447 w 20000"/>
                  <a:gd name="T19" fmla="*/ 5153 h 20000"/>
                  <a:gd name="T20" fmla="*/ 19747 w 20000"/>
                  <a:gd name="T21" fmla="*/ 7090 h 20000"/>
                  <a:gd name="T22" fmla="*/ 18618 w 20000"/>
                  <a:gd name="T23" fmla="*/ 8720 h 20000"/>
                  <a:gd name="T24" fmla="*/ 17962 w 20000"/>
                  <a:gd name="T25" fmla="*/ 9912 h 20000"/>
                  <a:gd name="T26" fmla="*/ 17720 w 20000"/>
                  <a:gd name="T27" fmla="*/ 11718 h 20000"/>
                  <a:gd name="T28" fmla="*/ 17064 w 20000"/>
                  <a:gd name="T29" fmla="*/ 13643 h 20000"/>
                  <a:gd name="T30" fmla="*/ 15452 w 20000"/>
                  <a:gd name="T31" fmla="*/ 14333 h 20000"/>
                  <a:gd name="T32" fmla="*/ 13483 w 20000"/>
                  <a:gd name="T33" fmla="*/ 15514 h 20000"/>
                  <a:gd name="T34" fmla="*/ 13184 w 20000"/>
                  <a:gd name="T35" fmla="*/ 17221 h 20000"/>
                  <a:gd name="T36" fmla="*/ 12355 w 20000"/>
                  <a:gd name="T37" fmla="*/ 18687 h 20000"/>
                  <a:gd name="T38" fmla="*/ 11399 w 20000"/>
                  <a:gd name="T39" fmla="*/ 19989 h 20000"/>
                  <a:gd name="T40" fmla="*/ 10800 w 20000"/>
                  <a:gd name="T41" fmla="*/ 18851 h 20000"/>
                  <a:gd name="T42" fmla="*/ 9372 w 20000"/>
                  <a:gd name="T43" fmla="*/ 18063 h 20000"/>
                  <a:gd name="T44" fmla="*/ 9672 w 20000"/>
                  <a:gd name="T45" fmla="*/ 17385 h 20000"/>
                  <a:gd name="T46" fmla="*/ 10685 w 20000"/>
                  <a:gd name="T47" fmla="*/ 16422 h 20000"/>
                  <a:gd name="T48" fmla="*/ 10432 w 20000"/>
                  <a:gd name="T49" fmla="*/ 14781 h 20000"/>
                  <a:gd name="T50" fmla="*/ 9672 w 20000"/>
                  <a:gd name="T51" fmla="*/ 13818 h 20000"/>
                  <a:gd name="T52" fmla="*/ 8474 w 20000"/>
                  <a:gd name="T53" fmla="*/ 12123 h 20000"/>
                  <a:gd name="T54" fmla="*/ 7047 w 20000"/>
                  <a:gd name="T55" fmla="*/ 10646 h 20000"/>
                  <a:gd name="T56" fmla="*/ 5964 w 20000"/>
                  <a:gd name="T57" fmla="*/ 9059 h 20000"/>
                  <a:gd name="T58" fmla="*/ 4421 w 20000"/>
                  <a:gd name="T59" fmla="*/ 8096 h 20000"/>
                  <a:gd name="T60" fmla="*/ 3109 w 20000"/>
                  <a:gd name="T61" fmla="*/ 7877 h 20000"/>
                  <a:gd name="T62" fmla="*/ 1911 w 20000"/>
                  <a:gd name="T63" fmla="*/ 7987 h 20000"/>
                  <a:gd name="T64" fmla="*/ 1439 w 20000"/>
                  <a:gd name="T65" fmla="*/ 7429 h 20000"/>
                  <a:gd name="T66" fmla="*/ 311 w 20000"/>
                  <a:gd name="T67" fmla="*/ 6958 h 20000"/>
                  <a:gd name="T68" fmla="*/ 311 w 20000"/>
                  <a:gd name="T69" fmla="*/ 5777 h 20000"/>
                  <a:gd name="T70" fmla="*/ 1439 w 20000"/>
                  <a:gd name="T71" fmla="*/ 4584 h 20000"/>
                  <a:gd name="T72" fmla="*/ 2211 w 20000"/>
                  <a:gd name="T73" fmla="*/ 3118 h 20000"/>
                  <a:gd name="T74" fmla="*/ 1911 w 20000"/>
                  <a:gd name="T75" fmla="*/ 2330 h 20000"/>
                  <a:gd name="T76" fmla="*/ 1911 w 20000"/>
                  <a:gd name="T77" fmla="*/ 2046 h 20000"/>
                  <a:gd name="T78" fmla="*/ 2809 w 20000"/>
                  <a:gd name="T79" fmla="*/ 1761 h 20000"/>
                  <a:gd name="T80" fmla="*/ 3397 w 20000"/>
                  <a:gd name="T81" fmla="*/ 1926 h 20000"/>
                  <a:gd name="T82" fmla="*/ 4122 w 20000"/>
                  <a:gd name="T83" fmla="*/ 2155 h 20000"/>
                  <a:gd name="T84" fmla="*/ 5320 w 20000"/>
                  <a:gd name="T85" fmla="*/ 1411 h 20000"/>
                  <a:gd name="T86" fmla="*/ 4537 w 20000"/>
                  <a:gd name="T87" fmla="*/ 569 h 20000"/>
                  <a:gd name="T88" fmla="*/ 5792 w 20000"/>
                  <a:gd name="T89" fmla="*/ 569 h 20000"/>
                  <a:gd name="T90" fmla="*/ 6920 w 20000"/>
                  <a:gd name="T91" fmla="*/ 0 h 20000"/>
                  <a:gd name="T92" fmla="*/ 7047 w 20000"/>
                  <a:gd name="T93" fmla="*/ 1302 h 20000"/>
                  <a:gd name="T94" fmla="*/ 8405 w 20000"/>
                  <a:gd name="T95" fmla="*/ 1761 h 20000"/>
                  <a:gd name="T96" fmla="*/ 9188 w 20000"/>
                  <a:gd name="T97" fmla="*/ 141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00" h="20000">
                    <a:moveTo>
                      <a:pt x="9845" y="1477"/>
                    </a:moveTo>
                    <a:lnTo>
                      <a:pt x="10201" y="1707"/>
                    </a:lnTo>
                    <a:lnTo>
                      <a:pt x="10800" y="1586"/>
                    </a:lnTo>
                    <a:lnTo>
                      <a:pt x="11100" y="1138"/>
                    </a:lnTo>
                    <a:lnTo>
                      <a:pt x="11272" y="678"/>
                    </a:lnTo>
                    <a:lnTo>
                      <a:pt x="11399" y="569"/>
                    </a:lnTo>
                    <a:lnTo>
                      <a:pt x="11583" y="744"/>
                    </a:lnTo>
                    <a:lnTo>
                      <a:pt x="11871" y="1707"/>
                    </a:lnTo>
                    <a:lnTo>
                      <a:pt x="12228" y="1761"/>
                    </a:lnTo>
                    <a:lnTo>
                      <a:pt x="12170" y="2155"/>
                    </a:lnTo>
                    <a:lnTo>
                      <a:pt x="11583" y="2615"/>
                    </a:lnTo>
                    <a:lnTo>
                      <a:pt x="11272" y="2954"/>
                    </a:lnTo>
                    <a:lnTo>
                      <a:pt x="10927" y="3403"/>
                    </a:lnTo>
                    <a:lnTo>
                      <a:pt x="11583" y="3228"/>
                    </a:lnTo>
                    <a:lnTo>
                      <a:pt x="11940" y="2779"/>
                    </a:lnTo>
                    <a:lnTo>
                      <a:pt x="12999" y="2888"/>
                    </a:lnTo>
                    <a:lnTo>
                      <a:pt x="12712" y="3403"/>
                    </a:lnTo>
                    <a:lnTo>
                      <a:pt x="11871" y="3578"/>
                    </a:lnTo>
                    <a:lnTo>
                      <a:pt x="12527" y="3687"/>
                    </a:lnTo>
                    <a:lnTo>
                      <a:pt x="13299" y="2954"/>
                    </a:lnTo>
                    <a:lnTo>
                      <a:pt x="13898" y="3118"/>
                    </a:lnTo>
                    <a:lnTo>
                      <a:pt x="14554" y="3337"/>
                    </a:lnTo>
                    <a:lnTo>
                      <a:pt x="15037" y="3687"/>
                    </a:lnTo>
                    <a:lnTo>
                      <a:pt x="14922" y="4081"/>
                    </a:lnTo>
                    <a:lnTo>
                      <a:pt x="15636" y="3851"/>
                    </a:lnTo>
                    <a:lnTo>
                      <a:pt x="16408" y="4081"/>
                    </a:lnTo>
                    <a:lnTo>
                      <a:pt x="17179" y="4081"/>
                    </a:lnTo>
                    <a:lnTo>
                      <a:pt x="18008" y="4540"/>
                    </a:lnTo>
                    <a:lnTo>
                      <a:pt x="18733" y="5044"/>
                    </a:lnTo>
                    <a:lnTo>
                      <a:pt x="19447" y="5153"/>
                    </a:lnTo>
                    <a:lnTo>
                      <a:pt x="19747" y="5613"/>
                    </a:lnTo>
                    <a:lnTo>
                      <a:pt x="19988" y="6171"/>
                    </a:lnTo>
                    <a:lnTo>
                      <a:pt x="19747" y="7090"/>
                    </a:lnTo>
                    <a:lnTo>
                      <a:pt x="19378" y="7538"/>
                    </a:lnTo>
                    <a:lnTo>
                      <a:pt x="18975" y="8096"/>
                    </a:lnTo>
                    <a:lnTo>
                      <a:pt x="18618" y="8720"/>
                    </a:lnTo>
                    <a:lnTo>
                      <a:pt x="18192" y="8895"/>
                    </a:lnTo>
                    <a:lnTo>
                      <a:pt x="17962" y="9289"/>
                    </a:lnTo>
                    <a:lnTo>
                      <a:pt x="17962" y="9912"/>
                    </a:lnTo>
                    <a:lnTo>
                      <a:pt x="18008" y="10470"/>
                    </a:lnTo>
                    <a:lnTo>
                      <a:pt x="17962" y="11379"/>
                    </a:lnTo>
                    <a:lnTo>
                      <a:pt x="17720" y="11718"/>
                    </a:lnTo>
                    <a:lnTo>
                      <a:pt x="17663" y="12298"/>
                    </a:lnTo>
                    <a:lnTo>
                      <a:pt x="17179" y="13195"/>
                    </a:lnTo>
                    <a:lnTo>
                      <a:pt x="17064" y="13643"/>
                    </a:lnTo>
                    <a:lnTo>
                      <a:pt x="16695" y="14103"/>
                    </a:lnTo>
                    <a:lnTo>
                      <a:pt x="16166" y="14103"/>
                    </a:lnTo>
                    <a:lnTo>
                      <a:pt x="15452" y="14333"/>
                    </a:lnTo>
                    <a:lnTo>
                      <a:pt x="14669" y="14672"/>
                    </a:lnTo>
                    <a:lnTo>
                      <a:pt x="13967" y="15011"/>
                    </a:lnTo>
                    <a:lnTo>
                      <a:pt x="13483" y="15514"/>
                    </a:lnTo>
                    <a:lnTo>
                      <a:pt x="13425" y="16193"/>
                    </a:lnTo>
                    <a:lnTo>
                      <a:pt x="13425" y="16882"/>
                    </a:lnTo>
                    <a:lnTo>
                      <a:pt x="13184" y="17221"/>
                    </a:lnTo>
                    <a:lnTo>
                      <a:pt x="12827" y="17779"/>
                    </a:lnTo>
                    <a:lnTo>
                      <a:pt x="12642" y="18228"/>
                    </a:lnTo>
                    <a:lnTo>
                      <a:pt x="12355" y="18687"/>
                    </a:lnTo>
                    <a:lnTo>
                      <a:pt x="11940" y="19081"/>
                    </a:lnTo>
                    <a:lnTo>
                      <a:pt x="11756" y="19540"/>
                    </a:lnTo>
                    <a:lnTo>
                      <a:pt x="11399" y="19989"/>
                    </a:lnTo>
                    <a:lnTo>
                      <a:pt x="11272" y="19595"/>
                    </a:lnTo>
                    <a:lnTo>
                      <a:pt x="11399" y="19300"/>
                    </a:lnTo>
                    <a:lnTo>
                      <a:pt x="10800" y="18851"/>
                    </a:lnTo>
                    <a:lnTo>
                      <a:pt x="10317" y="18512"/>
                    </a:lnTo>
                    <a:lnTo>
                      <a:pt x="10029" y="18512"/>
                    </a:lnTo>
                    <a:lnTo>
                      <a:pt x="9372" y="18063"/>
                    </a:lnTo>
                    <a:lnTo>
                      <a:pt x="9188" y="18063"/>
                    </a:lnTo>
                    <a:lnTo>
                      <a:pt x="9372" y="17779"/>
                    </a:lnTo>
                    <a:lnTo>
                      <a:pt x="9672" y="17385"/>
                    </a:lnTo>
                    <a:lnTo>
                      <a:pt x="9914" y="17046"/>
                    </a:lnTo>
                    <a:lnTo>
                      <a:pt x="10317" y="16707"/>
                    </a:lnTo>
                    <a:lnTo>
                      <a:pt x="10685" y="16422"/>
                    </a:lnTo>
                    <a:lnTo>
                      <a:pt x="10800" y="15963"/>
                    </a:lnTo>
                    <a:lnTo>
                      <a:pt x="10501" y="15514"/>
                    </a:lnTo>
                    <a:lnTo>
                      <a:pt x="10432" y="14781"/>
                    </a:lnTo>
                    <a:lnTo>
                      <a:pt x="10201" y="14551"/>
                    </a:lnTo>
                    <a:lnTo>
                      <a:pt x="10029" y="14672"/>
                    </a:lnTo>
                    <a:lnTo>
                      <a:pt x="9672" y="13818"/>
                    </a:lnTo>
                    <a:lnTo>
                      <a:pt x="8590" y="13753"/>
                    </a:lnTo>
                    <a:lnTo>
                      <a:pt x="8290" y="12746"/>
                    </a:lnTo>
                    <a:lnTo>
                      <a:pt x="8474" y="12123"/>
                    </a:lnTo>
                    <a:lnTo>
                      <a:pt x="8474" y="11444"/>
                    </a:lnTo>
                    <a:lnTo>
                      <a:pt x="8117" y="10755"/>
                    </a:lnTo>
                    <a:lnTo>
                      <a:pt x="7047" y="10646"/>
                    </a:lnTo>
                    <a:lnTo>
                      <a:pt x="7047" y="10088"/>
                    </a:lnTo>
                    <a:lnTo>
                      <a:pt x="6920" y="9464"/>
                    </a:lnTo>
                    <a:lnTo>
                      <a:pt x="5964" y="9059"/>
                    </a:lnTo>
                    <a:lnTo>
                      <a:pt x="5135" y="8840"/>
                    </a:lnTo>
                    <a:lnTo>
                      <a:pt x="4663" y="8545"/>
                    </a:lnTo>
                    <a:lnTo>
                      <a:pt x="4421" y="8096"/>
                    </a:lnTo>
                    <a:lnTo>
                      <a:pt x="4364" y="7429"/>
                    </a:lnTo>
                    <a:lnTo>
                      <a:pt x="3765" y="7429"/>
                    </a:lnTo>
                    <a:lnTo>
                      <a:pt x="3109" y="7877"/>
                    </a:lnTo>
                    <a:lnTo>
                      <a:pt x="2809" y="8096"/>
                    </a:lnTo>
                    <a:lnTo>
                      <a:pt x="2211" y="7987"/>
                    </a:lnTo>
                    <a:lnTo>
                      <a:pt x="1911" y="7987"/>
                    </a:lnTo>
                    <a:lnTo>
                      <a:pt x="1739" y="7987"/>
                    </a:lnTo>
                    <a:lnTo>
                      <a:pt x="1739" y="7254"/>
                    </a:lnTo>
                    <a:lnTo>
                      <a:pt x="1439" y="7429"/>
                    </a:lnTo>
                    <a:lnTo>
                      <a:pt x="967" y="7429"/>
                    </a:lnTo>
                    <a:lnTo>
                      <a:pt x="599" y="7254"/>
                    </a:lnTo>
                    <a:lnTo>
                      <a:pt x="311" y="6958"/>
                    </a:lnTo>
                    <a:lnTo>
                      <a:pt x="0" y="6510"/>
                    </a:lnTo>
                    <a:lnTo>
                      <a:pt x="0" y="5952"/>
                    </a:lnTo>
                    <a:lnTo>
                      <a:pt x="311" y="5777"/>
                    </a:lnTo>
                    <a:lnTo>
                      <a:pt x="357" y="5328"/>
                    </a:lnTo>
                    <a:lnTo>
                      <a:pt x="599" y="4989"/>
                    </a:lnTo>
                    <a:lnTo>
                      <a:pt x="1439" y="4584"/>
                    </a:lnTo>
                    <a:lnTo>
                      <a:pt x="1854" y="4584"/>
                    </a:lnTo>
                    <a:lnTo>
                      <a:pt x="1911" y="4584"/>
                    </a:lnTo>
                    <a:lnTo>
                      <a:pt x="2211" y="3118"/>
                    </a:lnTo>
                    <a:lnTo>
                      <a:pt x="2153" y="2779"/>
                    </a:lnTo>
                    <a:lnTo>
                      <a:pt x="1854" y="2615"/>
                    </a:lnTo>
                    <a:lnTo>
                      <a:pt x="1911" y="2330"/>
                    </a:lnTo>
                    <a:lnTo>
                      <a:pt x="2211" y="2330"/>
                    </a:lnTo>
                    <a:lnTo>
                      <a:pt x="2211" y="2155"/>
                    </a:lnTo>
                    <a:lnTo>
                      <a:pt x="1911" y="2046"/>
                    </a:lnTo>
                    <a:lnTo>
                      <a:pt x="1911" y="1761"/>
                    </a:lnTo>
                    <a:lnTo>
                      <a:pt x="2153" y="1707"/>
                    </a:lnTo>
                    <a:lnTo>
                      <a:pt x="2809" y="1761"/>
                    </a:lnTo>
                    <a:lnTo>
                      <a:pt x="2809" y="1586"/>
                    </a:lnTo>
                    <a:lnTo>
                      <a:pt x="3166" y="1586"/>
                    </a:lnTo>
                    <a:lnTo>
                      <a:pt x="3397" y="1926"/>
                    </a:lnTo>
                    <a:lnTo>
                      <a:pt x="3466" y="2046"/>
                    </a:lnTo>
                    <a:lnTo>
                      <a:pt x="3765" y="2210"/>
                    </a:lnTo>
                    <a:lnTo>
                      <a:pt x="4122" y="2155"/>
                    </a:lnTo>
                    <a:lnTo>
                      <a:pt x="4893" y="1882"/>
                    </a:lnTo>
                    <a:lnTo>
                      <a:pt x="5377" y="1586"/>
                    </a:lnTo>
                    <a:lnTo>
                      <a:pt x="5320" y="1411"/>
                    </a:lnTo>
                    <a:lnTo>
                      <a:pt x="4836" y="1302"/>
                    </a:lnTo>
                    <a:lnTo>
                      <a:pt x="4893" y="853"/>
                    </a:lnTo>
                    <a:lnTo>
                      <a:pt x="4537" y="569"/>
                    </a:lnTo>
                    <a:lnTo>
                      <a:pt x="5020" y="569"/>
                    </a:lnTo>
                    <a:lnTo>
                      <a:pt x="5607" y="744"/>
                    </a:lnTo>
                    <a:lnTo>
                      <a:pt x="5792" y="569"/>
                    </a:lnTo>
                    <a:lnTo>
                      <a:pt x="6390" y="405"/>
                    </a:lnTo>
                    <a:lnTo>
                      <a:pt x="6736" y="120"/>
                    </a:lnTo>
                    <a:lnTo>
                      <a:pt x="6920" y="0"/>
                    </a:lnTo>
                    <a:lnTo>
                      <a:pt x="7047" y="405"/>
                    </a:lnTo>
                    <a:lnTo>
                      <a:pt x="7231" y="678"/>
                    </a:lnTo>
                    <a:lnTo>
                      <a:pt x="7047" y="1302"/>
                    </a:lnTo>
                    <a:lnTo>
                      <a:pt x="7231" y="1761"/>
                    </a:lnTo>
                    <a:lnTo>
                      <a:pt x="7818" y="1926"/>
                    </a:lnTo>
                    <a:lnTo>
                      <a:pt x="8405" y="1761"/>
                    </a:lnTo>
                    <a:lnTo>
                      <a:pt x="8762" y="1707"/>
                    </a:lnTo>
                    <a:lnTo>
                      <a:pt x="9073" y="1761"/>
                    </a:lnTo>
                    <a:lnTo>
                      <a:pt x="9188" y="1411"/>
                    </a:lnTo>
                    <a:lnTo>
                      <a:pt x="9672" y="1302"/>
                    </a:lnTo>
                    <a:lnTo>
                      <a:pt x="9845" y="147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2" name="Freeform 77"/>
              <p:cNvSpPr>
                <a:spLocks/>
              </p:cNvSpPr>
              <p:nvPr/>
            </p:nvSpPr>
            <p:spPr bwMode="auto">
              <a:xfrm>
                <a:off x="2994025" y="4946650"/>
                <a:ext cx="241300" cy="1263650"/>
              </a:xfrm>
              <a:custGeom>
                <a:avLst/>
                <a:gdLst>
                  <a:gd name="T0" fmla="*/ 3536 w 20000"/>
                  <a:gd name="T1" fmla="*/ 0 h 20000"/>
                  <a:gd name="T2" fmla="*/ 7124 w 20000"/>
                  <a:gd name="T3" fmla="*/ 1518 h 20000"/>
                  <a:gd name="T4" fmla="*/ 10660 w 20000"/>
                  <a:gd name="T5" fmla="*/ 2504 h 20000"/>
                  <a:gd name="T6" fmla="*/ 7652 w 20000"/>
                  <a:gd name="T7" fmla="*/ 3439 h 20000"/>
                  <a:gd name="T8" fmla="*/ 7652 w 20000"/>
                  <a:gd name="T9" fmla="*/ 4274 h 20000"/>
                  <a:gd name="T10" fmla="*/ 6807 w 20000"/>
                  <a:gd name="T11" fmla="*/ 5058 h 20000"/>
                  <a:gd name="T12" fmla="*/ 4908 w 20000"/>
                  <a:gd name="T13" fmla="*/ 6717 h 20000"/>
                  <a:gd name="T14" fmla="*/ 7124 w 20000"/>
                  <a:gd name="T15" fmla="*/ 8225 h 20000"/>
                  <a:gd name="T16" fmla="*/ 5488 w 20000"/>
                  <a:gd name="T17" fmla="*/ 9472 h 20000"/>
                  <a:gd name="T18" fmla="*/ 5699 w 20000"/>
                  <a:gd name="T19" fmla="*/ 10830 h 20000"/>
                  <a:gd name="T20" fmla="*/ 6807 w 20000"/>
                  <a:gd name="T21" fmla="*/ 12700 h 20000"/>
                  <a:gd name="T22" fmla="*/ 7124 w 20000"/>
                  <a:gd name="T23" fmla="*/ 13384 h 20000"/>
                  <a:gd name="T24" fmla="*/ 9024 w 20000"/>
                  <a:gd name="T25" fmla="*/ 13957 h 20000"/>
                  <a:gd name="T26" fmla="*/ 8496 w 20000"/>
                  <a:gd name="T27" fmla="*/ 14319 h 20000"/>
                  <a:gd name="T28" fmla="*/ 9024 w 20000"/>
                  <a:gd name="T29" fmla="*/ 15304 h 20000"/>
                  <a:gd name="T30" fmla="*/ 9024 w 20000"/>
                  <a:gd name="T31" fmla="*/ 16290 h 20000"/>
                  <a:gd name="T32" fmla="*/ 7652 w 20000"/>
                  <a:gd name="T33" fmla="*/ 17486 h 20000"/>
                  <a:gd name="T34" fmla="*/ 10660 w 20000"/>
                  <a:gd name="T35" fmla="*/ 18331 h 20000"/>
                  <a:gd name="T36" fmla="*/ 17784 w 20000"/>
                  <a:gd name="T37" fmla="*/ 18693 h 20000"/>
                  <a:gd name="T38" fmla="*/ 16412 w 20000"/>
                  <a:gd name="T39" fmla="*/ 19155 h 20000"/>
                  <a:gd name="T40" fmla="*/ 14987 w 20000"/>
                  <a:gd name="T41" fmla="*/ 19990 h 20000"/>
                  <a:gd name="T42" fmla="*/ 13931 w 20000"/>
                  <a:gd name="T43" fmla="*/ 19517 h 20000"/>
                  <a:gd name="T44" fmla="*/ 11451 w 20000"/>
                  <a:gd name="T45" fmla="*/ 19155 h 20000"/>
                  <a:gd name="T46" fmla="*/ 12612 w 20000"/>
                  <a:gd name="T47" fmla="*/ 19678 h 20000"/>
                  <a:gd name="T48" fmla="*/ 9815 w 20000"/>
                  <a:gd name="T49" fmla="*/ 19316 h 20000"/>
                  <a:gd name="T50" fmla="*/ 9288 w 20000"/>
                  <a:gd name="T51" fmla="*/ 18904 h 20000"/>
                  <a:gd name="T52" fmla="*/ 9815 w 20000"/>
                  <a:gd name="T53" fmla="*/ 18592 h 20000"/>
                  <a:gd name="T54" fmla="*/ 7124 w 20000"/>
                  <a:gd name="T55" fmla="*/ 18059 h 20000"/>
                  <a:gd name="T56" fmla="*/ 6280 w 20000"/>
                  <a:gd name="T57" fmla="*/ 17597 h 20000"/>
                  <a:gd name="T58" fmla="*/ 5488 w 20000"/>
                  <a:gd name="T59" fmla="*/ 17134 h 20000"/>
                  <a:gd name="T60" fmla="*/ 6807 w 20000"/>
                  <a:gd name="T61" fmla="*/ 16400 h 20000"/>
                  <a:gd name="T62" fmla="*/ 4644 w 20000"/>
                  <a:gd name="T63" fmla="*/ 15716 h 20000"/>
                  <a:gd name="T64" fmla="*/ 1372 w 20000"/>
                  <a:gd name="T65" fmla="*/ 15043 h 20000"/>
                  <a:gd name="T66" fmla="*/ 5488 w 20000"/>
                  <a:gd name="T67" fmla="*/ 15043 h 20000"/>
                  <a:gd name="T68" fmla="*/ 5699 w 20000"/>
                  <a:gd name="T69" fmla="*/ 14057 h 20000"/>
                  <a:gd name="T70" fmla="*/ 4644 w 20000"/>
                  <a:gd name="T71" fmla="*/ 13012 h 20000"/>
                  <a:gd name="T72" fmla="*/ 1900 w 20000"/>
                  <a:gd name="T73" fmla="*/ 12348 h 20000"/>
                  <a:gd name="T74" fmla="*/ 1055 w 20000"/>
                  <a:gd name="T75" fmla="*/ 10830 h 20000"/>
                  <a:gd name="T76" fmla="*/ 1900 w 20000"/>
                  <a:gd name="T77" fmla="*/ 9060 h 20000"/>
                  <a:gd name="T78" fmla="*/ 2691 w 20000"/>
                  <a:gd name="T79" fmla="*/ 7501 h 20000"/>
                  <a:gd name="T80" fmla="*/ 1900 w 20000"/>
                  <a:gd name="T81" fmla="*/ 5631 h 20000"/>
                  <a:gd name="T82" fmla="*/ 2691 w 20000"/>
                  <a:gd name="T83" fmla="*/ 3539 h 20000"/>
                  <a:gd name="T84" fmla="*/ 2691 w 20000"/>
                  <a:gd name="T85" fmla="*/ 208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00" h="20000">
                    <a:moveTo>
                      <a:pt x="1900" y="422"/>
                    </a:moveTo>
                    <a:lnTo>
                      <a:pt x="2691" y="271"/>
                    </a:lnTo>
                    <a:lnTo>
                      <a:pt x="3536" y="0"/>
                    </a:lnTo>
                    <a:lnTo>
                      <a:pt x="4908" y="312"/>
                    </a:lnTo>
                    <a:lnTo>
                      <a:pt x="6280" y="845"/>
                    </a:lnTo>
                    <a:lnTo>
                      <a:pt x="7124" y="1518"/>
                    </a:lnTo>
                    <a:lnTo>
                      <a:pt x="8179" y="2041"/>
                    </a:lnTo>
                    <a:lnTo>
                      <a:pt x="9024" y="2504"/>
                    </a:lnTo>
                    <a:lnTo>
                      <a:pt x="10660" y="2504"/>
                    </a:lnTo>
                    <a:lnTo>
                      <a:pt x="10343" y="3127"/>
                    </a:lnTo>
                    <a:lnTo>
                      <a:pt x="8179" y="3288"/>
                    </a:lnTo>
                    <a:lnTo>
                      <a:pt x="7652" y="3439"/>
                    </a:lnTo>
                    <a:lnTo>
                      <a:pt x="7652" y="3700"/>
                    </a:lnTo>
                    <a:lnTo>
                      <a:pt x="8179" y="4113"/>
                    </a:lnTo>
                    <a:lnTo>
                      <a:pt x="7652" y="4274"/>
                    </a:lnTo>
                    <a:lnTo>
                      <a:pt x="8496" y="4525"/>
                    </a:lnTo>
                    <a:lnTo>
                      <a:pt x="7652" y="4686"/>
                    </a:lnTo>
                    <a:lnTo>
                      <a:pt x="6807" y="5058"/>
                    </a:lnTo>
                    <a:lnTo>
                      <a:pt x="5488" y="5470"/>
                    </a:lnTo>
                    <a:lnTo>
                      <a:pt x="5488" y="6204"/>
                    </a:lnTo>
                    <a:lnTo>
                      <a:pt x="4908" y="6717"/>
                    </a:lnTo>
                    <a:lnTo>
                      <a:pt x="5699" y="7129"/>
                    </a:lnTo>
                    <a:lnTo>
                      <a:pt x="6280" y="7652"/>
                    </a:lnTo>
                    <a:lnTo>
                      <a:pt x="7124" y="8225"/>
                    </a:lnTo>
                    <a:lnTo>
                      <a:pt x="6280" y="8798"/>
                    </a:lnTo>
                    <a:lnTo>
                      <a:pt x="6807" y="9311"/>
                    </a:lnTo>
                    <a:lnTo>
                      <a:pt x="5488" y="9472"/>
                    </a:lnTo>
                    <a:lnTo>
                      <a:pt x="5488" y="10156"/>
                    </a:lnTo>
                    <a:lnTo>
                      <a:pt x="6807" y="10769"/>
                    </a:lnTo>
                    <a:lnTo>
                      <a:pt x="5699" y="10830"/>
                    </a:lnTo>
                    <a:lnTo>
                      <a:pt x="5488" y="11503"/>
                    </a:lnTo>
                    <a:lnTo>
                      <a:pt x="5488" y="12127"/>
                    </a:lnTo>
                    <a:lnTo>
                      <a:pt x="6807" y="12700"/>
                    </a:lnTo>
                    <a:lnTo>
                      <a:pt x="5699" y="12599"/>
                    </a:lnTo>
                    <a:lnTo>
                      <a:pt x="5699" y="13233"/>
                    </a:lnTo>
                    <a:lnTo>
                      <a:pt x="7124" y="13384"/>
                    </a:lnTo>
                    <a:lnTo>
                      <a:pt x="7652" y="13534"/>
                    </a:lnTo>
                    <a:lnTo>
                      <a:pt x="7652" y="13957"/>
                    </a:lnTo>
                    <a:lnTo>
                      <a:pt x="9024" y="13957"/>
                    </a:lnTo>
                    <a:lnTo>
                      <a:pt x="9024" y="14218"/>
                    </a:lnTo>
                    <a:lnTo>
                      <a:pt x="7652" y="14218"/>
                    </a:lnTo>
                    <a:lnTo>
                      <a:pt x="8496" y="14319"/>
                    </a:lnTo>
                    <a:lnTo>
                      <a:pt x="9024" y="14630"/>
                    </a:lnTo>
                    <a:lnTo>
                      <a:pt x="9024" y="14942"/>
                    </a:lnTo>
                    <a:lnTo>
                      <a:pt x="9024" y="15304"/>
                    </a:lnTo>
                    <a:lnTo>
                      <a:pt x="9024" y="15716"/>
                    </a:lnTo>
                    <a:lnTo>
                      <a:pt x="8496" y="16028"/>
                    </a:lnTo>
                    <a:lnTo>
                      <a:pt x="9024" y="16290"/>
                    </a:lnTo>
                    <a:lnTo>
                      <a:pt x="8496" y="16712"/>
                    </a:lnTo>
                    <a:lnTo>
                      <a:pt x="7124" y="16973"/>
                    </a:lnTo>
                    <a:lnTo>
                      <a:pt x="7652" y="17486"/>
                    </a:lnTo>
                    <a:lnTo>
                      <a:pt x="9024" y="17798"/>
                    </a:lnTo>
                    <a:lnTo>
                      <a:pt x="10660" y="17798"/>
                    </a:lnTo>
                    <a:lnTo>
                      <a:pt x="10660" y="18331"/>
                    </a:lnTo>
                    <a:lnTo>
                      <a:pt x="12823" y="18693"/>
                    </a:lnTo>
                    <a:lnTo>
                      <a:pt x="14987" y="18693"/>
                    </a:lnTo>
                    <a:lnTo>
                      <a:pt x="17784" y="18693"/>
                    </a:lnTo>
                    <a:lnTo>
                      <a:pt x="19947" y="18844"/>
                    </a:lnTo>
                    <a:lnTo>
                      <a:pt x="18311" y="18904"/>
                    </a:lnTo>
                    <a:lnTo>
                      <a:pt x="16412" y="19155"/>
                    </a:lnTo>
                    <a:lnTo>
                      <a:pt x="16095" y="19417"/>
                    </a:lnTo>
                    <a:lnTo>
                      <a:pt x="16095" y="19829"/>
                    </a:lnTo>
                    <a:lnTo>
                      <a:pt x="14987" y="19990"/>
                    </a:lnTo>
                    <a:lnTo>
                      <a:pt x="13931" y="19930"/>
                    </a:lnTo>
                    <a:lnTo>
                      <a:pt x="12823" y="19678"/>
                    </a:lnTo>
                    <a:lnTo>
                      <a:pt x="13931" y="19517"/>
                    </a:lnTo>
                    <a:lnTo>
                      <a:pt x="14987" y="19417"/>
                    </a:lnTo>
                    <a:lnTo>
                      <a:pt x="13931" y="19105"/>
                    </a:lnTo>
                    <a:lnTo>
                      <a:pt x="11451" y="19155"/>
                    </a:lnTo>
                    <a:lnTo>
                      <a:pt x="13351" y="19417"/>
                    </a:lnTo>
                    <a:lnTo>
                      <a:pt x="12612" y="19578"/>
                    </a:lnTo>
                    <a:lnTo>
                      <a:pt x="12612" y="19678"/>
                    </a:lnTo>
                    <a:lnTo>
                      <a:pt x="11187" y="19578"/>
                    </a:lnTo>
                    <a:lnTo>
                      <a:pt x="11451" y="19417"/>
                    </a:lnTo>
                    <a:lnTo>
                      <a:pt x="9815" y="19316"/>
                    </a:lnTo>
                    <a:lnTo>
                      <a:pt x="10343" y="19105"/>
                    </a:lnTo>
                    <a:lnTo>
                      <a:pt x="9288" y="19256"/>
                    </a:lnTo>
                    <a:lnTo>
                      <a:pt x="9288" y="18904"/>
                    </a:lnTo>
                    <a:lnTo>
                      <a:pt x="11187" y="18904"/>
                    </a:lnTo>
                    <a:lnTo>
                      <a:pt x="11187" y="18693"/>
                    </a:lnTo>
                    <a:lnTo>
                      <a:pt x="9815" y="18592"/>
                    </a:lnTo>
                    <a:lnTo>
                      <a:pt x="9288" y="18743"/>
                    </a:lnTo>
                    <a:lnTo>
                      <a:pt x="8179" y="18472"/>
                    </a:lnTo>
                    <a:lnTo>
                      <a:pt x="7124" y="18059"/>
                    </a:lnTo>
                    <a:lnTo>
                      <a:pt x="7124" y="18019"/>
                    </a:lnTo>
                    <a:lnTo>
                      <a:pt x="5488" y="17647"/>
                    </a:lnTo>
                    <a:lnTo>
                      <a:pt x="6280" y="17597"/>
                    </a:lnTo>
                    <a:lnTo>
                      <a:pt x="5699" y="17335"/>
                    </a:lnTo>
                    <a:lnTo>
                      <a:pt x="6807" y="17335"/>
                    </a:lnTo>
                    <a:lnTo>
                      <a:pt x="5488" y="17134"/>
                    </a:lnTo>
                    <a:lnTo>
                      <a:pt x="4908" y="16662"/>
                    </a:lnTo>
                    <a:lnTo>
                      <a:pt x="4908" y="16400"/>
                    </a:lnTo>
                    <a:lnTo>
                      <a:pt x="6807" y="16400"/>
                    </a:lnTo>
                    <a:lnTo>
                      <a:pt x="5488" y="16028"/>
                    </a:lnTo>
                    <a:lnTo>
                      <a:pt x="3536" y="16028"/>
                    </a:lnTo>
                    <a:lnTo>
                      <a:pt x="4644" y="15716"/>
                    </a:lnTo>
                    <a:lnTo>
                      <a:pt x="1900" y="15455"/>
                    </a:lnTo>
                    <a:lnTo>
                      <a:pt x="1055" y="15556"/>
                    </a:lnTo>
                    <a:lnTo>
                      <a:pt x="1372" y="15043"/>
                    </a:lnTo>
                    <a:lnTo>
                      <a:pt x="3536" y="15043"/>
                    </a:lnTo>
                    <a:lnTo>
                      <a:pt x="4644" y="15455"/>
                    </a:lnTo>
                    <a:lnTo>
                      <a:pt x="5488" y="15043"/>
                    </a:lnTo>
                    <a:lnTo>
                      <a:pt x="4644" y="14470"/>
                    </a:lnTo>
                    <a:lnTo>
                      <a:pt x="4908" y="14369"/>
                    </a:lnTo>
                    <a:lnTo>
                      <a:pt x="5699" y="14057"/>
                    </a:lnTo>
                    <a:lnTo>
                      <a:pt x="4644" y="13957"/>
                    </a:lnTo>
                    <a:lnTo>
                      <a:pt x="4644" y="13645"/>
                    </a:lnTo>
                    <a:lnTo>
                      <a:pt x="4644" y="13012"/>
                    </a:lnTo>
                    <a:lnTo>
                      <a:pt x="4644" y="12448"/>
                    </a:lnTo>
                    <a:lnTo>
                      <a:pt x="2691" y="12448"/>
                    </a:lnTo>
                    <a:lnTo>
                      <a:pt x="1900" y="12348"/>
                    </a:lnTo>
                    <a:lnTo>
                      <a:pt x="1372" y="11926"/>
                    </a:lnTo>
                    <a:lnTo>
                      <a:pt x="1900" y="11453"/>
                    </a:lnTo>
                    <a:lnTo>
                      <a:pt x="1055" y="10830"/>
                    </a:lnTo>
                    <a:lnTo>
                      <a:pt x="0" y="10106"/>
                    </a:lnTo>
                    <a:lnTo>
                      <a:pt x="1055" y="9744"/>
                    </a:lnTo>
                    <a:lnTo>
                      <a:pt x="1900" y="9060"/>
                    </a:lnTo>
                    <a:lnTo>
                      <a:pt x="2691" y="8326"/>
                    </a:lnTo>
                    <a:lnTo>
                      <a:pt x="2691" y="7712"/>
                    </a:lnTo>
                    <a:lnTo>
                      <a:pt x="2691" y="7501"/>
                    </a:lnTo>
                    <a:lnTo>
                      <a:pt x="1900" y="6828"/>
                    </a:lnTo>
                    <a:lnTo>
                      <a:pt x="1900" y="6305"/>
                    </a:lnTo>
                    <a:lnTo>
                      <a:pt x="1900" y="5631"/>
                    </a:lnTo>
                    <a:lnTo>
                      <a:pt x="2480" y="4897"/>
                    </a:lnTo>
                    <a:lnTo>
                      <a:pt x="2691" y="4213"/>
                    </a:lnTo>
                    <a:lnTo>
                      <a:pt x="2691" y="3539"/>
                    </a:lnTo>
                    <a:lnTo>
                      <a:pt x="2480" y="2866"/>
                    </a:lnTo>
                    <a:lnTo>
                      <a:pt x="2691" y="2614"/>
                    </a:lnTo>
                    <a:lnTo>
                      <a:pt x="2691" y="2081"/>
                    </a:lnTo>
                    <a:lnTo>
                      <a:pt x="2691" y="1156"/>
                    </a:lnTo>
                    <a:lnTo>
                      <a:pt x="1900" y="42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3" name="Freeform 76"/>
              <p:cNvSpPr>
                <a:spLocks/>
              </p:cNvSpPr>
              <p:nvPr/>
            </p:nvSpPr>
            <p:spPr bwMode="auto">
              <a:xfrm>
                <a:off x="3175000" y="6153150"/>
                <a:ext cx="84138" cy="96838"/>
              </a:xfrm>
              <a:custGeom>
                <a:avLst/>
                <a:gdLst>
                  <a:gd name="T0" fmla="*/ 14242 w 20000"/>
                  <a:gd name="T1" fmla="*/ 0 h 20000"/>
                  <a:gd name="T2" fmla="*/ 16667 w 20000"/>
                  <a:gd name="T3" fmla="*/ 9605 h 20000"/>
                  <a:gd name="T4" fmla="*/ 19848 w 20000"/>
                  <a:gd name="T5" fmla="*/ 18421 h 20000"/>
                  <a:gd name="T6" fmla="*/ 11818 w 20000"/>
                  <a:gd name="T7" fmla="*/ 19868 h 20000"/>
                  <a:gd name="T8" fmla="*/ 0 w 20000"/>
                  <a:gd name="T9" fmla="*/ 16447 h 20000"/>
                  <a:gd name="T10" fmla="*/ 15758 w 20000"/>
                  <a:gd name="T11" fmla="*/ 15000 h 20000"/>
                  <a:gd name="T12" fmla="*/ 9545 w 20000"/>
                  <a:gd name="T13" fmla="*/ 9605 h 20000"/>
                  <a:gd name="T14" fmla="*/ 11818 w 20000"/>
                  <a:gd name="T15" fmla="*/ 6184 h 20000"/>
                  <a:gd name="T16" fmla="*/ 6515 w 20000"/>
                  <a:gd name="T17" fmla="*/ 7500 h 20000"/>
                  <a:gd name="T18" fmla="*/ 6515 w 20000"/>
                  <a:gd name="T19" fmla="*/ 2105 h 20000"/>
                  <a:gd name="T20" fmla="*/ 9545 w 20000"/>
                  <a:gd name="T21" fmla="*/ 0 h 20000"/>
                  <a:gd name="T22" fmla="*/ 14242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4242" y="0"/>
                    </a:moveTo>
                    <a:lnTo>
                      <a:pt x="16667" y="9605"/>
                    </a:lnTo>
                    <a:lnTo>
                      <a:pt x="19848" y="18421"/>
                    </a:lnTo>
                    <a:lnTo>
                      <a:pt x="11818" y="19868"/>
                    </a:lnTo>
                    <a:lnTo>
                      <a:pt x="0" y="16447"/>
                    </a:lnTo>
                    <a:lnTo>
                      <a:pt x="15758" y="15000"/>
                    </a:lnTo>
                    <a:lnTo>
                      <a:pt x="9545" y="9605"/>
                    </a:lnTo>
                    <a:lnTo>
                      <a:pt x="11818" y="6184"/>
                    </a:lnTo>
                    <a:lnTo>
                      <a:pt x="6515" y="7500"/>
                    </a:lnTo>
                    <a:lnTo>
                      <a:pt x="6515" y="2105"/>
                    </a:lnTo>
                    <a:lnTo>
                      <a:pt x="9545" y="0"/>
                    </a:lnTo>
                    <a:lnTo>
                      <a:pt x="14242"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4" name="Freeform 75"/>
              <p:cNvSpPr>
                <a:spLocks/>
              </p:cNvSpPr>
              <p:nvPr/>
            </p:nvSpPr>
            <p:spPr bwMode="auto">
              <a:xfrm>
                <a:off x="2565400" y="4111625"/>
                <a:ext cx="98425" cy="96838"/>
              </a:xfrm>
              <a:custGeom>
                <a:avLst/>
                <a:gdLst>
                  <a:gd name="T0" fmla="*/ 769 w 20000"/>
                  <a:gd name="T1" fmla="*/ 0 h 20000"/>
                  <a:gd name="T2" fmla="*/ 2564 w 20000"/>
                  <a:gd name="T3" fmla="*/ 0 h 20000"/>
                  <a:gd name="T4" fmla="*/ 5256 w 20000"/>
                  <a:gd name="T5" fmla="*/ 0 h 20000"/>
                  <a:gd name="T6" fmla="*/ 7308 w 20000"/>
                  <a:gd name="T7" fmla="*/ 0 h 20000"/>
                  <a:gd name="T8" fmla="*/ 10513 w 20000"/>
                  <a:gd name="T9" fmla="*/ 2105 h 20000"/>
                  <a:gd name="T10" fmla="*/ 13846 w 20000"/>
                  <a:gd name="T11" fmla="*/ 2105 h 20000"/>
                  <a:gd name="T12" fmla="*/ 15897 w 20000"/>
                  <a:gd name="T13" fmla="*/ 5526 h 20000"/>
                  <a:gd name="T14" fmla="*/ 16538 w 20000"/>
                  <a:gd name="T15" fmla="*/ 7500 h 20000"/>
                  <a:gd name="T16" fmla="*/ 19231 w 20000"/>
                  <a:gd name="T17" fmla="*/ 8947 h 20000"/>
                  <a:gd name="T18" fmla="*/ 19872 w 20000"/>
                  <a:gd name="T19" fmla="*/ 10263 h 20000"/>
                  <a:gd name="T20" fmla="*/ 17821 w 20000"/>
                  <a:gd name="T21" fmla="*/ 10263 h 20000"/>
                  <a:gd name="T22" fmla="*/ 16538 w 20000"/>
                  <a:gd name="T23" fmla="*/ 14474 h 20000"/>
                  <a:gd name="T24" fmla="*/ 16538 w 20000"/>
                  <a:gd name="T25" fmla="*/ 15789 h 20000"/>
                  <a:gd name="T26" fmla="*/ 17821 w 20000"/>
                  <a:gd name="T27" fmla="*/ 17763 h 20000"/>
                  <a:gd name="T28" fmla="*/ 16538 w 20000"/>
                  <a:gd name="T29" fmla="*/ 19868 h 20000"/>
                  <a:gd name="T30" fmla="*/ 15897 w 20000"/>
                  <a:gd name="T31" fmla="*/ 19079 h 20000"/>
                  <a:gd name="T32" fmla="*/ 14615 w 20000"/>
                  <a:gd name="T33" fmla="*/ 15789 h 20000"/>
                  <a:gd name="T34" fmla="*/ 13846 w 20000"/>
                  <a:gd name="T35" fmla="*/ 16447 h 20000"/>
                  <a:gd name="T36" fmla="*/ 12564 w 20000"/>
                  <a:gd name="T37" fmla="*/ 15789 h 20000"/>
                  <a:gd name="T38" fmla="*/ 12564 w 20000"/>
                  <a:gd name="T39" fmla="*/ 12368 h 20000"/>
                  <a:gd name="T40" fmla="*/ 7949 w 20000"/>
                  <a:gd name="T41" fmla="*/ 10263 h 20000"/>
                  <a:gd name="T42" fmla="*/ 3974 w 20000"/>
                  <a:gd name="T43" fmla="*/ 5526 h 20000"/>
                  <a:gd name="T44" fmla="*/ 5256 w 20000"/>
                  <a:gd name="T45" fmla="*/ 8947 h 20000"/>
                  <a:gd name="T46" fmla="*/ 0 w 20000"/>
                  <a:gd name="T47" fmla="*/ 5526 h 20000"/>
                  <a:gd name="T48" fmla="*/ 769 w 20000"/>
                  <a:gd name="T49" fmla="*/ 3553 h 20000"/>
                  <a:gd name="T50" fmla="*/ 769 w 20000"/>
                  <a:gd name="T5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769" y="0"/>
                    </a:moveTo>
                    <a:lnTo>
                      <a:pt x="2564" y="0"/>
                    </a:lnTo>
                    <a:lnTo>
                      <a:pt x="5256" y="0"/>
                    </a:lnTo>
                    <a:lnTo>
                      <a:pt x="7308" y="0"/>
                    </a:lnTo>
                    <a:lnTo>
                      <a:pt x="10513" y="2105"/>
                    </a:lnTo>
                    <a:lnTo>
                      <a:pt x="13846" y="2105"/>
                    </a:lnTo>
                    <a:lnTo>
                      <a:pt x="15897" y="5526"/>
                    </a:lnTo>
                    <a:lnTo>
                      <a:pt x="16538" y="7500"/>
                    </a:lnTo>
                    <a:lnTo>
                      <a:pt x="19231" y="8947"/>
                    </a:lnTo>
                    <a:lnTo>
                      <a:pt x="19872" y="10263"/>
                    </a:lnTo>
                    <a:lnTo>
                      <a:pt x="17821" y="10263"/>
                    </a:lnTo>
                    <a:lnTo>
                      <a:pt x="16538" y="14474"/>
                    </a:lnTo>
                    <a:lnTo>
                      <a:pt x="16538" y="15789"/>
                    </a:lnTo>
                    <a:lnTo>
                      <a:pt x="17821" y="17763"/>
                    </a:lnTo>
                    <a:lnTo>
                      <a:pt x="16538" y="19868"/>
                    </a:lnTo>
                    <a:lnTo>
                      <a:pt x="15897" y="19079"/>
                    </a:lnTo>
                    <a:lnTo>
                      <a:pt x="14615" y="15789"/>
                    </a:lnTo>
                    <a:lnTo>
                      <a:pt x="13846" y="16447"/>
                    </a:lnTo>
                    <a:lnTo>
                      <a:pt x="12564" y="15789"/>
                    </a:lnTo>
                    <a:lnTo>
                      <a:pt x="12564" y="12368"/>
                    </a:lnTo>
                    <a:lnTo>
                      <a:pt x="7949" y="10263"/>
                    </a:lnTo>
                    <a:lnTo>
                      <a:pt x="3974" y="5526"/>
                    </a:lnTo>
                    <a:lnTo>
                      <a:pt x="5256" y="8947"/>
                    </a:lnTo>
                    <a:lnTo>
                      <a:pt x="0" y="5526"/>
                    </a:lnTo>
                    <a:lnTo>
                      <a:pt x="769" y="3553"/>
                    </a:lnTo>
                    <a:lnTo>
                      <a:pt x="76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5" name="Freeform 74"/>
              <p:cNvSpPr>
                <a:spLocks/>
              </p:cNvSpPr>
              <p:nvPr/>
            </p:nvSpPr>
            <p:spPr bwMode="auto">
              <a:xfrm>
                <a:off x="2979738" y="3863975"/>
                <a:ext cx="100012" cy="66675"/>
              </a:xfrm>
              <a:custGeom>
                <a:avLst/>
                <a:gdLst>
                  <a:gd name="T0" fmla="*/ 0 w 20000"/>
                  <a:gd name="T1" fmla="*/ 14808 h 20000"/>
                  <a:gd name="T2" fmla="*/ 0 w 20000"/>
                  <a:gd name="T3" fmla="*/ 7885 h 20000"/>
                  <a:gd name="T4" fmla="*/ 0 w 20000"/>
                  <a:gd name="T5" fmla="*/ 0 h 20000"/>
                  <a:gd name="T6" fmla="*/ 764 w 20000"/>
                  <a:gd name="T7" fmla="*/ 0 h 20000"/>
                  <a:gd name="T8" fmla="*/ 5223 w 20000"/>
                  <a:gd name="T9" fmla="*/ 0 h 20000"/>
                  <a:gd name="T10" fmla="*/ 10701 w 20000"/>
                  <a:gd name="T11" fmla="*/ 1923 h 20000"/>
                  <a:gd name="T12" fmla="*/ 12611 w 20000"/>
                  <a:gd name="T13" fmla="*/ 5000 h 20000"/>
                  <a:gd name="T14" fmla="*/ 19873 w 20000"/>
                  <a:gd name="T15" fmla="*/ 7885 h 20000"/>
                  <a:gd name="T16" fmla="*/ 17834 w 20000"/>
                  <a:gd name="T17" fmla="*/ 12885 h 20000"/>
                  <a:gd name="T18" fmla="*/ 9172 w 20000"/>
                  <a:gd name="T19" fmla="*/ 12885 h 20000"/>
                  <a:gd name="T20" fmla="*/ 5987 w 20000"/>
                  <a:gd name="T21" fmla="*/ 12885 h 20000"/>
                  <a:gd name="T22" fmla="*/ 2038 w 20000"/>
                  <a:gd name="T23" fmla="*/ 19808 h 20000"/>
                  <a:gd name="T24" fmla="*/ 0 w 20000"/>
                  <a:gd name="T25" fmla="*/ 148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0" y="14808"/>
                    </a:moveTo>
                    <a:lnTo>
                      <a:pt x="0" y="7885"/>
                    </a:lnTo>
                    <a:lnTo>
                      <a:pt x="0" y="0"/>
                    </a:lnTo>
                    <a:lnTo>
                      <a:pt x="764" y="0"/>
                    </a:lnTo>
                    <a:lnTo>
                      <a:pt x="5223" y="0"/>
                    </a:lnTo>
                    <a:lnTo>
                      <a:pt x="10701" y="1923"/>
                    </a:lnTo>
                    <a:lnTo>
                      <a:pt x="12611" y="5000"/>
                    </a:lnTo>
                    <a:lnTo>
                      <a:pt x="19873" y="7885"/>
                    </a:lnTo>
                    <a:lnTo>
                      <a:pt x="17834" y="12885"/>
                    </a:lnTo>
                    <a:lnTo>
                      <a:pt x="9172" y="12885"/>
                    </a:lnTo>
                    <a:lnTo>
                      <a:pt x="5987" y="12885"/>
                    </a:lnTo>
                    <a:lnTo>
                      <a:pt x="2038" y="19808"/>
                    </a:lnTo>
                    <a:lnTo>
                      <a:pt x="0" y="148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6" name="Freeform 73"/>
              <p:cNvSpPr>
                <a:spLocks/>
              </p:cNvSpPr>
              <p:nvPr/>
            </p:nvSpPr>
            <p:spPr bwMode="auto">
              <a:xfrm>
                <a:off x="2698750" y="4395788"/>
                <a:ext cx="165100" cy="180975"/>
              </a:xfrm>
              <a:custGeom>
                <a:avLst/>
                <a:gdLst>
                  <a:gd name="T0" fmla="*/ 7538 w 20000"/>
                  <a:gd name="T1" fmla="*/ 0 h 20000"/>
                  <a:gd name="T2" fmla="*/ 11538 w 20000"/>
                  <a:gd name="T3" fmla="*/ 1825 h 20000"/>
                  <a:gd name="T4" fmla="*/ 13538 w 20000"/>
                  <a:gd name="T5" fmla="*/ 3228 h 20000"/>
                  <a:gd name="T6" fmla="*/ 16000 w 20000"/>
                  <a:gd name="T7" fmla="*/ 3228 h 20000"/>
                  <a:gd name="T8" fmla="*/ 17923 w 20000"/>
                  <a:gd name="T9" fmla="*/ 4000 h 20000"/>
                  <a:gd name="T10" fmla="*/ 19923 w 20000"/>
                  <a:gd name="T11" fmla="*/ 6877 h 20000"/>
                  <a:gd name="T12" fmla="*/ 17923 w 20000"/>
                  <a:gd name="T13" fmla="*/ 9404 h 20000"/>
                  <a:gd name="T14" fmla="*/ 14769 w 20000"/>
                  <a:gd name="T15" fmla="*/ 12632 h 20000"/>
                  <a:gd name="T16" fmla="*/ 10692 w 20000"/>
                  <a:gd name="T17" fmla="*/ 14175 h 20000"/>
                  <a:gd name="T18" fmla="*/ 8308 w 20000"/>
                  <a:gd name="T19" fmla="*/ 17053 h 20000"/>
                  <a:gd name="T20" fmla="*/ 7154 w 20000"/>
                  <a:gd name="T21" fmla="*/ 19930 h 20000"/>
                  <a:gd name="T22" fmla="*/ 4385 w 20000"/>
                  <a:gd name="T23" fmla="*/ 18456 h 20000"/>
                  <a:gd name="T24" fmla="*/ 2385 w 20000"/>
                  <a:gd name="T25" fmla="*/ 18105 h 20000"/>
                  <a:gd name="T26" fmla="*/ 3154 w 20000"/>
                  <a:gd name="T27" fmla="*/ 15228 h 20000"/>
                  <a:gd name="T28" fmla="*/ 3923 w 20000"/>
                  <a:gd name="T29" fmla="*/ 15228 h 20000"/>
                  <a:gd name="T30" fmla="*/ 4385 w 20000"/>
                  <a:gd name="T31" fmla="*/ 12632 h 20000"/>
                  <a:gd name="T32" fmla="*/ 3923 w 20000"/>
                  <a:gd name="T33" fmla="*/ 11579 h 20000"/>
                  <a:gd name="T34" fmla="*/ 2385 w 20000"/>
                  <a:gd name="T35" fmla="*/ 12632 h 20000"/>
                  <a:gd name="T36" fmla="*/ 0 w 20000"/>
                  <a:gd name="T37" fmla="*/ 11579 h 20000"/>
                  <a:gd name="T38" fmla="*/ 1231 w 20000"/>
                  <a:gd name="T39" fmla="*/ 10456 h 20000"/>
                  <a:gd name="T40" fmla="*/ 769 w 20000"/>
                  <a:gd name="T41" fmla="*/ 7579 h 20000"/>
                  <a:gd name="T42" fmla="*/ 2000 w 20000"/>
                  <a:gd name="T43" fmla="*/ 6877 h 20000"/>
                  <a:gd name="T44" fmla="*/ 2000 w 20000"/>
                  <a:gd name="T45" fmla="*/ 5754 h 20000"/>
                  <a:gd name="T46" fmla="*/ 3154 w 20000"/>
                  <a:gd name="T47" fmla="*/ 4000 h 20000"/>
                  <a:gd name="T48" fmla="*/ 3154 w 20000"/>
                  <a:gd name="T49" fmla="*/ 2105 h 20000"/>
                  <a:gd name="T50" fmla="*/ 4385 w 20000"/>
                  <a:gd name="T51" fmla="*/ 1825 h 20000"/>
                  <a:gd name="T52" fmla="*/ 7538 w 20000"/>
                  <a:gd name="T5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7538" y="0"/>
                    </a:moveTo>
                    <a:lnTo>
                      <a:pt x="11538" y="1825"/>
                    </a:lnTo>
                    <a:lnTo>
                      <a:pt x="13538" y="3228"/>
                    </a:lnTo>
                    <a:lnTo>
                      <a:pt x="16000" y="3228"/>
                    </a:lnTo>
                    <a:lnTo>
                      <a:pt x="17923" y="4000"/>
                    </a:lnTo>
                    <a:lnTo>
                      <a:pt x="19923" y="6877"/>
                    </a:lnTo>
                    <a:lnTo>
                      <a:pt x="17923" y="9404"/>
                    </a:lnTo>
                    <a:lnTo>
                      <a:pt x="14769" y="12632"/>
                    </a:lnTo>
                    <a:lnTo>
                      <a:pt x="10692" y="14175"/>
                    </a:lnTo>
                    <a:lnTo>
                      <a:pt x="8308" y="17053"/>
                    </a:lnTo>
                    <a:lnTo>
                      <a:pt x="7154" y="19930"/>
                    </a:lnTo>
                    <a:lnTo>
                      <a:pt x="4385" y="18456"/>
                    </a:lnTo>
                    <a:lnTo>
                      <a:pt x="2385" y="18105"/>
                    </a:lnTo>
                    <a:lnTo>
                      <a:pt x="3154" y="15228"/>
                    </a:lnTo>
                    <a:lnTo>
                      <a:pt x="3923" y="15228"/>
                    </a:lnTo>
                    <a:lnTo>
                      <a:pt x="4385" y="12632"/>
                    </a:lnTo>
                    <a:lnTo>
                      <a:pt x="3923" y="11579"/>
                    </a:lnTo>
                    <a:lnTo>
                      <a:pt x="2385" y="12632"/>
                    </a:lnTo>
                    <a:lnTo>
                      <a:pt x="0" y="11579"/>
                    </a:lnTo>
                    <a:lnTo>
                      <a:pt x="1231" y="10456"/>
                    </a:lnTo>
                    <a:lnTo>
                      <a:pt x="769" y="7579"/>
                    </a:lnTo>
                    <a:lnTo>
                      <a:pt x="2000" y="6877"/>
                    </a:lnTo>
                    <a:lnTo>
                      <a:pt x="2000" y="5754"/>
                    </a:lnTo>
                    <a:lnTo>
                      <a:pt x="3154" y="4000"/>
                    </a:lnTo>
                    <a:lnTo>
                      <a:pt x="3154" y="2105"/>
                    </a:lnTo>
                    <a:lnTo>
                      <a:pt x="4385" y="1825"/>
                    </a:lnTo>
                    <a:lnTo>
                      <a:pt x="7538"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7" name="Freeform 72"/>
              <p:cNvSpPr>
                <a:spLocks/>
              </p:cNvSpPr>
              <p:nvPr/>
            </p:nvSpPr>
            <p:spPr bwMode="auto">
              <a:xfrm>
                <a:off x="2393950" y="3911600"/>
                <a:ext cx="106363" cy="122238"/>
              </a:xfrm>
              <a:custGeom>
                <a:avLst/>
                <a:gdLst>
                  <a:gd name="T0" fmla="*/ 17964 w 20000"/>
                  <a:gd name="T1" fmla="*/ 0 h 20000"/>
                  <a:gd name="T2" fmla="*/ 16766 w 20000"/>
                  <a:gd name="T3" fmla="*/ 8601 h 20000"/>
                  <a:gd name="T4" fmla="*/ 17964 w 20000"/>
                  <a:gd name="T5" fmla="*/ 9741 h 20000"/>
                  <a:gd name="T6" fmla="*/ 19162 w 20000"/>
                  <a:gd name="T7" fmla="*/ 10155 h 20000"/>
                  <a:gd name="T8" fmla="*/ 19880 w 20000"/>
                  <a:gd name="T9" fmla="*/ 10155 h 20000"/>
                  <a:gd name="T10" fmla="*/ 19880 w 20000"/>
                  <a:gd name="T11" fmla="*/ 11813 h 20000"/>
                  <a:gd name="T12" fmla="*/ 16766 w 20000"/>
                  <a:gd name="T13" fmla="*/ 12953 h 20000"/>
                  <a:gd name="T14" fmla="*/ 16766 w 20000"/>
                  <a:gd name="T15" fmla="*/ 14611 h 20000"/>
                  <a:gd name="T16" fmla="*/ 16168 w 20000"/>
                  <a:gd name="T17" fmla="*/ 16062 h 20000"/>
                  <a:gd name="T18" fmla="*/ 14970 w 20000"/>
                  <a:gd name="T19" fmla="*/ 16062 h 20000"/>
                  <a:gd name="T20" fmla="*/ 13772 w 20000"/>
                  <a:gd name="T21" fmla="*/ 18238 h 20000"/>
                  <a:gd name="T22" fmla="*/ 11856 w 20000"/>
                  <a:gd name="T23" fmla="*/ 19896 h 20000"/>
                  <a:gd name="T24" fmla="*/ 4910 w 20000"/>
                  <a:gd name="T25" fmla="*/ 18860 h 20000"/>
                  <a:gd name="T26" fmla="*/ 0 w 20000"/>
                  <a:gd name="T27" fmla="*/ 15648 h 20000"/>
                  <a:gd name="T28" fmla="*/ 1916 w 20000"/>
                  <a:gd name="T29" fmla="*/ 13990 h 20000"/>
                  <a:gd name="T30" fmla="*/ 719 w 20000"/>
                  <a:gd name="T31" fmla="*/ 11813 h 20000"/>
                  <a:gd name="T32" fmla="*/ 3713 w 20000"/>
                  <a:gd name="T33" fmla="*/ 8601 h 20000"/>
                  <a:gd name="T34" fmla="*/ 10060 w 20000"/>
                  <a:gd name="T35" fmla="*/ 8601 h 20000"/>
                  <a:gd name="T36" fmla="*/ 11257 w 20000"/>
                  <a:gd name="T37" fmla="*/ 7047 h 20000"/>
                  <a:gd name="T38" fmla="*/ 6826 w 20000"/>
                  <a:gd name="T39" fmla="*/ 3212 h 20000"/>
                  <a:gd name="T40" fmla="*/ 8623 w 20000"/>
                  <a:gd name="T41" fmla="*/ 0 h 20000"/>
                  <a:gd name="T42" fmla="*/ 17964 w 20000"/>
                  <a:gd name="T4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17964" y="0"/>
                    </a:moveTo>
                    <a:lnTo>
                      <a:pt x="16766" y="8601"/>
                    </a:lnTo>
                    <a:lnTo>
                      <a:pt x="17964" y="9741"/>
                    </a:lnTo>
                    <a:lnTo>
                      <a:pt x="19162" y="10155"/>
                    </a:lnTo>
                    <a:lnTo>
                      <a:pt x="19880" y="10155"/>
                    </a:lnTo>
                    <a:lnTo>
                      <a:pt x="19880" y="11813"/>
                    </a:lnTo>
                    <a:lnTo>
                      <a:pt x="16766" y="12953"/>
                    </a:lnTo>
                    <a:lnTo>
                      <a:pt x="16766" y="14611"/>
                    </a:lnTo>
                    <a:lnTo>
                      <a:pt x="16168" y="16062"/>
                    </a:lnTo>
                    <a:lnTo>
                      <a:pt x="14970" y="16062"/>
                    </a:lnTo>
                    <a:lnTo>
                      <a:pt x="13772" y="18238"/>
                    </a:lnTo>
                    <a:lnTo>
                      <a:pt x="11856" y="19896"/>
                    </a:lnTo>
                    <a:lnTo>
                      <a:pt x="4910" y="18860"/>
                    </a:lnTo>
                    <a:lnTo>
                      <a:pt x="0" y="15648"/>
                    </a:lnTo>
                    <a:lnTo>
                      <a:pt x="1916" y="13990"/>
                    </a:lnTo>
                    <a:lnTo>
                      <a:pt x="719" y="11813"/>
                    </a:lnTo>
                    <a:lnTo>
                      <a:pt x="3713" y="8601"/>
                    </a:lnTo>
                    <a:lnTo>
                      <a:pt x="10060" y="8601"/>
                    </a:lnTo>
                    <a:lnTo>
                      <a:pt x="11257" y="7047"/>
                    </a:lnTo>
                    <a:lnTo>
                      <a:pt x="6826" y="3212"/>
                    </a:lnTo>
                    <a:lnTo>
                      <a:pt x="8623" y="0"/>
                    </a:lnTo>
                    <a:lnTo>
                      <a:pt x="17964"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8" name="Freeform 71"/>
              <p:cNvSpPr>
                <a:spLocks/>
              </p:cNvSpPr>
              <p:nvPr/>
            </p:nvSpPr>
            <p:spPr bwMode="auto">
              <a:xfrm>
                <a:off x="3257550" y="4203700"/>
                <a:ext cx="131763" cy="195263"/>
              </a:xfrm>
              <a:custGeom>
                <a:avLst/>
                <a:gdLst>
                  <a:gd name="T0" fmla="*/ 6957 w 20000"/>
                  <a:gd name="T1" fmla="*/ 0 h 20000"/>
                  <a:gd name="T2" fmla="*/ 12947 w 20000"/>
                  <a:gd name="T3" fmla="*/ 2671 h 20000"/>
                  <a:gd name="T4" fmla="*/ 11014 w 20000"/>
                  <a:gd name="T5" fmla="*/ 5472 h 20000"/>
                  <a:gd name="T6" fmla="*/ 13430 w 20000"/>
                  <a:gd name="T7" fmla="*/ 4430 h 20000"/>
                  <a:gd name="T8" fmla="*/ 18357 w 20000"/>
                  <a:gd name="T9" fmla="*/ 6450 h 20000"/>
                  <a:gd name="T10" fmla="*/ 17391 w 20000"/>
                  <a:gd name="T11" fmla="*/ 9186 h 20000"/>
                  <a:gd name="T12" fmla="*/ 14396 w 20000"/>
                  <a:gd name="T13" fmla="*/ 10163 h 20000"/>
                  <a:gd name="T14" fmla="*/ 13430 w 20000"/>
                  <a:gd name="T15" fmla="*/ 12508 h 20000"/>
                  <a:gd name="T16" fmla="*/ 17391 w 20000"/>
                  <a:gd name="T17" fmla="*/ 14202 h 20000"/>
                  <a:gd name="T18" fmla="*/ 19903 w 20000"/>
                  <a:gd name="T19" fmla="*/ 18632 h 20000"/>
                  <a:gd name="T20" fmla="*/ 16908 w 20000"/>
                  <a:gd name="T21" fmla="*/ 18893 h 20000"/>
                  <a:gd name="T22" fmla="*/ 11981 w 20000"/>
                  <a:gd name="T23" fmla="*/ 19935 h 20000"/>
                  <a:gd name="T24" fmla="*/ 6957 w 20000"/>
                  <a:gd name="T25" fmla="*/ 18893 h 20000"/>
                  <a:gd name="T26" fmla="*/ 5507 w 20000"/>
                  <a:gd name="T27" fmla="*/ 16221 h 20000"/>
                  <a:gd name="T28" fmla="*/ 6957 w 20000"/>
                  <a:gd name="T29" fmla="*/ 12508 h 20000"/>
                  <a:gd name="T30" fmla="*/ 5507 w 20000"/>
                  <a:gd name="T31" fmla="*/ 10814 h 20000"/>
                  <a:gd name="T32" fmla="*/ 4444 w 20000"/>
                  <a:gd name="T33" fmla="*/ 8404 h 20000"/>
                  <a:gd name="T34" fmla="*/ 2899 w 20000"/>
                  <a:gd name="T35" fmla="*/ 9186 h 20000"/>
                  <a:gd name="T36" fmla="*/ 0 w 20000"/>
                  <a:gd name="T37" fmla="*/ 7101 h 20000"/>
                  <a:gd name="T38" fmla="*/ 1353 w 20000"/>
                  <a:gd name="T39" fmla="*/ 5472 h 20000"/>
                  <a:gd name="T40" fmla="*/ 1353 w 20000"/>
                  <a:gd name="T41" fmla="*/ 4430 h 20000"/>
                  <a:gd name="T42" fmla="*/ 4444 w 20000"/>
                  <a:gd name="T43" fmla="*/ 3713 h 20000"/>
                  <a:gd name="T44" fmla="*/ 2899 w 20000"/>
                  <a:gd name="T45" fmla="*/ 2020 h 20000"/>
                  <a:gd name="T46" fmla="*/ 6957 w 20000"/>
                  <a:gd name="T4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00" h="20000">
                    <a:moveTo>
                      <a:pt x="6957" y="0"/>
                    </a:moveTo>
                    <a:lnTo>
                      <a:pt x="12947" y="2671"/>
                    </a:lnTo>
                    <a:lnTo>
                      <a:pt x="11014" y="5472"/>
                    </a:lnTo>
                    <a:lnTo>
                      <a:pt x="13430" y="4430"/>
                    </a:lnTo>
                    <a:lnTo>
                      <a:pt x="18357" y="6450"/>
                    </a:lnTo>
                    <a:lnTo>
                      <a:pt x="17391" y="9186"/>
                    </a:lnTo>
                    <a:lnTo>
                      <a:pt x="14396" y="10163"/>
                    </a:lnTo>
                    <a:lnTo>
                      <a:pt x="13430" y="12508"/>
                    </a:lnTo>
                    <a:lnTo>
                      <a:pt x="17391" y="14202"/>
                    </a:lnTo>
                    <a:lnTo>
                      <a:pt x="19903" y="18632"/>
                    </a:lnTo>
                    <a:lnTo>
                      <a:pt x="16908" y="18893"/>
                    </a:lnTo>
                    <a:lnTo>
                      <a:pt x="11981" y="19935"/>
                    </a:lnTo>
                    <a:lnTo>
                      <a:pt x="6957" y="18893"/>
                    </a:lnTo>
                    <a:lnTo>
                      <a:pt x="5507" y="16221"/>
                    </a:lnTo>
                    <a:lnTo>
                      <a:pt x="6957" y="12508"/>
                    </a:lnTo>
                    <a:lnTo>
                      <a:pt x="5507" y="10814"/>
                    </a:lnTo>
                    <a:lnTo>
                      <a:pt x="4444" y="8404"/>
                    </a:lnTo>
                    <a:lnTo>
                      <a:pt x="2899" y="9186"/>
                    </a:lnTo>
                    <a:lnTo>
                      <a:pt x="0" y="7101"/>
                    </a:lnTo>
                    <a:lnTo>
                      <a:pt x="1353" y="5472"/>
                    </a:lnTo>
                    <a:lnTo>
                      <a:pt x="1353" y="4430"/>
                    </a:lnTo>
                    <a:lnTo>
                      <a:pt x="4444" y="3713"/>
                    </a:lnTo>
                    <a:lnTo>
                      <a:pt x="2899" y="2020"/>
                    </a:lnTo>
                    <a:lnTo>
                      <a:pt x="6957"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79" name="Freeform 70"/>
              <p:cNvSpPr>
                <a:spLocks/>
              </p:cNvSpPr>
              <p:nvPr/>
            </p:nvSpPr>
            <p:spPr bwMode="auto">
              <a:xfrm>
                <a:off x="2905125" y="3859213"/>
                <a:ext cx="76200" cy="53975"/>
              </a:xfrm>
              <a:custGeom>
                <a:avLst/>
                <a:gdLst>
                  <a:gd name="T0" fmla="*/ 19833 w 20000"/>
                  <a:gd name="T1" fmla="*/ 1429 h 20000"/>
                  <a:gd name="T2" fmla="*/ 19833 w 20000"/>
                  <a:gd name="T3" fmla="*/ 11190 h 20000"/>
                  <a:gd name="T4" fmla="*/ 19833 w 20000"/>
                  <a:gd name="T5" fmla="*/ 19762 h 20000"/>
                  <a:gd name="T6" fmla="*/ 4500 w 20000"/>
                  <a:gd name="T7" fmla="*/ 19762 h 20000"/>
                  <a:gd name="T8" fmla="*/ 0 w 20000"/>
                  <a:gd name="T9" fmla="*/ 17381 h 20000"/>
                  <a:gd name="T10" fmla="*/ 1833 w 20000"/>
                  <a:gd name="T11" fmla="*/ 11190 h 20000"/>
                  <a:gd name="T12" fmla="*/ 16500 w 20000"/>
                  <a:gd name="T13" fmla="*/ 13571 h 20000"/>
                  <a:gd name="T14" fmla="*/ 13000 w 20000"/>
                  <a:gd name="T15" fmla="*/ 9762 h 20000"/>
                  <a:gd name="T16" fmla="*/ 11333 w 20000"/>
                  <a:gd name="T17" fmla="*/ 4762 h 20000"/>
                  <a:gd name="T18" fmla="*/ 8667 w 20000"/>
                  <a:gd name="T19" fmla="*/ 0 h 20000"/>
                  <a:gd name="T20" fmla="*/ 15500 w 20000"/>
                  <a:gd name="T21" fmla="*/ 0 h 20000"/>
                  <a:gd name="T22" fmla="*/ 19833 w 20000"/>
                  <a:gd name="T23" fmla="*/ 142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9833" y="1429"/>
                    </a:moveTo>
                    <a:lnTo>
                      <a:pt x="19833" y="11190"/>
                    </a:lnTo>
                    <a:lnTo>
                      <a:pt x="19833" y="19762"/>
                    </a:lnTo>
                    <a:lnTo>
                      <a:pt x="4500" y="19762"/>
                    </a:lnTo>
                    <a:lnTo>
                      <a:pt x="0" y="17381"/>
                    </a:lnTo>
                    <a:lnTo>
                      <a:pt x="1833" y="11190"/>
                    </a:lnTo>
                    <a:lnTo>
                      <a:pt x="16500" y="13571"/>
                    </a:lnTo>
                    <a:lnTo>
                      <a:pt x="13000" y="9762"/>
                    </a:lnTo>
                    <a:lnTo>
                      <a:pt x="11333" y="4762"/>
                    </a:lnTo>
                    <a:lnTo>
                      <a:pt x="8667" y="0"/>
                    </a:lnTo>
                    <a:lnTo>
                      <a:pt x="15500" y="0"/>
                    </a:lnTo>
                    <a:lnTo>
                      <a:pt x="19833" y="142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0" name="Freeform 69"/>
              <p:cNvSpPr>
                <a:spLocks/>
              </p:cNvSpPr>
              <p:nvPr/>
            </p:nvSpPr>
            <p:spPr bwMode="auto">
              <a:xfrm>
                <a:off x="2473325" y="3971925"/>
                <a:ext cx="174625" cy="82550"/>
              </a:xfrm>
              <a:custGeom>
                <a:avLst/>
                <a:gdLst>
                  <a:gd name="T0" fmla="*/ 2982 w 20000"/>
                  <a:gd name="T1" fmla="*/ 615 h 20000"/>
                  <a:gd name="T2" fmla="*/ 4873 w 20000"/>
                  <a:gd name="T3" fmla="*/ 615 h 20000"/>
                  <a:gd name="T4" fmla="*/ 8655 w 20000"/>
                  <a:gd name="T5" fmla="*/ 615 h 20000"/>
                  <a:gd name="T6" fmla="*/ 12800 w 20000"/>
                  <a:gd name="T7" fmla="*/ 0 h 20000"/>
                  <a:gd name="T8" fmla="*/ 15055 w 20000"/>
                  <a:gd name="T9" fmla="*/ 615 h 20000"/>
                  <a:gd name="T10" fmla="*/ 17673 w 20000"/>
                  <a:gd name="T11" fmla="*/ 615 h 20000"/>
                  <a:gd name="T12" fmla="*/ 18400 w 20000"/>
                  <a:gd name="T13" fmla="*/ 3077 h 20000"/>
                  <a:gd name="T14" fmla="*/ 16945 w 20000"/>
                  <a:gd name="T15" fmla="*/ 4769 h 20000"/>
                  <a:gd name="T16" fmla="*/ 19927 w 20000"/>
                  <a:gd name="T17" fmla="*/ 6308 h 20000"/>
                  <a:gd name="T18" fmla="*/ 15782 w 20000"/>
                  <a:gd name="T19" fmla="*/ 9385 h 20000"/>
                  <a:gd name="T20" fmla="*/ 14691 w 20000"/>
                  <a:gd name="T21" fmla="*/ 7231 h 20000"/>
                  <a:gd name="T22" fmla="*/ 13891 w 20000"/>
                  <a:gd name="T23" fmla="*/ 9385 h 20000"/>
                  <a:gd name="T24" fmla="*/ 12000 w 20000"/>
                  <a:gd name="T25" fmla="*/ 13538 h 20000"/>
                  <a:gd name="T26" fmla="*/ 9818 w 20000"/>
                  <a:gd name="T27" fmla="*/ 15077 h 20000"/>
                  <a:gd name="T28" fmla="*/ 7855 w 20000"/>
                  <a:gd name="T29" fmla="*/ 19846 h 20000"/>
                  <a:gd name="T30" fmla="*/ 6691 w 20000"/>
                  <a:gd name="T31" fmla="*/ 19846 h 20000"/>
                  <a:gd name="T32" fmla="*/ 5964 w 20000"/>
                  <a:gd name="T33" fmla="*/ 18923 h 20000"/>
                  <a:gd name="T34" fmla="*/ 5673 w 20000"/>
                  <a:gd name="T35" fmla="*/ 17385 h 20000"/>
                  <a:gd name="T36" fmla="*/ 4873 w 20000"/>
                  <a:gd name="T37" fmla="*/ 13538 h 20000"/>
                  <a:gd name="T38" fmla="*/ 2618 w 20000"/>
                  <a:gd name="T39" fmla="*/ 11077 h 20000"/>
                  <a:gd name="T40" fmla="*/ 0 w 20000"/>
                  <a:gd name="T41" fmla="*/ 9385 h 20000"/>
                  <a:gd name="T42" fmla="*/ 727 w 20000"/>
                  <a:gd name="T43" fmla="*/ 9385 h 20000"/>
                  <a:gd name="T44" fmla="*/ 1164 w 20000"/>
                  <a:gd name="T45" fmla="*/ 7231 h 20000"/>
                  <a:gd name="T46" fmla="*/ 1164 w 20000"/>
                  <a:gd name="T47" fmla="*/ 4769 h 20000"/>
                  <a:gd name="T48" fmla="*/ 2982 w 20000"/>
                  <a:gd name="T49" fmla="*/ 3077 h 20000"/>
                  <a:gd name="T50" fmla="*/ 2982 w 20000"/>
                  <a:gd name="T51" fmla="*/ 61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00" h="20000">
                    <a:moveTo>
                      <a:pt x="2982" y="615"/>
                    </a:moveTo>
                    <a:lnTo>
                      <a:pt x="4873" y="615"/>
                    </a:lnTo>
                    <a:lnTo>
                      <a:pt x="8655" y="615"/>
                    </a:lnTo>
                    <a:lnTo>
                      <a:pt x="12800" y="0"/>
                    </a:lnTo>
                    <a:lnTo>
                      <a:pt x="15055" y="615"/>
                    </a:lnTo>
                    <a:lnTo>
                      <a:pt x="17673" y="615"/>
                    </a:lnTo>
                    <a:lnTo>
                      <a:pt x="18400" y="3077"/>
                    </a:lnTo>
                    <a:lnTo>
                      <a:pt x="16945" y="4769"/>
                    </a:lnTo>
                    <a:lnTo>
                      <a:pt x="19927" y="6308"/>
                    </a:lnTo>
                    <a:lnTo>
                      <a:pt x="15782" y="9385"/>
                    </a:lnTo>
                    <a:lnTo>
                      <a:pt x="14691" y="7231"/>
                    </a:lnTo>
                    <a:lnTo>
                      <a:pt x="13891" y="9385"/>
                    </a:lnTo>
                    <a:lnTo>
                      <a:pt x="12000" y="13538"/>
                    </a:lnTo>
                    <a:lnTo>
                      <a:pt x="9818" y="15077"/>
                    </a:lnTo>
                    <a:lnTo>
                      <a:pt x="7855" y="19846"/>
                    </a:lnTo>
                    <a:lnTo>
                      <a:pt x="6691" y="19846"/>
                    </a:lnTo>
                    <a:lnTo>
                      <a:pt x="5964" y="18923"/>
                    </a:lnTo>
                    <a:lnTo>
                      <a:pt x="5673" y="17385"/>
                    </a:lnTo>
                    <a:lnTo>
                      <a:pt x="4873" y="13538"/>
                    </a:lnTo>
                    <a:lnTo>
                      <a:pt x="2618" y="11077"/>
                    </a:lnTo>
                    <a:lnTo>
                      <a:pt x="0" y="9385"/>
                    </a:lnTo>
                    <a:lnTo>
                      <a:pt x="727" y="9385"/>
                    </a:lnTo>
                    <a:lnTo>
                      <a:pt x="1164" y="7231"/>
                    </a:lnTo>
                    <a:lnTo>
                      <a:pt x="1164" y="4769"/>
                    </a:lnTo>
                    <a:lnTo>
                      <a:pt x="2982" y="3077"/>
                    </a:lnTo>
                    <a:lnTo>
                      <a:pt x="2982" y="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1" name="Freeform 68"/>
              <p:cNvSpPr>
                <a:spLocks/>
              </p:cNvSpPr>
              <p:nvPr/>
            </p:nvSpPr>
            <p:spPr bwMode="auto">
              <a:xfrm>
                <a:off x="2800350" y="3895725"/>
                <a:ext cx="53975" cy="20638"/>
              </a:xfrm>
              <a:custGeom>
                <a:avLst/>
                <a:gdLst>
                  <a:gd name="T0" fmla="*/ 11190 w 20000"/>
                  <a:gd name="T1" fmla="*/ 19375 h 20000"/>
                  <a:gd name="T2" fmla="*/ 3810 w 20000"/>
                  <a:gd name="T3" fmla="*/ 19375 h 20000"/>
                  <a:gd name="T4" fmla="*/ 0 w 20000"/>
                  <a:gd name="T5" fmla="*/ 9375 h 20000"/>
                  <a:gd name="T6" fmla="*/ 3810 w 20000"/>
                  <a:gd name="T7" fmla="*/ 0 h 20000"/>
                  <a:gd name="T8" fmla="*/ 15952 w 20000"/>
                  <a:gd name="T9" fmla="*/ 6250 h 20000"/>
                  <a:gd name="T10" fmla="*/ 19762 w 20000"/>
                  <a:gd name="T11" fmla="*/ 19375 h 20000"/>
                  <a:gd name="T12" fmla="*/ 11190 w 20000"/>
                  <a:gd name="T13" fmla="*/ 1937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190" y="19375"/>
                    </a:moveTo>
                    <a:lnTo>
                      <a:pt x="3810" y="19375"/>
                    </a:lnTo>
                    <a:lnTo>
                      <a:pt x="0" y="9375"/>
                    </a:lnTo>
                    <a:lnTo>
                      <a:pt x="3810" y="0"/>
                    </a:lnTo>
                    <a:lnTo>
                      <a:pt x="15952" y="6250"/>
                    </a:lnTo>
                    <a:lnTo>
                      <a:pt x="19762" y="19375"/>
                    </a:lnTo>
                    <a:lnTo>
                      <a:pt x="11190"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2" name="Freeform 67"/>
              <p:cNvSpPr>
                <a:spLocks/>
              </p:cNvSpPr>
              <p:nvPr/>
            </p:nvSpPr>
            <p:spPr bwMode="auto">
              <a:xfrm>
                <a:off x="1557338" y="1576388"/>
                <a:ext cx="2028825" cy="1538287"/>
              </a:xfrm>
              <a:custGeom>
                <a:avLst/>
                <a:gdLst>
                  <a:gd name="T0" fmla="*/ 4118 w 20000"/>
                  <a:gd name="T1" fmla="*/ 1024 h 20000"/>
                  <a:gd name="T2" fmla="*/ 5870 w 20000"/>
                  <a:gd name="T3" fmla="*/ 768 h 20000"/>
                  <a:gd name="T4" fmla="*/ 5219 w 20000"/>
                  <a:gd name="T5" fmla="*/ 1148 h 20000"/>
                  <a:gd name="T6" fmla="*/ 6483 w 20000"/>
                  <a:gd name="T7" fmla="*/ 553 h 20000"/>
                  <a:gd name="T8" fmla="*/ 6740 w 20000"/>
                  <a:gd name="T9" fmla="*/ 1668 h 20000"/>
                  <a:gd name="T10" fmla="*/ 8454 w 20000"/>
                  <a:gd name="T11" fmla="*/ 2477 h 20000"/>
                  <a:gd name="T12" fmla="*/ 9362 w 20000"/>
                  <a:gd name="T13" fmla="*/ 3501 h 20000"/>
                  <a:gd name="T14" fmla="*/ 9656 w 20000"/>
                  <a:gd name="T15" fmla="*/ 4352 h 20000"/>
                  <a:gd name="T16" fmla="*/ 9887 w 20000"/>
                  <a:gd name="T17" fmla="*/ 3501 h 20000"/>
                  <a:gd name="T18" fmla="*/ 10989 w 20000"/>
                  <a:gd name="T19" fmla="*/ 3931 h 20000"/>
                  <a:gd name="T20" fmla="*/ 12253 w 20000"/>
                  <a:gd name="T21" fmla="*/ 4525 h 20000"/>
                  <a:gd name="T22" fmla="*/ 12666 w 20000"/>
                  <a:gd name="T23" fmla="*/ 4352 h 20000"/>
                  <a:gd name="T24" fmla="*/ 12509 w 20000"/>
                  <a:gd name="T25" fmla="*/ 5078 h 20000"/>
                  <a:gd name="T26" fmla="*/ 13091 w 20000"/>
                  <a:gd name="T27" fmla="*/ 4145 h 20000"/>
                  <a:gd name="T28" fmla="*/ 13548 w 20000"/>
                  <a:gd name="T29" fmla="*/ 3625 h 20000"/>
                  <a:gd name="T30" fmla="*/ 13217 w 20000"/>
                  <a:gd name="T31" fmla="*/ 2898 h 20000"/>
                  <a:gd name="T32" fmla="*/ 13773 w 20000"/>
                  <a:gd name="T33" fmla="*/ 2263 h 20000"/>
                  <a:gd name="T34" fmla="*/ 14124 w 20000"/>
                  <a:gd name="T35" fmla="*/ 3369 h 20000"/>
                  <a:gd name="T36" fmla="*/ 14161 w 20000"/>
                  <a:gd name="T37" fmla="*/ 3840 h 20000"/>
                  <a:gd name="T38" fmla="*/ 14324 w 20000"/>
                  <a:gd name="T39" fmla="*/ 4905 h 20000"/>
                  <a:gd name="T40" fmla="*/ 15388 w 20000"/>
                  <a:gd name="T41" fmla="*/ 4013 h 20000"/>
                  <a:gd name="T42" fmla="*/ 16008 w 20000"/>
                  <a:gd name="T43" fmla="*/ 4955 h 20000"/>
                  <a:gd name="T44" fmla="*/ 14906 w 20000"/>
                  <a:gd name="T45" fmla="*/ 5632 h 20000"/>
                  <a:gd name="T46" fmla="*/ 13805 w 20000"/>
                  <a:gd name="T47" fmla="*/ 6532 h 20000"/>
                  <a:gd name="T48" fmla="*/ 13379 w 20000"/>
                  <a:gd name="T49" fmla="*/ 7424 h 20000"/>
                  <a:gd name="T50" fmla="*/ 12178 w 20000"/>
                  <a:gd name="T51" fmla="*/ 7300 h 20000"/>
                  <a:gd name="T52" fmla="*/ 11602 w 20000"/>
                  <a:gd name="T53" fmla="*/ 8885 h 20000"/>
                  <a:gd name="T54" fmla="*/ 11145 w 20000"/>
                  <a:gd name="T55" fmla="*/ 11709 h 20000"/>
                  <a:gd name="T56" fmla="*/ 12804 w 20000"/>
                  <a:gd name="T57" fmla="*/ 13022 h 20000"/>
                  <a:gd name="T58" fmla="*/ 13548 w 20000"/>
                  <a:gd name="T59" fmla="*/ 15376 h 20000"/>
                  <a:gd name="T60" fmla="*/ 14969 w 20000"/>
                  <a:gd name="T61" fmla="*/ 12989 h 20000"/>
                  <a:gd name="T62" fmla="*/ 15519 w 20000"/>
                  <a:gd name="T63" fmla="*/ 9529 h 20000"/>
                  <a:gd name="T64" fmla="*/ 16915 w 20000"/>
                  <a:gd name="T65" fmla="*/ 9992 h 20000"/>
                  <a:gd name="T66" fmla="*/ 16946 w 20000"/>
                  <a:gd name="T67" fmla="*/ 11536 h 20000"/>
                  <a:gd name="T68" fmla="*/ 18536 w 20000"/>
                  <a:gd name="T69" fmla="*/ 10760 h 20000"/>
                  <a:gd name="T70" fmla="*/ 19675 w 20000"/>
                  <a:gd name="T71" fmla="*/ 14269 h 20000"/>
                  <a:gd name="T72" fmla="*/ 19637 w 20000"/>
                  <a:gd name="T73" fmla="*/ 14913 h 20000"/>
                  <a:gd name="T74" fmla="*/ 18667 w 20000"/>
                  <a:gd name="T75" fmla="*/ 16491 h 20000"/>
                  <a:gd name="T76" fmla="*/ 16915 w 20000"/>
                  <a:gd name="T77" fmla="*/ 16837 h 20000"/>
                  <a:gd name="T78" fmla="*/ 17040 w 20000"/>
                  <a:gd name="T79" fmla="*/ 17647 h 20000"/>
                  <a:gd name="T80" fmla="*/ 17109 w 20000"/>
                  <a:gd name="T81" fmla="*/ 19306 h 20000"/>
                  <a:gd name="T82" fmla="*/ 17109 w 20000"/>
                  <a:gd name="T83" fmla="*/ 18761 h 20000"/>
                  <a:gd name="T84" fmla="*/ 16108 w 20000"/>
                  <a:gd name="T85" fmla="*/ 17812 h 20000"/>
                  <a:gd name="T86" fmla="*/ 13642 w 20000"/>
                  <a:gd name="T87" fmla="*/ 19100 h 20000"/>
                  <a:gd name="T88" fmla="*/ 13185 w 20000"/>
                  <a:gd name="T89" fmla="*/ 19653 h 20000"/>
                  <a:gd name="T90" fmla="*/ 12509 w 20000"/>
                  <a:gd name="T91" fmla="*/ 19306 h 20000"/>
                  <a:gd name="T92" fmla="*/ 13091 w 20000"/>
                  <a:gd name="T93" fmla="*/ 18629 h 20000"/>
                  <a:gd name="T94" fmla="*/ 11859 w 20000"/>
                  <a:gd name="T95" fmla="*/ 17044 h 20000"/>
                  <a:gd name="T96" fmla="*/ 10144 w 20000"/>
                  <a:gd name="T97" fmla="*/ 16573 h 20000"/>
                  <a:gd name="T98" fmla="*/ 9618 w 20000"/>
                  <a:gd name="T99" fmla="*/ 15723 h 20000"/>
                  <a:gd name="T100" fmla="*/ 1358 w 20000"/>
                  <a:gd name="T101" fmla="*/ 13501 h 20000"/>
                  <a:gd name="T102" fmla="*/ 1621 w 20000"/>
                  <a:gd name="T103" fmla="*/ 10462 h 20000"/>
                  <a:gd name="T104" fmla="*/ 870 w 20000"/>
                  <a:gd name="T105" fmla="*/ 7605 h 20000"/>
                  <a:gd name="T106" fmla="*/ 1909 w 20000"/>
                  <a:gd name="T107" fmla="*/ 213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1909" y="2139"/>
                    </a:moveTo>
                    <a:lnTo>
                      <a:pt x="3235" y="0"/>
                    </a:lnTo>
                    <a:lnTo>
                      <a:pt x="3492" y="132"/>
                    </a:lnTo>
                    <a:lnTo>
                      <a:pt x="3692" y="809"/>
                    </a:lnTo>
                    <a:lnTo>
                      <a:pt x="4118" y="1148"/>
                    </a:lnTo>
                    <a:lnTo>
                      <a:pt x="4118" y="1024"/>
                    </a:lnTo>
                    <a:lnTo>
                      <a:pt x="4212" y="1107"/>
                    </a:lnTo>
                    <a:lnTo>
                      <a:pt x="4274" y="1363"/>
                    </a:lnTo>
                    <a:lnTo>
                      <a:pt x="4374" y="1024"/>
                    </a:lnTo>
                    <a:lnTo>
                      <a:pt x="4693" y="809"/>
                    </a:lnTo>
                    <a:lnTo>
                      <a:pt x="5895" y="595"/>
                    </a:lnTo>
                    <a:lnTo>
                      <a:pt x="5870" y="768"/>
                    </a:lnTo>
                    <a:lnTo>
                      <a:pt x="5444" y="892"/>
                    </a:lnTo>
                    <a:lnTo>
                      <a:pt x="4862" y="941"/>
                    </a:lnTo>
                    <a:lnTo>
                      <a:pt x="4599" y="1230"/>
                    </a:lnTo>
                    <a:lnTo>
                      <a:pt x="4762" y="1280"/>
                    </a:lnTo>
                    <a:lnTo>
                      <a:pt x="5313" y="1024"/>
                    </a:lnTo>
                    <a:lnTo>
                      <a:pt x="5219" y="1148"/>
                    </a:lnTo>
                    <a:lnTo>
                      <a:pt x="5895" y="892"/>
                    </a:lnTo>
                    <a:lnTo>
                      <a:pt x="5870" y="941"/>
                    </a:lnTo>
                    <a:lnTo>
                      <a:pt x="5895" y="1107"/>
                    </a:lnTo>
                    <a:lnTo>
                      <a:pt x="6383" y="768"/>
                    </a:lnTo>
                    <a:lnTo>
                      <a:pt x="6383" y="595"/>
                    </a:lnTo>
                    <a:lnTo>
                      <a:pt x="6483" y="553"/>
                    </a:lnTo>
                    <a:lnTo>
                      <a:pt x="6383" y="1363"/>
                    </a:lnTo>
                    <a:lnTo>
                      <a:pt x="6483" y="1577"/>
                    </a:lnTo>
                    <a:lnTo>
                      <a:pt x="6802" y="1107"/>
                    </a:lnTo>
                    <a:lnTo>
                      <a:pt x="6996" y="1024"/>
                    </a:lnTo>
                    <a:lnTo>
                      <a:pt x="6934" y="1363"/>
                    </a:lnTo>
                    <a:lnTo>
                      <a:pt x="6740" y="1668"/>
                    </a:lnTo>
                    <a:lnTo>
                      <a:pt x="7059" y="1668"/>
                    </a:lnTo>
                    <a:lnTo>
                      <a:pt x="7228" y="1445"/>
                    </a:lnTo>
                    <a:lnTo>
                      <a:pt x="7484" y="1495"/>
                    </a:lnTo>
                    <a:lnTo>
                      <a:pt x="7610" y="1833"/>
                    </a:lnTo>
                    <a:lnTo>
                      <a:pt x="8098" y="2395"/>
                    </a:lnTo>
                    <a:lnTo>
                      <a:pt x="8454" y="2477"/>
                    </a:lnTo>
                    <a:lnTo>
                      <a:pt x="8617" y="2898"/>
                    </a:lnTo>
                    <a:lnTo>
                      <a:pt x="8586" y="3121"/>
                    </a:lnTo>
                    <a:lnTo>
                      <a:pt x="8354" y="3031"/>
                    </a:lnTo>
                    <a:lnTo>
                      <a:pt x="8160" y="3154"/>
                    </a:lnTo>
                    <a:lnTo>
                      <a:pt x="8780" y="3501"/>
                    </a:lnTo>
                    <a:lnTo>
                      <a:pt x="9362" y="3501"/>
                    </a:lnTo>
                    <a:lnTo>
                      <a:pt x="9618" y="3931"/>
                    </a:lnTo>
                    <a:lnTo>
                      <a:pt x="9618" y="4269"/>
                    </a:lnTo>
                    <a:lnTo>
                      <a:pt x="9462" y="4187"/>
                    </a:lnTo>
                    <a:lnTo>
                      <a:pt x="9556" y="4740"/>
                    </a:lnTo>
                    <a:lnTo>
                      <a:pt x="9556" y="4484"/>
                    </a:lnTo>
                    <a:lnTo>
                      <a:pt x="9656" y="4352"/>
                    </a:lnTo>
                    <a:lnTo>
                      <a:pt x="9718" y="4401"/>
                    </a:lnTo>
                    <a:lnTo>
                      <a:pt x="9812" y="3840"/>
                    </a:lnTo>
                    <a:lnTo>
                      <a:pt x="9950" y="3625"/>
                    </a:lnTo>
                    <a:lnTo>
                      <a:pt x="10338" y="3625"/>
                    </a:lnTo>
                    <a:lnTo>
                      <a:pt x="10563" y="3460"/>
                    </a:lnTo>
                    <a:lnTo>
                      <a:pt x="9887" y="3501"/>
                    </a:lnTo>
                    <a:lnTo>
                      <a:pt x="9812" y="3460"/>
                    </a:lnTo>
                    <a:lnTo>
                      <a:pt x="10044" y="3287"/>
                    </a:lnTo>
                    <a:lnTo>
                      <a:pt x="10626" y="3237"/>
                    </a:lnTo>
                    <a:lnTo>
                      <a:pt x="10720" y="3799"/>
                    </a:lnTo>
                    <a:lnTo>
                      <a:pt x="10820" y="3931"/>
                    </a:lnTo>
                    <a:lnTo>
                      <a:pt x="10989" y="3931"/>
                    </a:lnTo>
                    <a:lnTo>
                      <a:pt x="11076" y="4352"/>
                    </a:lnTo>
                    <a:lnTo>
                      <a:pt x="11176" y="4269"/>
                    </a:lnTo>
                    <a:lnTo>
                      <a:pt x="11859" y="4484"/>
                    </a:lnTo>
                    <a:lnTo>
                      <a:pt x="11990" y="4269"/>
                    </a:lnTo>
                    <a:lnTo>
                      <a:pt x="12090" y="4484"/>
                    </a:lnTo>
                    <a:lnTo>
                      <a:pt x="12253" y="4525"/>
                    </a:lnTo>
                    <a:lnTo>
                      <a:pt x="12090" y="4269"/>
                    </a:lnTo>
                    <a:lnTo>
                      <a:pt x="12115" y="4063"/>
                    </a:lnTo>
                    <a:lnTo>
                      <a:pt x="12347" y="4063"/>
                    </a:lnTo>
                    <a:lnTo>
                      <a:pt x="12509" y="4269"/>
                    </a:lnTo>
                    <a:lnTo>
                      <a:pt x="12409" y="4401"/>
                    </a:lnTo>
                    <a:lnTo>
                      <a:pt x="12666" y="4352"/>
                    </a:lnTo>
                    <a:lnTo>
                      <a:pt x="12347" y="4822"/>
                    </a:lnTo>
                    <a:lnTo>
                      <a:pt x="12447" y="4955"/>
                    </a:lnTo>
                    <a:lnTo>
                      <a:pt x="12278" y="4955"/>
                    </a:lnTo>
                    <a:lnTo>
                      <a:pt x="12278" y="5293"/>
                    </a:lnTo>
                    <a:lnTo>
                      <a:pt x="12347" y="5078"/>
                    </a:lnTo>
                    <a:lnTo>
                      <a:pt x="12509" y="5078"/>
                    </a:lnTo>
                    <a:lnTo>
                      <a:pt x="12603" y="4608"/>
                    </a:lnTo>
                    <a:lnTo>
                      <a:pt x="12703" y="4401"/>
                    </a:lnTo>
                    <a:lnTo>
                      <a:pt x="12866" y="4484"/>
                    </a:lnTo>
                    <a:lnTo>
                      <a:pt x="13279" y="4269"/>
                    </a:lnTo>
                    <a:lnTo>
                      <a:pt x="13354" y="4013"/>
                    </a:lnTo>
                    <a:lnTo>
                      <a:pt x="13091" y="4145"/>
                    </a:lnTo>
                    <a:lnTo>
                      <a:pt x="13185" y="3931"/>
                    </a:lnTo>
                    <a:lnTo>
                      <a:pt x="13354" y="3799"/>
                    </a:lnTo>
                    <a:lnTo>
                      <a:pt x="13448" y="3716"/>
                    </a:lnTo>
                    <a:lnTo>
                      <a:pt x="13379" y="3840"/>
                    </a:lnTo>
                    <a:lnTo>
                      <a:pt x="13479" y="3799"/>
                    </a:lnTo>
                    <a:lnTo>
                      <a:pt x="13548" y="3625"/>
                    </a:lnTo>
                    <a:lnTo>
                      <a:pt x="13379" y="3716"/>
                    </a:lnTo>
                    <a:lnTo>
                      <a:pt x="13354" y="3501"/>
                    </a:lnTo>
                    <a:lnTo>
                      <a:pt x="13217" y="3501"/>
                    </a:lnTo>
                    <a:lnTo>
                      <a:pt x="13023" y="3287"/>
                    </a:lnTo>
                    <a:lnTo>
                      <a:pt x="13023" y="3154"/>
                    </a:lnTo>
                    <a:lnTo>
                      <a:pt x="13217" y="2898"/>
                    </a:lnTo>
                    <a:lnTo>
                      <a:pt x="13354" y="2898"/>
                    </a:lnTo>
                    <a:lnTo>
                      <a:pt x="13279" y="2601"/>
                    </a:lnTo>
                    <a:lnTo>
                      <a:pt x="13448" y="2477"/>
                    </a:lnTo>
                    <a:lnTo>
                      <a:pt x="13611" y="2345"/>
                    </a:lnTo>
                    <a:lnTo>
                      <a:pt x="13642" y="2477"/>
                    </a:lnTo>
                    <a:lnTo>
                      <a:pt x="13773" y="2263"/>
                    </a:lnTo>
                    <a:lnTo>
                      <a:pt x="13642" y="2221"/>
                    </a:lnTo>
                    <a:lnTo>
                      <a:pt x="13905" y="2139"/>
                    </a:lnTo>
                    <a:lnTo>
                      <a:pt x="14161" y="2263"/>
                    </a:lnTo>
                    <a:lnTo>
                      <a:pt x="14161" y="2601"/>
                    </a:lnTo>
                    <a:lnTo>
                      <a:pt x="14061" y="3031"/>
                    </a:lnTo>
                    <a:lnTo>
                      <a:pt x="14124" y="3369"/>
                    </a:lnTo>
                    <a:lnTo>
                      <a:pt x="13967" y="3287"/>
                    </a:lnTo>
                    <a:lnTo>
                      <a:pt x="14030" y="3460"/>
                    </a:lnTo>
                    <a:lnTo>
                      <a:pt x="13805" y="3592"/>
                    </a:lnTo>
                    <a:lnTo>
                      <a:pt x="13905" y="3799"/>
                    </a:lnTo>
                    <a:lnTo>
                      <a:pt x="14030" y="3716"/>
                    </a:lnTo>
                    <a:lnTo>
                      <a:pt x="14161" y="3840"/>
                    </a:lnTo>
                    <a:lnTo>
                      <a:pt x="14030" y="3931"/>
                    </a:lnTo>
                    <a:lnTo>
                      <a:pt x="13905" y="4608"/>
                    </a:lnTo>
                    <a:lnTo>
                      <a:pt x="14456" y="4063"/>
                    </a:lnTo>
                    <a:lnTo>
                      <a:pt x="14581" y="4484"/>
                    </a:lnTo>
                    <a:lnTo>
                      <a:pt x="14481" y="4740"/>
                    </a:lnTo>
                    <a:lnTo>
                      <a:pt x="14324" y="4905"/>
                    </a:lnTo>
                    <a:lnTo>
                      <a:pt x="14324" y="5417"/>
                    </a:lnTo>
                    <a:lnTo>
                      <a:pt x="14837" y="5037"/>
                    </a:lnTo>
                    <a:lnTo>
                      <a:pt x="15131" y="4525"/>
                    </a:lnTo>
                    <a:lnTo>
                      <a:pt x="15325" y="4484"/>
                    </a:lnTo>
                    <a:lnTo>
                      <a:pt x="15263" y="4352"/>
                    </a:lnTo>
                    <a:lnTo>
                      <a:pt x="15388" y="4013"/>
                    </a:lnTo>
                    <a:lnTo>
                      <a:pt x="16008" y="4269"/>
                    </a:lnTo>
                    <a:lnTo>
                      <a:pt x="15914" y="4352"/>
                    </a:lnTo>
                    <a:lnTo>
                      <a:pt x="16108" y="4608"/>
                    </a:lnTo>
                    <a:lnTo>
                      <a:pt x="15939" y="4690"/>
                    </a:lnTo>
                    <a:lnTo>
                      <a:pt x="16070" y="4740"/>
                    </a:lnTo>
                    <a:lnTo>
                      <a:pt x="16008" y="4955"/>
                    </a:lnTo>
                    <a:lnTo>
                      <a:pt x="15682" y="4955"/>
                    </a:lnTo>
                    <a:lnTo>
                      <a:pt x="15745" y="5599"/>
                    </a:lnTo>
                    <a:lnTo>
                      <a:pt x="15657" y="5855"/>
                    </a:lnTo>
                    <a:lnTo>
                      <a:pt x="15006" y="6152"/>
                    </a:lnTo>
                    <a:lnTo>
                      <a:pt x="15006" y="5805"/>
                    </a:lnTo>
                    <a:lnTo>
                      <a:pt x="14906" y="5632"/>
                    </a:lnTo>
                    <a:lnTo>
                      <a:pt x="14812" y="5723"/>
                    </a:lnTo>
                    <a:lnTo>
                      <a:pt x="14906" y="6193"/>
                    </a:lnTo>
                    <a:lnTo>
                      <a:pt x="14287" y="5855"/>
                    </a:lnTo>
                    <a:lnTo>
                      <a:pt x="14456" y="6152"/>
                    </a:lnTo>
                    <a:lnTo>
                      <a:pt x="13967" y="6614"/>
                    </a:lnTo>
                    <a:lnTo>
                      <a:pt x="13805" y="6532"/>
                    </a:lnTo>
                    <a:lnTo>
                      <a:pt x="13479" y="6069"/>
                    </a:lnTo>
                    <a:lnTo>
                      <a:pt x="13379" y="6069"/>
                    </a:lnTo>
                    <a:lnTo>
                      <a:pt x="13548" y="6491"/>
                    </a:lnTo>
                    <a:lnTo>
                      <a:pt x="13967" y="6697"/>
                    </a:lnTo>
                    <a:lnTo>
                      <a:pt x="13611" y="7300"/>
                    </a:lnTo>
                    <a:lnTo>
                      <a:pt x="13379" y="7424"/>
                    </a:lnTo>
                    <a:lnTo>
                      <a:pt x="13185" y="7391"/>
                    </a:lnTo>
                    <a:lnTo>
                      <a:pt x="13123" y="7217"/>
                    </a:lnTo>
                    <a:lnTo>
                      <a:pt x="12929" y="7647"/>
                    </a:lnTo>
                    <a:lnTo>
                      <a:pt x="12703" y="7647"/>
                    </a:lnTo>
                    <a:lnTo>
                      <a:pt x="12178" y="7176"/>
                    </a:lnTo>
                    <a:lnTo>
                      <a:pt x="12178" y="7300"/>
                    </a:lnTo>
                    <a:lnTo>
                      <a:pt x="12447" y="7424"/>
                    </a:lnTo>
                    <a:lnTo>
                      <a:pt x="12766" y="7861"/>
                    </a:lnTo>
                    <a:lnTo>
                      <a:pt x="12666" y="8068"/>
                    </a:lnTo>
                    <a:lnTo>
                      <a:pt x="12253" y="8068"/>
                    </a:lnTo>
                    <a:lnTo>
                      <a:pt x="12278" y="8200"/>
                    </a:lnTo>
                    <a:lnTo>
                      <a:pt x="11602" y="8885"/>
                    </a:lnTo>
                    <a:lnTo>
                      <a:pt x="11176" y="9447"/>
                    </a:lnTo>
                    <a:lnTo>
                      <a:pt x="10920" y="10421"/>
                    </a:lnTo>
                    <a:lnTo>
                      <a:pt x="11051" y="10545"/>
                    </a:lnTo>
                    <a:lnTo>
                      <a:pt x="11308" y="10636"/>
                    </a:lnTo>
                    <a:lnTo>
                      <a:pt x="11245" y="11536"/>
                    </a:lnTo>
                    <a:lnTo>
                      <a:pt x="11145" y="11709"/>
                    </a:lnTo>
                    <a:lnTo>
                      <a:pt x="11665" y="11660"/>
                    </a:lnTo>
                    <a:lnTo>
                      <a:pt x="12115" y="11998"/>
                    </a:lnTo>
                    <a:lnTo>
                      <a:pt x="12253" y="12345"/>
                    </a:lnTo>
                    <a:lnTo>
                      <a:pt x="12253" y="12552"/>
                    </a:lnTo>
                    <a:lnTo>
                      <a:pt x="12603" y="12775"/>
                    </a:lnTo>
                    <a:lnTo>
                      <a:pt x="12804" y="13022"/>
                    </a:lnTo>
                    <a:lnTo>
                      <a:pt x="13479" y="13245"/>
                    </a:lnTo>
                    <a:lnTo>
                      <a:pt x="13217" y="14393"/>
                    </a:lnTo>
                    <a:lnTo>
                      <a:pt x="13279" y="14781"/>
                    </a:lnTo>
                    <a:lnTo>
                      <a:pt x="13185" y="14913"/>
                    </a:lnTo>
                    <a:lnTo>
                      <a:pt x="13479" y="15120"/>
                    </a:lnTo>
                    <a:lnTo>
                      <a:pt x="13548" y="15376"/>
                    </a:lnTo>
                    <a:lnTo>
                      <a:pt x="13642" y="15508"/>
                    </a:lnTo>
                    <a:lnTo>
                      <a:pt x="13805" y="15334"/>
                    </a:lnTo>
                    <a:lnTo>
                      <a:pt x="13867" y="15467"/>
                    </a:lnTo>
                    <a:lnTo>
                      <a:pt x="14061" y="14814"/>
                    </a:lnTo>
                    <a:lnTo>
                      <a:pt x="14030" y="13584"/>
                    </a:lnTo>
                    <a:lnTo>
                      <a:pt x="14969" y="12989"/>
                    </a:lnTo>
                    <a:lnTo>
                      <a:pt x="15131" y="12436"/>
                    </a:lnTo>
                    <a:lnTo>
                      <a:pt x="15069" y="11792"/>
                    </a:lnTo>
                    <a:lnTo>
                      <a:pt x="14812" y="11321"/>
                    </a:lnTo>
                    <a:lnTo>
                      <a:pt x="15325" y="10545"/>
                    </a:lnTo>
                    <a:lnTo>
                      <a:pt x="15263" y="9909"/>
                    </a:lnTo>
                    <a:lnTo>
                      <a:pt x="15519" y="9529"/>
                    </a:lnTo>
                    <a:lnTo>
                      <a:pt x="15488" y="9092"/>
                    </a:lnTo>
                    <a:lnTo>
                      <a:pt x="15745" y="8885"/>
                    </a:lnTo>
                    <a:lnTo>
                      <a:pt x="16333" y="9315"/>
                    </a:lnTo>
                    <a:lnTo>
                      <a:pt x="16621" y="9182"/>
                    </a:lnTo>
                    <a:lnTo>
                      <a:pt x="16946" y="9785"/>
                    </a:lnTo>
                    <a:lnTo>
                      <a:pt x="16915" y="9992"/>
                    </a:lnTo>
                    <a:lnTo>
                      <a:pt x="17434" y="10206"/>
                    </a:lnTo>
                    <a:lnTo>
                      <a:pt x="17209" y="11107"/>
                    </a:lnTo>
                    <a:lnTo>
                      <a:pt x="17040" y="11321"/>
                    </a:lnTo>
                    <a:lnTo>
                      <a:pt x="17209" y="11321"/>
                    </a:lnTo>
                    <a:lnTo>
                      <a:pt x="17209" y="11453"/>
                    </a:lnTo>
                    <a:lnTo>
                      <a:pt x="16946" y="11536"/>
                    </a:lnTo>
                    <a:lnTo>
                      <a:pt x="17015" y="11660"/>
                    </a:lnTo>
                    <a:lnTo>
                      <a:pt x="17372" y="11536"/>
                    </a:lnTo>
                    <a:lnTo>
                      <a:pt x="17466" y="11998"/>
                    </a:lnTo>
                    <a:lnTo>
                      <a:pt x="17947" y="11660"/>
                    </a:lnTo>
                    <a:lnTo>
                      <a:pt x="18473" y="10677"/>
                    </a:lnTo>
                    <a:lnTo>
                      <a:pt x="18536" y="10760"/>
                    </a:lnTo>
                    <a:lnTo>
                      <a:pt x="18892" y="12816"/>
                    </a:lnTo>
                    <a:lnTo>
                      <a:pt x="18730" y="13154"/>
                    </a:lnTo>
                    <a:lnTo>
                      <a:pt x="18986" y="13584"/>
                    </a:lnTo>
                    <a:lnTo>
                      <a:pt x="18986" y="13881"/>
                    </a:lnTo>
                    <a:lnTo>
                      <a:pt x="19318" y="13881"/>
                    </a:lnTo>
                    <a:lnTo>
                      <a:pt x="19675" y="14269"/>
                    </a:lnTo>
                    <a:lnTo>
                      <a:pt x="19086" y="14566"/>
                    </a:lnTo>
                    <a:lnTo>
                      <a:pt x="18830" y="14781"/>
                    </a:lnTo>
                    <a:lnTo>
                      <a:pt x="18830" y="14946"/>
                    </a:lnTo>
                    <a:lnTo>
                      <a:pt x="19506" y="14566"/>
                    </a:lnTo>
                    <a:lnTo>
                      <a:pt x="19675" y="14699"/>
                    </a:lnTo>
                    <a:lnTo>
                      <a:pt x="19637" y="14913"/>
                    </a:lnTo>
                    <a:lnTo>
                      <a:pt x="19831" y="14781"/>
                    </a:lnTo>
                    <a:lnTo>
                      <a:pt x="19994" y="14946"/>
                    </a:lnTo>
                    <a:lnTo>
                      <a:pt x="19931" y="15376"/>
                    </a:lnTo>
                    <a:lnTo>
                      <a:pt x="19768" y="15723"/>
                    </a:lnTo>
                    <a:lnTo>
                      <a:pt x="19218" y="16012"/>
                    </a:lnTo>
                    <a:lnTo>
                      <a:pt x="18667" y="16491"/>
                    </a:lnTo>
                    <a:lnTo>
                      <a:pt x="17303" y="16367"/>
                    </a:lnTo>
                    <a:lnTo>
                      <a:pt x="16946" y="16400"/>
                    </a:lnTo>
                    <a:lnTo>
                      <a:pt x="16070" y="17258"/>
                    </a:lnTo>
                    <a:lnTo>
                      <a:pt x="15582" y="17853"/>
                    </a:lnTo>
                    <a:lnTo>
                      <a:pt x="16208" y="17258"/>
                    </a:lnTo>
                    <a:lnTo>
                      <a:pt x="16915" y="16837"/>
                    </a:lnTo>
                    <a:lnTo>
                      <a:pt x="17209" y="16920"/>
                    </a:lnTo>
                    <a:lnTo>
                      <a:pt x="17466" y="17126"/>
                    </a:lnTo>
                    <a:lnTo>
                      <a:pt x="17372" y="17300"/>
                    </a:lnTo>
                    <a:lnTo>
                      <a:pt x="17109" y="17514"/>
                    </a:lnTo>
                    <a:lnTo>
                      <a:pt x="16846" y="17465"/>
                    </a:lnTo>
                    <a:lnTo>
                      <a:pt x="17040" y="17647"/>
                    </a:lnTo>
                    <a:lnTo>
                      <a:pt x="17209" y="17647"/>
                    </a:lnTo>
                    <a:lnTo>
                      <a:pt x="17040" y="17936"/>
                    </a:lnTo>
                    <a:lnTo>
                      <a:pt x="17303" y="18406"/>
                    </a:lnTo>
                    <a:lnTo>
                      <a:pt x="18048" y="18927"/>
                    </a:lnTo>
                    <a:lnTo>
                      <a:pt x="17178" y="19182"/>
                    </a:lnTo>
                    <a:lnTo>
                      <a:pt x="17109" y="19306"/>
                    </a:lnTo>
                    <a:lnTo>
                      <a:pt x="16758" y="19653"/>
                    </a:lnTo>
                    <a:lnTo>
                      <a:pt x="16621" y="19521"/>
                    </a:lnTo>
                    <a:lnTo>
                      <a:pt x="16683" y="19265"/>
                    </a:lnTo>
                    <a:lnTo>
                      <a:pt x="16915" y="18968"/>
                    </a:lnTo>
                    <a:lnTo>
                      <a:pt x="17372" y="18761"/>
                    </a:lnTo>
                    <a:lnTo>
                      <a:pt x="17109" y="18761"/>
                    </a:lnTo>
                    <a:lnTo>
                      <a:pt x="17209" y="18538"/>
                    </a:lnTo>
                    <a:lnTo>
                      <a:pt x="16427" y="18844"/>
                    </a:lnTo>
                    <a:lnTo>
                      <a:pt x="16270" y="18497"/>
                    </a:lnTo>
                    <a:lnTo>
                      <a:pt x="16427" y="17853"/>
                    </a:lnTo>
                    <a:lnTo>
                      <a:pt x="16333" y="17729"/>
                    </a:lnTo>
                    <a:lnTo>
                      <a:pt x="16108" y="17812"/>
                    </a:lnTo>
                    <a:lnTo>
                      <a:pt x="16070" y="17647"/>
                    </a:lnTo>
                    <a:lnTo>
                      <a:pt x="15426" y="18712"/>
                    </a:lnTo>
                    <a:lnTo>
                      <a:pt x="15263" y="18761"/>
                    </a:lnTo>
                    <a:lnTo>
                      <a:pt x="14387" y="18761"/>
                    </a:lnTo>
                    <a:lnTo>
                      <a:pt x="13967" y="19050"/>
                    </a:lnTo>
                    <a:lnTo>
                      <a:pt x="13642" y="19100"/>
                    </a:lnTo>
                    <a:lnTo>
                      <a:pt x="13773" y="19265"/>
                    </a:lnTo>
                    <a:lnTo>
                      <a:pt x="13548" y="19182"/>
                    </a:lnTo>
                    <a:lnTo>
                      <a:pt x="13185" y="19265"/>
                    </a:lnTo>
                    <a:lnTo>
                      <a:pt x="13023" y="19438"/>
                    </a:lnTo>
                    <a:lnTo>
                      <a:pt x="13123" y="19521"/>
                    </a:lnTo>
                    <a:lnTo>
                      <a:pt x="13185" y="19653"/>
                    </a:lnTo>
                    <a:lnTo>
                      <a:pt x="12766" y="19827"/>
                    </a:lnTo>
                    <a:lnTo>
                      <a:pt x="12509" y="19860"/>
                    </a:lnTo>
                    <a:lnTo>
                      <a:pt x="11990" y="19992"/>
                    </a:lnTo>
                    <a:lnTo>
                      <a:pt x="12090" y="19827"/>
                    </a:lnTo>
                    <a:lnTo>
                      <a:pt x="12253" y="19521"/>
                    </a:lnTo>
                    <a:lnTo>
                      <a:pt x="12509" y="19306"/>
                    </a:lnTo>
                    <a:lnTo>
                      <a:pt x="12703" y="18761"/>
                    </a:lnTo>
                    <a:lnTo>
                      <a:pt x="12666" y="18497"/>
                    </a:lnTo>
                    <a:lnTo>
                      <a:pt x="12703" y="18497"/>
                    </a:lnTo>
                    <a:lnTo>
                      <a:pt x="12766" y="18761"/>
                    </a:lnTo>
                    <a:lnTo>
                      <a:pt x="13023" y="18844"/>
                    </a:lnTo>
                    <a:lnTo>
                      <a:pt x="13091" y="18629"/>
                    </a:lnTo>
                    <a:lnTo>
                      <a:pt x="12960" y="18200"/>
                    </a:lnTo>
                    <a:lnTo>
                      <a:pt x="12666" y="18068"/>
                    </a:lnTo>
                    <a:lnTo>
                      <a:pt x="12115" y="17812"/>
                    </a:lnTo>
                    <a:lnTo>
                      <a:pt x="11990" y="17597"/>
                    </a:lnTo>
                    <a:lnTo>
                      <a:pt x="12021" y="16961"/>
                    </a:lnTo>
                    <a:lnTo>
                      <a:pt x="11859" y="17044"/>
                    </a:lnTo>
                    <a:lnTo>
                      <a:pt x="11665" y="16573"/>
                    </a:lnTo>
                    <a:lnTo>
                      <a:pt x="11245" y="16400"/>
                    </a:lnTo>
                    <a:lnTo>
                      <a:pt x="10920" y="16837"/>
                    </a:lnTo>
                    <a:lnTo>
                      <a:pt x="10626" y="16738"/>
                    </a:lnTo>
                    <a:lnTo>
                      <a:pt x="10238" y="16705"/>
                    </a:lnTo>
                    <a:lnTo>
                      <a:pt x="10144" y="16573"/>
                    </a:lnTo>
                    <a:lnTo>
                      <a:pt x="9950" y="16235"/>
                    </a:lnTo>
                    <a:lnTo>
                      <a:pt x="9950" y="16400"/>
                    </a:lnTo>
                    <a:lnTo>
                      <a:pt x="9556" y="16235"/>
                    </a:lnTo>
                    <a:lnTo>
                      <a:pt x="9787" y="16235"/>
                    </a:lnTo>
                    <a:lnTo>
                      <a:pt x="9787" y="15846"/>
                    </a:lnTo>
                    <a:lnTo>
                      <a:pt x="9618" y="15723"/>
                    </a:lnTo>
                    <a:lnTo>
                      <a:pt x="9399" y="16061"/>
                    </a:lnTo>
                    <a:lnTo>
                      <a:pt x="2234" y="15120"/>
                    </a:lnTo>
                    <a:lnTo>
                      <a:pt x="2040" y="14781"/>
                    </a:lnTo>
                    <a:lnTo>
                      <a:pt x="1909" y="14220"/>
                    </a:lnTo>
                    <a:lnTo>
                      <a:pt x="1389" y="13716"/>
                    </a:lnTo>
                    <a:lnTo>
                      <a:pt x="1358" y="13501"/>
                    </a:lnTo>
                    <a:lnTo>
                      <a:pt x="1458" y="12130"/>
                    </a:lnTo>
                    <a:lnTo>
                      <a:pt x="1621" y="11874"/>
                    </a:lnTo>
                    <a:lnTo>
                      <a:pt x="1289" y="12130"/>
                    </a:lnTo>
                    <a:lnTo>
                      <a:pt x="1202" y="11453"/>
                    </a:lnTo>
                    <a:lnTo>
                      <a:pt x="1458" y="11016"/>
                    </a:lnTo>
                    <a:lnTo>
                      <a:pt x="1621" y="10462"/>
                    </a:lnTo>
                    <a:lnTo>
                      <a:pt x="1458" y="10124"/>
                    </a:lnTo>
                    <a:lnTo>
                      <a:pt x="1289" y="9736"/>
                    </a:lnTo>
                    <a:lnTo>
                      <a:pt x="1202" y="8117"/>
                    </a:lnTo>
                    <a:lnTo>
                      <a:pt x="1202" y="7647"/>
                    </a:lnTo>
                    <a:lnTo>
                      <a:pt x="1070" y="7523"/>
                    </a:lnTo>
                    <a:lnTo>
                      <a:pt x="870" y="7605"/>
                    </a:lnTo>
                    <a:lnTo>
                      <a:pt x="513" y="7944"/>
                    </a:lnTo>
                    <a:lnTo>
                      <a:pt x="357" y="6961"/>
                    </a:lnTo>
                    <a:lnTo>
                      <a:pt x="382" y="6829"/>
                    </a:lnTo>
                    <a:lnTo>
                      <a:pt x="0" y="6746"/>
                    </a:lnTo>
                    <a:lnTo>
                      <a:pt x="870" y="4484"/>
                    </a:lnTo>
                    <a:lnTo>
                      <a:pt x="1909" y="213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3" name="Freeform 66"/>
              <p:cNvSpPr>
                <a:spLocks/>
              </p:cNvSpPr>
              <p:nvPr/>
            </p:nvSpPr>
            <p:spPr bwMode="auto">
              <a:xfrm>
                <a:off x="3062288" y="1674813"/>
                <a:ext cx="539750" cy="654050"/>
              </a:xfrm>
              <a:custGeom>
                <a:avLst/>
                <a:gdLst>
                  <a:gd name="T0" fmla="*/ 11694 w 20000"/>
                  <a:gd name="T1" fmla="*/ 19670 h 20000"/>
                  <a:gd name="T2" fmla="*/ 8776 w 20000"/>
                  <a:gd name="T3" fmla="*/ 17245 h 20000"/>
                  <a:gd name="T4" fmla="*/ 8282 w 20000"/>
                  <a:gd name="T5" fmla="*/ 16256 h 20000"/>
                  <a:gd name="T6" fmla="*/ 7200 w 20000"/>
                  <a:gd name="T7" fmla="*/ 15461 h 20000"/>
                  <a:gd name="T8" fmla="*/ 5129 w 20000"/>
                  <a:gd name="T9" fmla="*/ 15461 h 20000"/>
                  <a:gd name="T10" fmla="*/ 5129 w 20000"/>
                  <a:gd name="T11" fmla="*/ 13560 h 20000"/>
                  <a:gd name="T12" fmla="*/ 7906 w 20000"/>
                  <a:gd name="T13" fmla="*/ 13637 h 20000"/>
                  <a:gd name="T14" fmla="*/ 8282 w 20000"/>
                  <a:gd name="T15" fmla="*/ 12726 h 20000"/>
                  <a:gd name="T16" fmla="*/ 10729 w 20000"/>
                  <a:gd name="T17" fmla="*/ 11445 h 20000"/>
                  <a:gd name="T18" fmla="*/ 10118 w 20000"/>
                  <a:gd name="T19" fmla="*/ 9350 h 20000"/>
                  <a:gd name="T20" fmla="*/ 8776 w 20000"/>
                  <a:gd name="T21" fmla="*/ 8516 h 20000"/>
                  <a:gd name="T22" fmla="*/ 8776 w 20000"/>
                  <a:gd name="T23" fmla="*/ 6731 h 20000"/>
                  <a:gd name="T24" fmla="*/ 7812 w 20000"/>
                  <a:gd name="T25" fmla="*/ 6421 h 20000"/>
                  <a:gd name="T26" fmla="*/ 5600 w 20000"/>
                  <a:gd name="T27" fmla="*/ 6421 h 20000"/>
                  <a:gd name="T28" fmla="*/ 4047 w 20000"/>
                  <a:gd name="T29" fmla="*/ 6421 h 20000"/>
                  <a:gd name="T30" fmla="*/ 494 w 20000"/>
                  <a:gd name="T31" fmla="*/ 5218 h 20000"/>
                  <a:gd name="T32" fmla="*/ 1459 w 20000"/>
                  <a:gd name="T33" fmla="*/ 3802 h 20000"/>
                  <a:gd name="T34" fmla="*/ 1224 w 20000"/>
                  <a:gd name="T35" fmla="*/ 2211 h 20000"/>
                  <a:gd name="T36" fmla="*/ 3176 w 20000"/>
                  <a:gd name="T37" fmla="*/ 698 h 20000"/>
                  <a:gd name="T38" fmla="*/ 6212 w 20000"/>
                  <a:gd name="T39" fmla="*/ 504 h 20000"/>
                  <a:gd name="T40" fmla="*/ 4047 w 20000"/>
                  <a:gd name="T41" fmla="*/ 2308 h 20000"/>
                  <a:gd name="T42" fmla="*/ 2447 w 20000"/>
                  <a:gd name="T43" fmla="*/ 4597 h 20000"/>
                  <a:gd name="T44" fmla="*/ 4141 w 20000"/>
                  <a:gd name="T45" fmla="*/ 3608 h 20000"/>
                  <a:gd name="T46" fmla="*/ 5365 w 20000"/>
                  <a:gd name="T47" fmla="*/ 2017 h 20000"/>
                  <a:gd name="T48" fmla="*/ 9506 w 20000"/>
                  <a:gd name="T49" fmla="*/ 912 h 20000"/>
                  <a:gd name="T50" fmla="*/ 9153 w 20000"/>
                  <a:gd name="T51" fmla="*/ 2619 h 20000"/>
                  <a:gd name="T52" fmla="*/ 9506 w 20000"/>
                  <a:gd name="T53" fmla="*/ 3414 h 20000"/>
                  <a:gd name="T54" fmla="*/ 11082 w 20000"/>
                  <a:gd name="T55" fmla="*/ 3007 h 20000"/>
                  <a:gd name="T56" fmla="*/ 13294 w 20000"/>
                  <a:gd name="T57" fmla="*/ 3919 h 20000"/>
                  <a:gd name="T58" fmla="*/ 12329 w 20000"/>
                  <a:gd name="T59" fmla="*/ 4714 h 20000"/>
                  <a:gd name="T60" fmla="*/ 14400 w 20000"/>
                  <a:gd name="T61" fmla="*/ 5121 h 20000"/>
                  <a:gd name="T62" fmla="*/ 15224 w 20000"/>
                  <a:gd name="T63" fmla="*/ 6421 h 20000"/>
                  <a:gd name="T64" fmla="*/ 15953 w 20000"/>
                  <a:gd name="T65" fmla="*/ 7818 h 20000"/>
                  <a:gd name="T66" fmla="*/ 15835 w 20000"/>
                  <a:gd name="T67" fmla="*/ 8632 h 20000"/>
                  <a:gd name="T68" fmla="*/ 15600 w 20000"/>
                  <a:gd name="T69" fmla="*/ 9641 h 20000"/>
                  <a:gd name="T70" fmla="*/ 18024 w 20000"/>
                  <a:gd name="T71" fmla="*/ 11445 h 20000"/>
                  <a:gd name="T72" fmla="*/ 19976 w 20000"/>
                  <a:gd name="T73" fmla="*/ 13036 h 20000"/>
                  <a:gd name="T74" fmla="*/ 17529 w 20000"/>
                  <a:gd name="T75" fmla="*/ 14665 h 20000"/>
                  <a:gd name="T76" fmla="*/ 15600 w 20000"/>
                  <a:gd name="T77" fmla="*/ 13851 h 20000"/>
                  <a:gd name="T78" fmla="*/ 14635 w 20000"/>
                  <a:gd name="T79" fmla="*/ 13637 h 20000"/>
                  <a:gd name="T80" fmla="*/ 14635 w 20000"/>
                  <a:gd name="T81" fmla="*/ 15655 h 20000"/>
                  <a:gd name="T82" fmla="*/ 14988 w 20000"/>
                  <a:gd name="T83" fmla="*/ 18661 h 20000"/>
                  <a:gd name="T84" fmla="*/ 13059 w 20000"/>
                  <a:gd name="T85" fmla="*/ 17866 h 20000"/>
                  <a:gd name="T86" fmla="*/ 13294 w 20000"/>
                  <a:gd name="T87" fmla="*/ 19379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00" h="20000">
                    <a:moveTo>
                      <a:pt x="13294" y="19981"/>
                    </a:moveTo>
                    <a:lnTo>
                      <a:pt x="12424" y="19981"/>
                    </a:lnTo>
                    <a:lnTo>
                      <a:pt x="11694" y="19670"/>
                    </a:lnTo>
                    <a:lnTo>
                      <a:pt x="10353" y="18565"/>
                    </a:lnTo>
                    <a:lnTo>
                      <a:pt x="9247" y="18060"/>
                    </a:lnTo>
                    <a:lnTo>
                      <a:pt x="8776" y="17245"/>
                    </a:lnTo>
                    <a:lnTo>
                      <a:pt x="8918" y="17051"/>
                    </a:lnTo>
                    <a:lnTo>
                      <a:pt x="9153" y="16760"/>
                    </a:lnTo>
                    <a:lnTo>
                      <a:pt x="8282" y="16256"/>
                    </a:lnTo>
                    <a:lnTo>
                      <a:pt x="7812" y="15461"/>
                    </a:lnTo>
                    <a:lnTo>
                      <a:pt x="7318" y="15150"/>
                    </a:lnTo>
                    <a:lnTo>
                      <a:pt x="7200" y="15461"/>
                    </a:lnTo>
                    <a:lnTo>
                      <a:pt x="6353" y="15267"/>
                    </a:lnTo>
                    <a:lnTo>
                      <a:pt x="5976" y="15267"/>
                    </a:lnTo>
                    <a:lnTo>
                      <a:pt x="5129" y="15461"/>
                    </a:lnTo>
                    <a:lnTo>
                      <a:pt x="4141" y="14956"/>
                    </a:lnTo>
                    <a:lnTo>
                      <a:pt x="4400" y="14142"/>
                    </a:lnTo>
                    <a:lnTo>
                      <a:pt x="5129" y="13560"/>
                    </a:lnTo>
                    <a:lnTo>
                      <a:pt x="5600" y="13637"/>
                    </a:lnTo>
                    <a:lnTo>
                      <a:pt x="6941" y="13948"/>
                    </a:lnTo>
                    <a:lnTo>
                      <a:pt x="7906" y="13637"/>
                    </a:lnTo>
                    <a:lnTo>
                      <a:pt x="8541" y="13851"/>
                    </a:lnTo>
                    <a:lnTo>
                      <a:pt x="8776" y="13346"/>
                    </a:lnTo>
                    <a:lnTo>
                      <a:pt x="8282" y="12726"/>
                    </a:lnTo>
                    <a:lnTo>
                      <a:pt x="8918" y="12532"/>
                    </a:lnTo>
                    <a:lnTo>
                      <a:pt x="9882" y="12047"/>
                    </a:lnTo>
                    <a:lnTo>
                      <a:pt x="10729" y="11445"/>
                    </a:lnTo>
                    <a:lnTo>
                      <a:pt x="10729" y="10747"/>
                    </a:lnTo>
                    <a:lnTo>
                      <a:pt x="10729" y="9932"/>
                    </a:lnTo>
                    <a:lnTo>
                      <a:pt x="10118" y="9350"/>
                    </a:lnTo>
                    <a:lnTo>
                      <a:pt x="9882" y="8826"/>
                    </a:lnTo>
                    <a:lnTo>
                      <a:pt x="8541" y="8923"/>
                    </a:lnTo>
                    <a:lnTo>
                      <a:pt x="8776" y="8516"/>
                    </a:lnTo>
                    <a:lnTo>
                      <a:pt x="9506" y="8516"/>
                    </a:lnTo>
                    <a:lnTo>
                      <a:pt x="8776" y="7624"/>
                    </a:lnTo>
                    <a:lnTo>
                      <a:pt x="8776" y="6731"/>
                    </a:lnTo>
                    <a:lnTo>
                      <a:pt x="8188" y="6014"/>
                    </a:lnTo>
                    <a:lnTo>
                      <a:pt x="7318" y="6014"/>
                    </a:lnTo>
                    <a:lnTo>
                      <a:pt x="7812" y="6421"/>
                    </a:lnTo>
                    <a:lnTo>
                      <a:pt x="7553" y="7022"/>
                    </a:lnTo>
                    <a:lnTo>
                      <a:pt x="6941" y="7022"/>
                    </a:lnTo>
                    <a:lnTo>
                      <a:pt x="5600" y="6421"/>
                    </a:lnTo>
                    <a:lnTo>
                      <a:pt x="5741" y="7022"/>
                    </a:lnTo>
                    <a:lnTo>
                      <a:pt x="5129" y="6731"/>
                    </a:lnTo>
                    <a:lnTo>
                      <a:pt x="4047" y="6421"/>
                    </a:lnTo>
                    <a:lnTo>
                      <a:pt x="2565" y="6014"/>
                    </a:lnTo>
                    <a:lnTo>
                      <a:pt x="1600" y="5432"/>
                    </a:lnTo>
                    <a:lnTo>
                      <a:pt x="494" y="5218"/>
                    </a:lnTo>
                    <a:lnTo>
                      <a:pt x="0" y="4113"/>
                    </a:lnTo>
                    <a:lnTo>
                      <a:pt x="1459" y="4326"/>
                    </a:lnTo>
                    <a:lnTo>
                      <a:pt x="1459" y="3802"/>
                    </a:lnTo>
                    <a:lnTo>
                      <a:pt x="0" y="3414"/>
                    </a:lnTo>
                    <a:lnTo>
                      <a:pt x="635" y="2308"/>
                    </a:lnTo>
                    <a:lnTo>
                      <a:pt x="1224" y="2211"/>
                    </a:lnTo>
                    <a:lnTo>
                      <a:pt x="1106" y="2017"/>
                    </a:lnTo>
                    <a:lnTo>
                      <a:pt x="2212" y="1203"/>
                    </a:lnTo>
                    <a:lnTo>
                      <a:pt x="3176" y="698"/>
                    </a:lnTo>
                    <a:lnTo>
                      <a:pt x="4635" y="0"/>
                    </a:lnTo>
                    <a:lnTo>
                      <a:pt x="6941" y="194"/>
                    </a:lnTo>
                    <a:lnTo>
                      <a:pt x="6212" y="504"/>
                    </a:lnTo>
                    <a:lnTo>
                      <a:pt x="5129" y="989"/>
                    </a:lnTo>
                    <a:lnTo>
                      <a:pt x="4047" y="1707"/>
                    </a:lnTo>
                    <a:lnTo>
                      <a:pt x="4047" y="2308"/>
                    </a:lnTo>
                    <a:lnTo>
                      <a:pt x="3412" y="3123"/>
                    </a:lnTo>
                    <a:lnTo>
                      <a:pt x="3765" y="3919"/>
                    </a:lnTo>
                    <a:lnTo>
                      <a:pt x="2447" y="4597"/>
                    </a:lnTo>
                    <a:lnTo>
                      <a:pt x="3671" y="4714"/>
                    </a:lnTo>
                    <a:lnTo>
                      <a:pt x="4635" y="3802"/>
                    </a:lnTo>
                    <a:lnTo>
                      <a:pt x="4141" y="3608"/>
                    </a:lnTo>
                    <a:lnTo>
                      <a:pt x="4635" y="2813"/>
                    </a:lnTo>
                    <a:lnTo>
                      <a:pt x="5129" y="2619"/>
                    </a:lnTo>
                    <a:lnTo>
                      <a:pt x="5365" y="2017"/>
                    </a:lnTo>
                    <a:lnTo>
                      <a:pt x="6212" y="1513"/>
                    </a:lnTo>
                    <a:lnTo>
                      <a:pt x="7318" y="989"/>
                    </a:lnTo>
                    <a:lnTo>
                      <a:pt x="9506" y="912"/>
                    </a:lnTo>
                    <a:lnTo>
                      <a:pt x="9247" y="1513"/>
                    </a:lnTo>
                    <a:lnTo>
                      <a:pt x="9506" y="1804"/>
                    </a:lnTo>
                    <a:lnTo>
                      <a:pt x="9153" y="2619"/>
                    </a:lnTo>
                    <a:lnTo>
                      <a:pt x="8188" y="3802"/>
                    </a:lnTo>
                    <a:lnTo>
                      <a:pt x="9153" y="3317"/>
                    </a:lnTo>
                    <a:lnTo>
                      <a:pt x="9506" y="3414"/>
                    </a:lnTo>
                    <a:lnTo>
                      <a:pt x="10494" y="3802"/>
                    </a:lnTo>
                    <a:lnTo>
                      <a:pt x="10353" y="3317"/>
                    </a:lnTo>
                    <a:lnTo>
                      <a:pt x="11082" y="3007"/>
                    </a:lnTo>
                    <a:lnTo>
                      <a:pt x="11812" y="3123"/>
                    </a:lnTo>
                    <a:lnTo>
                      <a:pt x="13059" y="3414"/>
                    </a:lnTo>
                    <a:lnTo>
                      <a:pt x="13294" y="3919"/>
                    </a:lnTo>
                    <a:lnTo>
                      <a:pt x="12329" y="4113"/>
                    </a:lnTo>
                    <a:lnTo>
                      <a:pt x="13059" y="4403"/>
                    </a:lnTo>
                    <a:lnTo>
                      <a:pt x="12329" y="4714"/>
                    </a:lnTo>
                    <a:lnTo>
                      <a:pt x="13388" y="4908"/>
                    </a:lnTo>
                    <a:lnTo>
                      <a:pt x="13647" y="5723"/>
                    </a:lnTo>
                    <a:lnTo>
                      <a:pt x="14400" y="5121"/>
                    </a:lnTo>
                    <a:lnTo>
                      <a:pt x="14988" y="5432"/>
                    </a:lnTo>
                    <a:lnTo>
                      <a:pt x="15224" y="5917"/>
                    </a:lnTo>
                    <a:lnTo>
                      <a:pt x="15224" y="6421"/>
                    </a:lnTo>
                    <a:lnTo>
                      <a:pt x="15953" y="6828"/>
                    </a:lnTo>
                    <a:lnTo>
                      <a:pt x="16565" y="7333"/>
                    </a:lnTo>
                    <a:lnTo>
                      <a:pt x="15953" y="7818"/>
                    </a:lnTo>
                    <a:lnTo>
                      <a:pt x="16824" y="7818"/>
                    </a:lnTo>
                    <a:lnTo>
                      <a:pt x="17176" y="8516"/>
                    </a:lnTo>
                    <a:lnTo>
                      <a:pt x="15835" y="8632"/>
                    </a:lnTo>
                    <a:lnTo>
                      <a:pt x="17435" y="9350"/>
                    </a:lnTo>
                    <a:lnTo>
                      <a:pt x="16565" y="9350"/>
                    </a:lnTo>
                    <a:lnTo>
                      <a:pt x="15600" y="9641"/>
                    </a:lnTo>
                    <a:lnTo>
                      <a:pt x="16188" y="10223"/>
                    </a:lnTo>
                    <a:lnTo>
                      <a:pt x="16824" y="11057"/>
                    </a:lnTo>
                    <a:lnTo>
                      <a:pt x="18024" y="11445"/>
                    </a:lnTo>
                    <a:lnTo>
                      <a:pt x="18400" y="12726"/>
                    </a:lnTo>
                    <a:lnTo>
                      <a:pt x="19365" y="12726"/>
                    </a:lnTo>
                    <a:lnTo>
                      <a:pt x="19976" y="13036"/>
                    </a:lnTo>
                    <a:lnTo>
                      <a:pt x="19741" y="13560"/>
                    </a:lnTo>
                    <a:lnTo>
                      <a:pt x="18541" y="14355"/>
                    </a:lnTo>
                    <a:lnTo>
                      <a:pt x="17529" y="14665"/>
                    </a:lnTo>
                    <a:lnTo>
                      <a:pt x="16941" y="15655"/>
                    </a:lnTo>
                    <a:lnTo>
                      <a:pt x="16188" y="14956"/>
                    </a:lnTo>
                    <a:lnTo>
                      <a:pt x="15600" y="13851"/>
                    </a:lnTo>
                    <a:lnTo>
                      <a:pt x="15224" y="13036"/>
                    </a:lnTo>
                    <a:lnTo>
                      <a:pt x="14400" y="13036"/>
                    </a:lnTo>
                    <a:lnTo>
                      <a:pt x="14635" y="13637"/>
                    </a:lnTo>
                    <a:lnTo>
                      <a:pt x="13647" y="13851"/>
                    </a:lnTo>
                    <a:lnTo>
                      <a:pt x="14024" y="14859"/>
                    </a:lnTo>
                    <a:lnTo>
                      <a:pt x="14635" y="15655"/>
                    </a:lnTo>
                    <a:lnTo>
                      <a:pt x="15459" y="16450"/>
                    </a:lnTo>
                    <a:lnTo>
                      <a:pt x="15600" y="17769"/>
                    </a:lnTo>
                    <a:lnTo>
                      <a:pt x="14988" y="18661"/>
                    </a:lnTo>
                    <a:lnTo>
                      <a:pt x="14635" y="19069"/>
                    </a:lnTo>
                    <a:lnTo>
                      <a:pt x="14024" y="18661"/>
                    </a:lnTo>
                    <a:lnTo>
                      <a:pt x="13059" y="17866"/>
                    </a:lnTo>
                    <a:lnTo>
                      <a:pt x="11694" y="16954"/>
                    </a:lnTo>
                    <a:lnTo>
                      <a:pt x="12424" y="18351"/>
                    </a:lnTo>
                    <a:lnTo>
                      <a:pt x="13294" y="19379"/>
                    </a:lnTo>
                    <a:lnTo>
                      <a:pt x="13294" y="1998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4" name="Freeform 65"/>
              <p:cNvSpPr>
                <a:spLocks/>
              </p:cNvSpPr>
              <p:nvPr/>
            </p:nvSpPr>
            <p:spPr bwMode="auto">
              <a:xfrm>
                <a:off x="3257550" y="1119188"/>
                <a:ext cx="769938" cy="457200"/>
              </a:xfrm>
              <a:custGeom>
                <a:avLst/>
                <a:gdLst>
                  <a:gd name="T0" fmla="*/ 4106 w 20000"/>
                  <a:gd name="T1" fmla="*/ 19667 h 20000"/>
                  <a:gd name="T2" fmla="*/ 4270 w 20000"/>
                  <a:gd name="T3" fmla="*/ 18835 h 20000"/>
                  <a:gd name="T4" fmla="*/ 3397 w 20000"/>
                  <a:gd name="T5" fmla="*/ 18946 h 20000"/>
                  <a:gd name="T6" fmla="*/ 758 w 20000"/>
                  <a:gd name="T7" fmla="*/ 18086 h 20000"/>
                  <a:gd name="T8" fmla="*/ 66 w 20000"/>
                  <a:gd name="T9" fmla="*/ 16949 h 20000"/>
                  <a:gd name="T10" fmla="*/ 1105 w 20000"/>
                  <a:gd name="T11" fmla="*/ 15506 h 20000"/>
                  <a:gd name="T12" fmla="*/ 2045 w 20000"/>
                  <a:gd name="T13" fmla="*/ 15090 h 20000"/>
                  <a:gd name="T14" fmla="*/ 2885 w 20000"/>
                  <a:gd name="T15" fmla="*/ 14064 h 20000"/>
                  <a:gd name="T16" fmla="*/ 3149 w 20000"/>
                  <a:gd name="T17" fmla="*/ 16227 h 20000"/>
                  <a:gd name="T18" fmla="*/ 4946 w 20000"/>
                  <a:gd name="T19" fmla="*/ 15090 h 20000"/>
                  <a:gd name="T20" fmla="*/ 3842 w 20000"/>
                  <a:gd name="T21" fmla="*/ 15201 h 20000"/>
                  <a:gd name="T22" fmla="*/ 5375 w 20000"/>
                  <a:gd name="T23" fmla="*/ 12067 h 20000"/>
                  <a:gd name="T24" fmla="*/ 6134 w 20000"/>
                  <a:gd name="T25" fmla="*/ 12483 h 20000"/>
                  <a:gd name="T26" fmla="*/ 6051 w 20000"/>
                  <a:gd name="T27" fmla="*/ 11623 h 20000"/>
                  <a:gd name="T28" fmla="*/ 5622 w 20000"/>
                  <a:gd name="T29" fmla="*/ 9071 h 20000"/>
                  <a:gd name="T30" fmla="*/ 6562 w 20000"/>
                  <a:gd name="T31" fmla="*/ 7490 h 20000"/>
                  <a:gd name="T32" fmla="*/ 7420 w 20000"/>
                  <a:gd name="T33" fmla="*/ 9487 h 20000"/>
                  <a:gd name="T34" fmla="*/ 8359 w 20000"/>
                  <a:gd name="T35" fmla="*/ 10208 h 20000"/>
                  <a:gd name="T36" fmla="*/ 7683 w 20000"/>
                  <a:gd name="T37" fmla="*/ 8044 h 20000"/>
                  <a:gd name="T38" fmla="*/ 9728 w 20000"/>
                  <a:gd name="T39" fmla="*/ 7906 h 20000"/>
                  <a:gd name="T40" fmla="*/ 10585 w 20000"/>
                  <a:gd name="T41" fmla="*/ 6907 h 20000"/>
                  <a:gd name="T42" fmla="*/ 10404 w 20000"/>
                  <a:gd name="T43" fmla="*/ 6186 h 20000"/>
                  <a:gd name="T44" fmla="*/ 7585 w 20000"/>
                  <a:gd name="T45" fmla="*/ 7184 h 20000"/>
                  <a:gd name="T46" fmla="*/ 7585 w 20000"/>
                  <a:gd name="T47" fmla="*/ 5603 h 20000"/>
                  <a:gd name="T48" fmla="*/ 7848 w 20000"/>
                  <a:gd name="T49" fmla="*/ 5049 h 20000"/>
                  <a:gd name="T50" fmla="*/ 5622 w 20000"/>
                  <a:gd name="T51" fmla="*/ 4882 h 20000"/>
                  <a:gd name="T52" fmla="*/ 5375 w 20000"/>
                  <a:gd name="T53" fmla="*/ 4161 h 20000"/>
                  <a:gd name="T54" fmla="*/ 5787 w 20000"/>
                  <a:gd name="T55" fmla="*/ 2746 h 20000"/>
                  <a:gd name="T56" fmla="*/ 7238 w 20000"/>
                  <a:gd name="T57" fmla="*/ 1886 h 20000"/>
                  <a:gd name="T58" fmla="*/ 8524 w 20000"/>
                  <a:gd name="T59" fmla="*/ 1886 h 20000"/>
                  <a:gd name="T60" fmla="*/ 9052 w 20000"/>
                  <a:gd name="T61" fmla="*/ 1165 h 20000"/>
                  <a:gd name="T62" fmla="*/ 10585 w 20000"/>
                  <a:gd name="T63" fmla="*/ 1165 h 20000"/>
                  <a:gd name="T64" fmla="*/ 11261 w 20000"/>
                  <a:gd name="T65" fmla="*/ 3024 h 20000"/>
                  <a:gd name="T66" fmla="*/ 12119 w 20000"/>
                  <a:gd name="T67" fmla="*/ 444 h 20000"/>
                  <a:gd name="T68" fmla="*/ 13916 w 20000"/>
                  <a:gd name="T69" fmla="*/ 2330 h 20000"/>
                  <a:gd name="T70" fmla="*/ 15268 w 20000"/>
                  <a:gd name="T71" fmla="*/ 749 h 20000"/>
                  <a:gd name="T72" fmla="*/ 15878 w 20000"/>
                  <a:gd name="T73" fmla="*/ 860 h 20000"/>
                  <a:gd name="T74" fmla="*/ 16373 w 20000"/>
                  <a:gd name="T75" fmla="*/ 1581 h 20000"/>
                  <a:gd name="T76" fmla="*/ 17246 w 20000"/>
                  <a:gd name="T77" fmla="*/ 860 h 20000"/>
                  <a:gd name="T78" fmla="*/ 18434 w 20000"/>
                  <a:gd name="T79" fmla="*/ 2330 h 20000"/>
                  <a:gd name="T80" fmla="*/ 18434 w 20000"/>
                  <a:gd name="T81" fmla="*/ 3024 h 20000"/>
                  <a:gd name="T82" fmla="*/ 19984 w 20000"/>
                  <a:gd name="T83" fmla="*/ 5049 h 20000"/>
                  <a:gd name="T84" fmla="*/ 18434 w 20000"/>
                  <a:gd name="T85" fmla="*/ 6463 h 20000"/>
                  <a:gd name="T86" fmla="*/ 15697 w 20000"/>
                  <a:gd name="T87" fmla="*/ 6768 h 20000"/>
                  <a:gd name="T88" fmla="*/ 17659 w 20000"/>
                  <a:gd name="T89" fmla="*/ 7184 h 20000"/>
                  <a:gd name="T90" fmla="*/ 15268 w 20000"/>
                  <a:gd name="T91" fmla="*/ 8766 h 20000"/>
                  <a:gd name="T92" fmla="*/ 13735 w 20000"/>
                  <a:gd name="T93" fmla="*/ 10208 h 20000"/>
                  <a:gd name="T94" fmla="*/ 11954 w 20000"/>
                  <a:gd name="T95" fmla="*/ 11789 h 20000"/>
                  <a:gd name="T96" fmla="*/ 9893 w 20000"/>
                  <a:gd name="T97" fmla="*/ 12067 h 20000"/>
                  <a:gd name="T98" fmla="*/ 8112 w 20000"/>
                  <a:gd name="T99" fmla="*/ 12926 h 20000"/>
                  <a:gd name="T100" fmla="*/ 9629 w 20000"/>
                  <a:gd name="T101" fmla="*/ 13953 h 20000"/>
                  <a:gd name="T102" fmla="*/ 8524 w 20000"/>
                  <a:gd name="T103" fmla="*/ 15784 h 20000"/>
                  <a:gd name="T104" fmla="*/ 6991 w 20000"/>
                  <a:gd name="T105" fmla="*/ 16505 h 20000"/>
                  <a:gd name="T106" fmla="*/ 5458 w 20000"/>
                  <a:gd name="T107" fmla="*/ 16949 h 20000"/>
                  <a:gd name="T108" fmla="*/ 4683 w 20000"/>
                  <a:gd name="T109" fmla="*/ 16949 h 20000"/>
                  <a:gd name="T110" fmla="*/ 6298 w 20000"/>
                  <a:gd name="T111" fmla="*/ 18086 h 20000"/>
                  <a:gd name="T112" fmla="*/ 5029 w 20000"/>
                  <a:gd name="T113" fmla="*/ 199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00" h="20000">
                    <a:moveTo>
                      <a:pt x="5029" y="19972"/>
                    </a:moveTo>
                    <a:lnTo>
                      <a:pt x="4106" y="19667"/>
                    </a:lnTo>
                    <a:lnTo>
                      <a:pt x="4336" y="19223"/>
                    </a:lnTo>
                    <a:lnTo>
                      <a:pt x="4270" y="18835"/>
                    </a:lnTo>
                    <a:lnTo>
                      <a:pt x="3842" y="18086"/>
                    </a:lnTo>
                    <a:lnTo>
                      <a:pt x="3397" y="18946"/>
                    </a:lnTo>
                    <a:lnTo>
                      <a:pt x="1880" y="18835"/>
                    </a:lnTo>
                    <a:lnTo>
                      <a:pt x="758" y="18086"/>
                    </a:lnTo>
                    <a:lnTo>
                      <a:pt x="0" y="17365"/>
                    </a:lnTo>
                    <a:lnTo>
                      <a:pt x="66" y="16949"/>
                    </a:lnTo>
                    <a:lnTo>
                      <a:pt x="495" y="16227"/>
                    </a:lnTo>
                    <a:lnTo>
                      <a:pt x="1105" y="15506"/>
                    </a:lnTo>
                    <a:lnTo>
                      <a:pt x="2045" y="16227"/>
                    </a:lnTo>
                    <a:lnTo>
                      <a:pt x="2045" y="15090"/>
                    </a:lnTo>
                    <a:lnTo>
                      <a:pt x="2209" y="14064"/>
                    </a:lnTo>
                    <a:lnTo>
                      <a:pt x="2885" y="14064"/>
                    </a:lnTo>
                    <a:lnTo>
                      <a:pt x="2984" y="15201"/>
                    </a:lnTo>
                    <a:lnTo>
                      <a:pt x="3149" y="16227"/>
                    </a:lnTo>
                    <a:lnTo>
                      <a:pt x="3842" y="16227"/>
                    </a:lnTo>
                    <a:lnTo>
                      <a:pt x="4946" y="15090"/>
                    </a:lnTo>
                    <a:lnTo>
                      <a:pt x="4518" y="15090"/>
                    </a:lnTo>
                    <a:lnTo>
                      <a:pt x="3842" y="15201"/>
                    </a:lnTo>
                    <a:lnTo>
                      <a:pt x="4782" y="11623"/>
                    </a:lnTo>
                    <a:lnTo>
                      <a:pt x="5375" y="12067"/>
                    </a:lnTo>
                    <a:lnTo>
                      <a:pt x="5886" y="13204"/>
                    </a:lnTo>
                    <a:lnTo>
                      <a:pt x="6134" y="12483"/>
                    </a:lnTo>
                    <a:lnTo>
                      <a:pt x="6744" y="11789"/>
                    </a:lnTo>
                    <a:lnTo>
                      <a:pt x="6051" y="11623"/>
                    </a:lnTo>
                    <a:lnTo>
                      <a:pt x="5787" y="10624"/>
                    </a:lnTo>
                    <a:lnTo>
                      <a:pt x="5622" y="9071"/>
                    </a:lnTo>
                    <a:lnTo>
                      <a:pt x="5886" y="7601"/>
                    </a:lnTo>
                    <a:lnTo>
                      <a:pt x="6562" y="7490"/>
                    </a:lnTo>
                    <a:lnTo>
                      <a:pt x="7172" y="7906"/>
                    </a:lnTo>
                    <a:lnTo>
                      <a:pt x="7420" y="9487"/>
                    </a:lnTo>
                    <a:lnTo>
                      <a:pt x="7585" y="10902"/>
                    </a:lnTo>
                    <a:lnTo>
                      <a:pt x="8359" y="10208"/>
                    </a:lnTo>
                    <a:lnTo>
                      <a:pt x="7848" y="9182"/>
                    </a:lnTo>
                    <a:lnTo>
                      <a:pt x="7683" y="8044"/>
                    </a:lnTo>
                    <a:lnTo>
                      <a:pt x="8359" y="8044"/>
                    </a:lnTo>
                    <a:lnTo>
                      <a:pt x="9728" y="7906"/>
                    </a:lnTo>
                    <a:lnTo>
                      <a:pt x="11261" y="7184"/>
                    </a:lnTo>
                    <a:lnTo>
                      <a:pt x="10585" y="6907"/>
                    </a:lnTo>
                    <a:lnTo>
                      <a:pt x="11954" y="5326"/>
                    </a:lnTo>
                    <a:lnTo>
                      <a:pt x="10404" y="6186"/>
                    </a:lnTo>
                    <a:lnTo>
                      <a:pt x="9052" y="7490"/>
                    </a:lnTo>
                    <a:lnTo>
                      <a:pt x="7585" y="7184"/>
                    </a:lnTo>
                    <a:lnTo>
                      <a:pt x="6744" y="6463"/>
                    </a:lnTo>
                    <a:lnTo>
                      <a:pt x="7585" y="5603"/>
                    </a:lnTo>
                    <a:lnTo>
                      <a:pt x="9464" y="5049"/>
                    </a:lnTo>
                    <a:lnTo>
                      <a:pt x="7848" y="5049"/>
                    </a:lnTo>
                    <a:lnTo>
                      <a:pt x="6496" y="6019"/>
                    </a:lnTo>
                    <a:lnTo>
                      <a:pt x="5622" y="4882"/>
                    </a:lnTo>
                    <a:lnTo>
                      <a:pt x="8524" y="4438"/>
                    </a:lnTo>
                    <a:lnTo>
                      <a:pt x="5375" y="4161"/>
                    </a:lnTo>
                    <a:lnTo>
                      <a:pt x="7420" y="3190"/>
                    </a:lnTo>
                    <a:lnTo>
                      <a:pt x="5787" y="2746"/>
                    </a:lnTo>
                    <a:lnTo>
                      <a:pt x="5787" y="1997"/>
                    </a:lnTo>
                    <a:lnTo>
                      <a:pt x="7238" y="1886"/>
                    </a:lnTo>
                    <a:lnTo>
                      <a:pt x="8277" y="1442"/>
                    </a:lnTo>
                    <a:lnTo>
                      <a:pt x="8524" y="1886"/>
                    </a:lnTo>
                    <a:lnTo>
                      <a:pt x="9629" y="2330"/>
                    </a:lnTo>
                    <a:lnTo>
                      <a:pt x="9052" y="1165"/>
                    </a:lnTo>
                    <a:lnTo>
                      <a:pt x="9893" y="444"/>
                    </a:lnTo>
                    <a:lnTo>
                      <a:pt x="10585" y="1165"/>
                    </a:lnTo>
                    <a:lnTo>
                      <a:pt x="10404" y="2330"/>
                    </a:lnTo>
                    <a:lnTo>
                      <a:pt x="11261" y="3024"/>
                    </a:lnTo>
                    <a:lnTo>
                      <a:pt x="11179" y="1442"/>
                    </a:lnTo>
                    <a:lnTo>
                      <a:pt x="12119" y="444"/>
                    </a:lnTo>
                    <a:lnTo>
                      <a:pt x="13306" y="166"/>
                    </a:lnTo>
                    <a:lnTo>
                      <a:pt x="13916" y="2330"/>
                    </a:lnTo>
                    <a:lnTo>
                      <a:pt x="13982" y="0"/>
                    </a:lnTo>
                    <a:lnTo>
                      <a:pt x="15268" y="749"/>
                    </a:lnTo>
                    <a:lnTo>
                      <a:pt x="15449" y="2330"/>
                    </a:lnTo>
                    <a:lnTo>
                      <a:pt x="15878" y="860"/>
                    </a:lnTo>
                    <a:lnTo>
                      <a:pt x="16208" y="749"/>
                    </a:lnTo>
                    <a:lnTo>
                      <a:pt x="16373" y="1581"/>
                    </a:lnTo>
                    <a:lnTo>
                      <a:pt x="16636" y="860"/>
                    </a:lnTo>
                    <a:lnTo>
                      <a:pt x="17246" y="860"/>
                    </a:lnTo>
                    <a:lnTo>
                      <a:pt x="17246" y="1886"/>
                    </a:lnTo>
                    <a:lnTo>
                      <a:pt x="18434" y="2330"/>
                    </a:lnTo>
                    <a:lnTo>
                      <a:pt x="17082" y="3190"/>
                    </a:lnTo>
                    <a:lnTo>
                      <a:pt x="18434" y="3024"/>
                    </a:lnTo>
                    <a:lnTo>
                      <a:pt x="19472" y="3024"/>
                    </a:lnTo>
                    <a:lnTo>
                      <a:pt x="19984" y="5049"/>
                    </a:lnTo>
                    <a:lnTo>
                      <a:pt x="19472" y="5742"/>
                    </a:lnTo>
                    <a:lnTo>
                      <a:pt x="18434" y="6463"/>
                    </a:lnTo>
                    <a:lnTo>
                      <a:pt x="17246" y="6768"/>
                    </a:lnTo>
                    <a:lnTo>
                      <a:pt x="15697" y="6768"/>
                    </a:lnTo>
                    <a:lnTo>
                      <a:pt x="16208" y="7490"/>
                    </a:lnTo>
                    <a:lnTo>
                      <a:pt x="17659" y="7184"/>
                    </a:lnTo>
                    <a:lnTo>
                      <a:pt x="16142" y="8350"/>
                    </a:lnTo>
                    <a:lnTo>
                      <a:pt x="15268" y="8766"/>
                    </a:lnTo>
                    <a:lnTo>
                      <a:pt x="14427" y="9487"/>
                    </a:lnTo>
                    <a:lnTo>
                      <a:pt x="13735" y="10208"/>
                    </a:lnTo>
                    <a:lnTo>
                      <a:pt x="12976" y="11345"/>
                    </a:lnTo>
                    <a:lnTo>
                      <a:pt x="11954" y="11789"/>
                    </a:lnTo>
                    <a:lnTo>
                      <a:pt x="10849" y="12205"/>
                    </a:lnTo>
                    <a:lnTo>
                      <a:pt x="9893" y="12067"/>
                    </a:lnTo>
                    <a:lnTo>
                      <a:pt x="9052" y="11789"/>
                    </a:lnTo>
                    <a:lnTo>
                      <a:pt x="8112" y="12926"/>
                    </a:lnTo>
                    <a:lnTo>
                      <a:pt x="9052" y="12926"/>
                    </a:lnTo>
                    <a:lnTo>
                      <a:pt x="9629" y="13953"/>
                    </a:lnTo>
                    <a:lnTo>
                      <a:pt x="8953" y="15090"/>
                    </a:lnTo>
                    <a:lnTo>
                      <a:pt x="8524" y="15784"/>
                    </a:lnTo>
                    <a:lnTo>
                      <a:pt x="7238" y="15784"/>
                    </a:lnTo>
                    <a:lnTo>
                      <a:pt x="6991" y="16505"/>
                    </a:lnTo>
                    <a:lnTo>
                      <a:pt x="6496" y="16949"/>
                    </a:lnTo>
                    <a:lnTo>
                      <a:pt x="5458" y="16949"/>
                    </a:lnTo>
                    <a:lnTo>
                      <a:pt x="5029" y="15784"/>
                    </a:lnTo>
                    <a:lnTo>
                      <a:pt x="4683" y="16949"/>
                    </a:lnTo>
                    <a:lnTo>
                      <a:pt x="5622" y="18086"/>
                    </a:lnTo>
                    <a:lnTo>
                      <a:pt x="6298" y="18086"/>
                    </a:lnTo>
                    <a:lnTo>
                      <a:pt x="5622" y="19528"/>
                    </a:lnTo>
                    <a:lnTo>
                      <a:pt x="5029" y="1997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5" name="Freeform 64"/>
              <p:cNvSpPr>
                <a:spLocks/>
              </p:cNvSpPr>
              <p:nvPr/>
            </p:nvSpPr>
            <p:spPr bwMode="auto">
              <a:xfrm>
                <a:off x="2411413" y="1552575"/>
                <a:ext cx="374650" cy="290513"/>
              </a:xfrm>
              <a:custGeom>
                <a:avLst/>
                <a:gdLst>
                  <a:gd name="T0" fmla="*/ 14721 w 20000"/>
                  <a:gd name="T1" fmla="*/ 19956 h 20000"/>
                  <a:gd name="T2" fmla="*/ 12081 w 20000"/>
                  <a:gd name="T3" fmla="*/ 18162 h 20000"/>
                  <a:gd name="T4" fmla="*/ 10694 w 20000"/>
                  <a:gd name="T5" fmla="*/ 17637 h 20000"/>
                  <a:gd name="T6" fmla="*/ 6633 w 20000"/>
                  <a:gd name="T7" fmla="*/ 18337 h 20000"/>
                  <a:gd name="T8" fmla="*/ 2437 w 20000"/>
                  <a:gd name="T9" fmla="*/ 17199 h 20000"/>
                  <a:gd name="T10" fmla="*/ 2809 w 20000"/>
                  <a:gd name="T11" fmla="*/ 15186 h 20000"/>
                  <a:gd name="T12" fmla="*/ 135 w 20000"/>
                  <a:gd name="T13" fmla="*/ 13348 h 20000"/>
                  <a:gd name="T14" fmla="*/ 135 w 20000"/>
                  <a:gd name="T15" fmla="*/ 10635 h 20000"/>
                  <a:gd name="T16" fmla="*/ 4535 w 20000"/>
                  <a:gd name="T17" fmla="*/ 11116 h 20000"/>
                  <a:gd name="T18" fmla="*/ 7885 w 20000"/>
                  <a:gd name="T19" fmla="*/ 12254 h 20000"/>
                  <a:gd name="T20" fmla="*/ 5245 w 20000"/>
                  <a:gd name="T21" fmla="*/ 9497 h 20000"/>
                  <a:gd name="T22" fmla="*/ 1015 w 20000"/>
                  <a:gd name="T23" fmla="*/ 8840 h 20000"/>
                  <a:gd name="T24" fmla="*/ 1387 w 20000"/>
                  <a:gd name="T25" fmla="*/ 6565 h 20000"/>
                  <a:gd name="T26" fmla="*/ 5956 w 20000"/>
                  <a:gd name="T27" fmla="*/ 6565 h 20000"/>
                  <a:gd name="T28" fmla="*/ 2809 w 20000"/>
                  <a:gd name="T29" fmla="*/ 5208 h 20000"/>
                  <a:gd name="T30" fmla="*/ 2267 w 20000"/>
                  <a:gd name="T31" fmla="*/ 3414 h 20000"/>
                  <a:gd name="T32" fmla="*/ 4196 w 20000"/>
                  <a:gd name="T33" fmla="*/ 2713 h 20000"/>
                  <a:gd name="T34" fmla="*/ 4535 w 20000"/>
                  <a:gd name="T35" fmla="*/ 1619 h 20000"/>
                  <a:gd name="T36" fmla="*/ 6971 w 20000"/>
                  <a:gd name="T37" fmla="*/ 919 h 20000"/>
                  <a:gd name="T38" fmla="*/ 10694 w 20000"/>
                  <a:gd name="T39" fmla="*/ 0 h 20000"/>
                  <a:gd name="T40" fmla="*/ 8900 w 20000"/>
                  <a:gd name="T41" fmla="*/ 2932 h 20000"/>
                  <a:gd name="T42" fmla="*/ 11540 w 20000"/>
                  <a:gd name="T43" fmla="*/ 2713 h 20000"/>
                  <a:gd name="T44" fmla="*/ 12420 w 20000"/>
                  <a:gd name="T45" fmla="*/ 4551 h 20000"/>
                  <a:gd name="T46" fmla="*/ 12589 w 20000"/>
                  <a:gd name="T47" fmla="*/ 5208 h 20000"/>
                  <a:gd name="T48" fmla="*/ 14349 w 20000"/>
                  <a:gd name="T49" fmla="*/ 4551 h 20000"/>
                  <a:gd name="T50" fmla="*/ 14856 w 20000"/>
                  <a:gd name="T51" fmla="*/ 3414 h 20000"/>
                  <a:gd name="T52" fmla="*/ 14856 w 20000"/>
                  <a:gd name="T53" fmla="*/ 6565 h 20000"/>
                  <a:gd name="T54" fmla="*/ 14856 w 20000"/>
                  <a:gd name="T55" fmla="*/ 8840 h 20000"/>
                  <a:gd name="T56" fmla="*/ 16311 w 20000"/>
                  <a:gd name="T57" fmla="*/ 6346 h 20000"/>
                  <a:gd name="T58" fmla="*/ 18037 w 20000"/>
                  <a:gd name="T59" fmla="*/ 2932 h 20000"/>
                  <a:gd name="T60" fmla="*/ 19425 w 20000"/>
                  <a:gd name="T61" fmla="*/ 4770 h 20000"/>
                  <a:gd name="T62" fmla="*/ 19289 w 20000"/>
                  <a:gd name="T63" fmla="*/ 7484 h 20000"/>
                  <a:gd name="T64" fmla="*/ 18037 w 20000"/>
                  <a:gd name="T65" fmla="*/ 10635 h 20000"/>
                  <a:gd name="T66" fmla="*/ 17834 w 20000"/>
                  <a:gd name="T67" fmla="*/ 12910 h 20000"/>
                  <a:gd name="T68" fmla="*/ 18579 w 20000"/>
                  <a:gd name="T69" fmla="*/ 14048 h 20000"/>
                  <a:gd name="T70" fmla="*/ 19966 w 20000"/>
                  <a:gd name="T71" fmla="*/ 16543 h 20000"/>
                  <a:gd name="T72" fmla="*/ 18376 w 20000"/>
                  <a:gd name="T73" fmla="*/ 17199 h 20000"/>
                  <a:gd name="T74" fmla="*/ 16311 w 20000"/>
                  <a:gd name="T75" fmla="*/ 17199 h 20000"/>
                  <a:gd name="T76" fmla="*/ 17157 w 20000"/>
                  <a:gd name="T77" fmla="*/ 18337 h 20000"/>
                  <a:gd name="T78" fmla="*/ 16108 w 20000"/>
                  <a:gd name="T79" fmla="*/ 199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16108" y="19956"/>
                    </a:moveTo>
                    <a:lnTo>
                      <a:pt x="14721" y="19956"/>
                    </a:lnTo>
                    <a:lnTo>
                      <a:pt x="12927" y="19037"/>
                    </a:lnTo>
                    <a:lnTo>
                      <a:pt x="12081" y="18162"/>
                    </a:lnTo>
                    <a:lnTo>
                      <a:pt x="12081" y="16543"/>
                    </a:lnTo>
                    <a:lnTo>
                      <a:pt x="10694" y="17637"/>
                    </a:lnTo>
                    <a:lnTo>
                      <a:pt x="8900" y="18162"/>
                    </a:lnTo>
                    <a:lnTo>
                      <a:pt x="6633" y="18337"/>
                    </a:lnTo>
                    <a:lnTo>
                      <a:pt x="4196" y="17637"/>
                    </a:lnTo>
                    <a:lnTo>
                      <a:pt x="2437" y="17199"/>
                    </a:lnTo>
                    <a:lnTo>
                      <a:pt x="2437" y="16105"/>
                    </a:lnTo>
                    <a:lnTo>
                      <a:pt x="2809" y="15186"/>
                    </a:lnTo>
                    <a:lnTo>
                      <a:pt x="1557" y="14048"/>
                    </a:lnTo>
                    <a:lnTo>
                      <a:pt x="135" y="13348"/>
                    </a:lnTo>
                    <a:lnTo>
                      <a:pt x="0" y="11816"/>
                    </a:lnTo>
                    <a:lnTo>
                      <a:pt x="135" y="10635"/>
                    </a:lnTo>
                    <a:lnTo>
                      <a:pt x="2437" y="10635"/>
                    </a:lnTo>
                    <a:lnTo>
                      <a:pt x="4535" y="11116"/>
                    </a:lnTo>
                    <a:lnTo>
                      <a:pt x="5956" y="11816"/>
                    </a:lnTo>
                    <a:lnTo>
                      <a:pt x="7885" y="12254"/>
                    </a:lnTo>
                    <a:lnTo>
                      <a:pt x="7343" y="11335"/>
                    </a:lnTo>
                    <a:lnTo>
                      <a:pt x="5245" y="9497"/>
                    </a:lnTo>
                    <a:lnTo>
                      <a:pt x="3316" y="9497"/>
                    </a:lnTo>
                    <a:lnTo>
                      <a:pt x="1015" y="8840"/>
                    </a:lnTo>
                    <a:lnTo>
                      <a:pt x="880" y="7484"/>
                    </a:lnTo>
                    <a:lnTo>
                      <a:pt x="1387" y="6565"/>
                    </a:lnTo>
                    <a:lnTo>
                      <a:pt x="2978" y="6565"/>
                    </a:lnTo>
                    <a:lnTo>
                      <a:pt x="5956" y="6565"/>
                    </a:lnTo>
                    <a:lnTo>
                      <a:pt x="2267" y="5646"/>
                    </a:lnTo>
                    <a:lnTo>
                      <a:pt x="2809" y="5208"/>
                    </a:lnTo>
                    <a:lnTo>
                      <a:pt x="1557" y="4551"/>
                    </a:lnTo>
                    <a:lnTo>
                      <a:pt x="2267" y="3414"/>
                    </a:lnTo>
                    <a:lnTo>
                      <a:pt x="3316" y="2932"/>
                    </a:lnTo>
                    <a:lnTo>
                      <a:pt x="4196" y="2713"/>
                    </a:lnTo>
                    <a:lnTo>
                      <a:pt x="3858" y="1794"/>
                    </a:lnTo>
                    <a:lnTo>
                      <a:pt x="4535" y="1619"/>
                    </a:lnTo>
                    <a:lnTo>
                      <a:pt x="5584" y="1619"/>
                    </a:lnTo>
                    <a:lnTo>
                      <a:pt x="6971" y="919"/>
                    </a:lnTo>
                    <a:lnTo>
                      <a:pt x="8426" y="438"/>
                    </a:lnTo>
                    <a:lnTo>
                      <a:pt x="10694" y="0"/>
                    </a:lnTo>
                    <a:lnTo>
                      <a:pt x="10355" y="1794"/>
                    </a:lnTo>
                    <a:lnTo>
                      <a:pt x="8900" y="2932"/>
                    </a:lnTo>
                    <a:lnTo>
                      <a:pt x="10694" y="2932"/>
                    </a:lnTo>
                    <a:lnTo>
                      <a:pt x="11540" y="2713"/>
                    </a:lnTo>
                    <a:lnTo>
                      <a:pt x="12589" y="3589"/>
                    </a:lnTo>
                    <a:lnTo>
                      <a:pt x="12420" y="4551"/>
                    </a:lnTo>
                    <a:lnTo>
                      <a:pt x="11201" y="5208"/>
                    </a:lnTo>
                    <a:lnTo>
                      <a:pt x="12589" y="5208"/>
                    </a:lnTo>
                    <a:lnTo>
                      <a:pt x="13841" y="5646"/>
                    </a:lnTo>
                    <a:lnTo>
                      <a:pt x="14349" y="4551"/>
                    </a:lnTo>
                    <a:lnTo>
                      <a:pt x="14349" y="2932"/>
                    </a:lnTo>
                    <a:lnTo>
                      <a:pt x="14856" y="3414"/>
                    </a:lnTo>
                    <a:lnTo>
                      <a:pt x="15601" y="4770"/>
                    </a:lnTo>
                    <a:lnTo>
                      <a:pt x="14856" y="6565"/>
                    </a:lnTo>
                    <a:lnTo>
                      <a:pt x="14349" y="8403"/>
                    </a:lnTo>
                    <a:lnTo>
                      <a:pt x="14856" y="8840"/>
                    </a:lnTo>
                    <a:lnTo>
                      <a:pt x="15770" y="8140"/>
                    </a:lnTo>
                    <a:lnTo>
                      <a:pt x="16311" y="6346"/>
                    </a:lnTo>
                    <a:lnTo>
                      <a:pt x="16988" y="4551"/>
                    </a:lnTo>
                    <a:lnTo>
                      <a:pt x="18037" y="2932"/>
                    </a:lnTo>
                    <a:lnTo>
                      <a:pt x="18917" y="3414"/>
                    </a:lnTo>
                    <a:lnTo>
                      <a:pt x="19425" y="4770"/>
                    </a:lnTo>
                    <a:lnTo>
                      <a:pt x="19797" y="5908"/>
                    </a:lnTo>
                    <a:lnTo>
                      <a:pt x="19289" y="7484"/>
                    </a:lnTo>
                    <a:lnTo>
                      <a:pt x="18579" y="9278"/>
                    </a:lnTo>
                    <a:lnTo>
                      <a:pt x="18037" y="10635"/>
                    </a:lnTo>
                    <a:lnTo>
                      <a:pt x="17496" y="11816"/>
                    </a:lnTo>
                    <a:lnTo>
                      <a:pt x="17834" y="12910"/>
                    </a:lnTo>
                    <a:lnTo>
                      <a:pt x="18376" y="14311"/>
                    </a:lnTo>
                    <a:lnTo>
                      <a:pt x="18579" y="14048"/>
                    </a:lnTo>
                    <a:lnTo>
                      <a:pt x="19289" y="15405"/>
                    </a:lnTo>
                    <a:lnTo>
                      <a:pt x="19966" y="16543"/>
                    </a:lnTo>
                    <a:lnTo>
                      <a:pt x="19289" y="18162"/>
                    </a:lnTo>
                    <a:lnTo>
                      <a:pt x="18376" y="17199"/>
                    </a:lnTo>
                    <a:lnTo>
                      <a:pt x="17157" y="17199"/>
                    </a:lnTo>
                    <a:lnTo>
                      <a:pt x="16311" y="17199"/>
                    </a:lnTo>
                    <a:lnTo>
                      <a:pt x="15770" y="19037"/>
                    </a:lnTo>
                    <a:lnTo>
                      <a:pt x="17157" y="18337"/>
                    </a:lnTo>
                    <a:lnTo>
                      <a:pt x="17157" y="19475"/>
                    </a:lnTo>
                    <a:lnTo>
                      <a:pt x="16108" y="1995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6" name="Freeform 63"/>
              <p:cNvSpPr>
                <a:spLocks/>
              </p:cNvSpPr>
              <p:nvPr/>
            </p:nvSpPr>
            <p:spPr bwMode="auto">
              <a:xfrm>
                <a:off x="3273425" y="1171575"/>
                <a:ext cx="195263" cy="242888"/>
              </a:xfrm>
              <a:custGeom>
                <a:avLst/>
                <a:gdLst>
                  <a:gd name="T0" fmla="*/ 7036 w 20000"/>
                  <a:gd name="T1" fmla="*/ 19948 h 20000"/>
                  <a:gd name="T2" fmla="*/ 3974 w 20000"/>
                  <a:gd name="T3" fmla="*/ 19687 h 20000"/>
                  <a:gd name="T4" fmla="*/ 2671 w 20000"/>
                  <a:gd name="T5" fmla="*/ 19112 h 20000"/>
                  <a:gd name="T6" fmla="*/ 0 w 20000"/>
                  <a:gd name="T7" fmla="*/ 17807 h 20000"/>
                  <a:gd name="T8" fmla="*/ 0 w 20000"/>
                  <a:gd name="T9" fmla="*/ 15352 h 20000"/>
                  <a:gd name="T10" fmla="*/ 2671 w 20000"/>
                  <a:gd name="T11" fmla="*/ 13473 h 20000"/>
                  <a:gd name="T12" fmla="*/ 8404 w 20000"/>
                  <a:gd name="T13" fmla="*/ 14308 h 20000"/>
                  <a:gd name="T14" fmla="*/ 8078 w 20000"/>
                  <a:gd name="T15" fmla="*/ 12167 h 20000"/>
                  <a:gd name="T16" fmla="*/ 3062 w 20000"/>
                  <a:gd name="T17" fmla="*/ 11854 h 20000"/>
                  <a:gd name="T18" fmla="*/ 261 w 20000"/>
                  <a:gd name="T19" fmla="*/ 11332 h 20000"/>
                  <a:gd name="T20" fmla="*/ 3974 w 20000"/>
                  <a:gd name="T21" fmla="*/ 9713 h 20000"/>
                  <a:gd name="T22" fmla="*/ 261 w 20000"/>
                  <a:gd name="T23" fmla="*/ 9713 h 20000"/>
                  <a:gd name="T24" fmla="*/ 2671 w 20000"/>
                  <a:gd name="T25" fmla="*/ 6475 h 20000"/>
                  <a:gd name="T26" fmla="*/ 5407 w 20000"/>
                  <a:gd name="T27" fmla="*/ 7781 h 20000"/>
                  <a:gd name="T28" fmla="*/ 8078 w 20000"/>
                  <a:gd name="T29" fmla="*/ 6475 h 20000"/>
                  <a:gd name="T30" fmla="*/ 5407 w 20000"/>
                  <a:gd name="T31" fmla="*/ 6475 h 20000"/>
                  <a:gd name="T32" fmla="*/ 3974 w 20000"/>
                  <a:gd name="T33" fmla="*/ 5117 h 20000"/>
                  <a:gd name="T34" fmla="*/ 6384 w 20000"/>
                  <a:gd name="T35" fmla="*/ 4021 h 20000"/>
                  <a:gd name="T36" fmla="*/ 9772 w 20000"/>
                  <a:gd name="T37" fmla="*/ 4804 h 20000"/>
                  <a:gd name="T38" fmla="*/ 10749 w 20000"/>
                  <a:gd name="T39" fmla="*/ 4021 h 20000"/>
                  <a:gd name="T40" fmla="*/ 9772 w 20000"/>
                  <a:gd name="T41" fmla="*/ 2977 h 20000"/>
                  <a:gd name="T42" fmla="*/ 11792 w 20000"/>
                  <a:gd name="T43" fmla="*/ 2141 h 20000"/>
                  <a:gd name="T44" fmla="*/ 15505 w 20000"/>
                  <a:gd name="T45" fmla="*/ 0 h 20000"/>
                  <a:gd name="T46" fmla="*/ 17915 w 20000"/>
                  <a:gd name="T47" fmla="*/ 1619 h 20000"/>
                  <a:gd name="T48" fmla="*/ 16873 w 20000"/>
                  <a:gd name="T49" fmla="*/ 3499 h 20000"/>
                  <a:gd name="T50" fmla="*/ 16873 w 20000"/>
                  <a:gd name="T51" fmla="*/ 6162 h 20000"/>
                  <a:gd name="T52" fmla="*/ 17915 w 20000"/>
                  <a:gd name="T53" fmla="*/ 6997 h 20000"/>
                  <a:gd name="T54" fmla="*/ 17264 w 20000"/>
                  <a:gd name="T55" fmla="*/ 9138 h 20000"/>
                  <a:gd name="T56" fmla="*/ 18893 w 20000"/>
                  <a:gd name="T57" fmla="*/ 10548 h 20000"/>
                  <a:gd name="T58" fmla="*/ 16873 w 20000"/>
                  <a:gd name="T59" fmla="*/ 13473 h 20000"/>
                  <a:gd name="T60" fmla="*/ 18893 w 20000"/>
                  <a:gd name="T61" fmla="*/ 12898 h 20000"/>
                  <a:gd name="T62" fmla="*/ 19935 w 20000"/>
                  <a:gd name="T63" fmla="*/ 15614 h 20000"/>
                  <a:gd name="T64" fmla="*/ 18241 w 20000"/>
                  <a:gd name="T65" fmla="*/ 15614 h 20000"/>
                  <a:gd name="T66" fmla="*/ 15505 w 20000"/>
                  <a:gd name="T67" fmla="*/ 16449 h 20000"/>
                  <a:gd name="T68" fmla="*/ 12508 w 20000"/>
                  <a:gd name="T69" fmla="*/ 17493 h 20000"/>
                  <a:gd name="T70" fmla="*/ 13550 w 20000"/>
                  <a:gd name="T71" fmla="*/ 15352 h 20000"/>
                  <a:gd name="T72" fmla="*/ 11140 w 20000"/>
                  <a:gd name="T73" fmla="*/ 16449 h 20000"/>
                  <a:gd name="T74" fmla="*/ 10749 w 20000"/>
                  <a:gd name="T75" fmla="*/ 18329 h 20000"/>
                  <a:gd name="T76" fmla="*/ 9121 w 20000"/>
                  <a:gd name="T77" fmla="*/ 18590 h 20000"/>
                  <a:gd name="T78" fmla="*/ 7036 w 20000"/>
                  <a:gd name="T79" fmla="*/ 1994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000" h="20000">
                    <a:moveTo>
                      <a:pt x="7036" y="19948"/>
                    </a:moveTo>
                    <a:lnTo>
                      <a:pt x="3974" y="19687"/>
                    </a:lnTo>
                    <a:lnTo>
                      <a:pt x="2671" y="19112"/>
                    </a:lnTo>
                    <a:lnTo>
                      <a:pt x="0" y="17807"/>
                    </a:lnTo>
                    <a:lnTo>
                      <a:pt x="0" y="15352"/>
                    </a:lnTo>
                    <a:lnTo>
                      <a:pt x="2671" y="13473"/>
                    </a:lnTo>
                    <a:lnTo>
                      <a:pt x="8404" y="14308"/>
                    </a:lnTo>
                    <a:lnTo>
                      <a:pt x="8078" y="12167"/>
                    </a:lnTo>
                    <a:lnTo>
                      <a:pt x="3062" y="11854"/>
                    </a:lnTo>
                    <a:lnTo>
                      <a:pt x="261" y="11332"/>
                    </a:lnTo>
                    <a:lnTo>
                      <a:pt x="3974" y="9713"/>
                    </a:lnTo>
                    <a:lnTo>
                      <a:pt x="261" y="9713"/>
                    </a:lnTo>
                    <a:lnTo>
                      <a:pt x="2671" y="6475"/>
                    </a:lnTo>
                    <a:lnTo>
                      <a:pt x="5407" y="7781"/>
                    </a:lnTo>
                    <a:lnTo>
                      <a:pt x="8078" y="6475"/>
                    </a:lnTo>
                    <a:lnTo>
                      <a:pt x="5407" y="6475"/>
                    </a:lnTo>
                    <a:lnTo>
                      <a:pt x="3974" y="5117"/>
                    </a:lnTo>
                    <a:lnTo>
                      <a:pt x="6384" y="4021"/>
                    </a:lnTo>
                    <a:lnTo>
                      <a:pt x="9772" y="4804"/>
                    </a:lnTo>
                    <a:lnTo>
                      <a:pt x="10749" y="4021"/>
                    </a:lnTo>
                    <a:lnTo>
                      <a:pt x="9772" y="2977"/>
                    </a:lnTo>
                    <a:lnTo>
                      <a:pt x="11792" y="2141"/>
                    </a:lnTo>
                    <a:lnTo>
                      <a:pt x="15505" y="0"/>
                    </a:lnTo>
                    <a:lnTo>
                      <a:pt x="17915" y="1619"/>
                    </a:lnTo>
                    <a:lnTo>
                      <a:pt x="16873" y="3499"/>
                    </a:lnTo>
                    <a:lnTo>
                      <a:pt x="16873" y="6162"/>
                    </a:lnTo>
                    <a:lnTo>
                      <a:pt x="17915" y="6997"/>
                    </a:lnTo>
                    <a:lnTo>
                      <a:pt x="17264" y="9138"/>
                    </a:lnTo>
                    <a:lnTo>
                      <a:pt x="18893" y="10548"/>
                    </a:lnTo>
                    <a:lnTo>
                      <a:pt x="16873" y="13473"/>
                    </a:lnTo>
                    <a:lnTo>
                      <a:pt x="18893" y="12898"/>
                    </a:lnTo>
                    <a:lnTo>
                      <a:pt x="19935" y="15614"/>
                    </a:lnTo>
                    <a:lnTo>
                      <a:pt x="18241" y="15614"/>
                    </a:lnTo>
                    <a:lnTo>
                      <a:pt x="15505" y="16449"/>
                    </a:lnTo>
                    <a:lnTo>
                      <a:pt x="12508" y="17493"/>
                    </a:lnTo>
                    <a:lnTo>
                      <a:pt x="13550" y="15352"/>
                    </a:lnTo>
                    <a:lnTo>
                      <a:pt x="11140" y="16449"/>
                    </a:lnTo>
                    <a:lnTo>
                      <a:pt x="10749" y="18329"/>
                    </a:lnTo>
                    <a:lnTo>
                      <a:pt x="9121" y="18590"/>
                    </a:lnTo>
                    <a:lnTo>
                      <a:pt x="7036" y="199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7" name="Freeform 62"/>
              <p:cNvSpPr>
                <a:spLocks/>
              </p:cNvSpPr>
              <p:nvPr/>
            </p:nvSpPr>
            <p:spPr bwMode="auto">
              <a:xfrm>
                <a:off x="2316163" y="1438275"/>
                <a:ext cx="290512" cy="184150"/>
              </a:xfrm>
              <a:custGeom>
                <a:avLst/>
                <a:gdLst>
                  <a:gd name="T0" fmla="*/ 2495 w 20000"/>
                  <a:gd name="T1" fmla="*/ 19931 h 20000"/>
                  <a:gd name="T2" fmla="*/ 1357 w 20000"/>
                  <a:gd name="T3" fmla="*/ 19931 h 20000"/>
                  <a:gd name="T4" fmla="*/ 1794 w 20000"/>
                  <a:gd name="T5" fmla="*/ 17801 h 20000"/>
                  <a:gd name="T6" fmla="*/ 1794 w 20000"/>
                  <a:gd name="T7" fmla="*/ 16014 h 20000"/>
                  <a:gd name="T8" fmla="*/ 875 w 20000"/>
                  <a:gd name="T9" fmla="*/ 14914 h 20000"/>
                  <a:gd name="T10" fmla="*/ 0 w 20000"/>
                  <a:gd name="T11" fmla="*/ 13127 h 20000"/>
                  <a:gd name="T12" fmla="*/ 2057 w 20000"/>
                  <a:gd name="T13" fmla="*/ 11340 h 20000"/>
                  <a:gd name="T14" fmla="*/ 3151 w 20000"/>
                  <a:gd name="T15" fmla="*/ 9210 h 20000"/>
                  <a:gd name="T16" fmla="*/ 4726 w 20000"/>
                  <a:gd name="T17" fmla="*/ 9210 h 20000"/>
                  <a:gd name="T18" fmla="*/ 4989 w 20000"/>
                  <a:gd name="T19" fmla="*/ 8522 h 20000"/>
                  <a:gd name="T20" fmla="*/ 4726 w 20000"/>
                  <a:gd name="T21" fmla="*/ 7423 h 20000"/>
                  <a:gd name="T22" fmla="*/ 4989 w 20000"/>
                  <a:gd name="T23" fmla="*/ 7423 h 20000"/>
                  <a:gd name="T24" fmla="*/ 5427 w 20000"/>
                  <a:gd name="T25" fmla="*/ 7423 h 20000"/>
                  <a:gd name="T26" fmla="*/ 8403 w 20000"/>
                  <a:gd name="T27" fmla="*/ 4605 h 20000"/>
                  <a:gd name="T28" fmla="*/ 7921 w 20000"/>
                  <a:gd name="T29" fmla="*/ 3162 h 20000"/>
                  <a:gd name="T30" fmla="*/ 9059 w 20000"/>
                  <a:gd name="T31" fmla="*/ 0 h 20000"/>
                  <a:gd name="T32" fmla="*/ 11554 w 20000"/>
                  <a:gd name="T33" fmla="*/ 275 h 20000"/>
                  <a:gd name="T34" fmla="*/ 11991 w 20000"/>
                  <a:gd name="T35" fmla="*/ 1100 h 20000"/>
                  <a:gd name="T36" fmla="*/ 14923 w 20000"/>
                  <a:gd name="T37" fmla="*/ 1787 h 20000"/>
                  <a:gd name="T38" fmla="*/ 14923 w 20000"/>
                  <a:gd name="T39" fmla="*/ 2818 h 20000"/>
                  <a:gd name="T40" fmla="*/ 15624 w 20000"/>
                  <a:gd name="T41" fmla="*/ 3918 h 20000"/>
                  <a:gd name="T42" fmla="*/ 14486 w 20000"/>
                  <a:gd name="T43" fmla="*/ 4948 h 20000"/>
                  <a:gd name="T44" fmla="*/ 16105 w 20000"/>
                  <a:gd name="T45" fmla="*/ 4605 h 20000"/>
                  <a:gd name="T46" fmla="*/ 16280 w 20000"/>
                  <a:gd name="T47" fmla="*/ 4605 h 20000"/>
                  <a:gd name="T48" fmla="*/ 16105 w 20000"/>
                  <a:gd name="T49" fmla="*/ 6392 h 20000"/>
                  <a:gd name="T50" fmla="*/ 17199 w 20000"/>
                  <a:gd name="T51" fmla="*/ 4948 h 20000"/>
                  <a:gd name="T52" fmla="*/ 17199 w 20000"/>
                  <a:gd name="T53" fmla="*/ 4605 h 20000"/>
                  <a:gd name="T54" fmla="*/ 18600 w 20000"/>
                  <a:gd name="T55" fmla="*/ 4948 h 20000"/>
                  <a:gd name="T56" fmla="*/ 19256 w 20000"/>
                  <a:gd name="T57" fmla="*/ 5704 h 20000"/>
                  <a:gd name="T58" fmla="*/ 19256 w 20000"/>
                  <a:gd name="T59" fmla="*/ 9210 h 20000"/>
                  <a:gd name="T60" fmla="*/ 19956 w 20000"/>
                  <a:gd name="T61" fmla="*/ 11340 h 20000"/>
                  <a:gd name="T62" fmla="*/ 18118 w 20000"/>
                  <a:gd name="T63" fmla="*/ 12096 h 20000"/>
                  <a:gd name="T64" fmla="*/ 16105 w 20000"/>
                  <a:gd name="T65" fmla="*/ 12440 h 20000"/>
                  <a:gd name="T66" fmla="*/ 13348 w 20000"/>
                  <a:gd name="T67" fmla="*/ 13127 h 20000"/>
                  <a:gd name="T68" fmla="*/ 11991 w 20000"/>
                  <a:gd name="T69" fmla="*/ 13883 h 20000"/>
                  <a:gd name="T70" fmla="*/ 10460 w 20000"/>
                  <a:gd name="T71" fmla="*/ 15258 h 20000"/>
                  <a:gd name="T72" fmla="*/ 9059 w 20000"/>
                  <a:gd name="T73" fmla="*/ 15258 h 20000"/>
                  <a:gd name="T74" fmla="*/ 8578 w 20000"/>
                  <a:gd name="T75" fmla="*/ 14914 h 20000"/>
                  <a:gd name="T76" fmla="*/ 7221 w 20000"/>
                  <a:gd name="T77" fmla="*/ 17045 h 20000"/>
                  <a:gd name="T78" fmla="*/ 6083 w 20000"/>
                  <a:gd name="T79" fmla="*/ 19519 h 20000"/>
                  <a:gd name="T80" fmla="*/ 4726 w 20000"/>
                  <a:gd name="T81" fmla="*/ 18832 h 20000"/>
                  <a:gd name="T82" fmla="*/ 2495 w 20000"/>
                  <a:gd name="T83" fmla="*/ 1993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00" h="20000">
                    <a:moveTo>
                      <a:pt x="2495" y="19931"/>
                    </a:moveTo>
                    <a:lnTo>
                      <a:pt x="1357" y="19931"/>
                    </a:lnTo>
                    <a:lnTo>
                      <a:pt x="1794" y="17801"/>
                    </a:lnTo>
                    <a:lnTo>
                      <a:pt x="1794" y="16014"/>
                    </a:lnTo>
                    <a:lnTo>
                      <a:pt x="875" y="14914"/>
                    </a:lnTo>
                    <a:lnTo>
                      <a:pt x="0" y="13127"/>
                    </a:lnTo>
                    <a:lnTo>
                      <a:pt x="2057" y="11340"/>
                    </a:lnTo>
                    <a:lnTo>
                      <a:pt x="3151" y="9210"/>
                    </a:lnTo>
                    <a:lnTo>
                      <a:pt x="4726" y="9210"/>
                    </a:lnTo>
                    <a:lnTo>
                      <a:pt x="4989" y="8522"/>
                    </a:lnTo>
                    <a:lnTo>
                      <a:pt x="4726" y="7423"/>
                    </a:lnTo>
                    <a:lnTo>
                      <a:pt x="4989" y="7423"/>
                    </a:lnTo>
                    <a:lnTo>
                      <a:pt x="5427" y="7423"/>
                    </a:lnTo>
                    <a:lnTo>
                      <a:pt x="8403" y="4605"/>
                    </a:lnTo>
                    <a:lnTo>
                      <a:pt x="7921" y="3162"/>
                    </a:lnTo>
                    <a:lnTo>
                      <a:pt x="9059" y="0"/>
                    </a:lnTo>
                    <a:lnTo>
                      <a:pt x="11554" y="275"/>
                    </a:lnTo>
                    <a:lnTo>
                      <a:pt x="11991" y="1100"/>
                    </a:lnTo>
                    <a:lnTo>
                      <a:pt x="14923" y="1787"/>
                    </a:lnTo>
                    <a:lnTo>
                      <a:pt x="14923" y="2818"/>
                    </a:lnTo>
                    <a:lnTo>
                      <a:pt x="15624" y="3918"/>
                    </a:lnTo>
                    <a:lnTo>
                      <a:pt x="14486" y="4948"/>
                    </a:lnTo>
                    <a:lnTo>
                      <a:pt x="16105" y="4605"/>
                    </a:lnTo>
                    <a:lnTo>
                      <a:pt x="16280" y="4605"/>
                    </a:lnTo>
                    <a:lnTo>
                      <a:pt x="16105" y="6392"/>
                    </a:lnTo>
                    <a:lnTo>
                      <a:pt x="17199" y="4948"/>
                    </a:lnTo>
                    <a:lnTo>
                      <a:pt x="17199" y="4605"/>
                    </a:lnTo>
                    <a:lnTo>
                      <a:pt x="18600" y="4948"/>
                    </a:lnTo>
                    <a:lnTo>
                      <a:pt x="19256" y="5704"/>
                    </a:lnTo>
                    <a:lnTo>
                      <a:pt x="19256" y="9210"/>
                    </a:lnTo>
                    <a:lnTo>
                      <a:pt x="19956" y="11340"/>
                    </a:lnTo>
                    <a:lnTo>
                      <a:pt x="18118" y="12096"/>
                    </a:lnTo>
                    <a:lnTo>
                      <a:pt x="16105" y="12440"/>
                    </a:lnTo>
                    <a:lnTo>
                      <a:pt x="13348" y="13127"/>
                    </a:lnTo>
                    <a:lnTo>
                      <a:pt x="11991" y="13883"/>
                    </a:lnTo>
                    <a:lnTo>
                      <a:pt x="10460" y="15258"/>
                    </a:lnTo>
                    <a:lnTo>
                      <a:pt x="9059" y="15258"/>
                    </a:lnTo>
                    <a:lnTo>
                      <a:pt x="8578" y="14914"/>
                    </a:lnTo>
                    <a:lnTo>
                      <a:pt x="7221" y="17045"/>
                    </a:lnTo>
                    <a:lnTo>
                      <a:pt x="6083" y="19519"/>
                    </a:lnTo>
                    <a:lnTo>
                      <a:pt x="4726" y="18832"/>
                    </a:lnTo>
                    <a:lnTo>
                      <a:pt x="2495" y="1993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8" name="Freeform 61"/>
              <p:cNvSpPr>
                <a:spLocks/>
              </p:cNvSpPr>
              <p:nvPr/>
            </p:nvSpPr>
            <p:spPr bwMode="auto">
              <a:xfrm>
                <a:off x="3121025" y="1457325"/>
                <a:ext cx="293688" cy="196850"/>
              </a:xfrm>
              <a:custGeom>
                <a:avLst/>
                <a:gdLst>
                  <a:gd name="T0" fmla="*/ 16760 w 20000"/>
                  <a:gd name="T1" fmla="*/ 19936 h 20000"/>
                  <a:gd name="T2" fmla="*/ 14125 w 20000"/>
                  <a:gd name="T3" fmla="*/ 19936 h 20000"/>
                  <a:gd name="T4" fmla="*/ 12095 w 20000"/>
                  <a:gd name="T5" fmla="*/ 18907 h 20000"/>
                  <a:gd name="T6" fmla="*/ 9201 w 20000"/>
                  <a:gd name="T7" fmla="*/ 18264 h 20000"/>
                  <a:gd name="T8" fmla="*/ 5832 w 20000"/>
                  <a:gd name="T9" fmla="*/ 17299 h 20000"/>
                  <a:gd name="T10" fmla="*/ 2894 w 20000"/>
                  <a:gd name="T11" fmla="*/ 16270 h 20000"/>
                  <a:gd name="T12" fmla="*/ 1123 w 20000"/>
                  <a:gd name="T13" fmla="*/ 13891 h 20000"/>
                  <a:gd name="T14" fmla="*/ 1771 w 20000"/>
                  <a:gd name="T15" fmla="*/ 11961 h 20000"/>
                  <a:gd name="T16" fmla="*/ 2678 w 20000"/>
                  <a:gd name="T17" fmla="*/ 9582 h 20000"/>
                  <a:gd name="T18" fmla="*/ 2894 w 20000"/>
                  <a:gd name="T19" fmla="*/ 6945 h 20000"/>
                  <a:gd name="T20" fmla="*/ 2678 w 20000"/>
                  <a:gd name="T21" fmla="*/ 5273 h 20000"/>
                  <a:gd name="T22" fmla="*/ 691 w 20000"/>
                  <a:gd name="T23" fmla="*/ 4309 h 20000"/>
                  <a:gd name="T24" fmla="*/ 0 w 20000"/>
                  <a:gd name="T25" fmla="*/ 2315 h 20000"/>
                  <a:gd name="T26" fmla="*/ 432 w 20000"/>
                  <a:gd name="T27" fmla="*/ 0 h 20000"/>
                  <a:gd name="T28" fmla="*/ 2203 w 20000"/>
                  <a:gd name="T29" fmla="*/ 0 h 20000"/>
                  <a:gd name="T30" fmla="*/ 4492 w 20000"/>
                  <a:gd name="T31" fmla="*/ 2315 h 20000"/>
                  <a:gd name="T32" fmla="*/ 5400 w 20000"/>
                  <a:gd name="T33" fmla="*/ 3280 h 20000"/>
                  <a:gd name="T34" fmla="*/ 7387 w 20000"/>
                  <a:gd name="T35" fmla="*/ 5273 h 20000"/>
                  <a:gd name="T36" fmla="*/ 8035 w 20000"/>
                  <a:gd name="T37" fmla="*/ 7588 h 20000"/>
                  <a:gd name="T38" fmla="*/ 6955 w 20000"/>
                  <a:gd name="T39" fmla="*/ 7588 h 20000"/>
                  <a:gd name="T40" fmla="*/ 6523 w 20000"/>
                  <a:gd name="T41" fmla="*/ 8617 h 20000"/>
                  <a:gd name="T42" fmla="*/ 6523 w 20000"/>
                  <a:gd name="T43" fmla="*/ 9582 h 20000"/>
                  <a:gd name="T44" fmla="*/ 7387 w 20000"/>
                  <a:gd name="T45" fmla="*/ 11961 h 20000"/>
                  <a:gd name="T46" fmla="*/ 9201 w 20000"/>
                  <a:gd name="T47" fmla="*/ 12283 h 20000"/>
                  <a:gd name="T48" fmla="*/ 10972 w 20000"/>
                  <a:gd name="T49" fmla="*/ 13633 h 20000"/>
                  <a:gd name="T50" fmla="*/ 13866 w 20000"/>
                  <a:gd name="T51" fmla="*/ 13633 h 20000"/>
                  <a:gd name="T52" fmla="*/ 15896 w 20000"/>
                  <a:gd name="T53" fmla="*/ 12990 h 20000"/>
                  <a:gd name="T54" fmla="*/ 18618 w 20000"/>
                  <a:gd name="T55" fmla="*/ 13891 h 20000"/>
                  <a:gd name="T56" fmla="*/ 19957 w 20000"/>
                  <a:gd name="T57" fmla="*/ 15627 h 20000"/>
                  <a:gd name="T58" fmla="*/ 19957 w 20000"/>
                  <a:gd name="T59" fmla="*/ 16656 h 20000"/>
                  <a:gd name="T60" fmla="*/ 18618 w 20000"/>
                  <a:gd name="T61" fmla="*/ 17942 h 20000"/>
                  <a:gd name="T62" fmla="*/ 17667 w 20000"/>
                  <a:gd name="T63" fmla="*/ 19293 h 20000"/>
                  <a:gd name="T64" fmla="*/ 16760 w 20000"/>
                  <a:gd name="T65" fmla="*/ 199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00" h="20000">
                    <a:moveTo>
                      <a:pt x="16760" y="19936"/>
                    </a:moveTo>
                    <a:lnTo>
                      <a:pt x="14125" y="19936"/>
                    </a:lnTo>
                    <a:lnTo>
                      <a:pt x="12095" y="18907"/>
                    </a:lnTo>
                    <a:lnTo>
                      <a:pt x="9201" y="18264"/>
                    </a:lnTo>
                    <a:lnTo>
                      <a:pt x="5832" y="17299"/>
                    </a:lnTo>
                    <a:lnTo>
                      <a:pt x="2894" y="16270"/>
                    </a:lnTo>
                    <a:lnTo>
                      <a:pt x="1123" y="13891"/>
                    </a:lnTo>
                    <a:lnTo>
                      <a:pt x="1771" y="11961"/>
                    </a:lnTo>
                    <a:lnTo>
                      <a:pt x="2678" y="9582"/>
                    </a:lnTo>
                    <a:lnTo>
                      <a:pt x="2894" y="6945"/>
                    </a:lnTo>
                    <a:lnTo>
                      <a:pt x="2678" y="5273"/>
                    </a:lnTo>
                    <a:lnTo>
                      <a:pt x="691" y="4309"/>
                    </a:lnTo>
                    <a:lnTo>
                      <a:pt x="0" y="2315"/>
                    </a:lnTo>
                    <a:lnTo>
                      <a:pt x="432" y="0"/>
                    </a:lnTo>
                    <a:lnTo>
                      <a:pt x="2203" y="0"/>
                    </a:lnTo>
                    <a:lnTo>
                      <a:pt x="4492" y="2315"/>
                    </a:lnTo>
                    <a:lnTo>
                      <a:pt x="5400" y="3280"/>
                    </a:lnTo>
                    <a:lnTo>
                      <a:pt x="7387" y="5273"/>
                    </a:lnTo>
                    <a:lnTo>
                      <a:pt x="8035" y="7588"/>
                    </a:lnTo>
                    <a:lnTo>
                      <a:pt x="6955" y="7588"/>
                    </a:lnTo>
                    <a:lnTo>
                      <a:pt x="6523" y="8617"/>
                    </a:lnTo>
                    <a:lnTo>
                      <a:pt x="6523" y="9582"/>
                    </a:lnTo>
                    <a:lnTo>
                      <a:pt x="7387" y="11961"/>
                    </a:lnTo>
                    <a:lnTo>
                      <a:pt x="9201" y="12283"/>
                    </a:lnTo>
                    <a:lnTo>
                      <a:pt x="10972" y="13633"/>
                    </a:lnTo>
                    <a:lnTo>
                      <a:pt x="13866" y="13633"/>
                    </a:lnTo>
                    <a:lnTo>
                      <a:pt x="15896" y="12990"/>
                    </a:lnTo>
                    <a:lnTo>
                      <a:pt x="18618" y="13891"/>
                    </a:lnTo>
                    <a:lnTo>
                      <a:pt x="19957" y="15627"/>
                    </a:lnTo>
                    <a:lnTo>
                      <a:pt x="19957" y="16656"/>
                    </a:lnTo>
                    <a:lnTo>
                      <a:pt x="18618" y="17942"/>
                    </a:lnTo>
                    <a:lnTo>
                      <a:pt x="17667" y="19293"/>
                    </a:lnTo>
                    <a:lnTo>
                      <a:pt x="16760" y="199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89" name="Freeform 60"/>
              <p:cNvSpPr>
                <a:spLocks/>
              </p:cNvSpPr>
              <p:nvPr/>
            </p:nvSpPr>
            <p:spPr bwMode="auto">
              <a:xfrm>
                <a:off x="2644775" y="1371600"/>
                <a:ext cx="260350" cy="146050"/>
              </a:xfrm>
              <a:custGeom>
                <a:avLst/>
                <a:gdLst>
                  <a:gd name="T0" fmla="*/ 16195 w 20000"/>
                  <a:gd name="T1" fmla="*/ 19913 h 20000"/>
                  <a:gd name="T2" fmla="*/ 12098 w 20000"/>
                  <a:gd name="T3" fmla="*/ 18515 h 20000"/>
                  <a:gd name="T4" fmla="*/ 12683 w 20000"/>
                  <a:gd name="T5" fmla="*/ 17205 h 20000"/>
                  <a:gd name="T6" fmla="*/ 3512 w 20000"/>
                  <a:gd name="T7" fmla="*/ 19039 h 20000"/>
                  <a:gd name="T8" fmla="*/ 2537 w 20000"/>
                  <a:gd name="T9" fmla="*/ 16332 h 20000"/>
                  <a:gd name="T10" fmla="*/ 4829 w 20000"/>
                  <a:gd name="T11" fmla="*/ 15371 h 20000"/>
                  <a:gd name="T12" fmla="*/ 8098 w 20000"/>
                  <a:gd name="T13" fmla="*/ 15371 h 20000"/>
                  <a:gd name="T14" fmla="*/ 9902 w 20000"/>
                  <a:gd name="T15" fmla="*/ 13100 h 20000"/>
                  <a:gd name="T16" fmla="*/ 5317 w 20000"/>
                  <a:gd name="T17" fmla="*/ 12664 h 20000"/>
                  <a:gd name="T18" fmla="*/ 6829 w 20000"/>
                  <a:gd name="T19" fmla="*/ 10480 h 20000"/>
                  <a:gd name="T20" fmla="*/ 6585 w 20000"/>
                  <a:gd name="T21" fmla="*/ 9432 h 20000"/>
                  <a:gd name="T22" fmla="*/ 3317 w 20000"/>
                  <a:gd name="T23" fmla="*/ 12664 h 20000"/>
                  <a:gd name="T24" fmla="*/ 1317 w 20000"/>
                  <a:gd name="T25" fmla="*/ 11790 h 20000"/>
                  <a:gd name="T26" fmla="*/ 0 w 20000"/>
                  <a:gd name="T27" fmla="*/ 8122 h 20000"/>
                  <a:gd name="T28" fmla="*/ 2780 w 20000"/>
                  <a:gd name="T29" fmla="*/ 5852 h 20000"/>
                  <a:gd name="T30" fmla="*/ 4585 w 20000"/>
                  <a:gd name="T31" fmla="*/ 3144 h 20000"/>
                  <a:gd name="T32" fmla="*/ 6829 w 20000"/>
                  <a:gd name="T33" fmla="*/ 873 h 20000"/>
                  <a:gd name="T34" fmla="*/ 9366 w 20000"/>
                  <a:gd name="T35" fmla="*/ 0 h 20000"/>
                  <a:gd name="T36" fmla="*/ 9366 w 20000"/>
                  <a:gd name="T37" fmla="*/ 3581 h 20000"/>
                  <a:gd name="T38" fmla="*/ 10634 w 20000"/>
                  <a:gd name="T39" fmla="*/ 3581 h 20000"/>
                  <a:gd name="T40" fmla="*/ 11366 w 20000"/>
                  <a:gd name="T41" fmla="*/ 5502 h 20000"/>
                  <a:gd name="T42" fmla="*/ 10878 w 20000"/>
                  <a:gd name="T43" fmla="*/ 8122 h 20000"/>
                  <a:gd name="T44" fmla="*/ 10634 w 20000"/>
                  <a:gd name="T45" fmla="*/ 11354 h 20000"/>
                  <a:gd name="T46" fmla="*/ 11902 w 20000"/>
                  <a:gd name="T47" fmla="*/ 11790 h 20000"/>
                  <a:gd name="T48" fmla="*/ 13415 w 20000"/>
                  <a:gd name="T49" fmla="*/ 13100 h 20000"/>
                  <a:gd name="T50" fmla="*/ 14683 w 20000"/>
                  <a:gd name="T51" fmla="*/ 11354 h 20000"/>
                  <a:gd name="T52" fmla="*/ 15415 w 20000"/>
                  <a:gd name="T53" fmla="*/ 8122 h 20000"/>
                  <a:gd name="T54" fmla="*/ 16683 w 20000"/>
                  <a:gd name="T55" fmla="*/ 4454 h 20000"/>
                  <a:gd name="T56" fmla="*/ 19171 w 20000"/>
                  <a:gd name="T57" fmla="*/ 2271 h 20000"/>
                  <a:gd name="T58" fmla="*/ 18488 w 20000"/>
                  <a:gd name="T59" fmla="*/ 5852 h 20000"/>
                  <a:gd name="T60" fmla="*/ 17463 w 20000"/>
                  <a:gd name="T61" fmla="*/ 10480 h 20000"/>
                  <a:gd name="T62" fmla="*/ 17951 w 20000"/>
                  <a:gd name="T63" fmla="*/ 12664 h 20000"/>
                  <a:gd name="T64" fmla="*/ 19463 w 20000"/>
                  <a:gd name="T65" fmla="*/ 11354 h 20000"/>
                  <a:gd name="T66" fmla="*/ 19951 w 20000"/>
                  <a:gd name="T67" fmla="*/ 13100 h 20000"/>
                  <a:gd name="T68" fmla="*/ 18488 w 20000"/>
                  <a:gd name="T69" fmla="*/ 17642 h 20000"/>
                  <a:gd name="T70" fmla="*/ 16195 w 20000"/>
                  <a:gd name="T71" fmla="*/ 1991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16195" y="19913"/>
                    </a:moveTo>
                    <a:lnTo>
                      <a:pt x="12098" y="18515"/>
                    </a:lnTo>
                    <a:lnTo>
                      <a:pt x="12683" y="17205"/>
                    </a:lnTo>
                    <a:lnTo>
                      <a:pt x="3512" y="19039"/>
                    </a:lnTo>
                    <a:lnTo>
                      <a:pt x="2537" y="16332"/>
                    </a:lnTo>
                    <a:lnTo>
                      <a:pt x="4829" y="15371"/>
                    </a:lnTo>
                    <a:lnTo>
                      <a:pt x="8098" y="15371"/>
                    </a:lnTo>
                    <a:lnTo>
                      <a:pt x="9902" y="13100"/>
                    </a:lnTo>
                    <a:lnTo>
                      <a:pt x="5317" y="12664"/>
                    </a:lnTo>
                    <a:lnTo>
                      <a:pt x="6829" y="10480"/>
                    </a:lnTo>
                    <a:lnTo>
                      <a:pt x="6585" y="9432"/>
                    </a:lnTo>
                    <a:lnTo>
                      <a:pt x="3317" y="12664"/>
                    </a:lnTo>
                    <a:lnTo>
                      <a:pt x="1317" y="11790"/>
                    </a:lnTo>
                    <a:lnTo>
                      <a:pt x="0" y="8122"/>
                    </a:lnTo>
                    <a:lnTo>
                      <a:pt x="2780" y="5852"/>
                    </a:lnTo>
                    <a:lnTo>
                      <a:pt x="4585" y="3144"/>
                    </a:lnTo>
                    <a:lnTo>
                      <a:pt x="6829" y="873"/>
                    </a:lnTo>
                    <a:lnTo>
                      <a:pt x="9366" y="0"/>
                    </a:lnTo>
                    <a:lnTo>
                      <a:pt x="9366" y="3581"/>
                    </a:lnTo>
                    <a:lnTo>
                      <a:pt x="10634" y="3581"/>
                    </a:lnTo>
                    <a:lnTo>
                      <a:pt x="11366" y="5502"/>
                    </a:lnTo>
                    <a:lnTo>
                      <a:pt x="10878" y="8122"/>
                    </a:lnTo>
                    <a:lnTo>
                      <a:pt x="10634" y="11354"/>
                    </a:lnTo>
                    <a:lnTo>
                      <a:pt x="11902" y="11790"/>
                    </a:lnTo>
                    <a:lnTo>
                      <a:pt x="13415" y="13100"/>
                    </a:lnTo>
                    <a:lnTo>
                      <a:pt x="14683" y="11354"/>
                    </a:lnTo>
                    <a:lnTo>
                      <a:pt x="15415" y="8122"/>
                    </a:lnTo>
                    <a:lnTo>
                      <a:pt x="16683" y="4454"/>
                    </a:lnTo>
                    <a:lnTo>
                      <a:pt x="19171" y="2271"/>
                    </a:lnTo>
                    <a:lnTo>
                      <a:pt x="18488" y="5852"/>
                    </a:lnTo>
                    <a:lnTo>
                      <a:pt x="17463" y="10480"/>
                    </a:lnTo>
                    <a:lnTo>
                      <a:pt x="17951" y="12664"/>
                    </a:lnTo>
                    <a:lnTo>
                      <a:pt x="19463" y="11354"/>
                    </a:lnTo>
                    <a:lnTo>
                      <a:pt x="19951" y="13100"/>
                    </a:lnTo>
                    <a:lnTo>
                      <a:pt x="18488" y="17642"/>
                    </a:lnTo>
                    <a:lnTo>
                      <a:pt x="16195" y="1991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0" name="Freeform 59"/>
              <p:cNvSpPr>
                <a:spLocks/>
              </p:cNvSpPr>
              <p:nvPr/>
            </p:nvSpPr>
            <p:spPr bwMode="auto">
              <a:xfrm>
                <a:off x="3451225" y="2794000"/>
                <a:ext cx="171450" cy="196850"/>
              </a:xfrm>
              <a:custGeom>
                <a:avLst/>
                <a:gdLst>
                  <a:gd name="T0" fmla="*/ 17630 w 20000"/>
                  <a:gd name="T1" fmla="*/ 19936 h 20000"/>
                  <a:gd name="T2" fmla="*/ 14963 w 20000"/>
                  <a:gd name="T3" fmla="*/ 18907 h 20000"/>
                  <a:gd name="T4" fmla="*/ 16148 w 20000"/>
                  <a:gd name="T5" fmla="*/ 16270 h 20000"/>
                  <a:gd name="T6" fmla="*/ 15704 w 20000"/>
                  <a:gd name="T7" fmla="*/ 15627 h 20000"/>
                  <a:gd name="T8" fmla="*/ 13778 w 20000"/>
                  <a:gd name="T9" fmla="*/ 17299 h 20000"/>
                  <a:gd name="T10" fmla="*/ 9556 w 20000"/>
                  <a:gd name="T11" fmla="*/ 18264 h 20000"/>
                  <a:gd name="T12" fmla="*/ 12667 w 20000"/>
                  <a:gd name="T13" fmla="*/ 16270 h 20000"/>
                  <a:gd name="T14" fmla="*/ 9556 w 20000"/>
                  <a:gd name="T15" fmla="*/ 16270 h 20000"/>
                  <a:gd name="T16" fmla="*/ 0 w 20000"/>
                  <a:gd name="T17" fmla="*/ 15627 h 20000"/>
                  <a:gd name="T18" fmla="*/ 0 w 20000"/>
                  <a:gd name="T19" fmla="*/ 13955 h 20000"/>
                  <a:gd name="T20" fmla="*/ 2667 w 20000"/>
                  <a:gd name="T21" fmla="*/ 12605 h 20000"/>
                  <a:gd name="T22" fmla="*/ 741 w 20000"/>
                  <a:gd name="T23" fmla="*/ 11961 h 20000"/>
                  <a:gd name="T24" fmla="*/ 4519 w 20000"/>
                  <a:gd name="T25" fmla="*/ 9968 h 20000"/>
                  <a:gd name="T26" fmla="*/ 4519 w 20000"/>
                  <a:gd name="T27" fmla="*/ 8682 h 20000"/>
                  <a:gd name="T28" fmla="*/ 7704 w 20000"/>
                  <a:gd name="T29" fmla="*/ 5659 h 20000"/>
                  <a:gd name="T30" fmla="*/ 9926 w 20000"/>
                  <a:gd name="T31" fmla="*/ 1672 h 20000"/>
                  <a:gd name="T32" fmla="*/ 13778 w 20000"/>
                  <a:gd name="T33" fmla="*/ 643 h 20000"/>
                  <a:gd name="T34" fmla="*/ 15704 w 20000"/>
                  <a:gd name="T35" fmla="*/ 0 h 20000"/>
                  <a:gd name="T36" fmla="*/ 13778 w 20000"/>
                  <a:gd name="T37" fmla="*/ 3023 h 20000"/>
                  <a:gd name="T38" fmla="*/ 8741 w 20000"/>
                  <a:gd name="T39" fmla="*/ 7653 h 20000"/>
                  <a:gd name="T40" fmla="*/ 11481 w 20000"/>
                  <a:gd name="T41" fmla="*/ 6688 h 20000"/>
                  <a:gd name="T42" fmla="*/ 12667 w 20000"/>
                  <a:gd name="T43" fmla="*/ 6945 h 20000"/>
                  <a:gd name="T44" fmla="*/ 11481 w 20000"/>
                  <a:gd name="T45" fmla="*/ 8682 h 20000"/>
                  <a:gd name="T46" fmla="*/ 14963 w 20000"/>
                  <a:gd name="T47" fmla="*/ 8682 h 20000"/>
                  <a:gd name="T48" fmla="*/ 18741 w 20000"/>
                  <a:gd name="T49" fmla="*/ 9968 h 20000"/>
                  <a:gd name="T50" fmla="*/ 17630 w 20000"/>
                  <a:gd name="T51" fmla="*/ 11318 h 20000"/>
                  <a:gd name="T52" fmla="*/ 17630 w 20000"/>
                  <a:gd name="T53" fmla="*/ 12990 h 20000"/>
                  <a:gd name="T54" fmla="*/ 19556 w 20000"/>
                  <a:gd name="T55" fmla="*/ 12605 h 20000"/>
                  <a:gd name="T56" fmla="*/ 19926 w 20000"/>
                  <a:gd name="T57" fmla="*/ 13955 h 20000"/>
                  <a:gd name="T58" fmla="*/ 19926 w 20000"/>
                  <a:gd name="T59" fmla="*/ 15627 h 20000"/>
                  <a:gd name="T60" fmla="*/ 19556 w 20000"/>
                  <a:gd name="T61" fmla="*/ 17299 h 20000"/>
                  <a:gd name="T62" fmla="*/ 17630 w 20000"/>
                  <a:gd name="T63" fmla="*/ 1993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7630" y="19936"/>
                    </a:moveTo>
                    <a:lnTo>
                      <a:pt x="14963" y="18907"/>
                    </a:lnTo>
                    <a:lnTo>
                      <a:pt x="16148" y="16270"/>
                    </a:lnTo>
                    <a:lnTo>
                      <a:pt x="15704" y="15627"/>
                    </a:lnTo>
                    <a:lnTo>
                      <a:pt x="13778" y="17299"/>
                    </a:lnTo>
                    <a:lnTo>
                      <a:pt x="9556" y="18264"/>
                    </a:lnTo>
                    <a:lnTo>
                      <a:pt x="12667" y="16270"/>
                    </a:lnTo>
                    <a:lnTo>
                      <a:pt x="9556" y="16270"/>
                    </a:lnTo>
                    <a:lnTo>
                      <a:pt x="0" y="15627"/>
                    </a:lnTo>
                    <a:lnTo>
                      <a:pt x="0" y="13955"/>
                    </a:lnTo>
                    <a:lnTo>
                      <a:pt x="2667" y="12605"/>
                    </a:lnTo>
                    <a:lnTo>
                      <a:pt x="741" y="11961"/>
                    </a:lnTo>
                    <a:lnTo>
                      <a:pt x="4519" y="9968"/>
                    </a:lnTo>
                    <a:lnTo>
                      <a:pt x="4519" y="8682"/>
                    </a:lnTo>
                    <a:lnTo>
                      <a:pt x="7704" y="5659"/>
                    </a:lnTo>
                    <a:lnTo>
                      <a:pt x="9926" y="1672"/>
                    </a:lnTo>
                    <a:lnTo>
                      <a:pt x="13778" y="643"/>
                    </a:lnTo>
                    <a:lnTo>
                      <a:pt x="15704" y="0"/>
                    </a:lnTo>
                    <a:lnTo>
                      <a:pt x="13778" y="3023"/>
                    </a:lnTo>
                    <a:lnTo>
                      <a:pt x="8741" y="7653"/>
                    </a:lnTo>
                    <a:lnTo>
                      <a:pt x="11481" y="6688"/>
                    </a:lnTo>
                    <a:lnTo>
                      <a:pt x="12667" y="6945"/>
                    </a:lnTo>
                    <a:lnTo>
                      <a:pt x="11481" y="8682"/>
                    </a:lnTo>
                    <a:lnTo>
                      <a:pt x="14963" y="8682"/>
                    </a:lnTo>
                    <a:lnTo>
                      <a:pt x="18741" y="9968"/>
                    </a:lnTo>
                    <a:lnTo>
                      <a:pt x="17630" y="11318"/>
                    </a:lnTo>
                    <a:lnTo>
                      <a:pt x="17630" y="12990"/>
                    </a:lnTo>
                    <a:lnTo>
                      <a:pt x="19556" y="12605"/>
                    </a:lnTo>
                    <a:lnTo>
                      <a:pt x="19926" y="13955"/>
                    </a:lnTo>
                    <a:lnTo>
                      <a:pt x="19926" y="15627"/>
                    </a:lnTo>
                    <a:lnTo>
                      <a:pt x="19556" y="17299"/>
                    </a:lnTo>
                    <a:lnTo>
                      <a:pt x="17630" y="1993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1" name="Freeform 58"/>
              <p:cNvSpPr>
                <a:spLocks/>
              </p:cNvSpPr>
              <p:nvPr/>
            </p:nvSpPr>
            <p:spPr bwMode="auto">
              <a:xfrm>
                <a:off x="2841625" y="1612900"/>
                <a:ext cx="152400" cy="146050"/>
              </a:xfrm>
              <a:custGeom>
                <a:avLst/>
                <a:gdLst>
                  <a:gd name="T0" fmla="*/ 3917 w 20000"/>
                  <a:gd name="T1" fmla="*/ 19913 h 20000"/>
                  <a:gd name="T2" fmla="*/ 2583 w 20000"/>
                  <a:gd name="T3" fmla="*/ 19039 h 20000"/>
                  <a:gd name="T4" fmla="*/ 3417 w 20000"/>
                  <a:gd name="T5" fmla="*/ 16332 h 20000"/>
                  <a:gd name="T6" fmla="*/ 2583 w 20000"/>
                  <a:gd name="T7" fmla="*/ 13100 h 20000"/>
                  <a:gd name="T8" fmla="*/ 1750 w 20000"/>
                  <a:gd name="T9" fmla="*/ 10830 h 20000"/>
                  <a:gd name="T10" fmla="*/ 0 w 20000"/>
                  <a:gd name="T11" fmla="*/ 8559 h 20000"/>
                  <a:gd name="T12" fmla="*/ 0 w 20000"/>
                  <a:gd name="T13" fmla="*/ 4978 h 20000"/>
                  <a:gd name="T14" fmla="*/ 2583 w 20000"/>
                  <a:gd name="T15" fmla="*/ 3581 h 20000"/>
                  <a:gd name="T16" fmla="*/ 2583 w 20000"/>
                  <a:gd name="T17" fmla="*/ 7249 h 20000"/>
                  <a:gd name="T18" fmla="*/ 3917 w 20000"/>
                  <a:gd name="T19" fmla="*/ 8559 h 20000"/>
                  <a:gd name="T20" fmla="*/ 6083 w 20000"/>
                  <a:gd name="T21" fmla="*/ 6725 h 20000"/>
                  <a:gd name="T22" fmla="*/ 7333 w 20000"/>
                  <a:gd name="T23" fmla="*/ 4454 h 20000"/>
                  <a:gd name="T24" fmla="*/ 9500 w 20000"/>
                  <a:gd name="T25" fmla="*/ 4454 h 20000"/>
                  <a:gd name="T26" fmla="*/ 9500 w 20000"/>
                  <a:gd name="T27" fmla="*/ 3144 h 20000"/>
                  <a:gd name="T28" fmla="*/ 7333 w 20000"/>
                  <a:gd name="T29" fmla="*/ 1397 h 20000"/>
                  <a:gd name="T30" fmla="*/ 9500 w 20000"/>
                  <a:gd name="T31" fmla="*/ 0 h 20000"/>
                  <a:gd name="T32" fmla="*/ 11750 w 20000"/>
                  <a:gd name="T33" fmla="*/ 0 h 20000"/>
                  <a:gd name="T34" fmla="*/ 13833 w 20000"/>
                  <a:gd name="T35" fmla="*/ 2271 h 20000"/>
                  <a:gd name="T36" fmla="*/ 18167 w 20000"/>
                  <a:gd name="T37" fmla="*/ 1397 h 20000"/>
                  <a:gd name="T38" fmla="*/ 19917 w 20000"/>
                  <a:gd name="T39" fmla="*/ 3144 h 20000"/>
                  <a:gd name="T40" fmla="*/ 18583 w 20000"/>
                  <a:gd name="T41" fmla="*/ 3581 h 20000"/>
                  <a:gd name="T42" fmla="*/ 16500 w 20000"/>
                  <a:gd name="T43" fmla="*/ 3581 h 20000"/>
                  <a:gd name="T44" fmla="*/ 17333 w 20000"/>
                  <a:gd name="T45" fmla="*/ 4454 h 20000"/>
                  <a:gd name="T46" fmla="*/ 16000 w 20000"/>
                  <a:gd name="T47" fmla="*/ 4454 h 20000"/>
                  <a:gd name="T48" fmla="*/ 12583 w 20000"/>
                  <a:gd name="T49" fmla="*/ 5852 h 20000"/>
                  <a:gd name="T50" fmla="*/ 12583 w 20000"/>
                  <a:gd name="T51" fmla="*/ 7249 h 20000"/>
                  <a:gd name="T52" fmla="*/ 13833 w 20000"/>
                  <a:gd name="T53" fmla="*/ 7249 h 20000"/>
                  <a:gd name="T54" fmla="*/ 15167 w 20000"/>
                  <a:gd name="T55" fmla="*/ 7249 h 20000"/>
                  <a:gd name="T56" fmla="*/ 16000 w 20000"/>
                  <a:gd name="T57" fmla="*/ 11703 h 20000"/>
                  <a:gd name="T58" fmla="*/ 13000 w 20000"/>
                  <a:gd name="T59" fmla="*/ 15371 h 20000"/>
                  <a:gd name="T60" fmla="*/ 10417 w 20000"/>
                  <a:gd name="T61" fmla="*/ 17642 h 20000"/>
                  <a:gd name="T62" fmla="*/ 7333 w 20000"/>
                  <a:gd name="T63" fmla="*/ 16681 h 20000"/>
                  <a:gd name="T64" fmla="*/ 8167 w 20000"/>
                  <a:gd name="T65" fmla="*/ 15371 h 20000"/>
                  <a:gd name="T66" fmla="*/ 6083 w 20000"/>
                  <a:gd name="T67" fmla="*/ 16681 h 20000"/>
                  <a:gd name="T68" fmla="*/ 6083 w 20000"/>
                  <a:gd name="T69" fmla="*/ 18515 h 20000"/>
                  <a:gd name="T70" fmla="*/ 3917 w 20000"/>
                  <a:gd name="T71" fmla="*/ 19913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3917" y="19913"/>
                    </a:moveTo>
                    <a:lnTo>
                      <a:pt x="2583" y="19039"/>
                    </a:lnTo>
                    <a:lnTo>
                      <a:pt x="3417" y="16332"/>
                    </a:lnTo>
                    <a:lnTo>
                      <a:pt x="2583" y="13100"/>
                    </a:lnTo>
                    <a:lnTo>
                      <a:pt x="1750" y="10830"/>
                    </a:lnTo>
                    <a:lnTo>
                      <a:pt x="0" y="8559"/>
                    </a:lnTo>
                    <a:lnTo>
                      <a:pt x="0" y="4978"/>
                    </a:lnTo>
                    <a:lnTo>
                      <a:pt x="2583" y="3581"/>
                    </a:lnTo>
                    <a:lnTo>
                      <a:pt x="2583" y="7249"/>
                    </a:lnTo>
                    <a:lnTo>
                      <a:pt x="3917" y="8559"/>
                    </a:lnTo>
                    <a:lnTo>
                      <a:pt x="6083" y="6725"/>
                    </a:lnTo>
                    <a:lnTo>
                      <a:pt x="7333" y="4454"/>
                    </a:lnTo>
                    <a:lnTo>
                      <a:pt x="9500" y="4454"/>
                    </a:lnTo>
                    <a:lnTo>
                      <a:pt x="9500" y="3144"/>
                    </a:lnTo>
                    <a:lnTo>
                      <a:pt x="7333" y="1397"/>
                    </a:lnTo>
                    <a:lnTo>
                      <a:pt x="9500" y="0"/>
                    </a:lnTo>
                    <a:lnTo>
                      <a:pt x="11750" y="0"/>
                    </a:lnTo>
                    <a:lnTo>
                      <a:pt x="13833" y="2271"/>
                    </a:lnTo>
                    <a:lnTo>
                      <a:pt x="18167" y="1397"/>
                    </a:lnTo>
                    <a:lnTo>
                      <a:pt x="19917" y="3144"/>
                    </a:lnTo>
                    <a:lnTo>
                      <a:pt x="18583" y="3581"/>
                    </a:lnTo>
                    <a:lnTo>
                      <a:pt x="16500" y="3581"/>
                    </a:lnTo>
                    <a:lnTo>
                      <a:pt x="17333" y="4454"/>
                    </a:lnTo>
                    <a:lnTo>
                      <a:pt x="16000" y="4454"/>
                    </a:lnTo>
                    <a:lnTo>
                      <a:pt x="12583" y="5852"/>
                    </a:lnTo>
                    <a:lnTo>
                      <a:pt x="12583" y="7249"/>
                    </a:lnTo>
                    <a:lnTo>
                      <a:pt x="13833" y="7249"/>
                    </a:lnTo>
                    <a:lnTo>
                      <a:pt x="15167" y="7249"/>
                    </a:lnTo>
                    <a:lnTo>
                      <a:pt x="16000" y="11703"/>
                    </a:lnTo>
                    <a:lnTo>
                      <a:pt x="13000" y="15371"/>
                    </a:lnTo>
                    <a:lnTo>
                      <a:pt x="10417" y="17642"/>
                    </a:lnTo>
                    <a:lnTo>
                      <a:pt x="7333" y="16681"/>
                    </a:lnTo>
                    <a:lnTo>
                      <a:pt x="8167" y="15371"/>
                    </a:lnTo>
                    <a:lnTo>
                      <a:pt x="6083" y="16681"/>
                    </a:lnTo>
                    <a:lnTo>
                      <a:pt x="6083" y="18515"/>
                    </a:lnTo>
                    <a:lnTo>
                      <a:pt x="3917" y="1991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2" name="Freeform 57"/>
              <p:cNvSpPr>
                <a:spLocks/>
              </p:cNvSpPr>
              <p:nvPr/>
            </p:nvSpPr>
            <p:spPr bwMode="auto">
              <a:xfrm>
                <a:off x="2930525" y="2062163"/>
                <a:ext cx="174625" cy="138112"/>
              </a:xfrm>
              <a:custGeom>
                <a:avLst/>
                <a:gdLst>
                  <a:gd name="T0" fmla="*/ 17673 w 20000"/>
                  <a:gd name="T1" fmla="*/ 19908 h 20000"/>
                  <a:gd name="T2" fmla="*/ 13527 w 20000"/>
                  <a:gd name="T3" fmla="*/ 17982 h 20000"/>
                  <a:gd name="T4" fmla="*/ 13527 w 20000"/>
                  <a:gd name="T5" fmla="*/ 14220 h 20000"/>
                  <a:gd name="T6" fmla="*/ 11636 w 20000"/>
                  <a:gd name="T7" fmla="*/ 14679 h 20000"/>
                  <a:gd name="T8" fmla="*/ 8582 w 20000"/>
                  <a:gd name="T9" fmla="*/ 17982 h 20000"/>
                  <a:gd name="T10" fmla="*/ 5964 w 20000"/>
                  <a:gd name="T11" fmla="*/ 19908 h 20000"/>
                  <a:gd name="T12" fmla="*/ 3709 w 20000"/>
                  <a:gd name="T13" fmla="*/ 19908 h 20000"/>
                  <a:gd name="T14" fmla="*/ 2982 w 20000"/>
                  <a:gd name="T15" fmla="*/ 18440 h 20000"/>
                  <a:gd name="T16" fmla="*/ 0 w 20000"/>
                  <a:gd name="T17" fmla="*/ 18440 h 20000"/>
                  <a:gd name="T18" fmla="*/ 727 w 20000"/>
                  <a:gd name="T19" fmla="*/ 17064 h 20000"/>
                  <a:gd name="T20" fmla="*/ 3709 w 20000"/>
                  <a:gd name="T21" fmla="*/ 14679 h 20000"/>
                  <a:gd name="T22" fmla="*/ 5964 w 20000"/>
                  <a:gd name="T23" fmla="*/ 7064 h 20000"/>
                  <a:gd name="T24" fmla="*/ 8582 w 20000"/>
                  <a:gd name="T25" fmla="*/ 3303 h 20000"/>
                  <a:gd name="T26" fmla="*/ 10836 w 20000"/>
                  <a:gd name="T27" fmla="*/ 0 h 20000"/>
                  <a:gd name="T28" fmla="*/ 10836 w 20000"/>
                  <a:gd name="T29" fmla="*/ 4679 h 20000"/>
                  <a:gd name="T30" fmla="*/ 12800 w 20000"/>
                  <a:gd name="T31" fmla="*/ 4220 h 20000"/>
                  <a:gd name="T32" fmla="*/ 16509 w 20000"/>
                  <a:gd name="T33" fmla="*/ 9908 h 20000"/>
                  <a:gd name="T34" fmla="*/ 16945 w 20000"/>
                  <a:gd name="T35" fmla="*/ 14679 h 20000"/>
                  <a:gd name="T36" fmla="*/ 19491 w 20000"/>
                  <a:gd name="T37" fmla="*/ 16147 h 20000"/>
                  <a:gd name="T38" fmla="*/ 19927 w 20000"/>
                  <a:gd name="T39" fmla="*/ 18440 h 20000"/>
                  <a:gd name="T40" fmla="*/ 17673 w 20000"/>
                  <a:gd name="T41" fmla="*/ 1990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17673" y="19908"/>
                    </a:moveTo>
                    <a:lnTo>
                      <a:pt x="13527" y="17982"/>
                    </a:lnTo>
                    <a:lnTo>
                      <a:pt x="13527" y="14220"/>
                    </a:lnTo>
                    <a:lnTo>
                      <a:pt x="11636" y="14679"/>
                    </a:lnTo>
                    <a:lnTo>
                      <a:pt x="8582" y="17982"/>
                    </a:lnTo>
                    <a:lnTo>
                      <a:pt x="5964" y="19908"/>
                    </a:lnTo>
                    <a:lnTo>
                      <a:pt x="3709" y="19908"/>
                    </a:lnTo>
                    <a:lnTo>
                      <a:pt x="2982" y="18440"/>
                    </a:lnTo>
                    <a:lnTo>
                      <a:pt x="0" y="18440"/>
                    </a:lnTo>
                    <a:lnTo>
                      <a:pt x="727" y="17064"/>
                    </a:lnTo>
                    <a:lnTo>
                      <a:pt x="3709" y="14679"/>
                    </a:lnTo>
                    <a:lnTo>
                      <a:pt x="5964" y="7064"/>
                    </a:lnTo>
                    <a:lnTo>
                      <a:pt x="8582" y="3303"/>
                    </a:lnTo>
                    <a:lnTo>
                      <a:pt x="10836" y="0"/>
                    </a:lnTo>
                    <a:lnTo>
                      <a:pt x="10836" y="4679"/>
                    </a:lnTo>
                    <a:lnTo>
                      <a:pt x="12800" y="4220"/>
                    </a:lnTo>
                    <a:lnTo>
                      <a:pt x="16509" y="9908"/>
                    </a:lnTo>
                    <a:lnTo>
                      <a:pt x="16945" y="14679"/>
                    </a:lnTo>
                    <a:lnTo>
                      <a:pt x="19491" y="16147"/>
                    </a:lnTo>
                    <a:lnTo>
                      <a:pt x="19927" y="18440"/>
                    </a:lnTo>
                    <a:lnTo>
                      <a:pt x="17673" y="1990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3" name="Freeform 56"/>
              <p:cNvSpPr>
                <a:spLocks/>
              </p:cNvSpPr>
              <p:nvPr/>
            </p:nvSpPr>
            <p:spPr bwMode="auto">
              <a:xfrm>
                <a:off x="2954338" y="1428750"/>
                <a:ext cx="125412" cy="125413"/>
              </a:xfrm>
              <a:custGeom>
                <a:avLst/>
                <a:gdLst>
                  <a:gd name="T0" fmla="*/ 11010 w 20000"/>
                  <a:gd name="T1" fmla="*/ 19898 h 20000"/>
                  <a:gd name="T2" fmla="*/ 4141 w 20000"/>
                  <a:gd name="T3" fmla="*/ 19391 h 20000"/>
                  <a:gd name="T4" fmla="*/ 8889 w 20000"/>
                  <a:gd name="T5" fmla="*/ 13096 h 20000"/>
                  <a:gd name="T6" fmla="*/ 606 w 20000"/>
                  <a:gd name="T7" fmla="*/ 12589 h 20000"/>
                  <a:gd name="T8" fmla="*/ 0 w 20000"/>
                  <a:gd name="T9" fmla="*/ 9949 h 20000"/>
                  <a:gd name="T10" fmla="*/ 606 w 20000"/>
                  <a:gd name="T11" fmla="*/ 4772 h 20000"/>
                  <a:gd name="T12" fmla="*/ 2121 w 20000"/>
                  <a:gd name="T13" fmla="*/ 0 h 20000"/>
                  <a:gd name="T14" fmla="*/ 4141 w 20000"/>
                  <a:gd name="T15" fmla="*/ 1624 h 20000"/>
                  <a:gd name="T16" fmla="*/ 4747 w 20000"/>
                  <a:gd name="T17" fmla="*/ 4772 h 20000"/>
                  <a:gd name="T18" fmla="*/ 6263 w 20000"/>
                  <a:gd name="T19" fmla="*/ 10964 h 20000"/>
                  <a:gd name="T20" fmla="*/ 8889 w 20000"/>
                  <a:gd name="T21" fmla="*/ 4772 h 20000"/>
                  <a:gd name="T22" fmla="*/ 11010 w 20000"/>
                  <a:gd name="T23" fmla="*/ 10964 h 20000"/>
                  <a:gd name="T24" fmla="*/ 11414 w 20000"/>
                  <a:gd name="T25" fmla="*/ 4772 h 20000"/>
                  <a:gd name="T26" fmla="*/ 15152 w 20000"/>
                  <a:gd name="T27" fmla="*/ 4772 h 20000"/>
                  <a:gd name="T28" fmla="*/ 19899 w 20000"/>
                  <a:gd name="T29" fmla="*/ 6193 h 20000"/>
                  <a:gd name="T30" fmla="*/ 19293 w 20000"/>
                  <a:gd name="T31" fmla="*/ 11574 h 20000"/>
                  <a:gd name="T32" fmla="*/ 15657 w 20000"/>
                  <a:gd name="T33" fmla="*/ 16751 h 20000"/>
                  <a:gd name="T34" fmla="*/ 11010 w 20000"/>
                  <a:gd name="T35" fmla="*/ 198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00" h="20000">
                    <a:moveTo>
                      <a:pt x="11010" y="19898"/>
                    </a:moveTo>
                    <a:lnTo>
                      <a:pt x="4141" y="19391"/>
                    </a:lnTo>
                    <a:lnTo>
                      <a:pt x="8889" y="13096"/>
                    </a:lnTo>
                    <a:lnTo>
                      <a:pt x="606" y="12589"/>
                    </a:lnTo>
                    <a:lnTo>
                      <a:pt x="0" y="9949"/>
                    </a:lnTo>
                    <a:lnTo>
                      <a:pt x="606" y="4772"/>
                    </a:lnTo>
                    <a:lnTo>
                      <a:pt x="2121" y="0"/>
                    </a:lnTo>
                    <a:lnTo>
                      <a:pt x="4141" y="1624"/>
                    </a:lnTo>
                    <a:lnTo>
                      <a:pt x="4747" y="4772"/>
                    </a:lnTo>
                    <a:lnTo>
                      <a:pt x="6263" y="10964"/>
                    </a:lnTo>
                    <a:lnTo>
                      <a:pt x="8889" y="4772"/>
                    </a:lnTo>
                    <a:lnTo>
                      <a:pt x="11010" y="10964"/>
                    </a:lnTo>
                    <a:lnTo>
                      <a:pt x="11414" y="4772"/>
                    </a:lnTo>
                    <a:lnTo>
                      <a:pt x="15152" y="4772"/>
                    </a:lnTo>
                    <a:lnTo>
                      <a:pt x="19899" y="6193"/>
                    </a:lnTo>
                    <a:lnTo>
                      <a:pt x="19293" y="11574"/>
                    </a:lnTo>
                    <a:lnTo>
                      <a:pt x="15657" y="16751"/>
                    </a:lnTo>
                    <a:lnTo>
                      <a:pt x="11010" y="1989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4" name="Freeform 55"/>
              <p:cNvSpPr>
                <a:spLocks/>
              </p:cNvSpPr>
              <p:nvPr/>
            </p:nvSpPr>
            <p:spPr bwMode="auto">
              <a:xfrm>
                <a:off x="2592388" y="1300163"/>
                <a:ext cx="207962" cy="85725"/>
              </a:xfrm>
              <a:custGeom>
                <a:avLst/>
                <a:gdLst>
                  <a:gd name="T0" fmla="*/ 2866 w 20000"/>
                  <a:gd name="T1" fmla="*/ 19852 h 20000"/>
                  <a:gd name="T2" fmla="*/ 4451 w 20000"/>
                  <a:gd name="T3" fmla="*/ 12296 h 20000"/>
                  <a:gd name="T4" fmla="*/ 1890 w 20000"/>
                  <a:gd name="T5" fmla="*/ 16000 h 20000"/>
                  <a:gd name="T6" fmla="*/ 0 w 20000"/>
                  <a:gd name="T7" fmla="*/ 14519 h 20000"/>
                  <a:gd name="T8" fmla="*/ 366 w 20000"/>
                  <a:gd name="T9" fmla="*/ 9926 h 20000"/>
                  <a:gd name="T10" fmla="*/ 4085 w 20000"/>
                  <a:gd name="T11" fmla="*/ 8444 h 20000"/>
                  <a:gd name="T12" fmla="*/ 6646 w 20000"/>
                  <a:gd name="T13" fmla="*/ 6074 h 20000"/>
                  <a:gd name="T14" fmla="*/ 10732 w 20000"/>
                  <a:gd name="T15" fmla="*/ 2370 h 20000"/>
                  <a:gd name="T16" fmla="*/ 14207 w 20000"/>
                  <a:gd name="T17" fmla="*/ 0 h 20000"/>
                  <a:gd name="T18" fmla="*/ 17439 w 20000"/>
                  <a:gd name="T19" fmla="*/ 2370 h 20000"/>
                  <a:gd name="T20" fmla="*/ 17439 w 20000"/>
                  <a:gd name="T21" fmla="*/ 0 h 20000"/>
                  <a:gd name="T22" fmla="*/ 18659 w 20000"/>
                  <a:gd name="T23" fmla="*/ 593 h 20000"/>
                  <a:gd name="T24" fmla="*/ 19939 w 20000"/>
                  <a:gd name="T25" fmla="*/ 4593 h 20000"/>
                  <a:gd name="T26" fmla="*/ 17439 w 20000"/>
                  <a:gd name="T27" fmla="*/ 6815 h 20000"/>
                  <a:gd name="T28" fmla="*/ 16707 w 20000"/>
                  <a:gd name="T29" fmla="*/ 10815 h 20000"/>
                  <a:gd name="T30" fmla="*/ 15793 w 20000"/>
                  <a:gd name="T31" fmla="*/ 10815 h 20000"/>
                  <a:gd name="T32" fmla="*/ 15793 w 20000"/>
                  <a:gd name="T33" fmla="*/ 13778 h 20000"/>
                  <a:gd name="T34" fmla="*/ 12683 w 20000"/>
                  <a:gd name="T35" fmla="*/ 14519 h 20000"/>
                  <a:gd name="T36" fmla="*/ 11707 w 20000"/>
                  <a:gd name="T37" fmla="*/ 16889 h 20000"/>
                  <a:gd name="T38" fmla="*/ 10122 w 20000"/>
                  <a:gd name="T39" fmla="*/ 14519 h 20000"/>
                  <a:gd name="T40" fmla="*/ 12683 w 20000"/>
                  <a:gd name="T41" fmla="*/ 6815 h 20000"/>
                  <a:gd name="T42" fmla="*/ 9207 w 20000"/>
                  <a:gd name="T43" fmla="*/ 10815 h 20000"/>
                  <a:gd name="T44" fmla="*/ 8476 w 20000"/>
                  <a:gd name="T45" fmla="*/ 13778 h 20000"/>
                  <a:gd name="T46" fmla="*/ 6951 w 20000"/>
                  <a:gd name="T47" fmla="*/ 16000 h 20000"/>
                  <a:gd name="T48" fmla="*/ 7622 w 20000"/>
                  <a:gd name="T49" fmla="*/ 13778 h 20000"/>
                  <a:gd name="T50" fmla="*/ 5061 w 20000"/>
                  <a:gd name="T51" fmla="*/ 16889 h 20000"/>
                  <a:gd name="T52" fmla="*/ 2866 w 20000"/>
                  <a:gd name="T53" fmla="*/ 198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00" h="20000">
                    <a:moveTo>
                      <a:pt x="2866" y="19852"/>
                    </a:moveTo>
                    <a:lnTo>
                      <a:pt x="4451" y="12296"/>
                    </a:lnTo>
                    <a:lnTo>
                      <a:pt x="1890" y="16000"/>
                    </a:lnTo>
                    <a:lnTo>
                      <a:pt x="0" y="14519"/>
                    </a:lnTo>
                    <a:lnTo>
                      <a:pt x="366" y="9926"/>
                    </a:lnTo>
                    <a:lnTo>
                      <a:pt x="4085" y="8444"/>
                    </a:lnTo>
                    <a:lnTo>
                      <a:pt x="6646" y="6074"/>
                    </a:lnTo>
                    <a:lnTo>
                      <a:pt x="10732" y="2370"/>
                    </a:lnTo>
                    <a:lnTo>
                      <a:pt x="14207" y="0"/>
                    </a:lnTo>
                    <a:lnTo>
                      <a:pt x="17439" y="2370"/>
                    </a:lnTo>
                    <a:lnTo>
                      <a:pt x="17439" y="0"/>
                    </a:lnTo>
                    <a:lnTo>
                      <a:pt x="18659" y="593"/>
                    </a:lnTo>
                    <a:lnTo>
                      <a:pt x="19939" y="4593"/>
                    </a:lnTo>
                    <a:lnTo>
                      <a:pt x="17439" y="6815"/>
                    </a:lnTo>
                    <a:lnTo>
                      <a:pt x="16707" y="10815"/>
                    </a:lnTo>
                    <a:lnTo>
                      <a:pt x="15793" y="10815"/>
                    </a:lnTo>
                    <a:lnTo>
                      <a:pt x="15793" y="13778"/>
                    </a:lnTo>
                    <a:lnTo>
                      <a:pt x="12683" y="14519"/>
                    </a:lnTo>
                    <a:lnTo>
                      <a:pt x="11707" y="16889"/>
                    </a:lnTo>
                    <a:lnTo>
                      <a:pt x="10122" y="14519"/>
                    </a:lnTo>
                    <a:lnTo>
                      <a:pt x="12683" y="6815"/>
                    </a:lnTo>
                    <a:lnTo>
                      <a:pt x="9207" y="10815"/>
                    </a:lnTo>
                    <a:lnTo>
                      <a:pt x="8476" y="13778"/>
                    </a:lnTo>
                    <a:lnTo>
                      <a:pt x="6951" y="16000"/>
                    </a:lnTo>
                    <a:lnTo>
                      <a:pt x="7622" y="13778"/>
                    </a:lnTo>
                    <a:lnTo>
                      <a:pt x="5061" y="16889"/>
                    </a:lnTo>
                    <a:lnTo>
                      <a:pt x="2866" y="1985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5" name="Freeform 54"/>
              <p:cNvSpPr>
                <a:spLocks/>
              </p:cNvSpPr>
              <p:nvPr/>
            </p:nvSpPr>
            <p:spPr bwMode="auto">
              <a:xfrm>
                <a:off x="2973388" y="1635125"/>
                <a:ext cx="165100" cy="98425"/>
              </a:xfrm>
              <a:custGeom>
                <a:avLst/>
                <a:gdLst>
                  <a:gd name="T0" fmla="*/ 2385 w 20000"/>
                  <a:gd name="T1" fmla="*/ 19872 h 20000"/>
                  <a:gd name="T2" fmla="*/ 0 w 20000"/>
                  <a:gd name="T3" fmla="*/ 17949 h 20000"/>
                  <a:gd name="T4" fmla="*/ 1231 w 20000"/>
                  <a:gd name="T5" fmla="*/ 12564 h 20000"/>
                  <a:gd name="T6" fmla="*/ 3923 w 20000"/>
                  <a:gd name="T7" fmla="*/ 5256 h 20000"/>
                  <a:gd name="T8" fmla="*/ 7538 w 20000"/>
                  <a:gd name="T9" fmla="*/ 0 h 20000"/>
                  <a:gd name="T10" fmla="*/ 13538 w 20000"/>
                  <a:gd name="T11" fmla="*/ 0 h 20000"/>
                  <a:gd name="T12" fmla="*/ 19923 w 20000"/>
                  <a:gd name="T13" fmla="*/ 5256 h 20000"/>
                  <a:gd name="T14" fmla="*/ 14769 w 20000"/>
                  <a:gd name="T15" fmla="*/ 9231 h 20000"/>
                  <a:gd name="T16" fmla="*/ 10385 w 20000"/>
                  <a:gd name="T17" fmla="*/ 16026 h 20000"/>
                  <a:gd name="T18" fmla="*/ 3923 w 20000"/>
                  <a:gd name="T19" fmla="*/ 10513 h 20000"/>
                  <a:gd name="T20" fmla="*/ 3154 w 20000"/>
                  <a:gd name="T21" fmla="*/ 13974 h 20000"/>
                  <a:gd name="T22" fmla="*/ 6385 w 20000"/>
                  <a:gd name="T23" fmla="*/ 14615 h 20000"/>
                  <a:gd name="T24" fmla="*/ 2385 w 20000"/>
                  <a:gd name="T25" fmla="*/ 198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2385" y="19872"/>
                    </a:moveTo>
                    <a:lnTo>
                      <a:pt x="0" y="17949"/>
                    </a:lnTo>
                    <a:lnTo>
                      <a:pt x="1231" y="12564"/>
                    </a:lnTo>
                    <a:lnTo>
                      <a:pt x="3923" y="5256"/>
                    </a:lnTo>
                    <a:lnTo>
                      <a:pt x="7538" y="0"/>
                    </a:lnTo>
                    <a:lnTo>
                      <a:pt x="13538" y="0"/>
                    </a:lnTo>
                    <a:lnTo>
                      <a:pt x="19923" y="5256"/>
                    </a:lnTo>
                    <a:lnTo>
                      <a:pt x="14769" y="9231"/>
                    </a:lnTo>
                    <a:lnTo>
                      <a:pt x="10385" y="16026"/>
                    </a:lnTo>
                    <a:lnTo>
                      <a:pt x="3923" y="10513"/>
                    </a:lnTo>
                    <a:lnTo>
                      <a:pt x="3154" y="13974"/>
                    </a:lnTo>
                    <a:lnTo>
                      <a:pt x="6385" y="14615"/>
                    </a:lnTo>
                    <a:lnTo>
                      <a:pt x="2385" y="1987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6" name="Freeform 53"/>
              <p:cNvSpPr>
                <a:spLocks/>
              </p:cNvSpPr>
              <p:nvPr/>
            </p:nvSpPr>
            <p:spPr bwMode="auto">
              <a:xfrm>
                <a:off x="1665288" y="2636838"/>
                <a:ext cx="98425" cy="122237"/>
              </a:xfrm>
              <a:custGeom>
                <a:avLst/>
                <a:gdLst>
                  <a:gd name="T0" fmla="*/ 19872 w 20000"/>
                  <a:gd name="T1" fmla="*/ 19896 h 20000"/>
                  <a:gd name="T2" fmla="*/ 13333 w 20000"/>
                  <a:gd name="T3" fmla="*/ 18238 h 20000"/>
                  <a:gd name="T4" fmla="*/ 10000 w 20000"/>
                  <a:gd name="T5" fmla="*/ 14404 h 20000"/>
                  <a:gd name="T6" fmla="*/ 6026 w 20000"/>
                  <a:gd name="T7" fmla="*/ 12332 h 20000"/>
                  <a:gd name="T8" fmla="*/ 0 w 20000"/>
                  <a:gd name="T9" fmla="*/ 5907 h 20000"/>
                  <a:gd name="T10" fmla="*/ 0 w 20000"/>
                  <a:gd name="T11" fmla="*/ 1036 h 20000"/>
                  <a:gd name="T12" fmla="*/ 2692 w 20000"/>
                  <a:gd name="T13" fmla="*/ 0 h 20000"/>
                  <a:gd name="T14" fmla="*/ 13333 w 20000"/>
                  <a:gd name="T15" fmla="*/ 5285 h 20000"/>
                  <a:gd name="T16" fmla="*/ 13974 w 20000"/>
                  <a:gd name="T17" fmla="*/ 10155 h 20000"/>
                  <a:gd name="T18" fmla="*/ 16538 w 20000"/>
                  <a:gd name="T19" fmla="*/ 13990 h 20000"/>
                  <a:gd name="T20" fmla="*/ 19872 w 20000"/>
                  <a:gd name="T21" fmla="*/ 1989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9872" y="19896"/>
                    </a:moveTo>
                    <a:lnTo>
                      <a:pt x="13333" y="18238"/>
                    </a:lnTo>
                    <a:lnTo>
                      <a:pt x="10000" y="14404"/>
                    </a:lnTo>
                    <a:lnTo>
                      <a:pt x="6026" y="12332"/>
                    </a:lnTo>
                    <a:lnTo>
                      <a:pt x="0" y="5907"/>
                    </a:lnTo>
                    <a:lnTo>
                      <a:pt x="0" y="1036"/>
                    </a:lnTo>
                    <a:lnTo>
                      <a:pt x="2692" y="0"/>
                    </a:lnTo>
                    <a:lnTo>
                      <a:pt x="13333" y="5285"/>
                    </a:lnTo>
                    <a:lnTo>
                      <a:pt x="13974" y="10155"/>
                    </a:lnTo>
                    <a:lnTo>
                      <a:pt x="16538" y="13990"/>
                    </a:lnTo>
                    <a:lnTo>
                      <a:pt x="19872" y="1989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7" name="Freeform 52"/>
              <p:cNvSpPr>
                <a:spLocks/>
              </p:cNvSpPr>
              <p:nvPr/>
            </p:nvSpPr>
            <p:spPr bwMode="auto">
              <a:xfrm>
                <a:off x="2852738" y="1292225"/>
                <a:ext cx="96837" cy="53975"/>
              </a:xfrm>
              <a:custGeom>
                <a:avLst/>
                <a:gdLst>
                  <a:gd name="T0" fmla="*/ 7500 w 20000"/>
                  <a:gd name="T1" fmla="*/ 19765 h 20000"/>
                  <a:gd name="T2" fmla="*/ 0 w 20000"/>
                  <a:gd name="T3" fmla="*/ 19765 h 20000"/>
                  <a:gd name="T4" fmla="*/ 0 w 20000"/>
                  <a:gd name="T5" fmla="*/ 13412 h 20000"/>
                  <a:gd name="T6" fmla="*/ 789 w 20000"/>
                  <a:gd name="T7" fmla="*/ 8706 h 20000"/>
                  <a:gd name="T8" fmla="*/ 5395 w 20000"/>
                  <a:gd name="T9" fmla="*/ 0 h 20000"/>
                  <a:gd name="T10" fmla="*/ 12368 w 20000"/>
                  <a:gd name="T11" fmla="*/ 0 h 20000"/>
                  <a:gd name="T12" fmla="*/ 19868 w 20000"/>
                  <a:gd name="T13" fmla="*/ 6353 h 20000"/>
                  <a:gd name="T14" fmla="*/ 17763 w 20000"/>
                  <a:gd name="T15" fmla="*/ 10118 h 20000"/>
                  <a:gd name="T16" fmla="*/ 12895 w 20000"/>
                  <a:gd name="T17" fmla="*/ 8706 h 20000"/>
                  <a:gd name="T18" fmla="*/ 12895 w 20000"/>
                  <a:gd name="T19" fmla="*/ 12471 h 20000"/>
                  <a:gd name="T20" fmla="*/ 14474 w 20000"/>
                  <a:gd name="T21" fmla="*/ 13412 h 20000"/>
                  <a:gd name="T22" fmla="*/ 12895 w 20000"/>
                  <a:gd name="T23" fmla="*/ 18353 h 20000"/>
                  <a:gd name="T24" fmla="*/ 7500 w 20000"/>
                  <a:gd name="T25" fmla="*/ 19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7500" y="19765"/>
                    </a:moveTo>
                    <a:lnTo>
                      <a:pt x="0" y="19765"/>
                    </a:lnTo>
                    <a:lnTo>
                      <a:pt x="0" y="13412"/>
                    </a:lnTo>
                    <a:lnTo>
                      <a:pt x="789" y="8706"/>
                    </a:lnTo>
                    <a:lnTo>
                      <a:pt x="5395" y="0"/>
                    </a:lnTo>
                    <a:lnTo>
                      <a:pt x="12368" y="0"/>
                    </a:lnTo>
                    <a:lnTo>
                      <a:pt x="19868" y="6353"/>
                    </a:lnTo>
                    <a:lnTo>
                      <a:pt x="17763" y="10118"/>
                    </a:lnTo>
                    <a:lnTo>
                      <a:pt x="12895" y="8706"/>
                    </a:lnTo>
                    <a:lnTo>
                      <a:pt x="12895" y="12471"/>
                    </a:lnTo>
                    <a:lnTo>
                      <a:pt x="14474" y="13412"/>
                    </a:lnTo>
                    <a:lnTo>
                      <a:pt x="12895" y="18353"/>
                    </a:lnTo>
                    <a:lnTo>
                      <a:pt x="7500" y="19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8" name="Freeform 51"/>
              <p:cNvSpPr>
                <a:spLocks/>
              </p:cNvSpPr>
              <p:nvPr/>
            </p:nvSpPr>
            <p:spPr bwMode="auto">
              <a:xfrm>
                <a:off x="2782888" y="1819275"/>
                <a:ext cx="85725" cy="69850"/>
              </a:xfrm>
              <a:custGeom>
                <a:avLst/>
                <a:gdLst>
                  <a:gd name="T0" fmla="*/ 16889 w 20000"/>
                  <a:gd name="T1" fmla="*/ 19818 h 20000"/>
                  <a:gd name="T2" fmla="*/ 10815 w 20000"/>
                  <a:gd name="T3" fmla="*/ 19818 h 20000"/>
                  <a:gd name="T4" fmla="*/ 6074 w 20000"/>
                  <a:gd name="T5" fmla="*/ 16909 h 20000"/>
                  <a:gd name="T6" fmla="*/ 0 w 20000"/>
                  <a:gd name="T7" fmla="*/ 10364 h 20000"/>
                  <a:gd name="T8" fmla="*/ 4444 w 20000"/>
                  <a:gd name="T9" fmla="*/ 9455 h 20000"/>
                  <a:gd name="T10" fmla="*/ 8444 w 20000"/>
                  <a:gd name="T11" fmla="*/ 4727 h 20000"/>
                  <a:gd name="T12" fmla="*/ 14519 w 20000"/>
                  <a:gd name="T13" fmla="*/ 0 h 20000"/>
                  <a:gd name="T14" fmla="*/ 18370 w 20000"/>
                  <a:gd name="T15" fmla="*/ 9455 h 20000"/>
                  <a:gd name="T16" fmla="*/ 19852 w 20000"/>
                  <a:gd name="T17" fmla="*/ 16909 h 20000"/>
                  <a:gd name="T18" fmla="*/ 16889 w 20000"/>
                  <a:gd name="T19" fmla="*/ 198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16889" y="19818"/>
                    </a:moveTo>
                    <a:lnTo>
                      <a:pt x="10815" y="19818"/>
                    </a:lnTo>
                    <a:lnTo>
                      <a:pt x="6074" y="16909"/>
                    </a:lnTo>
                    <a:lnTo>
                      <a:pt x="0" y="10364"/>
                    </a:lnTo>
                    <a:lnTo>
                      <a:pt x="4444" y="9455"/>
                    </a:lnTo>
                    <a:lnTo>
                      <a:pt x="8444" y="4727"/>
                    </a:lnTo>
                    <a:lnTo>
                      <a:pt x="14519" y="0"/>
                    </a:lnTo>
                    <a:lnTo>
                      <a:pt x="18370" y="9455"/>
                    </a:lnTo>
                    <a:lnTo>
                      <a:pt x="19852" y="16909"/>
                    </a:lnTo>
                    <a:lnTo>
                      <a:pt x="16889" y="1981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199" name="Freeform 50"/>
              <p:cNvSpPr>
                <a:spLocks/>
              </p:cNvSpPr>
              <p:nvPr/>
            </p:nvSpPr>
            <p:spPr bwMode="auto">
              <a:xfrm>
                <a:off x="3325813" y="1706563"/>
                <a:ext cx="85725" cy="66675"/>
              </a:xfrm>
              <a:custGeom>
                <a:avLst/>
                <a:gdLst>
                  <a:gd name="T0" fmla="*/ 19853 w 20000"/>
                  <a:gd name="T1" fmla="*/ 19810 h 20000"/>
                  <a:gd name="T2" fmla="*/ 12941 w 20000"/>
                  <a:gd name="T3" fmla="*/ 16000 h 20000"/>
                  <a:gd name="T4" fmla="*/ 8382 w 20000"/>
                  <a:gd name="T5" fmla="*/ 16000 h 20000"/>
                  <a:gd name="T6" fmla="*/ 2353 w 20000"/>
                  <a:gd name="T7" fmla="*/ 16000 h 20000"/>
                  <a:gd name="T8" fmla="*/ 0 w 20000"/>
                  <a:gd name="T9" fmla="*/ 12952 h 20000"/>
                  <a:gd name="T10" fmla="*/ 2353 w 20000"/>
                  <a:gd name="T11" fmla="*/ 7810 h 20000"/>
                  <a:gd name="T12" fmla="*/ 882 w 20000"/>
                  <a:gd name="T13" fmla="*/ 5143 h 20000"/>
                  <a:gd name="T14" fmla="*/ 3824 w 20000"/>
                  <a:gd name="T15" fmla="*/ 0 h 20000"/>
                  <a:gd name="T16" fmla="*/ 6912 w 20000"/>
                  <a:gd name="T17" fmla="*/ 3048 h 20000"/>
                  <a:gd name="T18" fmla="*/ 16765 w 20000"/>
                  <a:gd name="T19" fmla="*/ 7048 h 20000"/>
                  <a:gd name="T20" fmla="*/ 19853 w 20000"/>
                  <a:gd name="T21" fmla="*/ 1981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00" h="20000">
                    <a:moveTo>
                      <a:pt x="19853" y="19810"/>
                    </a:moveTo>
                    <a:lnTo>
                      <a:pt x="12941" y="16000"/>
                    </a:lnTo>
                    <a:lnTo>
                      <a:pt x="8382" y="16000"/>
                    </a:lnTo>
                    <a:lnTo>
                      <a:pt x="2353" y="16000"/>
                    </a:lnTo>
                    <a:lnTo>
                      <a:pt x="0" y="12952"/>
                    </a:lnTo>
                    <a:lnTo>
                      <a:pt x="2353" y="7810"/>
                    </a:lnTo>
                    <a:lnTo>
                      <a:pt x="882" y="5143"/>
                    </a:lnTo>
                    <a:lnTo>
                      <a:pt x="3824" y="0"/>
                    </a:lnTo>
                    <a:lnTo>
                      <a:pt x="6912" y="3048"/>
                    </a:lnTo>
                    <a:lnTo>
                      <a:pt x="16765" y="7048"/>
                    </a:lnTo>
                    <a:lnTo>
                      <a:pt x="19853" y="198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0" name="Freeform 49"/>
              <p:cNvSpPr>
                <a:spLocks/>
              </p:cNvSpPr>
              <p:nvPr/>
            </p:nvSpPr>
            <p:spPr bwMode="auto">
              <a:xfrm>
                <a:off x="3049588" y="1536700"/>
                <a:ext cx="73025" cy="60325"/>
              </a:xfrm>
              <a:custGeom>
                <a:avLst/>
                <a:gdLst>
                  <a:gd name="T0" fmla="*/ 12696 w 20000"/>
                  <a:gd name="T1" fmla="*/ 19787 h 20000"/>
                  <a:gd name="T2" fmla="*/ 3478 w 20000"/>
                  <a:gd name="T3" fmla="*/ 16596 h 20000"/>
                  <a:gd name="T4" fmla="*/ 0 w 20000"/>
                  <a:gd name="T5" fmla="*/ 10000 h 20000"/>
                  <a:gd name="T6" fmla="*/ 8174 w 20000"/>
                  <a:gd name="T7" fmla="*/ 4468 h 20000"/>
                  <a:gd name="T8" fmla="*/ 18783 w 20000"/>
                  <a:gd name="T9" fmla="*/ 0 h 20000"/>
                  <a:gd name="T10" fmla="*/ 19826 w 20000"/>
                  <a:gd name="T11" fmla="*/ 4468 h 20000"/>
                  <a:gd name="T12" fmla="*/ 19826 w 20000"/>
                  <a:gd name="T13" fmla="*/ 10000 h 20000"/>
                  <a:gd name="T14" fmla="*/ 12696 w 20000"/>
                  <a:gd name="T15" fmla="*/ 19787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2696" y="19787"/>
                    </a:moveTo>
                    <a:lnTo>
                      <a:pt x="3478" y="16596"/>
                    </a:lnTo>
                    <a:lnTo>
                      <a:pt x="0" y="10000"/>
                    </a:lnTo>
                    <a:lnTo>
                      <a:pt x="8174" y="4468"/>
                    </a:lnTo>
                    <a:lnTo>
                      <a:pt x="18783" y="0"/>
                    </a:lnTo>
                    <a:lnTo>
                      <a:pt x="19826" y="4468"/>
                    </a:lnTo>
                    <a:lnTo>
                      <a:pt x="19826" y="10000"/>
                    </a:lnTo>
                    <a:lnTo>
                      <a:pt x="12696" y="197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1" name="Freeform 48"/>
              <p:cNvSpPr>
                <a:spLocks/>
              </p:cNvSpPr>
              <p:nvPr/>
            </p:nvSpPr>
            <p:spPr bwMode="auto">
              <a:xfrm>
                <a:off x="3243263" y="1990725"/>
                <a:ext cx="66675" cy="42863"/>
              </a:xfrm>
              <a:custGeom>
                <a:avLst/>
                <a:gdLst>
                  <a:gd name="T0" fmla="*/ 8952 w 20000"/>
                  <a:gd name="T1" fmla="*/ 19706 h 20000"/>
                  <a:gd name="T2" fmla="*/ 0 w 20000"/>
                  <a:gd name="T3" fmla="*/ 16765 h 20000"/>
                  <a:gd name="T4" fmla="*/ 1905 w 20000"/>
                  <a:gd name="T5" fmla="*/ 8824 h 20000"/>
                  <a:gd name="T6" fmla="*/ 6857 w 20000"/>
                  <a:gd name="T7" fmla="*/ 1176 h 20000"/>
                  <a:gd name="T8" fmla="*/ 14857 w 20000"/>
                  <a:gd name="T9" fmla="*/ 0 h 20000"/>
                  <a:gd name="T10" fmla="*/ 19810 w 20000"/>
                  <a:gd name="T11" fmla="*/ 4118 h 20000"/>
                  <a:gd name="T12" fmla="*/ 16762 w 20000"/>
                  <a:gd name="T13" fmla="*/ 16765 h 20000"/>
                  <a:gd name="T14" fmla="*/ 8952 w 20000"/>
                  <a:gd name="T15" fmla="*/ 19706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8952" y="19706"/>
                    </a:moveTo>
                    <a:lnTo>
                      <a:pt x="0" y="16765"/>
                    </a:lnTo>
                    <a:lnTo>
                      <a:pt x="1905" y="8824"/>
                    </a:lnTo>
                    <a:lnTo>
                      <a:pt x="6857" y="1176"/>
                    </a:lnTo>
                    <a:lnTo>
                      <a:pt x="14857" y="0"/>
                    </a:lnTo>
                    <a:lnTo>
                      <a:pt x="19810" y="4118"/>
                    </a:lnTo>
                    <a:lnTo>
                      <a:pt x="16762" y="16765"/>
                    </a:lnTo>
                    <a:lnTo>
                      <a:pt x="8952"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2" name="Freeform 47"/>
              <p:cNvSpPr>
                <a:spLocks/>
              </p:cNvSpPr>
              <p:nvPr/>
            </p:nvSpPr>
            <p:spPr bwMode="auto">
              <a:xfrm>
                <a:off x="2776538" y="1579563"/>
                <a:ext cx="53975" cy="57150"/>
              </a:xfrm>
              <a:custGeom>
                <a:avLst/>
                <a:gdLst>
                  <a:gd name="T0" fmla="*/ 6118 w 20000"/>
                  <a:gd name="T1" fmla="*/ 19775 h 20000"/>
                  <a:gd name="T2" fmla="*/ 3765 w 20000"/>
                  <a:gd name="T3" fmla="*/ 8315 h 20000"/>
                  <a:gd name="T4" fmla="*/ 0 w 20000"/>
                  <a:gd name="T5" fmla="*/ 4719 h 20000"/>
                  <a:gd name="T6" fmla="*/ 8706 w 20000"/>
                  <a:gd name="T7" fmla="*/ 0 h 20000"/>
                  <a:gd name="T8" fmla="*/ 16000 w 20000"/>
                  <a:gd name="T9" fmla="*/ 2472 h 20000"/>
                  <a:gd name="T10" fmla="*/ 19765 w 20000"/>
                  <a:gd name="T11" fmla="*/ 8315 h 20000"/>
                  <a:gd name="T12" fmla="*/ 18353 w 20000"/>
                  <a:gd name="T13" fmla="*/ 13933 h 20000"/>
                  <a:gd name="T14" fmla="*/ 12471 w 20000"/>
                  <a:gd name="T15" fmla="*/ 17528 h 20000"/>
                  <a:gd name="T16" fmla="*/ 6118 w 20000"/>
                  <a:gd name="T17" fmla="*/ 1977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6118" y="19775"/>
                    </a:moveTo>
                    <a:lnTo>
                      <a:pt x="3765" y="8315"/>
                    </a:lnTo>
                    <a:lnTo>
                      <a:pt x="0" y="4719"/>
                    </a:lnTo>
                    <a:lnTo>
                      <a:pt x="8706" y="0"/>
                    </a:lnTo>
                    <a:lnTo>
                      <a:pt x="16000" y="2472"/>
                    </a:lnTo>
                    <a:lnTo>
                      <a:pt x="19765" y="8315"/>
                    </a:lnTo>
                    <a:lnTo>
                      <a:pt x="18353" y="13933"/>
                    </a:lnTo>
                    <a:lnTo>
                      <a:pt x="12471" y="17528"/>
                    </a:lnTo>
                    <a:lnTo>
                      <a:pt x="6118" y="197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3" name="Freeform 46"/>
              <p:cNvSpPr>
                <a:spLocks/>
              </p:cNvSpPr>
              <p:nvPr/>
            </p:nvSpPr>
            <p:spPr bwMode="auto">
              <a:xfrm>
                <a:off x="2898775" y="1260475"/>
                <a:ext cx="82550" cy="33338"/>
              </a:xfrm>
              <a:custGeom>
                <a:avLst/>
                <a:gdLst>
                  <a:gd name="T0" fmla="*/ 14308 w 20000"/>
                  <a:gd name="T1" fmla="*/ 19615 h 20000"/>
                  <a:gd name="T2" fmla="*/ 6308 w 20000"/>
                  <a:gd name="T3" fmla="*/ 13462 h 20000"/>
                  <a:gd name="T4" fmla="*/ 0 w 20000"/>
                  <a:gd name="T5" fmla="*/ 8077 h 20000"/>
                  <a:gd name="T6" fmla="*/ 8000 w 20000"/>
                  <a:gd name="T7" fmla="*/ 0 h 20000"/>
                  <a:gd name="T8" fmla="*/ 19846 w 20000"/>
                  <a:gd name="T9" fmla="*/ 0 h 20000"/>
                  <a:gd name="T10" fmla="*/ 19846 w 20000"/>
                  <a:gd name="T11" fmla="*/ 13462 h 20000"/>
                  <a:gd name="T12" fmla="*/ 14308 w 20000"/>
                  <a:gd name="T13" fmla="*/ 1961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4308" y="19615"/>
                    </a:moveTo>
                    <a:lnTo>
                      <a:pt x="6308" y="13462"/>
                    </a:lnTo>
                    <a:lnTo>
                      <a:pt x="0" y="8077"/>
                    </a:lnTo>
                    <a:lnTo>
                      <a:pt x="8000" y="0"/>
                    </a:lnTo>
                    <a:lnTo>
                      <a:pt x="19846" y="0"/>
                    </a:lnTo>
                    <a:lnTo>
                      <a:pt x="19846" y="13462"/>
                    </a:lnTo>
                    <a:lnTo>
                      <a:pt x="14308" y="1961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4" name="Freeform 45"/>
              <p:cNvSpPr>
                <a:spLocks/>
              </p:cNvSpPr>
              <p:nvPr/>
            </p:nvSpPr>
            <p:spPr bwMode="auto">
              <a:xfrm>
                <a:off x="2994025" y="2222500"/>
                <a:ext cx="60325" cy="36513"/>
              </a:xfrm>
              <a:custGeom>
                <a:avLst/>
                <a:gdLst>
                  <a:gd name="T0" fmla="*/ 5532 w 20000"/>
                  <a:gd name="T1" fmla="*/ 19655 h 20000"/>
                  <a:gd name="T2" fmla="*/ 0 w 20000"/>
                  <a:gd name="T3" fmla="*/ 17931 h 20000"/>
                  <a:gd name="T4" fmla="*/ 0 w 20000"/>
                  <a:gd name="T5" fmla="*/ 10690 h 20000"/>
                  <a:gd name="T6" fmla="*/ 7660 w 20000"/>
                  <a:gd name="T7" fmla="*/ 0 h 20000"/>
                  <a:gd name="T8" fmla="*/ 19787 w 20000"/>
                  <a:gd name="T9" fmla="*/ 5517 h 20000"/>
                  <a:gd name="T10" fmla="*/ 16596 w 20000"/>
                  <a:gd name="T11" fmla="*/ 10690 h 20000"/>
                  <a:gd name="T12" fmla="*/ 5532 w 20000"/>
                  <a:gd name="T13" fmla="*/ 19655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5532" y="19655"/>
                    </a:moveTo>
                    <a:lnTo>
                      <a:pt x="0" y="17931"/>
                    </a:lnTo>
                    <a:lnTo>
                      <a:pt x="0" y="10690"/>
                    </a:lnTo>
                    <a:lnTo>
                      <a:pt x="7660" y="0"/>
                    </a:lnTo>
                    <a:lnTo>
                      <a:pt x="19787" y="5517"/>
                    </a:lnTo>
                    <a:lnTo>
                      <a:pt x="16596" y="10690"/>
                    </a:lnTo>
                    <a:lnTo>
                      <a:pt x="5532" y="1965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5" name="Freeform 44"/>
              <p:cNvSpPr>
                <a:spLocks/>
              </p:cNvSpPr>
              <p:nvPr/>
            </p:nvSpPr>
            <p:spPr bwMode="auto">
              <a:xfrm>
                <a:off x="3335338" y="2851150"/>
                <a:ext cx="63500" cy="36513"/>
              </a:xfrm>
              <a:custGeom>
                <a:avLst/>
                <a:gdLst>
                  <a:gd name="T0" fmla="*/ 19798 w 20000"/>
                  <a:gd name="T1" fmla="*/ 19655 h 20000"/>
                  <a:gd name="T2" fmla="*/ 11515 w 20000"/>
                  <a:gd name="T3" fmla="*/ 19655 h 20000"/>
                  <a:gd name="T4" fmla="*/ 5253 w 20000"/>
                  <a:gd name="T5" fmla="*/ 10690 h 20000"/>
                  <a:gd name="T6" fmla="*/ 0 w 20000"/>
                  <a:gd name="T7" fmla="*/ 0 h 20000"/>
                  <a:gd name="T8" fmla="*/ 3232 w 20000"/>
                  <a:gd name="T9" fmla="*/ 0 h 20000"/>
                  <a:gd name="T10" fmla="*/ 13535 w 20000"/>
                  <a:gd name="T11" fmla="*/ 6897 h 20000"/>
                  <a:gd name="T12" fmla="*/ 18788 w 20000"/>
                  <a:gd name="T13" fmla="*/ 14138 h 20000"/>
                  <a:gd name="T14" fmla="*/ 19798 w 20000"/>
                  <a:gd name="T15" fmla="*/ 19655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798" y="19655"/>
                    </a:moveTo>
                    <a:lnTo>
                      <a:pt x="11515" y="19655"/>
                    </a:lnTo>
                    <a:lnTo>
                      <a:pt x="5253" y="10690"/>
                    </a:lnTo>
                    <a:lnTo>
                      <a:pt x="0" y="0"/>
                    </a:lnTo>
                    <a:lnTo>
                      <a:pt x="3232" y="0"/>
                    </a:lnTo>
                    <a:lnTo>
                      <a:pt x="13535" y="6897"/>
                    </a:lnTo>
                    <a:lnTo>
                      <a:pt x="18788" y="14138"/>
                    </a:lnTo>
                    <a:lnTo>
                      <a:pt x="19798" y="1965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6" name="Freeform 43"/>
              <p:cNvSpPr>
                <a:spLocks/>
              </p:cNvSpPr>
              <p:nvPr/>
            </p:nvSpPr>
            <p:spPr bwMode="auto">
              <a:xfrm>
                <a:off x="3070225" y="2259013"/>
                <a:ext cx="33338" cy="44450"/>
              </a:xfrm>
              <a:custGeom>
                <a:avLst/>
                <a:gdLst>
                  <a:gd name="T0" fmla="*/ 5769 w 20000"/>
                  <a:gd name="T1" fmla="*/ 19710 h 20000"/>
                  <a:gd name="T2" fmla="*/ 0 w 20000"/>
                  <a:gd name="T3" fmla="*/ 15072 h 20000"/>
                  <a:gd name="T4" fmla="*/ 9615 w 20000"/>
                  <a:gd name="T5" fmla="*/ 2899 h 20000"/>
                  <a:gd name="T6" fmla="*/ 19615 w 20000"/>
                  <a:gd name="T7" fmla="*/ 0 h 20000"/>
                  <a:gd name="T8" fmla="*/ 19615 w 20000"/>
                  <a:gd name="T9" fmla="*/ 7536 h 20000"/>
                  <a:gd name="T10" fmla="*/ 5769 w 20000"/>
                  <a:gd name="T11" fmla="*/ 19710 h 20000"/>
                </a:gdLst>
                <a:ahLst/>
                <a:cxnLst>
                  <a:cxn ang="0">
                    <a:pos x="T0" y="T1"/>
                  </a:cxn>
                  <a:cxn ang="0">
                    <a:pos x="T2" y="T3"/>
                  </a:cxn>
                  <a:cxn ang="0">
                    <a:pos x="T4" y="T5"/>
                  </a:cxn>
                  <a:cxn ang="0">
                    <a:pos x="T6" y="T7"/>
                  </a:cxn>
                  <a:cxn ang="0">
                    <a:pos x="T8" y="T9"/>
                  </a:cxn>
                  <a:cxn ang="0">
                    <a:pos x="T10" y="T11"/>
                  </a:cxn>
                </a:cxnLst>
                <a:rect l="0" t="0" r="r" b="b"/>
                <a:pathLst>
                  <a:path w="20000" h="20000">
                    <a:moveTo>
                      <a:pt x="5769" y="19710"/>
                    </a:moveTo>
                    <a:lnTo>
                      <a:pt x="0" y="15072"/>
                    </a:lnTo>
                    <a:lnTo>
                      <a:pt x="9615" y="2899"/>
                    </a:lnTo>
                    <a:lnTo>
                      <a:pt x="19615" y="0"/>
                    </a:lnTo>
                    <a:lnTo>
                      <a:pt x="19615" y="7536"/>
                    </a:lnTo>
                    <a:lnTo>
                      <a:pt x="5769" y="1971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7" name="Freeform 42"/>
              <p:cNvSpPr>
                <a:spLocks/>
              </p:cNvSpPr>
              <p:nvPr/>
            </p:nvSpPr>
            <p:spPr bwMode="auto">
              <a:xfrm>
                <a:off x="3144838" y="2212975"/>
                <a:ext cx="17462" cy="20638"/>
              </a:xfrm>
              <a:custGeom>
                <a:avLst/>
                <a:gdLst>
                  <a:gd name="T0" fmla="*/ 3704 w 20000"/>
                  <a:gd name="T1" fmla="*/ 19375 h 20000"/>
                  <a:gd name="T2" fmla="*/ 0 w 20000"/>
                  <a:gd name="T3" fmla="*/ 0 h 20000"/>
                  <a:gd name="T4" fmla="*/ 19259 w 20000"/>
                  <a:gd name="T5" fmla="*/ 3750 h 20000"/>
                  <a:gd name="T6" fmla="*/ 19259 w 20000"/>
                  <a:gd name="T7" fmla="*/ 15625 h 20000"/>
                  <a:gd name="T8" fmla="*/ 3704 w 20000"/>
                  <a:gd name="T9" fmla="*/ 19375 h 20000"/>
                </a:gdLst>
                <a:ahLst/>
                <a:cxnLst>
                  <a:cxn ang="0">
                    <a:pos x="T0" y="T1"/>
                  </a:cxn>
                  <a:cxn ang="0">
                    <a:pos x="T2" y="T3"/>
                  </a:cxn>
                  <a:cxn ang="0">
                    <a:pos x="T4" y="T5"/>
                  </a:cxn>
                  <a:cxn ang="0">
                    <a:pos x="T6" y="T7"/>
                  </a:cxn>
                  <a:cxn ang="0">
                    <a:pos x="T8" y="T9"/>
                  </a:cxn>
                </a:cxnLst>
                <a:rect l="0" t="0" r="r" b="b"/>
                <a:pathLst>
                  <a:path w="20000" h="20000">
                    <a:moveTo>
                      <a:pt x="3704" y="19375"/>
                    </a:moveTo>
                    <a:lnTo>
                      <a:pt x="0" y="0"/>
                    </a:lnTo>
                    <a:lnTo>
                      <a:pt x="19259" y="3750"/>
                    </a:lnTo>
                    <a:lnTo>
                      <a:pt x="19259" y="15625"/>
                    </a:lnTo>
                    <a:lnTo>
                      <a:pt x="3704"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8" name="Freeform 41"/>
              <p:cNvSpPr>
                <a:spLocks/>
              </p:cNvSpPr>
              <p:nvPr/>
            </p:nvSpPr>
            <p:spPr bwMode="auto">
              <a:xfrm>
                <a:off x="3171825" y="2206625"/>
                <a:ext cx="17463" cy="17463"/>
              </a:xfrm>
              <a:custGeom>
                <a:avLst/>
                <a:gdLst>
                  <a:gd name="T0" fmla="*/ 3704 w 20000"/>
                  <a:gd name="T1" fmla="*/ 19259 h 20000"/>
                  <a:gd name="T2" fmla="*/ 0 w 20000"/>
                  <a:gd name="T3" fmla="*/ 0 h 20000"/>
                  <a:gd name="T4" fmla="*/ 11852 w 20000"/>
                  <a:gd name="T5" fmla="*/ 0 h 20000"/>
                  <a:gd name="T6" fmla="*/ 19259 w 20000"/>
                  <a:gd name="T7" fmla="*/ 11852 h 20000"/>
                  <a:gd name="T8" fmla="*/ 3704 w 20000"/>
                  <a:gd name="T9" fmla="*/ 19259 h 20000"/>
                </a:gdLst>
                <a:ahLst/>
                <a:cxnLst>
                  <a:cxn ang="0">
                    <a:pos x="T0" y="T1"/>
                  </a:cxn>
                  <a:cxn ang="0">
                    <a:pos x="T2" y="T3"/>
                  </a:cxn>
                  <a:cxn ang="0">
                    <a:pos x="T4" y="T5"/>
                  </a:cxn>
                  <a:cxn ang="0">
                    <a:pos x="T6" y="T7"/>
                  </a:cxn>
                  <a:cxn ang="0">
                    <a:pos x="T8" y="T9"/>
                  </a:cxn>
                </a:cxnLst>
                <a:rect l="0" t="0" r="r" b="b"/>
                <a:pathLst>
                  <a:path w="20000" h="20000">
                    <a:moveTo>
                      <a:pt x="3704" y="19259"/>
                    </a:moveTo>
                    <a:lnTo>
                      <a:pt x="0" y="0"/>
                    </a:lnTo>
                    <a:lnTo>
                      <a:pt x="11852" y="0"/>
                    </a:lnTo>
                    <a:lnTo>
                      <a:pt x="19259" y="11852"/>
                    </a:lnTo>
                    <a:lnTo>
                      <a:pt x="3704"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09" name="Freeform 40"/>
              <p:cNvSpPr>
                <a:spLocks/>
              </p:cNvSpPr>
              <p:nvPr/>
            </p:nvSpPr>
            <p:spPr bwMode="auto">
              <a:xfrm>
                <a:off x="2755900" y="4076700"/>
                <a:ext cx="339725" cy="476250"/>
              </a:xfrm>
              <a:custGeom>
                <a:avLst/>
                <a:gdLst>
                  <a:gd name="T0" fmla="*/ 3701 w 20000"/>
                  <a:gd name="T1" fmla="*/ 5513 h 20000"/>
                  <a:gd name="T2" fmla="*/ 5047 w 20000"/>
                  <a:gd name="T3" fmla="*/ 3728 h 20000"/>
                  <a:gd name="T4" fmla="*/ 6206 w 20000"/>
                  <a:gd name="T5" fmla="*/ 2503 h 20000"/>
                  <a:gd name="T6" fmla="*/ 8112 w 20000"/>
                  <a:gd name="T7" fmla="*/ 1917 h 20000"/>
                  <a:gd name="T8" fmla="*/ 10879 w 20000"/>
                  <a:gd name="T9" fmla="*/ 1092 h 20000"/>
                  <a:gd name="T10" fmla="*/ 11850 w 20000"/>
                  <a:gd name="T11" fmla="*/ 426 h 20000"/>
                  <a:gd name="T12" fmla="*/ 13383 w 20000"/>
                  <a:gd name="T13" fmla="*/ 426 h 20000"/>
                  <a:gd name="T14" fmla="*/ 11850 w 20000"/>
                  <a:gd name="T15" fmla="*/ 826 h 20000"/>
                  <a:gd name="T16" fmla="*/ 10654 w 20000"/>
                  <a:gd name="T17" fmla="*/ 2237 h 20000"/>
                  <a:gd name="T18" fmla="*/ 9869 w 20000"/>
                  <a:gd name="T19" fmla="*/ 3329 h 20000"/>
                  <a:gd name="T20" fmla="*/ 10280 w 20000"/>
                  <a:gd name="T21" fmla="*/ 3995 h 20000"/>
                  <a:gd name="T22" fmla="*/ 11252 w 20000"/>
                  <a:gd name="T23" fmla="*/ 6205 h 20000"/>
                  <a:gd name="T24" fmla="*/ 14916 w 20000"/>
                  <a:gd name="T25" fmla="*/ 6897 h 20000"/>
                  <a:gd name="T26" fmla="*/ 19364 w 20000"/>
                  <a:gd name="T27" fmla="*/ 7723 h 20000"/>
                  <a:gd name="T28" fmla="*/ 18804 w 20000"/>
                  <a:gd name="T29" fmla="*/ 10200 h 20000"/>
                  <a:gd name="T30" fmla="*/ 18991 w 20000"/>
                  <a:gd name="T31" fmla="*/ 11585 h 20000"/>
                  <a:gd name="T32" fmla="*/ 19963 w 20000"/>
                  <a:gd name="T33" fmla="*/ 13795 h 20000"/>
                  <a:gd name="T34" fmla="*/ 18991 w 20000"/>
                  <a:gd name="T35" fmla="*/ 12676 h 20000"/>
                  <a:gd name="T36" fmla="*/ 17832 w 20000"/>
                  <a:gd name="T37" fmla="*/ 13076 h 20000"/>
                  <a:gd name="T38" fmla="*/ 14916 w 20000"/>
                  <a:gd name="T39" fmla="*/ 13076 h 20000"/>
                  <a:gd name="T40" fmla="*/ 15888 w 20000"/>
                  <a:gd name="T41" fmla="*/ 14061 h 20000"/>
                  <a:gd name="T42" fmla="*/ 14916 w 20000"/>
                  <a:gd name="T43" fmla="*/ 14487 h 20000"/>
                  <a:gd name="T44" fmla="*/ 15701 w 20000"/>
                  <a:gd name="T45" fmla="*/ 15579 h 20000"/>
                  <a:gd name="T46" fmla="*/ 14916 w 20000"/>
                  <a:gd name="T47" fmla="*/ 19973 h 20000"/>
                  <a:gd name="T48" fmla="*/ 13944 w 20000"/>
                  <a:gd name="T49" fmla="*/ 19281 h 20000"/>
                  <a:gd name="T50" fmla="*/ 13159 w 20000"/>
                  <a:gd name="T51" fmla="*/ 17763 h 20000"/>
                  <a:gd name="T52" fmla="*/ 10879 w 20000"/>
                  <a:gd name="T53" fmla="*/ 18029 h 20000"/>
                  <a:gd name="T54" fmla="*/ 9308 w 20000"/>
                  <a:gd name="T55" fmla="*/ 17097 h 20000"/>
                  <a:gd name="T56" fmla="*/ 6804 w 20000"/>
                  <a:gd name="T57" fmla="*/ 15313 h 20000"/>
                  <a:gd name="T58" fmla="*/ 5234 w 20000"/>
                  <a:gd name="T59" fmla="*/ 14887 h 20000"/>
                  <a:gd name="T60" fmla="*/ 3140 w 20000"/>
                  <a:gd name="T61" fmla="*/ 14594 h 20000"/>
                  <a:gd name="T62" fmla="*/ 224 w 20000"/>
                  <a:gd name="T63" fmla="*/ 13395 h 20000"/>
                  <a:gd name="T64" fmla="*/ 598 w 20000"/>
                  <a:gd name="T65" fmla="*/ 11984 h 20000"/>
                  <a:gd name="T66" fmla="*/ 2692 w 20000"/>
                  <a:gd name="T67" fmla="*/ 10466 h 20000"/>
                  <a:gd name="T68" fmla="*/ 2692 w 20000"/>
                  <a:gd name="T69" fmla="*/ 9374 h 20000"/>
                  <a:gd name="T70" fmla="*/ 2692 w 20000"/>
                  <a:gd name="T71" fmla="*/ 7590 h 20000"/>
                  <a:gd name="T72" fmla="*/ 1757 w 20000"/>
                  <a:gd name="T73" fmla="*/ 6471 h 20000"/>
                  <a:gd name="T74" fmla="*/ 2542 w 20000"/>
                  <a:gd name="T75" fmla="*/ 6205 h 20000"/>
                  <a:gd name="T76" fmla="*/ 3140 w 20000"/>
                  <a:gd name="T77" fmla="*/ 468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000" h="20000">
                    <a:moveTo>
                      <a:pt x="3140" y="4687"/>
                    </a:moveTo>
                    <a:lnTo>
                      <a:pt x="3701" y="5513"/>
                    </a:lnTo>
                    <a:lnTo>
                      <a:pt x="3701" y="4687"/>
                    </a:lnTo>
                    <a:lnTo>
                      <a:pt x="5047" y="3728"/>
                    </a:lnTo>
                    <a:lnTo>
                      <a:pt x="5832" y="3595"/>
                    </a:lnTo>
                    <a:lnTo>
                      <a:pt x="6206" y="2503"/>
                    </a:lnTo>
                    <a:lnTo>
                      <a:pt x="7589" y="1811"/>
                    </a:lnTo>
                    <a:lnTo>
                      <a:pt x="8112" y="1917"/>
                    </a:lnTo>
                    <a:lnTo>
                      <a:pt x="8336" y="1518"/>
                    </a:lnTo>
                    <a:lnTo>
                      <a:pt x="10879" y="1092"/>
                    </a:lnTo>
                    <a:lnTo>
                      <a:pt x="11626" y="826"/>
                    </a:lnTo>
                    <a:lnTo>
                      <a:pt x="11850" y="426"/>
                    </a:lnTo>
                    <a:lnTo>
                      <a:pt x="12785" y="0"/>
                    </a:lnTo>
                    <a:lnTo>
                      <a:pt x="13383" y="426"/>
                    </a:lnTo>
                    <a:lnTo>
                      <a:pt x="12785" y="719"/>
                    </a:lnTo>
                    <a:lnTo>
                      <a:pt x="11850" y="826"/>
                    </a:lnTo>
                    <a:lnTo>
                      <a:pt x="11626" y="1518"/>
                    </a:lnTo>
                    <a:lnTo>
                      <a:pt x="10654" y="2237"/>
                    </a:lnTo>
                    <a:lnTo>
                      <a:pt x="9869" y="2903"/>
                    </a:lnTo>
                    <a:lnTo>
                      <a:pt x="9869" y="3329"/>
                    </a:lnTo>
                    <a:lnTo>
                      <a:pt x="9869" y="3995"/>
                    </a:lnTo>
                    <a:lnTo>
                      <a:pt x="10280" y="3995"/>
                    </a:lnTo>
                    <a:lnTo>
                      <a:pt x="11252" y="5379"/>
                    </a:lnTo>
                    <a:lnTo>
                      <a:pt x="11252" y="6205"/>
                    </a:lnTo>
                    <a:lnTo>
                      <a:pt x="12411" y="6897"/>
                    </a:lnTo>
                    <a:lnTo>
                      <a:pt x="14916" y="6897"/>
                    </a:lnTo>
                    <a:lnTo>
                      <a:pt x="15888" y="7723"/>
                    </a:lnTo>
                    <a:lnTo>
                      <a:pt x="19364" y="7723"/>
                    </a:lnTo>
                    <a:lnTo>
                      <a:pt x="18430" y="8815"/>
                    </a:lnTo>
                    <a:lnTo>
                      <a:pt x="18804" y="10200"/>
                    </a:lnTo>
                    <a:lnTo>
                      <a:pt x="19364" y="10892"/>
                    </a:lnTo>
                    <a:lnTo>
                      <a:pt x="18991" y="11585"/>
                    </a:lnTo>
                    <a:lnTo>
                      <a:pt x="19364" y="12410"/>
                    </a:lnTo>
                    <a:lnTo>
                      <a:pt x="19963" y="13795"/>
                    </a:lnTo>
                    <a:lnTo>
                      <a:pt x="19738" y="13502"/>
                    </a:lnTo>
                    <a:lnTo>
                      <a:pt x="18991" y="12676"/>
                    </a:lnTo>
                    <a:lnTo>
                      <a:pt x="17832" y="12676"/>
                    </a:lnTo>
                    <a:lnTo>
                      <a:pt x="17832" y="13076"/>
                    </a:lnTo>
                    <a:lnTo>
                      <a:pt x="15701" y="12969"/>
                    </a:lnTo>
                    <a:lnTo>
                      <a:pt x="14916" y="13076"/>
                    </a:lnTo>
                    <a:lnTo>
                      <a:pt x="14916" y="13795"/>
                    </a:lnTo>
                    <a:lnTo>
                      <a:pt x="15888" y="14061"/>
                    </a:lnTo>
                    <a:lnTo>
                      <a:pt x="15888" y="14487"/>
                    </a:lnTo>
                    <a:lnTo>
                      <a:pt x="14916" y="14487"/>
                    </a:lnTo>
                    <a:lnTo>
                      <a:pt x="14692" y="15153"/>
                    </a:lnTo>
                    <a:lnTo>
                      <a:pt x="15701" y="15579"/>
                    </a:lnTo>
                    <a:lnTo>
                      <a:pt x="15888" y="16405"/>
                    </a:lnTo>
                    <a:lnTo>
                      <a:pt x="14916" y="19973"/>
                    </a:lnTo>
                    <a:lnTo>
                      <a:pt x="14692" y="19973"/>
                    </a:lnTo>
                    <a:lnTo>
                      <a:pt x="13944" y="19281"/>
                    </a:lnTo>
                    <a:lnTo>
                      <a:pt x="14318" y="18189"/>
                    </a:lnTo>
                    <a:lnTo>
                      <a:pt x="13159" y="17763"/>
                    </a:lnTo>
                    <a:lnTo>
                      <a:pt x="11850" y="17497"/>
                    </a:lnTo>
                    <a:lnTo>
                      <a:pt x="10879" y="18029"/>
                    </a:lnTo>
                    <a:lnTo>
                      <a:pt x="9869" y="18029"/>
                    </a:lnTo>
                    <a:lnTo>
                      <a:pt x="9308" y="17097"/>
                    </a:lnTo>
                    <a:lnTo>
                      <a:pt x="7738" y="16272"/>
                    </a:lnTo>
                    <a:lnTo>
                      <a:pt x="6804" y="15313"/>
                    </a:lnTo>
                    <a:lnTo>
                      <a:pt x="5832" y="15153"/>
                    </a:lnTo>
                    <a:lnTo>
                      <a:pt x="5234" y="14887"/>
                    </a:lnTo>
                    <a:lnTo>
                      <a:pt x="4299" y="14594"/>
                    </a:lnTo>
                    <a:lnTo>
                      <a:pt x="3140" y="14594"/>
                    </a:lnTo>
                    <a:lnTo>
                      <a:pt x="2131" y="14061"/>
                    </a:lnTo>
                    <a:lnTo>
                      <a:pt x="224" y="13395"/>
                    </a:lnTo>
                    <a:lnTo>
                      <a:pt x="0" y="12969"/>
                    </a:lnTo>
                    <a:lnTo>
                      <a:pt x="598" y="11984"/>
                    </a:lnTo>
                    <a:lnTo>
                      <a:pt x="2542" y="11158"/>
                    </a:lnTo>
                    <a:lnTo>
                      <a:pt x="2692" y="10466"/>
                    </a:lnTo>
                    <a:lnTo>
                      <a:pt x="2542" y="10067"/>
                    </a:lnTo>
                    <a:lnTo>
                      <a:pt x="2692" y="9374"/>
                    </a:lnTo>
                    <a:lnTo>
                      <a:pt x="2542" y="8389"/>
                    </a:lnTo>
                    <a:lnTo>
                      <a:pt x="2692" y="7590"/>
                    </a:lnTo>
                    <a:lnTo>
                      <a:pt x="2542" y="7190"/>
                    </a:lnTo>
                    <a:lnTo>
                      <a:pt x="1757" y="6471"/>
                    </a:lnTo>
                    <a:lnTo>
                      <a:pt x="2131" y="5939"/>
                    </a:lnTo>
                    <a:lnTo>
                      <a:pt x="2542" y="6205"/>
                    </a:lnTo>
                    <a:lnTo>
                      <a:pt x="3140" y="5513"/>
                    </a:lnTo>
                    <a:lnTo>
                      <a:pt x="3140" y="4687"/>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0" name="Freeform 39"/>
              <p:cNvSpPr>
                <a:spLocks/>
              </p:cNvSpPr>
              <p:nvPr/>
            </p:nvSpPr>
            <p:spPr bwMode="auto">
              <a:xfrm>
                <a:off x="2619375" y="3751263"/>
                <a:ext cx="303213" cy="109537"/>
              </a:xfrm>
              <a:custGeom>
                <a:avLst/>
                <a:gdLst>
                  <a:gd name="T0" fmla="*/ 13222 w 20000"/>
                  <a:gd name="T1" fmla="*/ 19884 h 20000"/>
                  <a:gd name="T2" fmla="*/ 14310 w 20000"/>
                  <a:gd name="T3" fmla="*/ 15581 h 20000"/>
                  <a:gd name="T4" fmla="*/ 12134 w 20000"/>
                  <a:gd name="T5" fmla="*/ 13953 h 20000"/>
                  <a:gd name="T6" fmla="*/ 11464 w 20000"/>
                  <a:gd name="T7" fmla="*/ 8953 h 20000"/>
                  <a:gd name="T8" fmla="*/ 9079 w 20000"/>
                  <a:gd name="T9" fmla="*/ 8953 h 20000"/>
                  <a:gd name="T10" fmla="*/ 5649 w 20000"/>
                  <a:gd name="T11" fmla="*/ 4767 h 20000"/>
                  <a:gd name="T12" fmla="*/ 6276 w 20000"/>
                  <a:gd name="T13" fmla="*/ 4186 h 20000"/>
                  <a:gd name="T14" fmla="*/ 4100 w 20000"/>
                  <a:gd name="T15" fmla="*/ 3023 h 20000"/>
                  <a:gd name="T16" fmla="*/ 2385 w 20000"/>
                  <a:gd name="T17" fmla="*/ 7093 h 20000"/>
                  <a:gd name="T18" fmla="*/ 0 w 20000"/>
                  <a:gd name="T19" fmla="*/ 7093 h 20000"/>
                  <a:gd name="T20" fmla="*/ 1297 w 20000"/>
                  <a:gd name="T21" fmla="*/ 4767 h 20000"/>
                  <a:gd name="T22" fmla="*/ 2845 w 20000"/>
                  <a:gd name="T23" fmla="*/ 2326 h 20000"/>
                  <a:gd name="T24" fmla="*/ 5230 w 20000"/>
                  <a:gd name="T25" fmla="*/ 0 h 20000"/>
                  <a:gd name="T26" fmla="*/ 7364 w 20000"/>
                  <a:gd name="T27" fmla="*/ 0 h 20000"/>
                  <a:gd name="T28" fmla="*/ 9749 w 20000"/>
                  <a:gd name="T29" fmla="*/ 2326 h 20000"/>
                  <a:gd name="T30" fmla="*/ 12134 w 20000"/>
                  <a:gd name="T31" fmla="*/ 5930 h 20000"/>
                  <a:gd name="T32" fmla="*/ 14310 w 20000"/>
                  <a:gd name="T33" fmla="*/ 8953 h 20000"/>
                  <a:gd name="T34" fmla="*/ 17113 w 20000"/>
                  <a:gd name="T35" fmla="*/ 12558 h 20000"/>
                  <a:gd name="T36" fmla="*/ 16695 w 20000"/>
                  <a:gd name="T37" fmla="*/ 15116 h 20000"/>
                  <a:gd name="T38" fmla="*/ 18410 w 20000"/>
                  <a:gd name="T39" fmla="*/ 15581 h 20000"/>
                  <a:gd name="T40" fmla="*/ 19958 w 20000"/>
                  <a:gd name="T41" fmla="*/ 17442 h 20000"/>
                  <a:gd name="T42" fmla="*/ 13222 w 20000"/>
                  <a:gd name="T43" fmla="*/ 1988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00" h="20000">
                    <a:moveTo>
                      <a:pt x="13222" y="19884"/>
                    </a:moveTo>
                    <a:lnTo>
                      <a:pt x="14310" y="15581"/>
                    </a:lnTo>
                    <a:lnTo>
                      <a:pt x="12134" y="13953"/>
                    </a:lnTo>
                    <a:lnTo>
                      <a:pt x="11464" y="8953"/>
                    </a:lnTo>
                    <a:lnTo>
                      <a:pt x="9079" y="8953"/>
                    </a:lnTo>
                    <a:lnTo>
                      <a:pt x="5649" y="4767"/>
                    </a:lnTo>
                    <a:lnTo>
                      <a:pt x="6276" y="4186"/>
                    </a:lnTo>
                    <a:lnTo>
                      <a:pt x="4100" y="3023"/>
                    </a:lnTo>
                    <a:lnTo>
                      <a:pt x="2385" y="7093"/>
                    </a:lnTo>
                    <a:lnTo>
                      <a:pt x="0" y="7093"/>
                    </a:lnTo>
                    <a:lnTo>
                      <a:pt x="1297" y="4767"/>
                    </a:lnTo>
                    <a:lnTo>
                      <a:pt x="2845" y="2326"/>
                    </a:lnTo>
                    <a:lnTo>
                      <a:pt x="5230" y="0"/>
                    </a:lnTo>
                    <a:lnTo>
                      <a:pt x="7364" y="0"/>
                    </a:lnTo>
                    <a:lnTo>
                      <a:pt x="9749" y="2326"/>
                    </a:lnTo>
                    <a:lnTo>
                      <a:pt x="12134" y="5930"/>
                    </a:lnTo>
                    <a:lnTo>
                      <a:pt x="14310" y="8953"/>
                    </a:lnTo>
                    <a:lnTo>
                      <a:pt x="17113" y="12558"/>
                    </a:lnTo>
                    <a:lnTo>
                      <a:pt x="16695" y="15116"/>
                    </a:lnTo>
                    <a:lnTo>
                      <a:pt x="18410" y="15581"/>
                    </a:lnTo>
                    <a:lnTo>
                      <a:pt x="19958" y="17442"/>
                    </a:lnTo>
                    <a:lnTo>
                      <a:pt x="13222" y="198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1" name="Freeform 38"/>
              <p:cNvSpPr>
                <a:spLocks/>
              </p:cNvSpPr>
              <p:nvPr/>
            </p:nvSpPr>
            <p:spPr bwMode="auto">
              <a:xfrm>
                <a:off x="1773238" y="3403600"/>
                <a:ext cx="793750" cy="604838"/>
              </a:xfrm>
              <a:custGeom>
                <a:avLst/>
                <a:gdLst>
                  <a:gd name="T0" fmla="*/ 1584 w 20000"/>
                  <a:gd name="T1" fmla="*/ 0 h 20000"/>
                  <a:gd name="T2" fmla="*/ 4160 w 20000"/>
                  <a:gd name="T3" fmla="*/ 1721 h 20000"/>
                  <a:gd name="T4" fmla="*/ 6144 w 20000"/>
                  <a:gd name="T5" fmla="*/ 1406 h 20000"/>
                  <a:gd name="T6" fmla="*/ 8304 w 20000"/>
                  <a:gd name="T7" fmla="*/ 2917 h 20000"/>
                  <a:gd name="T8" fmla="*/ 9360 w 20000"/>
                  <a:gd name="T9" fmla="*/ 4659 h 20000"/>
                  <a:gd name="T10" fmla="*/ 10704 w 20000"/>
                  <a:gd name="T11" fmla="*/ 4113 h 20000"/>
                  <a:gd name="T12" fmla="*/ 11616 w 20000"/>
                  <a:gd name="T13" fmla="*/ 6401 h 20000"/>
                  <a:gd name="T14" fmla="*/ 12848 w 20000"/>
                  <a:gd name="T15" fmla="*/ 8227 h 20000"/>
                  <a:gd name="T16" fmla="*/ 13024 w 20000"/>
                  <a:gd name="T17" fmla="*/ 8688 h 20000"/>
                  <a:gd name="T18" fmla="*/ 12592 w 20000"/>
                  <a:gd name="T19" fmla="*/ 9759 h 20000"/>
                  <a:gd name="T20" fmla="*/ 12272 w 20000"/>
                  <a:gd name="T21" fmla="*/ 12046 h 20000"/>
                  <a:gd name="T22" fmla="*/ 12272 w 20000"/>
                  <a:gd name="T23" fmla="*/ 12802 h 20000"/>
                  <a:gd name="T24" fmla="*/ 13024 w 20000"/>
                  <a:gd name="T25" fmla="*/ 14648 h 20000"/>
                  <a:gd name="T26" fmla="*/ 13936 w 20000"/>
                  <a:gd name="T27" fmla="*/ 16076 h 20000"/>
                  <a:gd name="T28" fmla="*/ 15408 w 20000"/>
                  <a:gd name="T29" fmla="*/ 16285 h 20000"/>
                  <a:gd name="T30" fmla="*/ 17008 w 20000"/>
                  <a:gd name="T31" fmla="*/ 15425 h 20000"/>
                  <a:gd name="T32" fmla="*/ 17504 w 20000"/>
                  <a:gd name="T33" fmla="*/ 13788 h 20000"/>
                  <a:gd name="T34" fmla="*/ 18576 w 20000"/>
                  <a:gd name="T35" fmla="*/ 13116 h 20000"/>
                  <a:gd name="T36" fmla="*/ 19984 w 20000"/>
                  <a:gd name="T37" fmla="*/ 13116 h 20000"/>
                  <a:gd name="T38" fmla="*/ 19568 w 20000"/>
                  <a:gd name="T39" fmla="*/ 14544 h 20000"/>
                  <a:gd name="T40" fmla="*/ 19392 w 20000"/>
                  <a:gd name="T41" fmla="*/ 15215 h 20000"/>
                  <a:gd name="T42" fmla="*/ 18912 w 20000"/>
                  <a:gd name="T43" fmla="*/ 15950 h 20000"/>
                  <a:gd name="T44" fmla="*/ 18480 w 20000"/>
                  <a:gd name="T45" fmla="*/ 16285 h 20000"/>
                  <a:gd name="T46" fmla="*/ 16832 w 20000"/>
                  <a:gd name="T47" fmla="*/ 16810 h 20000"/>
                  <a:gd name="T48" fmla="*/ 17168 w 20000"/>
                  <a:gd name="T49" fmla="*/ 18237 h 20000"/>
                  <a:gd name="T50" fmla="*/ 16160 w 20000"/>
                  <a:gd name="T51" fmla="*/ 18552 h 20000"/>
                  <a:gd name="T52" fmla="*/ 15920 w 20000"/>
                  <a:gd name="T53" fmla="*/ 19643 h 20000"/>
                  <a:gd name="T54" fmla="*/ 15248 w 20000"/>
                  <a:gd name="T55" fmla="*/ 19203 h 20000"/>
                  <a:gd name="T56" fmla="*/ 13760 w 20000"/>
                  <a:gd name="T57" fmla="*/ 18552 h 20000"/>
                  <a:gd name="T58" fmla="*/ 11280 w 20000"/>
                  <a:gd name="T59" fmla="*/ 18006 h 20000"/>
                  <a:gd name="T60" fmla="*/ 8960 w 20000"/>
                  <a:gd name="T61" fmla="*/ 16600 h 20000"/>
                  <a:gd name="T62" fmla="*/ 7040 w 20000"/>
                  <a:gd name="T63" fmla="*/ 15425 h 20000"/>
                  <a:gd name="T64" fmla="*/ 6800 w 20000"/>
                  <a:gd name="T65" fmla="*/ 14019 h 20000"/>
                  <a:gd name="T66" fmla="*/ 6976 w 20000"/>
                  <a:gd name="T67" fmla="*/ 13116 h 20000"/>
                  <a:gd name="T68" fmla="*/ 6304 w 20000"/>
                  <a:gd name="T69" fmla="*/ 10850 h 20000"/>
                  <a:gd name="T70" fmla="*/ 4384 w 20000"/>
                  <a:gd name="T71" fmla="*/ 8017 h 20000"/>
                  <a:gd name="T72" fmla="*/ 4560 w 20000"/>
                  <a:gd name="T73" fmla="*/ 6946 h 20000"/>
                  <a:gd name="T74" fmla="*/ 3904 w 20000"/>
                  <a:gd name="T75" fmla="*/ 5750 h 20000"/>
                  <a:gd name="T76" fmla="*/ 3232 w 20000"/>
                  <a:gd name="T77" fmla="*/ 4890 h 20000"/>
                  <a:gd name="T78" fmla="*/ 2656 w 20000"/>
                  <a:gd name="T79" fmla="*/ 2057 h 20000"/>
                  <a:gd name="T80" fmla="*/ 1344 w 20000"/>
                  <a:gd name="T81" fmla="*/ 2917 h 20000"/>
                  <a:gd name="T82" fmla="*/ 2240 w 20000"/>
                  <a:gd name="T83" fmla="*/ 4974 h 20000"/>
                  <a:gd name="T84" fmla="*/ 2496 w 20000"/>
                  <a:gd name="T85" fmla="*/ 5960 h 20000"/>
                  <a:gd name="T86" fmla="*/ 2912 w 20000"/>
                  <a:gd name="T87" fmla="*/ 6611 h 20000"/>
                  <a:gd name="T88" fmla="*/ 3728 w 20000"/>
                  <a:gd name="T89" fmla="*/ 9654 h 20000"/>
                  <a:gd name="T90" fmla="*/ 3984 w 20000"/>
                  <a:gd name="T91" fmla="*/ 10976 h 20000"/>
                  <a:gd name="T92" fmla="*/ 3472 w 20000"/>
                  <a:gd name="T93" fmla="*/ 10640 h 20000"/>
                  <a:gd name="T94" fmla="*/ 2416 w 20000"/>
                  <a:gd name="T95" fmla="*/ 7492 h 20000"/>
                  <a:gd name="T96" fmla="*/ 1584 w 20000"/>
                  <a:gd name="T97" fmla="*/ 6821 h 20000"/>
                  <a:gd name="T98" fmla="*/ 1344 w 20000"/>
                  <a:gd name="T99" fmla="*/ 5750 h 20000"/>
                  <a:gd name="T100" fmla="*/ 912 w 20000"/>
                  <a:gd name="T101" fmla="*/ 3799 h 20000"/>
                  <a:gd name="T102" fmla="*/ 256 w 20000"/>
                  <a:gd name="T103" fmla="*/ 14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00" h="20000">
                    <a:moveTo>
                      <a:pt x="0" y="84"/>
                    </a:moveTo>
                    <a:lnTo>
                      <a:pt x="1584" y="0"/>
                    </a:lnTo>
                    <a:lnTo>
                      <a:pt x="1584" y="336"/>
                    </a:lnTo>
                    <a:lnTo>
                      <a:pt x="4160" y="1721"/>
                    </a:lnTo>
                    <a:lnTo>
                      <a:pt x="6144" y="1847"/>
                    </a:lnTo>
                    <a:lnTo>
                      <a:pt x="6144" y="1406"/>
                    </a:lnTo>
                    <a:lnTo>
                      <a:pt x="7392" y="1406"/>
                    </a:lnTo>
                    <a:lnTo>
                      <a:pt x="8304" y="2917"/>
                    </a:lnTo>
                    <a:lnTo>
                      <a:pt x="8464" y="4008"/>
                    </a:lnTo>
                    <a:lnTo>
                      <a:pt x="9360" y="4659"/>
                    </a:lnTo>
                    <a:lnTo>
                      <a:pt x="10032" y="3799"/>
                    </a:lnTo>
                    <a:lnTo>
                      <a:pt x="10704" y="4113"/>
                    </a:lnTo>
                    <a:lnTo>
                      <a:pt x="11280" y="5750"/>
                    </a:lnTo>
                    <a:lnTo>
                      <a:pt x="11616" y="6401"/>
                    </a:lnTo>
                    <a:lnTo>
                      <a:pt x="11776" y="7492"/>
                    </a:lnTo>
                    <a:lnTo>
                      <a:pt x="12848" y="8227"/>
                    </a:lnTo>
                    <a:lnTo>
                      <a:pt x="13088" y="8017"/>
                    </a:lnTo>
                    <a:lnTo>
                      <a:pt x="13024" y="8688"/>
                    </a:lnTo>
                    <a:lnTo>
                      <a:pt x="12688" y="8898"/>
                    </a:lnTo>
                    <a:lnTo>
                      <a:pt x="12592" y="9759"/>
                    </a:lnTo>
                    <a:lnTo>
                      <a:pt x="12432" y="10850"/>
                    </a:lnTo>
                    <a:lnTo>
                      <a:pt x="12272" y="12046"/>
                    </a:lnTo>
                    <a:lnTo>
                      <a:pt x="12592" y="12907"/>
                    </a:lnTo>
                    <a:lnTo>
                      <a:pt x="12272" y="12802"/>
                    </a:lnTo>
                    <a:lnTo>
                      <a:pt x="12592" y="13683"/>
                    </a:lnTo>
                    <a:lnTo>
                      <a:pt x="13024" y="14648"/>
                    </a:lnTo>
                    <a:lnTo>
                      <a:pt x="13280" y="15740"/>
                    </a:lnTo>
                    <a:lnTo>
                      <a:pt x="13936" y="16076"/>
                    </a:lnTo>
                    <a:lnTo>
                      <a:pt x="14352" y="16495"/>
                    </a:lnTo>
                    <a:lnTo>
                      <a:pt x="15408" y="16285"/>
                    </a:lnTo>
                    <a:lnTo>
                      <a:pt x="16096" y="15950"/>
                    </a:lnTo>
                    <a:lnTo>
                      <a:pt x="17008" y="15425"/>
                    </a:lnTo>
                    <a:lnTo>
                      <a:pt x="17248" y="14879"/>
                    </a:lnTo>
                    <a:lnTo>
                      <a:pt x="17504" y="13788"/>
                    </a:lnTo>
                    <a:lnTo>
                      <a:pt x="17824" y="13452"/>
                    </a:lnTo>
                    <a:lnTo>
                      <a:pt x="18576" y="13116"/>
                    </a:lnTo>
                    <a:lnTo>
                      <a:pt x="19136" y="12907"/>
                    </a:lnTo>
                    <a:lnTo>
                      <a:pt x="19984" y="13116"/>
                    </a:lnTo>
                    <a:lnTo>
                      <a:pt x="19984" y="13788"/>
                    </a:lnTo>
                    <a:lnTo>
                      <a:pt x="19568" y="14544"/>
                    </a:lnTo>
                    <a:lnTo>
                      <a:pt x="19136" y="15089"/>
                    </a:lnTo>
                    <a:lnTo>
                      <a:pt x="19392" y="15215"/>
                    </a:lnTo>
                    <a:lnTo>
                      <a:pt x="19136" y="16285"/>
                    </a:lnTo>
                    <a:lnTo>
                      <a:pt x="18912" y="15950"/>
                    </a:lnTo>
                    <a:lnTo>
                      <a:pt x="18736" y="16285"/>
                    </a:lnTo>
                    <a:lnTo>
                      <a:pt x="18480" y="16285"/>
                    </a:lnTo>
                    <a:lnTo>
                      <a:pt x="18080" y="16810"/>
                    </a:lnTo>
                    <a:lnTo>
                      <a:pt x="16832" y="16810"/>
                    </a:lnTo>
                    <a:lnTo>
                      <a:pt x="16576" y="17482"/>
                    </a:lnTo>
                    <a:lnTo>
                      <a:pt x="17168" y="18237"/>
                    </a:lnTo>
                    <a:lnTo>
                      <a:pt x="17008" y="18552"/>
                    </a:lnTo>
                    <a:lnTo>
                      <a:pt x="16160" y="18552"/>
                    </a:lnTo>
                    <a:lnTo>
                      <a:pt x="15760" y="19203"/>
                    </a:lnTo>
                    <a:lnTo>
                      <a:pt x="15920" y="19643"/>
                    </a:lnTo>
                    <a:lnTo>
                      <a:pt x="15664" y="19979"/>
                    </a:lnTo>
                    <a:lnTo>
                      <a:pt x="15248" y="19203"/>
                    </a:lnTo>
                    <a:lnTo>
                      <a:pt x="14352" y="18552"/>
                    </a:lnTo>
                    <a:lnTo>
                      <a:pt x="13760" y="18552"/>
                    </a:lnTo>
                    <a:lnTo>
                      <a:pt x="12688" y="19119"/>
                    </a:lnTo>
                    <a:lnTo>
                      <a:pt x="11280" y="18006"/>
                    </a:lnTo>
                    <a:lnTo>
                      <a:pt x="10032" y="17482"/>
                    </a:lnTo>
                    <a:lnTo>
                      <a:pt x="8960" y="16600"/>
                    </a:lnTo>
                    <a:lnTo>
                      <a:pt x="8048" y="16285"/>
                    </a:lnTo>
                    <a:lnTo>
                      <a:pt x="7040" y="15425"/>
                    </a:lnTo>
                    <a:lnTo>
                      <a:pt x="6544" y="14229"/>
                    </a:lnTo>
                    <a:lnTo>
                      <a:pt x="6800" y="14019"/>
                    </a:lnTo>
                    <a:lnTo>
                      <a:pt x="6800" y="13452"/>
                    </a:lnTo>
                    <a:lnTo>
                      <a:pt x="6976" y="13116"/>
                    </a:lnTo>
                    <a:lnTo>
                      <a:pt x="6720" y="12046"/>
                    </a:lnTo>
                    <a:lnTo>
                      <a:pt x="6304" y="10850"/>
                    </a:lnTo>
                    <a:lnTo>
                      <a:pt x="5632" y="9654"/>
                    </a:lnTo>
                    <a:lnTo>
                      <a:pt x="4384" y="8017"/>
                    </a:lnTo>
                    <a:lnTo>
                      <a:pt x="4640" y="7492"/>
                    </a:lnTo>
                    <a:lnTo>
                      <a:pt x="4560" y="6946"/>
                    </a:lnTo>
                    <a:lnTo>
                      <a:pt x="3904" y="6296"/>
                    </a:lnTo>
                    <a:lnTo>
                      <a:pt x="3904" y="5750"/>
                    </a:lnTo>
                    <a:lnTo>
                      <a:pt x="3568" y="5750"/>
                    </a:lnTo>
                    <a:lnTo>
                      <a:pt x="3232" y="4890"/>
                    </a:lnTo>
                    <a:lnTo>
                      <a:pt x="2656" y="3463"/>
                    </a:lnTo>
                    <a:lnTo>
                      <a:pt x="2656" y="2057"/>
                    </a:lnTo>
                    <a:lnTo>
                      <a:pt x="1504" y="965"/>
                    </a:lnTo>
                    <a:lnTo>
                      <a:pt x="1344" y="2917"/>
                    </a:lnTo>
                    <a:lnTo>
                      <a:pt x="1824" y="3799"/>
                    </a:lnTo>
                    <a:lnTo>
                      <a:pt x="2240" y="4974"/>
                    </a:lnTo>
                    <a:lnTo>
                      <a:pt x="2240" y="5519"/>
                    </a:lnTo>
                    <a:lnTo>
                      <a:pt x="2496" y="5960"/>
                    </a:lnTo>
                    <a:lnTo>
                      <a:pt x="2912" y="7156"/>
                    </a:lnTo>
                    <a:lnTo>
                      <a:pt x="2912" y="6611"/>
                    </a:lnTo>
                    <a:lnTo>
                      <a:pt x="3472" y="8898"/>
                    </a:lnTo>
                    <a:lnTo>
                      <a:pt x="3728" y="9654"/>
                    </a:lnTo>
                    <a:lnTo>
                      <a:pt x="3904" y="10073"/>
                    </a:lnTo>
                    <a:lnTo>
                      <a:pt x="3984" y="10976"/>
                    </a:lnTo>
                    <a:lnTo>
                      <a:pt x="3728" y="11396"/>
                    </a:lnTo>
                    <a:lnTo>
                      <a:pt x="3472" y="10640"/>
                    </a:lnTo>
                    <a:lnTo>
                      <a:pt x="2240" y="8898"/>
                    </a:lnTo>
                    <a:lnTo>
                      <a:pt x="2416" y="7492"/>
                    </a:lnTo>
                    <a:lnTo>
                      <a:pt x="1824" y="6611"/>
                    </a:lnTo>
                    <a:lnTo>
                      <a:pt x="1584" y="6821"/>
                    </a:lnTo>
                    <a:lnTo>
                      <a:pt x="752" y="5519"/>
                    </a:lnTo>
                    <a:lnTo>
                      <a:pt x="1344" y="5750"/>
                    </a:lnTo>
                    <a:lnTo>
                      <a:pt x="1504" y="4890"/>
                    </a:lnTo>
                    <a:lnTo>
                      <a:pt x="912" y="3799"/>
                    </a:lnTo>
                    <a:lnTo>
                      <a:pt x="496" y="3127"/>
                    </a:lnTo>
                    <a:lnTo>
                      <a:pt x="256" y="1406"/>
                    </a:lnTo>
                    <a:lnTo>
                      <a:pt x="0" y="8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2" name="Freeform 37"/>
              <p:cNvSpPr>
                <a:spLocks/>
              </p:cNvSpPr>
              <p:nvPr/>
            </p:nvSpPr>
            <p:spPr bwMode="auto">
              <a:xfrm>
                <a:off x="2524125" y="3997325"/>
                <a:ext cx="125413" cy="125413"/>
              </a:xfrm>
              <a:custGeom>
                <a:avLst/>
                <a:gdLst>
                  <a:gd name="T0" fmla="*/ 1421 w 20000"/>
                  <a:gd name="T1" fmla="*/ 8934 h 20000"/>
                  <a:gd name="T2" fmla="*/ 3046 w 20000"/>
                  <a:gd name="T3" fmla="*/ 8934 h 20000"/>
                  <a:gd name="T4" fmla="*/ 5787 w 20000"/>
                  <a:gd name="T5" fmla="*/ 5787 h 20000"/>
                  <a:gd name="T6" fmla="*/ 8832 w 20000"/>
                  <a:gd name="T7" fmla="*/ 4772 h 20000"/>
                  <a:gd name="T8" fmla="*/ 11574 w 20000"/>
                  <a:gd name="T9" fmla="*/ 2030 h 20000"/>
                  <a:gd name="T10" fmla="*/ 12589 w 20000"/>
                  <a:gd name="T11" fmla="*/ 609 h 20000"/>
                  <a:gd name="T12" fmla="*/ 14112 w 20000"/>
                  <a:gd name="T13" fmla="*/ 2030 h 20000"/>
                  <a:gd name="T14" fmla="*/ 19898 w 20000"/>
                  <a:gd name="T15" fmla="*/ 0 h 20000"/>
                  <a:gd name="T16" fmla="*/ 19898 w 20000"/>
                  <a:gd name="T17" fmla="*/ 2030 h 20000"/>
                  <a:gd name="T18" fmla="*/ 19289 w 20000"/>
                  <a:gd name="T19" fmla="*/ 4772 h 20000"/>
                  <a:gd name="T20" fmla="*/ 18274 w 20000"/>
                  <a:gd name="T21" fmla="*/ 8325 h 20000"/>
                  <a:gd name="T22" fmla="*/ 17766 w 20000"/>
                  <a:gd name="T23" fmla="*/ 12589 h 20000"/>
                  <a:gd name="T24" fmla="*/ 17766 w 20000"/>
                  <a:gd name="T25" fmla="*/ 16751 h 20000"/>
                  <a:gd name="T26" fmla="*/ 17766 w 20000"/>
                  <a:gd name="T27" fmla="*/ 19898 h 20000"/>
                  <a:gd name="T28" fmla="*/ 15127 w 20000"/>
                  <a:gd name="T29" fmla="*/ 19898 h 20000"/>
                  <a:gd name="T30" fmla="*/ 12589 w 20000"/>
                  <a:gd name="T31" fmla="*/ 18274 h 20000"/>
                  <a:gd name="T32" fmla="*/ 9949 w 20000"/>
                  <a:gd name="T33" fmla="*/ 15228 h 20000"/>
                  <a:gd name="T34" fmla="*/ 7310 w 20000"/>
                  <a:gd name="T35" fmla="*/ 14112 h 20000"/>
                  <a:gd name="T36" fmla="*/ 8832 w 20000"/>
                  <a:gd name="T37" fmla="*/ 18274 h 20000"/>
                  <a:gd name="T38" fmla="*/ 7310 w 20000"/>
                  <a:gd name="T39" fmla="*/ 18274 h 20000"/>
                  <a:gd name="T40" fmla="*/ 5787 w 20000"/>
                  <a:gd name="T41" fmla="*/ 15736 h 20000"/>
                  <a:gd name="T42" fmla="*/ 3046 w 20000"/>
                  <a:gd name="T43" fmla="*/ 13096 h 20000"/>
                  <a:gd name="T44" fmla="*/ 0 w 20000"/>
                  <a:gd name="T45" fmla="*/ 8934 h 20000"/>
                  <a:gd name="T46" fmla="*/ 1421 w 20000"/>
                  <a:gd name="T47" fmla="*/ 893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00" h="20000">
                    <a:moveTo>
                      <a:pt x="1421" y="8934"/>
                    </a:moveTo>
                    <a:lnTo>
                      <a:pt x="3046" y="8934"/>
                    </a:lnTo>
                    <a:lnTo>
                      <a:pt x="5787" y="5787"/>
                    </a:lnTo>
                    <a:lnTo>
                      <a:pt x="8832" y="4772"/>
                    </a:lnTo>
                    <a:lnTo>
                      <a:pt x="11574" y="2030"/>
                    </a:lnTo>
                    <a:lnTo>
                      <a:pt x="12589" y="609"/>
                    </a:lnTo>
                    <a:lnTo>
                      <a:pt x="14112" y="2030"/>
                    </a:lnTo>
                    <a:lnTo>
                      <a:pt x="19898" y="0"/>
                    </a:lnTo>
                    <a:lnTo>
                      <a:pt x="19898" y="2030"/>
                    </a:lnTo>
                    <a:lnTo>
                      <a:pt x="19289" y="4772"/>
                    </a:lnTo>
                    <a:lnTo>
                      <a:pt x="18274" y="8325"/>
                    </a:lnTo>
                    <a:lnTo>
                      <a:pt x="17766" y="12589"/>
                    </a:lnTo>
                    <a:lnTo>
                      <a:pt x="17766" y="16751"/>
                    </a:lnTo>
                    <a:lnTo>
                      <a:pt x="17766" y="19898"/>
                    </a:lnTo>
                    <a:lnTo>
                      <a:pt x="15127" y="19898"/>
                    </a:lnTo>
                    <a:lnTo>
                      <a:pt x="12589" y="18274"/>
                    </a:lnTo>
                    <a:lnTo>
                      <a:pt x="9949" y="15228"/>
                    </a:lnTo>
                    <a:lnTo>
                      <a:pt x="7310" y="14112"/>
                    </a:lnTo>
                    <a:lnTo>
                      <a:pt x="8832" y="18274"/>
                    </a:lnTo>
                    <a:lnTo>
                      <a:pt x="7310" y="18274"/>
                    </a:lnTo>
                    <a:lnTo>
                      <a:pt x="5787" y="15736"/>
                    </a:lnTo>
                    <a:lnTo>
                      <a:pt x="3046" y="13096"/>
                    </a:lnTo>
                    <a:lnTo>
                      <a:pt x="0" y="8934"/>
                    </a:lnTo>
                    <a:lnTo>
                      <a:pt x="1421" y="893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3" name="Freeform 36"/>
              <p:cNvSpPr>
                <a:spLocks/>
              </p:cNvSpPr>
              <p:nvPr/>
            </p:nvSpPr>
            <p:spPr bwMode="auto">
              <a:xfrm>
                <a:off x="2647950" y="4162425"/>
                <a:ext cx="161925" cy="69850"/>
              </a:xfrm>
              <a:custGeom>
                <a:avLst/>
                <a:gdLst>
                  <a:gd name="T0" fmla="*/ 2039 w 20000"/>
                  <a:gd name="T1" fmla="*/ 0 h 20000"/>
                  <a:gd name="T2" fmla="*/ 2902 w 20000"/>
                  <a:gd name="T3" fmla="*/ 2936 h 20000"/>
                  <a:gd name="T4" fmla="*/ 4000 w 20000"/>
                  <a:gd name="T5" fmla="*/ 2936 h 20000"/>
                  <a:gd name="T6" fmla="*/ 6118 w 20000"/>
                  <a:gd name="T7" fmla="*/ 5688 h 20000"/>
                  <a:gd name="T8" fmla="*/ 9333 w 20000"/>
                  <a:gd name="T9" fmla="*/ 2936 h 20000"/>
                  <a:gd name="T10" fmla="*/ 11373 w 20000"/>
                  <a:gd name="T11" fmla="*/ 0 h 20000"/>
                  <a:gd name="T12" fmla="*/ 15451 w 20000"/>
                  <a:gd name="T13" fmla="*/ 1101 h 20000"/>
                  <a:gd name="T14" fmla="*/ 18667 w 20000"/>
                  <a:gd name="T15" fmla="*/ 5688 h 20000"/>
                  <a:gd name="T16" fmla="*/ 19922 w 20000"/>
                  <a:gd name="T17" fmla="*/ 7523 h 20000"/>
                  <a:gd name="T18" fmla="*/ 19922 w 20000"/>
                  <a:gd name="T19" fmla="*/ 13211 h 20000"/>
                  <a:gd name="T20" fmla="*/ 18667 w 20000"/>
                  <a:gd name="T21" fmla="*/ 17982 h 20000"/>
                  <a:gd name="T22" fmla="*/ 17804 w 20000"/>
                  <a:gd name="T23" fmla="*/ 16147 h 20000"/>
                  <a:gd name="T24" fmla="*/ 17020 w 20000"/>
                  <a:gd name="T25" fmla="*/ 19817 h 20000"/>
                  <a:gd name="T26" fmla="*/ 15843 w 20000"/>
                  <a:gd name="T27" fmla="*/ 12294 h 20000"/>
                  <a:gd name="T28" fmla="*/ 16706 w 20000"/>
                  <a:gd name="T29" fmla="*/ 8624 h 20000"/>
                  <a:gd name="T30" fmla="*/ 15451 w 20000"/>
                  <a:gd name="T31" fmla="*/ 8624 h 20000"/>
                  <a:gd name="T32" fmla="*/ 13804 w 20000"/>
                  <a:gd name="T33" fmla="*/ 5688 h 20000"/>
                  <a:gd name="T34" fmla="*/ 12157 w 20000"/>
                  <a:gd name="T35" fmla="*/ 5688 h 20000"/>
                  <a:gd name="T36" fmla="*/ 8549 w 20000"/>
                  <a:gd name="T37" fmla="*/ 12294 h 20000"/>
                  <a:gd name="T38" fmla="*/ 10118 w 20000"/>
                  <a:gd name="T39" fmla="*/ 17982 h 20000"/>
                  <a:gd name="T40" fmla="*/ 7373 w 20000"/>
                  <a:gd name="T41" fmla="*/ 19817 h 20000"/>
                  <a:gd name="T42" fmla="*/ 6118 w 20000"/>
                  <a:gd name="T43" fmla="*/ 15046 h 20000"/>
                  <a:gd name="T44" fmla="*/ 5255 w 20000"/>
                  <a:gd name="T45" fmla="*/ 15046 h 20000"/>
                  <a:gd name="T46" fmla="*/ 3686 w 20000"/>
                  <a:gd name="T47" fmla="*/ 12294 h 20000"/>
                  <a:gd name="T48" fmla="*/ 784 w 20000"/>
                  <a:gd name="T49" fmla="*/ 10459 h 20000"/>
                  <a:gd name="T50" fmla="*/ 0 w 20000"/>
                  <a:gd name="T51" fmla="*/ 7523 h 20000"/>
                  <a:gd name="T52" fmla="*/ 0 w 20000"/>
                  <a:gd name="T53" fmla="*/ 5688 h 20000"/>
                  <a:gd name="T54" fmla="*/ 784 w 20000"/>
                  <a:gd name="T55" fmla="*/ 0 h 20000"/>
                  <a:gd name="T56" fmla="*/ 2039 w 20000"/>
                  <a:gd name="T57"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2039" y="0"/>
                    </a:moveTo>
                    <a:lnTo>
                      <a:pt x="2902" y="2936"/>
                    </a:lnTo>
                    <a:lnTo>
                      <a:pt x="4000" y="2936"/>
                    </a:lnTo>
                    <a:lnTo>
                      <a:pt x="6118" y="5688"/>
                    </a:lnTo>
                    <a:lnTo>
                      <a:pt x="9333" y="2936"/>
                    </a:lnTo>
                    <a:lnTo>
                      <a:pt x="11373" y="0"/>
                    </a:lnTo>
                    <a:lnTo>
                      <a:pt x="15451" y="1101"/>
                    </a:lnTo>
                    <a:lnTo>
                      <a:pt x="18667" y="5688"/>
                    </a:lnTo>
                    <a:lnTo>
                      <a:pt x="19922" y="7523"/>
                    </a:lnTo>
                    <a:lnTo>
                      <a:pt x="19922" y="13211"/>
                    </a:lnTo>
                    <a:lnTo>
                      <a:pt x="18667" y="17982"/>
                    </a:lnTo>
                    <a:lnTo>
                      <a:pt x="17804" y="16147"/>
                    </a:lnTo>
                    <a:lnTo>
                      <a:pt x="17020" y="19817"/>
                    </a:lnTo>
                    <a:lnTo>
                      <a:pt x="15843" y="12294"/>
                    </a:lnTo>
                    <a:lnTo>
                      <a:pt x="16706" y="8624"/>
                    </a:lnTo>
                    <a:lnTo>
                      <a:pt x="15451" y="8624"/>
                    </a:lnTo>
                    <a:lnTo>
                      <a:pt x="13804" y="5688"/>
                    </a:lnTo>
                    <a:lnTo>
                      <a:pt x="12157" y="5688"/>
                    </a:lnTo>
                    <a:lnTo>
                      <a:pt x="8549" y="12294"/>
                    </a:lnTo>
                    <a:lnTo>
                      <a:pt x="10118" y="17982"/>
                    </a:lnTo>
                    <a:lnTo>
                      <a:pt x="7373" y="19817"/>
                    </a:lnTo>
                    <a:lnTo>
                      <a:pt x="6118" y="15046"/>
                    </a:lnTo>
                    <a:lnTo>
                      <a:pt x="5255" y="15046"/>
                    </a:lnTo>
                    <a:lnTo>
                      <a:pt x="3686" y="12294"/>
                    </a:lnTo>
                    <a:lnTo>
                      <a:pt x="784" y="10459"/>
                    </a:lnTo>
                    <a:lnTo>
                      <a:pt x="0" y="7523"/>
                    </a:lnTo>
                    <a:lnTo>
                      <a:pt x="0" y="5688"/>
                    </a:lnTo>
                    <a:lnTo>
                      <a:pt x="784" y="0"/>
                    </a:lnTo>
                    <a:lnTo>
                      <a:pt x="203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4" name="Freeform 35"/>
              <p:cNvSpPr>
                <a:spLocks/>
              </p:cNvSpPr>
              <p:nvPr/>
            </p:nvSpPr>
            <p:spPr bwMode="auto">
              <a:xfrm>
                <a:off x="3233738" y="5006975"/>
                <a:ext cx="247650" cy="250825"/>
              </a:xfrm>
              <a:custGeom>
                <a:avLst/>
                <a:gdLst>
                  <a:gd name="T0" fmla="*/ 0 w 20000"/>
                  <a:gd name="T1" fmla="*/ 5772 h 20000"/>
                  <a:gd name="T2" fmla="*/ 1337 w 20000"/>
                  <a:gd name="T3" fmla="*/ 3696 h 20000"/>
                  <a:gd name="T4" fmla="*/ 823 w 20000"/>
                  <a:gd name="T5" fmla="*/ 2076 h 20000"/>
                  <a:gd name="T6" fmla="*/ 2108 w 20000"/>
                  <a:gd name="T7" fmla="*/ 810 h 20000"/>
                  <a:gd name="T8" fmla="*/ 2108 w 20000"/>
                  <a:gd name="T9" fmla="*/ 0 h 20000"/>
                  <a:gd name="T10" fmla="*/ 8792 w 20000"/>
                  <a:gd name="T11" fmla="*/ 0 h 20000"/>
                  <a:gd name="T12" fmla="*/ 10386 w 20000"/>
                  <a:gd name="T13" fmla="*/ 1570 h 20000"/>
                  <a:gd name="T14" fmla="*/ 11671 w 20000"/>
                  <a:gd name="T15" fmla="*/ 6278 h 20000"/>
                  <a:gd name="T16" fmla="*/ 16504 w 20000"/>
                  <a:gd name="T17" fmla="*/ 6532 h 20000"/>
                  <a:gd name="T18" fmla="*/ 18098 w 20000"/>
                  <a:gd name="T19" fmla="*/ 10532 h 20000"/>
                  <a:gd name="T20" fmla="*/ 18920 w 20000"/>
                  <a:gd name="T21" fmla="*/ 9924 h 20000"/>
                  <a:gd name="T22" fmla="*/ 19949 w 20000"/>
                  <a:gd name="T23" fmla="*/ 11038 h 20000"/>
                  <a:gd name="T24" fmla="*/ 19434 w 20000"/>
                  <a:gd name="T25" fmla="*/ 13114 h 20000"/>
                  <a:gd name="T26" fmla="*/ 19949 w 20000"/>
                  <a:gd name="T27" fmla="*/ 15190 h 20000"/>
                  <a:gd name="T28" fmla="*/ 19434 w 20000"/>
                  <a:gd name="T29" fmla="*/ 17266 h 20000"/>
                  <a:gd name="T30" fmla="*/ 17584 w 20000"/>
                  <a:gd name="T31" fmla="*/ 18886 h 20000"/>
                  <a:gd name="T32" fmla="*/ 15424 w 20000"/>
                  <a:gd name="T33" fmla="*/ 19949 h 20000"/>
                  <a:gd name="T34" fmla="*/ 13316 w 20000"/>
                  <a:gd name="T35" fmla="*/ 18886 h 20000"/>
                  <a:gd name="T36" fmla="*/ 10900 w 20000"/>
                  <a:gd name="T37" fmla="*/ 18633 h 20000"/>
                  <a:gd name="T38" fmla="*/ 11671 w 20000"/>
                  <a:gd name="T39" fmla="*/ 16506 h 20000"/>
                  <a:gd name="T40" fmla="*/ 12494 w 20000"/>
                  <a:gd name="T41" fmla="*/ 15190 h 20000"/>
                  <a:gd name="T42" fmla="*/ 13059 w 20000"/>
                  <a:gd name="T43" fmla="*/ 13367 h 20000"/>
                  <a:gd name="T44" fmla="*/ 11979 w 20000"/>
                  <a:gd name="T45" fmla="*/ 12608 h 20000"/>
                  <a:gd name="T46" fmla="*/ 9563 w 20000"/>
                  <a:gd name="T47" fmla="*/ 12101 h 20000"/>
                  <a:gd name="T48" fmla="*/ 7455 w 20000"/>
                  <a:gd name="T49" fmla="*/ 11038 h 20000"/>
                  <a:gd name="T50" fmla="*/ 4833 w 20000"/>
                  <a:gd name="T51" fmla="*/ 10532 h 20000"/>
                  <a:gd name="T52" fmla="*/ 2622 w 20000"/>
                  <a:gd name="T53" fmla="*/ 8405 h 20000"/>
                  <a:gd name="T54" fmla="*/ 0 w 20000"/>
                  <a:gd name="T55" fmla="*/ 577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00" h="20000">
                    <a:moveTo>
                      <a:pt x="0" y="5772"/>
                    </a:moveTo>
                    <a:lnTo>
                      <a:pt x="1337" y="3696"/>
                    </a:lnTo>
                    <a:lnTo>
                      <a:pt x="823" y="2076"/>
                    </a:lnTo>
                    <a:lnTo>
                      <a:pt x="2108" y="810"/>
                    </a:lnTo>
                    <a:lnTo>
                      <a:pt x="2108" y="0"/>
                    </a:lnTo>
                    <a:lnTo>
                      <a:pt x="8792" y="0"/>
                    </a:lnTo>
                    <a:lnTo>
                      <a:pt x="10386" y="1570"/>
                    </a:lnTo>
                    <a:lnTo>
                      <a:pt x="11671" y="6278"/>
                    </a:lnTo>
                    <a:lnTo>
                      <a:pt x="16504" y="6532"/>
                    </a:lnTo>
                    <a:lnTo>
                      <a:pt x="18098" y="10532"/>
                    </a:lnTo>
                    <a:lnTo>
                      <a:pt x="18920" y="9924"/>
                    </a:lnTo>
                    <a:lnTo>
                      <a:pt x="19949" y="11038"/>
                    </a:lnTo>
                    <a:lnTo>
                      <a:pt x="19434" y="13114"/>
                    </a:lnTo>
                    <a:lnTo>
                      <a:pt x="19949" y="15190"/>
                    </a:lnTo>
                    <a:lnTo>
                      <a:pt x="19434" y="17266"/>
                    </a:lnTo>
                    <a:lnTo>
                      <a:pt x="17584" y="18886"/>
                    </a:lnTo>
                    <a:lnTo>
                      <a:pt x="15424" y="19949"/>
                    </a:lnTo>
                    <a:lnTo>
                      <a:pt x="13316" y="18886"/>
                    </a:lnTo>
                    <a:lnTo>
                      <a:pt x="10900" y="18633"/>
                    </a:lnTo>
                    <a:lnTo>
                      <a:pt x="11671" y="16506"/>
                    </a:lnTo>
                    <a:lnTo>
                      <a:pt x="12494" y="15190"/>
                    </a:lnTo>
                    <a:lnTo>
                      <a:pt x="13059" y="13367"/>
                    </a:lnTo>
                    <a:lnTo>
                      <a:pt x="11979" y="12608"/>
                    </a:lnTo>
                    <a:lnTo>
                      <a:pt x="9563" y="12101"/>
                    </a:lnTo>
                    <a:lnTo>
                      <a:pt x="7455" y="11038"/>
                    </a:lnTo>
                    <a:lnTo>
                      <a:pt x="4833" y="10532"/>
                    </a:lnTo>
                    <a:lnTo>
                      <a:pt x="2622" y="8405"/>
                    </a:lnTo>
                    <a:lnTo>
                      <a:pt x="0" y="577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5" name="Freeform 34"/>
              <p:cNvSpPr>
                <a:spLocks/>
              </p:cNvSpPr>
              <p:nvPr/>
            </p:nvSpPr>
            <p:spPr bwMode="auto">
              <a:xfrm>
                <a:off x="2690813" y="4432300"/>
                <a:ext cx="361950" cy="542925"/>
              </a:xfrm>
              <a:custGeom>
                <a:avLst/>
                <a:gdLst>
                  <a:gd name="T0" fmla="*/ 8546 w 20000"/>
                  <a:gd name="T1" fmla="*/ 0 h 20000"/>
                  <a:gd name="T2" fmla="*/ 9107 w 20000"/>
                  <a:gd name="T3" fmla="*/ 234 h 20000"/>
                  <a:gd name="T4" fmla="*/ 10018 w 20000"/>
                  <a:gd name="T5" fmla="*/ 374 h 20000"/>
                  <a:gd name="T6" fmla="*/ 10893 w 20000"/>
                  <a:gd name="T7" fmla="*/ 1193 h 20000"/>
                  <a:gd name="T8" fmla="*/ 12329 w 20000"/>
                  <a:gd name="T9" fmla="*/ 1918 h 20000"/>
                  <a:gd name="T10" fmla="*/ 12890 w 20000"/>
                  <a:gd name="T11" fmla="*/ 2760 h 20000"/>
                  <a:gd name="T12" fmla="*/ 13835 w 20000"/>
                  <a:gd name="T13" fmla="*/ 2760 h 20000"/>
                  <a:gd name="T14" fmla="*/ 14711 w 20000"/>
                  <a:gd name="T15" fmla="*/ 2292 h 20000"/>
                  <a:gd name="T16" fmla="*/ 15972 w 20000"/>
                  <a:gd name="T17" fmla="*/ 2526 h 20000"/>
                  <a:gd name="T18" fmla="*/ 17058 w 20000"/>
                  <a:gd name="T19" fmla="*/ 2901 h 20000"/>
                  <a:gd name="T20" fmla="*/ 16708 w 20000"/>
                  <a:gd name="T21" fmla="*/ 3860 h 20000"/>
                  <a:gd name="T22" fmla="*/ 17408 w 20000"/>
                  <a:gd name="T23" fmla="*/ 4468 h 20000"/>
                  <a:gd name="T24" fmla="*/ 16182 w 20000"/>
                  <a:gd name="T25" fmla="*/ 4468 h 20000"/>
                  <a:gd name="T26" fmla="*/ 13625 w 20000"/>
                  <a:gd name="T27" fmla="*/ 5310 h 20000"/>
                  <a:gd name="T28" fmla="*/ 12890 w 20000"/>
                  <a:gd name="T29" fmla="*/ 6058 h 20000"/>
                  <a:gd name="T30" fmla="*/ 12750 w 20000"/>
                  <a:gd name="T31" fmla="*/ 7018 h 20000"/>
                  <a:gd name="T32" fmla="*/ 11804 w 20000"/>
                  <a:gd name="T33" fmla="*/ 7368 h 20000"/>
                  <a:gd name="T34" fmla="*/ 11804 w 20000"/>
                  <a:gd name="T35" fmla="*/ 8585 h 20000"/>
                  <a:gd name="T36" fmla="*/ 12750 w 20000"/>
                  <a:gd name="T37" fmla="*/ 9544 h 20000"/>
                  <a:gd name="T38" fmla="*/ 13625 w 20000"/>
                  <a:gd name="T39" fmla="*/ 10175 h 20000"/>
                  <a:gd name="T40" fmla="*/ 14711 w 20000"/>
                  <a:gd name="T41" fmla="*/ 10526 h 20000"/>
                  <a:gd name="T42" fmla="*/ 16182 w 20000"/>
                  <a:gd name="T43" fmla="*/ 10526 h 20000"/>
                  <a:gd name="T44" fmla="*/ 17058 w 20000"/>
                  <a:gd name="T45" fmla="*/ 10175 h 20000"/>
                  <a:gd name="T46" fmla="*/ 17058 w 20000"/>
                  <a:gd name="T47" fmla="*/ 11743 h 20000"/>
                  <a:gd name="T48" fmla="*/ 17618 w 20000"/>
                  <a:gd name="T49" fmla="*/ 11743 h 20000"/>
                  <a:gd name="T50" fmla="*/ 18529 w 20000"/>
                  <a:gd name="T51" fmla="*/ 11743 h 20000"/>
                  <a:gd name="T52" fmla="*/ 19965 w 20000"/>
                  <a:gd name="T53" fmla="*/ 13310 h 20000"/>
                  <a:gd name="T54" fmla="*/ 19440 w 20000"/>
                  <a:gd name="T55" fmla="*/ 14620 h 20000"/>
                  <a:gd name="T56" fmla="*/ 19440 w 20000"/>
                  <a:gd name="T57" fmla="*/ 15485 h 20000"/>
                  <a:gd name="T58" fmla="*/ 19054 w 20000"/>
                  <a:gd name="T59" fmla="*/ 16585 h 20000"/>
                  <a:gd name="T60" fmla="*/ 18354 w 20000"/>
                  <a:gd name="T61" fmla="*/ 16444 h 20000"/>
                  <a:gd name="T62" fmla="*/ 18354 w 20000"/>
                  <a:gd name="T63" fmla="*/ 17053 h 20000"/>
                  <a:gd name="T64" fmla="*/ 19440 w 20000"/>
                  <a:gd name="T65" fmla="*/ 17661 h 20000"/>
                  <a:gd name="T66" fmla="*/ 19790 w 20000"/>
                  <a:gd name="T67" fmla="*/ 17661 h 20000"/>
                  <a:gd name="T68" fmla="*/ 19440 w 20000"/>
                  <a:gd name="T69" fmla="*/ 18152 h 20000"/>
                  <a:gd name="T70" fmla="*/ 19054 w 20000"/>
                  <a:gd name="T71" fmla="*/ 18994 h 20000"/>
                  <a:gd name="T72" fmla="*/ 18529 w 20000"/>
                  <a:gd name="T73" fmla="*/ 19602 h 20000"/>
                  <a:gd name="T74" fmla="*/ 17968 w 20000"/>
                  <a:gd name="T75" fmla="*/ 19977 h 20000"/>
                  <a:gd name="T76" fmla="*/ 16532 w 20000"/>
                  <a:gd name="T77" fmla="*/ 19111 h 20000"/>
                  <a:gd name="T78" fmla="*/ 15061 w 20000"/>
                  <a:gd name="T79" fmla="*/ 18386 h 20000"/>
                  <a:gd name="T80" fmla="*/ 12329 w 20000"/>
                  <a:gd name="T81" fmla="*/ 17427 h 20000"/>
                  <a:gd name="T82" fmla="*/ 10368 w 20000"/>
                  <a:gd name="T83" fmla="*/ 16585 h 20000"/>
                  <a:gd name="T84" fmla="*/ 8371 w 20000"/>
                  <a:gd name="T85" fmla="*/ 15135 h 20000"/>
                  <a:gd name="T86" fmla="*/ 7671 w 20000"/>
                  <a:gd name="T87" fmla="*/ 13567 h 20000"/>
                  <a:gd name="T88" fmla="*/ 6550 w 20000"/>
                  <a:gd name="T89" fmla="*/ 12936 h 20000"/>
                  <a:gd name="T90" fmla="*/ 6025 w 20000"/>
                  <a:gd name="T91" fmla="*/ 11743 h 20000"/>
                  <a:gd name="T92" fmla="*/ 4729 w 20000"/>
                  <a:gd name="T93" fmla="*/ 10526 h 20000"/>
                  <a:gd name="T94" fmla="*/ 3818 w 20000"/>
                  <a:gd name="T95" fmla="*/ 9170 h 20000"/>
                  <a:gd name="T96" fmla="*/ 2382 w 20000"/>
                  <a:gd name="T97" fmla="*/ 7626 h 20000"/>
                  <a:gd name="T98" fmla="*/ 0 w 20000"/>
                  <a:gd name="T99" fmla="*/ 6292 h 20000"/>
                  <a:gd name="T100" fmla="*/ 0 w 20000"/>
                  <a:gd name="T101" fmla="*/ 4725 h 20000"/>
                  <a:gd name="T102" fmla="*/ 736 w 20000"/>
                  <a:gd name="T103" fmla="*/ 4094 h 20000"/>
                  <a:gd name="T104" fmla="*/ 1821 w 20000"/>
                  <a:gd name="T105" fmla="*/ 3766 h 20000"/>
                  <a:gd name="T106" fmla="*/ 1471 w 20000"/>
                  <a:gd name="T107" fmla="*/ 4725 h 20000"/>
                  <a:gd name="T108" fmla="*/ 2382 w 20000"/>
                  <a:gd name="T109" fmla="*/ 4819 h 20000"/>
                  <a:gd name="T110" fmla="*/ 3643 w 20000"/>
                  <a:gd name="T111" fmla="*/ 5310 h 20000"/>
                  <a:gd name="T112" fmla="*/ 4168 w 20000"/>
                  <a:gd name="T113" fmla="*/ 4351 h 20000"/>
                  <a:gd name="T114" fmla="*/ 5289 w 20000"/>
                  <a:gd name="T115" fmla="*/ 3392 h 20000"/>
                  <a:gd name="T116" fmla="*/ 7110 w 20000"/>
                  <a:gd name="T117" fmla="*/ 2901 h 20000"/>
                  <a:gd name="T118" fmla="*/ 8546 w 20000"/>
                  <a:gd name="T119" fmla="*/ 1801 h 20000"/>
                  <a:gd name="T120" fmla="*/ 9457 w 20000"/>
                  <a:gd name="T121" fmla="*/ 959 h 20000"/>
                  <a:gd name="T122" fmla="*/ 8546 w 20000"/>
                  <a:gd name="T1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00" h="20000">
                    <a:moveTo>
                      <a:pt x="8546" y="0"/>
                    </a:moveTo>
                    <a:lnTo>
                      <a:pt x="9107" y="234"/>
                    </a:lnTo>
                    <a:lnTo>
                      <a:pt x="10018" y="374"/>
                    </a:lnTo>
                    <a:lnTo>
                      <a:pt x="10893" y="1193"/>
                    </a:lnTo>
                    <a:lnTo>
                      <a:pt x="12329" y="1918"/>
                    </a:lnTo>
                    <a:lnTo>
                      <a:pt x="12890" y="2760"/>
                    </a:lnTo>
                    <a:lnTo>
                      <a:pt x="13835" y="2760"/>
                    </a:lnTo>
                    <a:lnTo>
                      <a:pt x="14711" y="2292"/>
                    </a:lnTo>
                    <a:lnTo>
                      <a:pt x="15972" y="2526"/>
                    </a:lnTo>
                    <a:lnTo>
                      <a:pt x="17058" y="2901"/>
                    </a:lnTo>
                    <a:lnTo>
                      <a:pt x="16708" y="3860"/>
                    </a:lnTo>
                    <a:lnTo>
                      <a:pt x="17408" y="4468"/>
                    </a:lnTo>
                    <a:lnTo>
                      <a:pt x="16182" y="4468"/>
                    </a:lnTo>
                    <a:lnTo>
                      <a:pt x="13625" y="5310"/>
                    </a:lnTo>
                    <a:lnTo>
                      <a:pt x="12890" y="6058"/>
                    </a:lnTo>
                    <a:lnTo>
                      <a:pt x="12750" y="7018"/>
                    </a:lnTo>
                    <a:lnTo>
                      <a:pt x="11804" y="7368"/>
                    </a:lnTo>
                    <a:lnTo>
                      <a:pt x="11804" y="8585"/>
                    </a:lnTo>
                    <a:lnTo>
                      <a:pt x="12750" y="9544"/>
                    </a:lnTo>
                    <a:lnTo>
                      <a:pt x="13625" y="10175"/>
                    </a:lnTo>
                    <a:lnTo>
                      <a:pt x="14711" y="10526"/>
                    </a:lnTo>
                    <a:lnTo>
                      <a:pt x="16182" y="10526"/>
                    </a:lnTo>
                    <a:lnTo>
                      <a:pt x="17058" y="10175"/>
                    </a:lnTo>
                    <a:lnTo>
                      <a:pt x="17058" y="11743"/>
                    </a:lnTo>
                    <a:lnTo>
                      <a:pt x="17618" y="11743"/>
                    </a:lnTo>
                    <a:lnTo>
                      <a:pt x="18529" y="11743"/>
                    </a:lnTo>
                    <a:lnTo>
                      <a:pt x="19965" y="13310"/>
                    </a:lnTo>
                    <a:lnTo>
                      <a:pt x="19440" y="14620"/>
                    </a:lnTo>
                    <a:lnTo>
                      <a:pt x="19440" y="15485"/>
                    </a:lnTo>
                    <a:lnTo>
                      <a:pt x="19054" y="16585"/>
                    </a:lnTo>
                    <a:lnTo>
                      <a:pt x="18354" y="16444"/>
                    </a:lnTo>
                    <a:lnTo>
                      <a:pt x="18354" y="17053"/>
                    </a:lnTo>
                    <a:lnTo>
                      <a:pt x="19440" y="17661"/>
                    </a:lnTo>
                    <a:lnTo>
                      <a:pt x="19790" y="17661"/>
                    </a:lnTo>
                    <a:lnTo>
                      <a:pt x="19440" y="18152"/>
                    </a:lnTo>
                    <a:lnTo>
                      <a:pt x="19054" y="18994"/>
                    </a:lnTo>
                    <a:lnTo>
                      <a:pt x="18529" y="19602"/>
                    </a:lnTo>
                    <a:lnTo>
                      <a:pt x="17968" y="19977"/>
                    </a:lnTo>
                    <a:lnTo>
                      <a:pt x="16532" y="19111"/>
                    </a:lnTo>
                    <a:lnTo>
                      <a:pt x="15061" y="18386"/>
                    </a:lnTo>
                    <a:lnTo>
                      <a:pt x="12329" y="17427"/>
                    </a:lnTo>
                    <a:lnTo>
                      <a:pt x="10368" y="16585"/>
                    </a:lnTo>
                    <a:lnTo>
                      <a:pt x="8371" y="15135"/>
                    </a:lnTo>
                    <a:lnTo>
                      <a:pt x="7671" y="13567"/>
                    </a:lnTo>
                    <a:lnTo>
                      <a:pt x="6550" y="12936"/>
                    </a:lnTo>
                    <a:lnTo>
                      <a:pt x="6025" y="11743"/>
                    </a:lnTo>
                    <a:lnTo>
                      <a:pt x="4729" y="10526"/>
                    </a:lnTo>
                    <a:lnTo>
                      <a:pt x="3818" y="9170"/>
                    </a:lnTo>
                    <a:lnTo>
                      <a:pt x="2382" y="7626"/>
                    </a:lnTo>
                    <a:lnTo>
                      <a:pt x="0" y="6292"/>
                    </a:lnTo>
                    <a:lnTo>
                      <a:pt x="0" y="4725"/>
                    </a:lnTo>
                    <a:lnTo>
                      <a:pt x="736" y="4094"/>
                    </a:lnTo>
                    <a:lnTo>
                      <a:pt x="1821" y="3766"/>
                    </a:lnTo>
                    <a:lnTo>
                      <a:pt x="1471" y="4725"/>
                    </a:lnTo>
                    <a:lnTo>
                      <a:pt x="2382" y="4819"/>
                    </a:lnTo>
                    <a:lnTo>
                      <a:pt x="3643" y="5310"/>
                    </a:lnTo>
                    <a:lnTo>
                      <a:pt x="4168" y="4351"/>
                    </a:lnTo>
                    <a:lnTo>
                      <a:pt x="5289" y="3392"/>
                    </a:lnTo>
                    <a:lnTo>
                      <a:pt x="7110" y="2901"/>
                    </a:lnTo>
                    <a:lnTo>
                      <a:pt x="8546" y="1801"/>
                    </a:lnTo>
                    <a:lnTo>
                      <a:pt x="9457" y="959"/>
                    </a:lnTo>
                    <a:lnTo>
                      <a:pt x="8546"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6" name="Freeform 33"/>
              <p:cNvSpPr>
                <a:spLocks/>
              </p:cNvSpPr>
              <p:nvPr/>
            </p:nvSpPr>
            <p:spPr bwMode="auto">
              <a:xfrm>
                <a:off x="3273425" y="4040188"/>
                <a:ext cx="3175" cy="11112"/>
              </a:xfrm>
              <a:custGeom>
                <a:avLst/>
                <a:gdLst>
                  <a:gd name="T0" fmla="*/ 0 w 20000"/>
                  <a:gd name="T1" fmla="*/ 18824 h 20000"/>
                  <a:gd name="T2" fmla="*/ 0 w 20000"/>
                  <a:gd name="T3" fmla="*/ 0 h 20000"/>
                  <a:gd name="T4" fmla="*/ 16667 w 20000"/>
                  <a:gd name="T5" fmla="*/ 0 h 20000"/>
                  <a:gd name="T6" fmla="*/ 16667 w 20000"/>
                  <a:gd name="T7" fmla="*/ 7059 h 20000"/>
                  <a:gd name="T8" fmla="*/ 0 w 20000"/>
                  <a:gd name="T9" fmla="*/ 18824 h 20000"/>
                </a:gdLst>
                <a:ahLst/>
                <a:cxnLst>
                  <a:cxn ang="0">
                    <a:pos x="T0" y="T1"/>
                  </a:cxn>
                  <a:cxn ang="0">
                    <a:pos x="T2" y="T3"/>
                  </a:cxn>
                  <a:cxn ang="0">
                    <a:pos x="T4" y="T5"/>
                  </a:cxn>
                  <a:cxn ang="0">
                    <a:pos x="T6" y="T7"/>
                  </a:cxn>
                  <a:cxn ang="0">
                    <a:pos x="T8" y="T9"/>
                  </a:cxn>
                </a:cxnLst>
                <a:rect l="0" t="0" r="r" b="b"/>
                <a:pathLst>
                  <a:path w="20000" h="20000">
                    <a:moveTo>
                      <a:pt x="0" y="18824"/>
                    </a:moveTo>
                    <a:lnTo>
                      <a:pt x="0" y="0"/>
                    </a:lnTo>
                    <a:lnTo>
                      <a:pt x="16667" y="0"/>
                    </a:lnTo>
                    <a:lnTo>
                      <a:pt x="16667" y="7059"/>
                    </a:lnTo>
                    <a:lnTo>
                      <a:pt x="0"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7" name="Freeform 32"/>
              <p:cNvSpPr>
                <a:spLocks/>
              </p:cNvSpPr>
              <p:nvPr/>
            </p:nvSpPr>
            <p:spPr bwMode="auto">
              <a:xfrm>
                <a:off x="3344863" y="4267200"/>
                <a:ext cx="122237" cy="122238"/>
              </a:xfrm>
              <a:custGeom>
                <a:avLst/>
                <a:gdLst>
                  <a:gd name="T0" fmla="*/ 5285 w 20000"/>
                  <a:gd name="T1" fmla="*/ 0 h 20000"/>
                  <a:gd name="T2" fmla="*/ 10777 w 20000"/>
                  <a:gd name="T3" fmla="*/ 1563 h 20000"/>
                  <a:gd name="T4" fmla="*/ 15026 w 20000"/>
                  <a:gd name="T5" fmla="*/ 0 h 20000"/>
                  <a:gd name="T6" fmla="*/ 19896 w 20000"/>
                  <a:gd name="T7" fmla="*/ 1563 h 20000"/>
                  <a:gd name="T8" fmla="*/ 17202 w 20000"/>
                  <a:gd name="T9" fmla="*/ 4271 h 20000"/>
                  <a:gd name="T10" fmla="*/ 18238 w 20000"/>
                  <a:gd name="T11" fmla="*/ 10208 h 20000"/>
                  <a:gd name="T12" fmla="*/ 19275 w 20000"/>
                  <a:gd name="T13" fmla="*/ 12917 h 20000"/>
                  <a:gd name="T14" fmla="*/ 16684 w 20000"/>
                  <a:gd name="T15" fmla="*/ 17188 h 20000"/>
                  <a:gd name="T16" fmla="*/ 15026 w 20000"/>
                  <a:gd name="T17" fmla="*/ 15625 h 20000"/>
                  <a:gd name="T18" fmla="*/ 10777 w 20000"/>
                  <a:gd name="T19" fmla="*/ 16667 h 20000"/>
                  <a:gd name="T20" fmla="*/ 9741 w 20000"/>
                  <a:gd name="T21" fmla="*/ 19896 h 20000"/>
                  <a:gd name="T22" fmla="*/ 6943 w 20000"/>
                  <a:gd name="T23" fmla="*/ 19375 h 20000"/>
                  <a:gd name="T24" fmla="*/ 4249 w 20000"/>
                  <a:gd name="T25" fmla="*/ 12292 h 20000"/>
                  <a:gd name="T26" fmla="*/ 0 w 20000"/>
                  <a:gd name="T27" fmla="*/ 9688 h 20000"/>
                  <a:gd name="T28" fmla="*/ 1036 w 20000"/>
                  <a:gd name="T29" fmla="*/ 5938 h 20000"/>
                  <a:gd name="T30" fmla="*/ 4249 w 20000"/>
                  <a:gd name="T31" fmla="*/ 4271 h 20000"/>
                  <a:gd name="T32" fmla="*/ 5285 w 20000"/>
                  <a:gd name="T3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00" h="20000">
                    <a:moveTo>
                      <a:pt x="5285" y="0"/>
                    </a:moveTo>
                    <a:lnTo>
                      <a:pt x="10777" y="1563"/>
                    </a:lnTo>
                    <a:lnTo>
                      <a:pt x="15026" y="0"/>
                    </a:lnTo>
                    <a:lnTo>
                      <a:pt x="19896" y="1563"/>
                    </a:lnTo>
                    <a:lnTo>
                      <a:pt x="17202" y="4271"/>
                    </a:lnTo>
                    <a:lnTo>
                      <a:pt x="18238" y="10208"/>
                    </a:lnTo>
                    <a:lnTo>
                      <a:pt x="19275" y="12917"/>
                    </a:lnTo>
                    <a:lnTo>
                      <a:pt x="16684" y="17188"/>
                    </a:lnTo>
                    <a:lnTo>
                      <a:pt x="15026" y="15625"/>
                    </a:lnTo>
                    <a:lnTo>
                      <a:pt x="10777" y="16667"/>
                    </a:lnTo>
                    <a:lnTo>
                      <a:pt x="9741" y="19896"/>
                    </a:lnTo>
                    <a:lnTo>
                      <a:pt x="6943" y="19375"/>
                    </a:lnTo>
                    <a:lnTo>
                      <a:pt x="4249" y="12292"/>
                    </a:lnTo>
                    <a:lnTo>
                      <a:pt x="0" y="9688"/>
                    </a:lnTo>
                    <a:lnTo>
                      <a:pt x="1036" y="5938"/>
                    </a:lnTo>
                    <a:lnTo>
                      <a:pt x="4249" y="4271"/>
                    </a:lnTo>
                    <a:lnTo>
                      <a:pt x="528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8" name="Freeform 31"/>
              <p:cNvSpPr>
                <a:spLocks/>
              </p:cNvSpPr>
              <p:nvPr/>
            </p:nvSpPr>
            <p:spPr bwMode="auto">
              <a:xfrm>
                <a:off x="3394075" y="5334000"/>
                <a:ext cx="138113" cy="158750"/>
              </a:xfrm>
              <a:custGeom>
                <a:avLst/>
                <a:gdLst>
                  <a:gd name="T0" fmla="*/ 2385 w 20000"/>
                  <a:gd name="T1" fmla="*/ 0 h 20000"/>
                  <a:gd name="T2" fmla="*/ 3761 w 20000"/>
                  <a:gd name="T3" fmla="*/ 0 h 20000"/>
                  <a:gd name="T4" fmla="*/ 8991 w 20000"/>
                  <a:gd name="T5" fmla="*/ 3280 h 20000"/>
                  <a:gd name="T6" fmla="*/ 11284 w 20000"/>
                  <a:gd name="T7" fmla="*/ 3280 h 20000"/>
                  <a:gd name="T8" fmla="*/ 15138 w 20000"/>
                  <a:gd name="T9" fmla="*/ 5840 h 20000"/>
                  <a:gd name="T10" fmla="*/ 19908 w 20000"/>
                  <a:gd name="T11" fmla="*/ 9120 h 20000"/>
                  <a:gd name="T12" fmla="*/ 18899 w 20000"/>
                  <a:gd name="T13" fmla="*/ 11280 h 20000"/>
                  <a:gd name="T14" fmla="*/ 19908 w 20000"/>
                  <a:gd name="T15" fmla="*/ 14080 h 20000"/>
                  <a:gd name="T16" fmla="*/ 17523 w 20000"/>
                  <a:gd name="T17" fmla="*/ 17440 h 20000"/>
                  <a:gd name="T18" fmla="*/ 15138 w 20000"/>
                  <a:gd name="T19" fmla="*/ 19440 h 20000"/>
                  <a:gd name="T20" fmla="*/ 9908 w 20000"/>
                  <a:gd name="T21" fmla="*/ 19920 h 20000"/>
                  <a:gd name="T22" fmla="*/ 6147 w 20000"/>
                  <a:gd name="T23" fmla="*/ 17840 h 20000"/>
                  <a:gd name="T24" fmla="*/ 2844 w 20000"/>
                  <a:gd name="T25" fmla="*/ 17440 h 20000"/>
                  <a:gd name="T26" fmla="*/ 0 w 20000"/>
                  <a:gd name="T27" fmla="*/ 16160 h 20000"/>
                  <a:gd name="T28" fmla="*/ 0 w 20000"/>
                  <a:gd name="T29" fmla="*/ 12480 h 20000"/>
                  <a:gd name="T30" fmla="*/ 0 w 20000"/>
                  <a:gd name="T31" fmla="*/ 12080 h 20000"/>
                  <a:gd name="T32" fmla="*/ 0 w 20000"/>
                  <a:gd name="T33" fmla="*/ 10000 h 20000"/>
                  <a:gd name="T34" fmla="*/ 0 w 20000"/>
                  <a:gd name="T35" fmla="*/ 6720 h 20000"/>
                  <a:gd name="T36" fmla="*/ 367 w 20000"/>
                  <a:gd name="T37" fmla="*/ 3280 h 20000"/>
                  <a:gd name="T38" fmla="*/ 367 w 20000"/>
                  <a:gd name="T39" fmla="*/ 480 h 20000"/>
                  <a:gd name="T40" fmla="*/ 2385 w 20000"/>
                  <a:gd name="T41"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00" h="20000">
                    <a:moveTo>
                      <a:pt x="2385" y="0"/>
                    </a:moveTo>
                    <a:lnTo>
                      <a:pt x="3761" y="0"/>
                    </a:lnTo>
                    <a:lnTo>
                      <a:pt x="8991" y="3280"/>
                    </a:lnTo>
                    <a:lnTo>
                      <a:pt x="11284" y="3280"/>
                    </a:lnTo>
                    <a:lnTo>
                      <a:pt x="15138" y="5840"/>
                    </a:lnTo>
                    <a:lnTo>
                      <a:pt x="19908" y="9120"/>
                    </a:lnTo>
                    <a:lnTo>
                      <a:pt x="18899" y="11280"/>
                    </a:lnTo>
                    <a:lnTo>
                      <a:pt x="19908" y="14080"/>
                    </a:lnTo>
                    <a:lnTo>
                      <a:pt x="17523" y="17440"/>
                    </a:lnTo>
                    <a:lnTo>
                      <a:pt x="15138" y="19440"/>
                    </a:lnTo>
                    <a:lnTo>
                      <a:pt x="9908" y="19920"/>
                    </a:lnTo>
                    <a:lnTo>
                      <a:pt x="6147" y="17840"/>
                    </a:lnTo>
                    <a:lnTo>
                      <a:pt x="2844" y="17440"/>
                    </a:lnTo>
                    <a:lnTo>
                      <a:pt x="0" y="16160"/>
                    </a:lnTo>
                    <a:lnTo>
                      <a:pt x="0" y="12480"/>
                    </a:lnTo>
                    <a:lnTo>
                      <a:pt x="0" y="12080"/>
                    </a:lnTo>
                    <a:lnTo>
                      <a:pt x="0" y="10000"/>
                    </a:lnTo>
                    <a:lnTo>
                      <a:pt x="0" y="6720"/>
                    </a:lnTo>
                    <a:lnTo>
                      <a:pt x="367" y="3280"/>
                    </a:lnTo>
                    <a:lnTo>
                      <a:pt x="367" y="480"/>
                    </a:lnTo>
                    <a:lnTo>
                      <a:pt x="2385"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19" name="Freeform 30"/>
              <p:cNvSpPr>
                <a:spLocks/>
              </p:cNvSpPr>
              <p:nvPr/>
            </p:nvSpPr>
            <p:spPr bwMode="auto">
              <a:xfrm>
                <a:off x="2924175" y="4086225"/>
                <a:ext cx="379413" cy="328613"/>
              </a:xfrm>
              <a:custGeom>
                <a:avLst/>
                <a:gdLst>
                  <a:gd name="T0" fmla="*/ 2077 w 20000"/>
                  <a:gd name="T1" fmla="*/ 1429 h 20000"/>
                  <a:gd name="T2" fmla="*/ 2077 w 20000"/>
                  <a:gd name="T3" fmla="*/ 3243 h 20000"/>
                  <a:gd name="T4" fmla="*/ 2077 w 20000"/>
                  <a:gd name="T5" fmla="*/ 5598 h 20000"/>
                  <a:gd name="T6" fmla="*/ 3149 w 20000"/>
                  <a:gd name="T7" fmla="*/ 4208 h 20000"/>
                  <a:gd name="T8" fmla="*/ 3484 w 20000"/>
                  <a:gd name="T9" fmla="*/ 2008 h 20000"/>
                  <a:gd name="T10" fmla="*/ 4523 w 20000"/>
                  <a:gd name="T11" fmla="*/ 1004 h 20000"/>
                  <a:gd name="T12" fmla="*/ 5360 w 20000"/>
                  <a:gd name="T13" fmla="*/ 1429 h 20000"/>
                  <a:gd name="T14" fmla="*/ 7136 w 20000"/>
                  <a:gd name="T15" fmla="*/ 2008 h 20000"/>
                  <a:gd name="T16" fmla="*/ 9045 w 20000"/>
                  <a:gd name="T17" fmla="*/ 3012 h 20000"/>
                  <a:gd name="T18" fmla="*/ 10921 w 20000"/>
                  <a:gd name="T19" fmla="*/ 3629 h 20000"/>
                  <a:gd name="T20" fmla="*/ 14070 w 20000"/>
                  <a:gd name="T21" fmla="*/ 3243 h 20000"/>
                  <a:gd name="T22" fmla="*/ 16817 w 20000"/>
                  <a:gd name="T23" fmla="*/ 3012 h 20000"/>
                  <a:gd name="T24" fmla="*/ 16114 w 20000"/>
                  <a:gd name="T25" fmla="*/ 4208 h 20000"/>
                  <a:gd name="T26" fmla="*/ 18392 w 20000"/>
                  <a:gd name="T27" fmla="*/ 5212 h 20000"/>
                  <a:gd name="T28" fmla="*/ 19062 w 20000"/>
                  <a:gd name="T29" fmla="*/ 6409 h 20000"/>
                  <a:gd name="T30" fmla="*/ 18559 w 20000"/>
                  <a:gd name="T31" fmla="*/ 8378 h 20000"/>
                  <a:gd name="T32" fmla="*/ 18023 w 20000"/>
                  <a:gd name="T33" fmla="*/ 9807 h 20000"/>
                  <a:gd name="T34" fmla="*/ 17521 w 20000"/>
                  <a:gd name="T35" fmla="*/ 11390 h 20000"/>
                  <a:gd name="T36" fmla="*/ 17521 w 20000"/>
                  <a:gd name="T37" fmla="*/ 13591 h 20000"/>
                  <a:gd name="T38" fmla="*/ 15276 w 20000"/>
                  <a:gd name="T39" fmla="*/ 14788 h 20000"/>
                  <a:gd name="T40" fmla="*/ 12127 w 20000"/>
                  <a:gd name="T41" fmla="*/ 14208 h 20000"/>
                  <a:gd name="T42" fmla="*/ 13032 w 20000"/>
                  <a:gd name="T43" fmla="*/ 16757 h 20000"/>
                  <a:gd name="T44" fmla="*/ 14573 w 20000"/>
                  <a:gd name="T45" fmla="*/ 17761 h 20000"/>
                  <a:gd name="T46" fmla="*/ 10921 w 20000"/>
                  <a:gd name="T47" fmla="*/ 19768 h 20000"/>
                  <a:gd name="T48" fmla="*/ 9045 w 20000"/>
                  <a:gd name="T49" fmla="*/ 19382 h 20000"/>
                  <a:gd name="T50" fmla="*/ 8174 w 20000"/>
                  <a:gd name="T51" fmla="*/ 16178 h 20000"/>
                  <a:gd name="T52" fmla="*/ 7973 w 20000"/>
                  <a:gd name="T53" fmla="*/ 14208 h 20000"/>
                  <a:gd name="T54" fmla="*/ 8509 w 20000"/>
                  <a:gd name="T55" fmla="*/ 10579 h 20000"/>
                  <a:gd name="T56" fmla="*/ 4523 w 20000"/>
                  <a:gd name="T57" fmla="*/ 9382 h 20000"/>
                  <a:gd name="T58" fmla="*/ 1240 w 20000"/>
                  <a:gd name="T59" fmla="*/ 8378 h 20000"/>
                  <a:gd name="T60" fmla="*/ 369 w 20000"/>
                  <a:gd name="T61" fmla="*/ 5212 h 20000"/>
                  <a:gd name="T62" fmla="*/ 0 w 20000"/>
                  <a:gd name="T63" fmla="*/ 4208 h 20000"/>
                  <a:gd name="T64" fmla="*/ 704 w 20000"/>
                  <a:gd name="T65" fmla="*/ 2625 h 20000"/>
                  <a:gd name="T66" fmla="*/ 1742 w 20000"/>
                  <a:gd name="T67" fmla="*/ 618 h 20000"/>
                  <a:gd name="T68" fmla="*/ 3149 w 20000"/>
                  <a:gd name="T6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3149" y="0"/>
                    </a:moveTo>
                    <a:lnTo>
                      <a:pt x="2077" y="1429"/>
                    </a:lnTo>
                    <a:lnTo>
                      <a:pt x="2077" y="2008"/>
                    </a:lnTo>
                    <a:lnTo>
                      <a:pt x="2077" y="3243"/>
                    </a:lnTo>
                    <a:lnTo>
                      <a:pt x="1575" y="4208"/>
                    </a:lnTo>
                    <a:lnTo>
                      <a:pt x="2077" y="5598"/>
                    </a:lnTo>
                    <a:lnTo>
                      <a:pt x="2948" y="5598"/>
                    </a:lnTo>
                    <a:lnTo>
                      <a:pt x="3149" y="4208"/>
                    </a:lnTo>
                    <a:lnTo>
                      <a:pt x="2948" y="2625"/>
                    </a:lnTo>
                    <a:lnTo>
                      <a:pt x="3484" y="2008"/>
                    </a:lnTo>
                    <a:lnTo>
                      <a:pt x="4858" y="1583"/>
                    </a:lnTo>
                    <a:lnTo>
                      <a:pt x="4523" y="1004"/>
                    </a:lnTo>
                    <a:lnTo>
                      <a:pt x="4858" y="0"/>
                    </a:lnTo>
                    <a:lnTo>
                      <a:pt x="5360" y="1429"/>
                    </a:lnTo>
                    <a:lnTo>
                      <a:pt x="5896" y="1429"/>
                    </a:lnTo>
                    <a:lnTo>
                      <a:pt x="7136" y="2008"/>
                    </a:lnTo>
                    <a:lnTo>
                      <a:pt x="7270" y="3012"/>
                    </a:lnTo>
                    <a:lnTo>
                      <a:pt x="9045" y="3012"/>
                    </a:lnTo>
                    <a:lnTo>
                      <a:pt x="10419" y="3012"/>
                    </a:lnTo>
                    <a:lnTo>
                      <a:pt x="10921" y="3629"/>
                    </a:lnTo>
                    <a:lnTo>
                      <a:pt x="12663" y="3784"/>
                    </a:lnTo>
                    <a:lnTo>
                      <a:pt x="14070" y="3243"/>
                    </a:lnTo>
                    <a:lnTo>
                      <a:pt x="13166" y="3012"/>
                    </a:lnTo>
                    <a:lnTo>
                      <a:pt x="16817" y="3012"/>
                    </a:lnTo>
                    <a:lnTo>
                      <a:pt x="15444" y="3243"/>
                    </a:lnTo>
                    <a:lnTo>
                      <a:pt x="16114" y="4208"/>
                    </a:lnTo>
                    <a:lnTo>
                      <a:pt x="17521" y="4208"/>
                    </a:lnTo>
                    <a:lnTo>
                      <a:pt x="18392" y="5212"/>
                    </a:lnTo>
                    <a:lnTo>
                      <a:pt x="18559" y="6409"/>
                    </a:lnTo>
                    <a:lnTo>
                      <a:pt x="19062" y="6409"/>
                    </a:lnTo>
                    <a:lnTo>
                      <a:pt x="19966" y="7181"/>
                    </a:lnTo>
                    <a:lnTo>
                      <a:pt x="18559" y="8378"/>
                    </a:lnTo>
                    <a:lnTo>
                      <a:pt x="19062" y="9382"/>
                    </a:lnTo>
                    <a:lnTo>
                      <a:pt x="18023" y="9807"/>
                    </a:lnTo>
                    <a:lnTo>
                      <a:pt x="18023" y="10425"/>
                    </a:lnTo>
                    <a:lnTo>
                      <a:pt x="17521" y="11390"/>
                    </a:lnTo>
                    <a:lnTo>
                      <a:pt x="18559" y="12587"/>
                    </a:lnTo>
                    <a:lnTo>
                      <a:pt x="17521" y="13591"/>
                    </a:lnTo>
                    <a:lnTo>
                      <a:pt x="15779" y="14208"/>
                    </a:lnTo>
                    <a:lnTo>
                      <a:pt x="15276" y="14788"/>
                    </a:lnTo>
                    <a:lnTo>
                      <a:pt x="13534" y="14208"/>
                    </a:lnTo>
                    <a:lnTo>
                      <a:pt x="12127" y="14208"/>
                    </a:lnTo>
                    <a:lnTo>
                      <a:pt x="13166" y="15174"/>
                    </a:lnTo>
                    <a:lnTo>
                      <a:pt x="13032" y="16757"/>
                    </a:lnTo>
                    <a:lnTo>
                      <a:pt x="14405" y="17143"/>
                    </a:lnTo>
                    <a:lnTo>
                      <a:pt x="14573" y="17761"/>
                    </a:lnTo>
                    <a:lnTo>
                      <a:pt x="13166" y="18803"/>
                    </a:lnTo>
                    <a:lnTo>
                      <a:pt x="10921" y="19768"/>
                    </a:lnTo>
                    <a:lnTo>
                      <a:pt x="9883" y="19961"/>
                    </a:lnTo>
                    <a:lnTo>
                      <a:pt x="9045" y="19382"/>
                    </a:lnTo>
                    <a:lnTo>
                      <a:pt x="8509" y="17375"/>
                    </a:lnTo>
                    <a:lnTo>
                      <a:pt x="8174" y="16178"/>
                    </a:lnTo>
                    <a:lnTo>
                      <a:pt x="8509" y="15174"/>
                    </a:lnTo>
                    <a:lnTo>
                      <a:pt x="7973" y="14208"/>
                    </a:lnTo>
                    <a:lnTo>
                      <a:pt x="7638" y="12162"/>
                    </a:lnTo>
                    <a:lnTo>
                      <a:pt x="8509" y="10579"/>
                    </a:lnTo>
                    <a:lnTo>
                      <a:pt x="5360" y="10579"/>
                    </a:lnTo>
                    <a:lnTo>
                      <a:pt x="4523" y="9382"/>
                    </a:lnTo>
                    <a:lnTo>
                      <a:pt x="2278" y="9382"/>
                    </a:lnTo>
                    <a:lnTo>
                      <a:pt x="1240" y="8378"/>
                    </a:lnTo>
                    <a:lnTo>
                      <a:pt x="1240" y="7181"/>
                    </a:lnTo>
                    <a:lnTo>
                      <a:pt x="369" y="5212"/>
                    </a:lnTo>
                    <a:lnTo>
                      <a:pt x="0" y="5212"/>
                    </a:lnTo>
                    <a:lnTo>
                      <a:pt x="0" y="4208"/>
                    </a:lnTo>
                    <a:lnTo>
                      <a:pt x="0" y="3629"/>
                    </a:lnTo>
                    <a:lnTo>
                      <a:pt x="704" y="2625"/>
                    </a:lnTo>
                    <a:lnTo>
                      <a:pt x="1575" y="1583"/>
                    </a:lnTo>
                    <a:lnTo>
                      <a:pt x="1742" y="618"/>
                    </a:lnTo>
                    <a:lnTo>
                      <a:pt x="2613" y="425"/>
                    </a:lnTo>
                    <a:lnTo>
                      <a:pt x="3149"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0" name="Freeform 29"/>
              <p:cNvSpPr>
                <a:spLocks/>
              </p:cNvSpPr>
              <p:nvPr/>
            </p:nvSpPr>
            <p:spPr bwMode="auto">
              <a:xfrm>
                <a:off x="1638300" y="2738438"/>
                <a:ext cx="1585913" cy="950912"/>
              </a:xfrm>
              <a:custGeom>
                <a:avLst/>
                <a:gdLst>
                  <a:gd name="T0" fmla="*/ 11494 w 20000"/>
                  <a:gd name="T1" fmla="*/ 1176 h 20000"/>
                  <a:gd name="T2" fmla="*/ 11694 w 20000"/>
                  <a:gd name="T3" fmla="*/ 2071 h 20000"/>
                  <a:gd name="T4" fmla="*/ 12070 w 20000"/>
                  <a:gd name="T5" fmla="*/ 2565 h 20000"/>
                  <a:gd name="T6" fmla="*/ 12479 w 20000"/>
                  <a:gd name="T7" fmla="*/ 2979 h 20000"/>
                  <a:gd name="T8" fmla="*/ 11950 w 20000"/>
                  <a:gd name="T9" fmla="*/ 3794 h 20000"/>
                  <a:gd name="T10" fmla="*/ 12815 w 20000"/>
                  <a:gd name="T11" fmla="*/ 3794 h 20000"/>
                  <a:gd name="T12" fmla="*/ 13144 w 20000"/>
                  <a:gd name="T13" fmla="*/ 3527 h 20000"/>
                  <a:gd name="T14" fmla="*/ 13360 w 20000"/>
                  <a:gd name="T15" fmla="*/ 4075 h 20000"/>
                  <a:gd name="T16" fmla="*/ 14145 w 20000"/>
                  <a:gd name="T17" fmla="*/ 4008 h 20000"/>
                  <a:gd name="T18" fmla="*/ 14441 w 20000"/>
                  <a:gd name="T19" fmla="*/ 4703 h 20000"/>
                  <a:gd name="T20" fmla="*/ 13480 w 20000"/>
                  <a:gd name="T21" fmla="*/ 4770 h 20000"/>
                  <a:gd name="T22" fmla="*/ 13024 w 20000"/>
                  <a:gd name="T23" fmla="*/ 6146 h 20000"/>
                  <a:gd name="T24" fmla="*/ 12815 w 20000"/>
                  <a:gd name="T25" fmla="*/ 8016 h 20000"/>
                  <a:gd name="T26" fmla="*/ 13264 w 20000"/>
                  <a:gd name="T27" fmla="*/ 6907 h 20000"/>
                  <a:gd name="T28" fmla="*/ 13769 w 20000"/>
                  <a:gd name="T29" fmla="*/ 5464 h 20000"/>
                  <a:gd name="T30" fmla="*/ 14145 w 20000"/>
                  <a:gd name="T31" fmla="*/ 4916 h 20000"/>
                  <a:gd name="T32" fmla="*/ 14345 w 20000"/>
                  <a:gd name="T33" fmla="*/ 6226 h 20000"/>
                  <a:gd name="T34" fmla="*/ 14642 w 20000"/>
                  <a:gd name="T35" fmla="*/ 6359 h 20000"/>
                  <a:gd name="T36" fmla="*/ 14441 w 20000"/>
                  <a:gd name="T37" fmla="*/ 7615 h 20000"/>
                  <a:gd name="T38" fmla="*/ 15226 w 20000"/>
                  <a:gd name="T39" fmla="*/ 8363 h 20000"/>
                  <a:gd name="T40" fmla="*/ 15843 w 20000"/>
                  <a:gd name="T41" fmla="*/ 7321 h 20000"/>
                  <a:gd name="T42" fmla="*/ 16636 w 20000"/>
                  <a:gd name="T43" fmla="*/ 6987 h 20000"/>
                  <a:gd name="T44" fmla="*/ 18502 w 20000"/>
                  <a:gd name="T45" fmla="*/ 5878 h 20000"/>
                  <a:gd name="T46" fmla="*/ 19584 w 20000"/>
                  <a:gd name="T47" fmla="*/ 4342 h 20000"/>
                  <a:gd name="T48" fmla="*/ 19784 w 20000"/>
                  <a:gd name="T49" fmla="*/ 5464 h 20000"/>
                  <a:gd name="T50" fmla="*/ 19455 w 20000"/>
                  <a:gd name="T51" fmla="*/ 6440 h 20000"/>
                  <a:gd name="T52" fmla="*/ 18502 w 20000"/>
                  <a:gd name="T53" fmla="*/ 8016 h 20000"/>
                  <a:gd name="T54" fmla="*/ 18783 w 20000"/>
                  <a:gd name="T55" fmla="*/ 8577 h 20000"/>
                  <a:gd name="T56" fmla="*/ 17461 w 20000"/>
                  <a:gd name="T57" fmla="*/ 9058 h 20000"/>
                  <a:gd name="T58" fmla="*/ 17253 w 20000"/>
                  <a:gd name="T59" fmla="*/ 9339 h 20000"/>
                  <a:gd name="T60" fmla="*/ 16916 w 20000"/>
                  <a:gd name="T61" fmla="*/ 10514 h 20000"/>
                  <a:gd name="T62" fmla="*/ 16756 w 20000"/>
                  <a:gd name="T63" fmla="*/ 10701 h 20000"/>
                  <a:gd name="T64" fmla="*/ 16388 w 20000"/>
                  <a:gd name="T65" fmla="*/ 10514 h 20000"/>
                  <a:gd name="T66" fmla="*/ 16211 w 20000"/>
                  <a:gd name="T67" fmla="*/ 10915 h 20000"/>
                  <a:gd name="T68" fmla="*/ 16211 w 20000"/>
                  <a:gd name="T69" fmla="*/ 11476 h 20000"/>
                  <a:gd name="T70" fmla="*/ 16388 w 20000"/>
                  <a:gd name="T71" fmla="*/ 12585 h 20000"/>
                  <a:gd name="T72" fmla="*/ 16051 w 20000"/>
                  <a:gd name="T73" fmla="*/ 12585 h 20000"/>
                  <a:gd name="T74" fmla="*/ 15963 w 20000"/>
                  <a:gd name="T75" fmla="*/ 13066 h 20000"/>
                  <a:gd name="T76" fmla="*/ 14970 w 20000"/>
                  <a:gd name="T77" fmla="*/ 14522 h 20000"/>
                  <a:gd name="T78" fmla="*/ 14145 w 20000"/>
                  <a:gd name="T79" fmla="*/ 17088 h 20000"/>
                  <a:gd name="T80" fmla="*/ 14145 w 20000"/>
                  <a:gd name="T81" fmla="*/ 19987 h 20000"/>
                  <a:gd name="T82" fmla="*/ 13560 w 20000"/>
                  <a:gd name="T83" fmla="*/ 18731 h 20000"/>
                  <a:gd name="T84" fmla="*/ 13480 w 20000"/>
                  <a:gd name="T85" fmla="*/ 17635 h 20000"/>
                  <a:gd name="T86" fmla="*/ 12687 w 20000"/>
                  <a:gd name="T87" fmla="*/ 16927 h 20000"/>
                  <a:gd name="T88" fmla="*/ 11742 w 20000"/>
                  <a:gd name="T89" fmla="*/ 16326 h 20000"/>
                  <a:gd name="T90" fmla="*/ 11197 w 20000"/>
                  <a:gd name="T91" fmla="*/ 16727 h 20000"/>
                  <a:gd name="T92" fmla="*/ 10453 w 20000"/>
                  <a:gd name="T93" fmla="*/ 16874 h 20000"/>
                  <a:gd name="T94" fmla="*/ 9083 w 20000"/>
                  <a:gd name="T95" fmla="*/ 17141 h 20000"/>
                  <a:gd name="T96" fmla="*/ 8250 w 20000"/>
                  <a:gd name="T97" fmla="*/ 19078 h 20000"/>
                  <a:gd name="T98" fmla="*/ 7505 w 20000"/>
                  <a:gd name="T99" fmla="*/ 18049 h 20000"/>
                  <a:gd name="T100" fmla="*/ 6712 w 20000"/>
                  <a:gd name="T101" fmla="*/ 16379 h 20000"/>
                  <a:gd name="T102" fmla="*/ 5847 w 20000"/>
                  <a:gd name="T103" fmla="*/ 15832 h 20000"/>
                  <a:gd name="T104" fmla="*/ 4766 w 20000"/>
                  <a:gd name="T105" fmla="*/ 15150 h 20000"/>
                  <a:gd name="T106" fmla="*/ 2491 w 20000"/>
                  <a:gd name="T107" fmla="*/ 13975 h 20000"/>
                  <a:gd name="T108" fmla="*/ 1370 w 20000"/>
                  <a:gd name="T109" fmla="*/ 12933 h 20000"/>
                  <a:gd name="T110" fmla="*/ 705 w 20000"/>
                  <a:gd name="T111" fmla="*/ 11824 h 20000"/>
                  <a:gd name="T112" fmla="*/ 328 w 20000"/>
                  <a:gd name="T113" fmla="*/ 10367 h 20000"/>
                  <a:gd name="T114" fmla="*/ 408 w 20000"/>
                  <a:gd name="T115" fmla="*/ 9472 h 20000"/>
                  <a:gd name="T116" fmla="*/ 80 w 20000"/>
                  <a:gd name="T117" fmla="*/ 8016 h 20000"/>
                  <a:gd name="T118" fmla="*/ 288 w 20000"/>
                  <a:gd name="T119" fmla="*/ 5464 h 20000"/>
                  <a:gd name="T120" fmla="*/ 1081 w 20000"/>
                  <a:gd name="T121" fmla="*/ 2004 h 20000"/>
                  <a:gd name="T122" fmla="*/ 1618 w 20000"/>
                  <a:gd name="T123" fmla="*/ 1309 h 20000"/>
                  <a:gd name="T124" fmla="*/ 1898 w 20000"/>
                  <a:gd name="T125" fmla="*/ 41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0989" y="1523"/>
                    </a:moveTo>
                    <a:lnTo>
                      <a:pt x="11278" y="962"/>
                    </a:lnTo>
                    <a:lnTo>
                      <a:pt x="11494" y="1176"/>
                    </a:lnTo>
                    <a:lnTo>
                      <a:pt x="11494" y="1804"/>
                    </a:lnTo>
                    <a:lnTo>
                      <a:pt x="11197" y="1804"/>
                    </a:lnTo>
                    <a:lnTo>
                      <a:pt x="11694" y="2071"/>
                    </a:lnTo>
                    <a:lnTo>
                      <a:pt x="11694" y="1804"/>
                    </a:lnTo>
                    <a:lnTo>
                      <a:pt x="11950" y="2351"/>
                    </a:lnTo>
                    <a:lnTo>
                      <a:pt x="12070" y="2565"/>
                    </a:lnTo>
                    <a:lnTo>
                      <a:pt x="12559" y="2619"/>
                    </a:lnTo>
                    <a:lnTo>
                      <a:pt x="12936" y="2766"/>
                    </a:lnTo>
                    <a:lnTo>
                      <a:pt x="12479" y="2979"/>
                    </a:lnTo>
                    <a:lnTo>
                      <a:pt x="12151" y="3327"/>
                    </a:lnTo>
                    <a:lnTo>
                      <a:pt x="11822" y="3794"/>
                    </a:lnTo>
                    <a:lnTo>
                      <a:pt x="11950" y="3794"/>
                    </a:lnTo>
                    <a:lnTo>
                      <a:pt x="12199" y="3661"/>
                    </a:lnTo>
                    <a:lnTo>
                      <a:pt x="12151" y="3874"/>
                    </a:lnTo>
                    <a:lnTo>
                      <a:pt x="12815" y="3794"/>
                    </a:lnTo>
                    <a:lnTo>
                      <a:pt x="13232" y="3327"/>
                    </a:lnTo>
                    <a:lnTo>
                      <a:pt x="13360" y="3327"/>
                    </a:lnTo>
                    <a:lnTo>
                      <a:pt x="13144" y="3527"/>
                    </a:lnTo>
                    <a:lnTo>
                      <a:pt x="13024" y="3874"/>
                    </a:lnTo>
                    <a:lnTo>
                      <a:pt x="13264" y="3874"/>
                    </a:lnTo>
                    <a:lnTo>
                      <a:pt x="13360" y="4075"/>
                    </a:lnTo>
                    <a:lnTo>
                      <a:pt x="13560" y="4208"/>
                    </a:lnTo>
                    <a:lnTo>
                      <a:pt x="13769" y="4075"/>
                    </a:lnTo>
                    <a:lnTo>
                      <a:pt x="14145" y="4008"/>
                    </a:lnTo>
                    <a:lnTo>
                      <a:pt x="14145" y="4342"/>
                    </a:lnTo>
                    <a:lnTo>
                      <a:pt x="14345" y="4422"/>
                    </a:lnTo>
                    <a:lnTo>
                      <a:pt x="14441" y="4703"/>
                    </a:lnTo>
                    <a:lnTo>
                      <a:pt x="14225" y="4703"/>
                    </a:lnTo>
                    <a:lnTo>
                      <a:pt x="13897" y="4556"/>
                    </a:lnTo>
                    <a:lnTo>
                      <a:pt x="13480" y="4770"/>
                    </a:lnTo>
                    <a:lnTo>
                      <a:pt x="12936" y="5678"/>
                    </a:lnTo>
                    <a:lnTo>
                      <a:pt x="13360" y="5104"/>
                    </a:lnTo>
                    <a:lnTo>
                      <a:pt x="13024" y="6146"/>
                    </a:lnTo>
                    <a:lnTo>
                      <a:pt x="12903" y="6774"/>
                    </a:lnTo>
                    <a:lnTo>
                      <a:pt x="12815" y="7455"/>
                    </a:lnTo>
                    <a:lnTo>
                      <a:pt x="12815" y="8016"/>
                    </a:lnTo>
                    <a:lnTo>
                      <a:pt x="13104" y="8016"/>
                    </a:lnTo>
                    <a:lnTo>
                      <a:pt x="13264" y="7615"/>
                    </a:lnTo>
                    <a:lnTo>
                      <a:pt x="13264" y="6907"/>
                    </a:lnTo>
                    <a:lnTo>
                      <a:pt x="13360" y="6359"/>
                    </a:lnTo>
                    <a:lnTo>
                      <a:pt x="13480" y="5812"/>
                    </a:lnTo>
                    <a:lnTo>
                      <a:pt x="13769" y="5464"/>
                    </a:lnTo>
                    <a:lnTo>
                      <a:pt x="13897" y="5317"/>
                    </a:lnTo>
                    <a:lnTo>
                      <a:pt x="14017" y="4970"/>
                    </a:lnTo>
                    <a:lnTo>
                      <a:pt x="14145" y="4916"/>
                    </a:lnTo>
                    <a:lnTo>
                      <a:pt x="14553" y="5317"/>
                    </a:lnTo>
                    <a:lnTo>
                      <a:pt x="14553" y="5812"/>
                    </a:lnTo>
                    <a:lnTo>
                      <a:pt x="14345" y="6226"/>
                    </a:lnTo>
                    <a:lnTo>
                      <a:pt x="14225" y="6707"/>
                    </a:lnTo>
                    <a:lnTo>
                      <a:pt x="14345" y="6440"/>
                    </a:lnTo>
                    <a:lnTo>
                      <a:pt x="14642" y="6359"/>
                    </a:lnTo>
                    <a:lnTo>
                      <a:pt x="14642" y="6707"/>
                    </a:lnTo>
                    <a:lnTo>
                      <a:pt x="14642" y="7121"/>
                    </a:lnTo>
                    <a:lnTo>
                      <a:pt x="14441" y="7615"/>
                    </a:lnTo>
                    <a:lnTo>
                      <a:pt x="14145" y="8163"/>
                    </a:lnTo>
                    <a:lnTo>
                      <a:pt x="14642" y="8363"/>
                    </a:lnTo>
                    <a:lnTo>
                      <a:pt x="15226" y="8363"/>
                    </a:lnTo>
                    <a:lnTo>
                      <a:pt x="15635" y="8016"/>
                    </a:lnTo>
                    <a:lnTo>
                      <a:pt x="15883" y="7669"/>
                    </a:lnTo>
                    <a:lnTo>
                      <a:pt x="15843" y="7321"/>
                    </a:lnTo>
                    <a:lnTo>
                      <a:pt x="15763" y="7121"/>
                    </a:lnTo>
                    <a:lnTo>
                      <a:pt x="16388" y="7121"/>
                    </a:lnTo>
                    <a:lnTo>
                      <a:pt x="16636" y="6987"/>
                    </a:lnTo>
                    <a:lnTo>
                      <a:pt x="17173" y="6573"/>
                    </a:lnTo>
                    <a:lnTo>
                      <a:pt x="17373" y="5878"/>
                    </a:lnTo>
                    <a:lnTo>
                      <a:pt x="18502" y="5878"/>
                    </a:lnTo>
                    <a:lnTo>
                      <a:pt x="18702" y="5812"/>
                    </a:lnTo>
                    <a:lnTo>
                      <a:pt x="19535" y="4075"/>
                    </a:lnTo>
                    <a:lnTo>
                      <a:pt x="19584" y="4342"/>
                    </a:lnTo>
                    <a:lnTo>
                      <a:pt x="19864" y="4208"/>
                    </a:lnTo>
                    <a:lnTo>
                      <a:pt x="19992" y="4422"/>
                    </a:lnTo>
                    <a:lnTo>
                      <a:pt x="19784" y="5464"/>
                    </a:lnTo>
                    <a:lnTo>
                      <a:pt x="19992" y="6012"/>
                    </a:lnTo>
                    <a:lnTo>
                      <a:pt x="19912" y="6440"/>
                    </a:lnTo>
                    <a:lnTo>
                      <a:pt x="19455" y="6440"/>
                    </a:lnTo>
                    <a:lnTo>
                      <a:pt x="19207" y="6907"/>
                    </a:lnTo>
                    <a:lnTo>
                      <a:pt x="18783" y="7321"/>
                    </a:lnTo>
                    <a:lnTo>
                      <a:pt x="18502" y="8016"/>
                    </a:lnTo>
                    <a:lnTo>
                      <a:pt x="18582" y="8363"/>
                    </a:lnTo>
                    <a:lnTo>
                      <a:pt x="18783" y="8363"/>
                    </a:lnTo>
                    <a:lnTo>
                      <a:pt x="18783" y="8577"/>
                    </a:lnTo>
                    <a:lnTo>
                      <a:pt x="18334" y="8711"/>
                    </a:lnTo>
                    <a:lnTo>
                      <a:pt x="17958" y="8791"/>
                    </a:lnTo>
                    <a:lnTo>
                      <a:pt x="17461" y="9058"/>
                    </a:lnTo>
                    <a:lnTo>
                      <a:pt x="17918" y="9058"/>
                    </a:lnTo>
                    <a:lnTo>
                      <a:pt x="17461" y="9259"/>
                    </a:lnTo>
                    <a:lnTo>
                      <a:pt x="17253" y="9339"/>
                    </a:lnTo>
                    <a:lnTo>
                      <a:pt x="17293" y="9472"/>
                    </a:lnTo>
                    <a:lnTo>
                      <a:pt x="17173" y="9886"/>
                    </a:lnTo>
                    <a:lnTo>
                      <a:pt x="16916" y="10514"/>
                    </a:lnTo>
                    <a:lnTo>
                      <a:pt x="16716" y="10154"/>
                    </a:lnTo>
                    <a:lnTo>
                      <a:pt x="16716" y="10367"/>
                    </a:lnTo>
                    <a:lnTo>
                      <a:pt x="16756" y="10701"/>
                    </a:lnTo>
                    <a:lnTo>
                      <a:pt x="16508" y="11329"/>
                    </a:lnTo>
                    <a:lnTo>
                      <a:pt x="16428" y="10782"/>
                    </a:lnTo>
                    <a:lnTo>
                      <a:pt x="16388" y="10514"/>
                    </a:lnTo>
                    <a:lnTo>
                      <a:pt x="16508" y="10020"/>
                    </a:lnTo>
                    <a:lnTo>
                      <a:pt x="16308" y="10154"/>
                    </a:lnTo>
                    <a:lnTo>
                      <a:pt x="16211" y="10915"/>
                    </a:lnTo>
                    <a:lnTo>
                      <a:pt x="15963" y="10782"/>
                    </a:lnTo>
                    <a:lnTo>
                      <a:pt x="16308" y="11276"/>
                    </a:lnTo>
                    <a:lnTo>
                      <a:pt x="16211" y="11476"/>
                    </a:lnTo>
                    <a:lnTo>
                      <a:pt x="16179" y="11957"/>
                    </a:lnTo>
                    <a:lnTo>
                      <a:pt x="16388" y="12037"/>
                    </a:lnTo>
                    <a:lnTo>
                      <a:pt x="16388" y="12585"/>
                    </a:lnTo>
                    <a:lnTo>
                      <a:pt x="16308" y="12238"/>
                    </a:lnTo>
                    <a:lnTo>
                      <a:pt x="16211" y="12505"/>
                    </a:lnTo>
                    <a:lnTo>
                      <a:pt x="16051" y="12585"/>
                    </a:lnTo>
                    <a:lnTo>
                      <a:pt x="16388" y="12719"/>
                    </a:lnTo>
                    <a:lnTo>
                      <a:pt x="16211" y="13133"/>
                    </a:lnTo>
                    <a:lnTo>
                      <a:pt x="15963" y="13066"/>
                    </a:lnTo>
                    <a:lnTo>
                      <a:pt x="16091" y="13413"/>
                    </a:lnTo>
                    <a:lnTo>
                      <a:pt x="15427" y="14028"/>
                    </a:lnTo>
                    <a:lnTo>
                      <a:pt x="14970" y="14522"/>
                    </a:lnTo>
                    <a:lnTo>
                      <a:pt x="14473" y="15070"/>
                    </a:lnTo>
                    <a:lnTo>
                      <a:pt x="14097" y="15965"/>
                    </a:lnTo>
                    <a:lnTo>
                      <a:pt x="14145" y="17088"/>
                    </a:lnTo>
                    <a:lnTo>
                      <a:pt x="14225" y="18049"/>
                    </a:lnTo>
                    <a:lnTo>
                      <a:pt x="14345" y="18864"/>
                    </a:lnTo>
                    <a:lnTo>
                      <a:pt x="14145" y="19987"/>
                    </a:lnTo>
                    <a:lnTo>
                      <a:pt x="13897" y="19987"/>
                    </a:lnTo>
                    <a:lnTo>
                      <a:pt x="13688" y="19492"/>
                    </a:lnTo>
                    <a:lnTo>
                      <a:pt x="13560" y="18731"/>
                    </a:lnTo>
                    <a:lnTo>
                      <a:pt x="13560" y="18183"/>
                    </a:lnTo>
                    <a:lnTo>
                      <a:pt x="13440" y="18049"/>
                    </a:lnTo>
                    <a:lnTo>
                      <a:pt x="13480" y="17635"/>
                    </a:lnTo>
                    <a:lnTo>
                      <a:pt x="13360" y="17088"/>
                    </a:lnTo>
                    <a:lnTo>
                      <a:pt x="13104" y="16593"/>
                    </a:lnTo>
                    <a:lnTo>
                      <a:pt x="12687" y="16927"/>
                    </a:lnTo>
                    <a:lnTo>
                      <a:pt x="12399" y="16379"/>
                    </a:lnTo>
                    <a:lnTo>
                      <a:pt x="11854" y="16379"/>
                    </a:lnTo>
                    <a:lnTo>
                      <a:pt x="11742" y="16326"/>
                    </a:lnTo>
                    <a:lnTo>
                      <a:pt x="11278" y="16379"/>
                    </a:lnTo>
                    <a:lnTo>
                      <a:pt x="10869" y="16379"/>
                    </a:lnTo>
                    <a:lnTo>
                      <a:pt x="11197" y="16727"/>
                    </a:lnTo>
                    <a:lnTo>
                      <a:pt x="11278" y="17088"/>
                    </a:lnTo>
                    <a:lnTo>
                      <a:pt x="10949" y="17141"/>
                    </a:lnTo>
                    <a:lnTo>
                      <a:pt x="10453" y="16874"/>
                    </a:lnTo>
                    <a:lnTo>
                      <a:pt x="9956" y="16727"/>
                    </a:lnTo>
                    <a:lnTo>
                      <a:pt x="9459" y="16727"/>
                    </a:lnTo>
                    <a:lnTo>
                      <a:pt x="9083" y="17141"/>
                    </a:lnTo>
                    <a:lnTo>
                      <a:pt x="8578" y="17488"/>
                    </a:lnTo>
                    <a:lnTo>
                      <a:pt x="8218" y="18183"/>
                    </a:lnTo>
                    <a:lnTo>
                      <a:pt x="8250" y="19078"/>
                    </a:lnTo>
                    <a:lnTo>
                      <a:pt x="8122" y="19212"/>
                    </a:lnTo>
                    <a:lnTo>
                      <a:pt x="7593" y="18731"/>
                    </a:lnTo>
                    <a:lnTo>
                      <a:pt x="7505" y="18049"/>
                    </a:lnTo>
                    <a:lnTo>
                      <a:pt x="7337" y="17635"/>
                    </a:lnTo>
                    <a:lnTo>
                      <a:pt x="7056" y="16593"/>
                    </a:lnTo>
                    <a:lnTo>
                      <a:pt x="6712" y="16379"/>
                    </a:lnTo>
                    <a:lnTo>
                      <a:pt x="6384" y="16927"/>
                    </a:lnTo>
                    <a:lnTo>
                      <a:pt x="5927" y="16513"/>
                    </a:lnTo>
                    <a:lnTo>
                      <a:pt x="5847" y="15832"/>
                    </a:lnTo>
                    <a:lnTo>
                      <a:pt x="5390" y="14856"/>
                    </a:lnTo>
                    <a:lnTo>
                      <a:pt x="4766" y="14856"/>
                    </a:lnTo>
                    <a:lnTo>
                      <a:pt x="4766" y="15150"/>
                    </a:lnTo>
                    <a:lnTo>
                      <a:pt x="3781" y="15070"/>
                    </a:lnTo>
                    <a:lnTo>
                      <a:pt x="2491" y="14175"/>
                    </a:lnTo>
                    <a:lnTo>
                      <a:pt x="2491" y="13975"/>
                    </a:lnTo>
                    <a:lnTo>
                      <a:pt x="1698" y="14028"/>
                    </a:lnTo>
                    <a:lnTo>
                      <a:pt x="1618" y="13413"/>
                    </a:lnTo>
                    <a:lnTo>
                      <a:pt x="1370" y="12933"/>
                    </a:lnTo>
                    <a:lnTo>
                      <a:pt x="1081" y="12585"/>
                    </a:lnTo>
                    <a:lnTo>
                      <a:pt x="705" y="12505"/>
                    </a:lnTo>
                    <a:lnTo>
                      <a:pt x="705" y="11824"/>
                    </a:lnTo>
                    <a:lnTo>
                      <a:pt x="408" y="10915"/>
                    </a:lnTo>
                    <a:lnTo>
                      <a:pt x="497" y="10568"/>
                    </a:lnTo>
                    <a:lnTo>
                      <a:pt x="328" y="10367"/>
                    </a:lnTo>
                    <a:lnTo>
                      <a:pt x="328" y="9886"/>
                    </a:lnTo>
                    <a:lnTo>
                      <a:pt x="497" y="10020"/>
                    </a:lnTo>
                    <a:lnTo>
                      <a:pt x="408" y="9472"/>
                    </a:lnTo>
                    <a:lnTo>
                      <a:pt x="208" y="9606"/>
                    </a:lnTo>
                    <a:lnTo>
                      <a:pt x="80" y="8791"/>
                    </a:lnTo>
                    <a:lnTo>
                      <a:pt x="80" y="8016"/>
                    </a:lnTo>
                    <a:lnTo>
                      <a:pt x="0" y="7669"/>
                    </a:lnTo>
                    <a:lnTo>
                      <a:pt x="208" y="6707"/>
                    </a:lnTo>
                    <a:lnTo>
                      <a:pt x="288" y="5464"/>
                    </a:lnTo>
                    <a:lnTo>
                      <a:pt x="705" y="4075"/>
                    </a:lnTo>
                    <a:lnTo>
                      <a:pt x="953" y="2899"/>
                    </a:lnTo>
                    <a:lnTo>
                      <a:pt x="1081" y="2004"/>
                    </a:lnTo>
                    <a:lnTo>
                      <a:pt x="1161" y="548"/>
                    </a:lnTo>
                    <a:lnTo>
                      <a:pt x="1618" y="895"/>
                    </a:lnTo>
                    <a:lnTo>
                      <a:pt x="1618" y="1309"/>
                    </a:lnTo>
                    <a:lnTo>
                      <a:pt x="1570" y="1804"/>
                    </a:lnTo>
                    <a:lnTo>
                      <a:pt x="1818" y="1443"/>
                    </a:lnTo>
                    <a:lnTo>
                      <a:pt x="1898" y="414"/>
                    </a:lnTo>
                    <a:lnTo>
                      <a:pt x="1818" y="0"/>
                    </a:lnTo>
                    <a:lnTo>
                      <a:pt x="10989" y="1523"/>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1" name="Freeform 28"/>
              <p:cNvSpPr>
                <a:spLocks/>
              </p:cNvSpPr>
              <p:nvPr/>
            </p:nvSpPr>
            <p:spPr bwMode="auto">
              <a:xfrm>
                <a:off x="892175" y="1371600"/>
                <a:ext cx="993775" cy="1065213"/>
              </a:xfrm>
              <a:custGeom>
                <a:avLst/>
                <a:gdLst>
                  <a:gd name="T0" fmla="*/ 14160 w 20000"/>
                  <a:gd name="T1" fmla="*/ 13683 h 20000"/>
                  <a:gd name="T2" fmla="*/ 15553 w 20000"/>
                  <a:gd name="T3" fmla="*/ 14684 h 20000"/>
                  <a:gd name="T4" fmla="*/ 16358 w 20000"/>
                  <a:gd name="T5" fmla="*/ 18451 h 20000"/>
                  <a:gd name="T6" fmla="*/ 15821 w 20000"/>
                  <a:gd name="T7" fmla="*/ 19988 h 20000"/>
                  <a:gd name="T8" fmla="*/ 15821 w 20000"/>
                  <a:gd name="T9" fmla="*/ 18868 h 20000"/>
                  <a:gd name="T10" fmla="*/ 15821 w 20000"/>
                  <a:gd name="T11" fmla="*/ 18379 h 20000"/>
                  <a:gd name="T12" fmla="*/ 15489 w 20000"/>
                  <a:gd name="T13" fmla="*/ 17461 h 20000"/>
                  <a:gd name="T14" fmla="*/ 15489 w 20000"/>
                  <a:gd name="T15" fmla="*/ 16603 h 20000"/>
                  <a:gd name="T16" fmla="*/ 15489 w 20000"/>
                  <a:gd name="T17" fmla="*/ 15292 h 20000"/>
                  <a:gd name="T18" fmla="*/ 14760 w 20000"/>
                  <a:gd name="T19" fmla="*/ 15673 h 20000"/>
                  <a:gd name="T20" fmla="*/ 14109 w 20000"/>
                  <a:gd name="T21" fmla="*/ 15852 h 20000"/>
                  <a:gd name="T22" fmla="*/ 13431 w 20000"/>
                  <a:gd name="T23" fmla="*/ 14553 h 20000"/>
                  <a:gd name="T24" fmla="*/ 13955 w 20000"/>
                  <a:gd name="T25" fmla="*/ 14243 h 20000"/>
                  <a:gd name="T26" fmla="*/ 12907 w 20000"/>
                  <a:gd name="T27" fmla="*/ 14064 h 20000"/>
                  <a:gd name="T28" fmla="*/ 11655 w 20000"/>
                  <a:gd name="T29" fmla="*/ 13564 h 20000"/>
                  <a:gd name="T30" fmla="*/ 11182 w 20000"/>
                  <a:gd name="T31" fmla="*/ 13075 h 20000"/>
                  <a:gd name="T32" fmla="*/ 11131 w 20000"/>
                  <a:gd name="T33" fmla="*/ 12217 h 20000"/>
                  <a:gd name="T34" fmla="*/ 10006 w 20000"/>
                  <a:gd name="T35" fmla="*/ 12217 h 20000"/>
                  <a:gd name="T36" fmla="*/ 8869 w 20000"/>
                  <a:gd name="T37" fmla="*/ 13075 h 20000"/>
                  <a:gd name="T38" fmla="*/ 7348 w 20000"/>
                  <a:gd name="T39" fmla="*/ 13504 h 20000"/>
                  <a:gd name="T40" fmla="*/ 7872 w 20000"/>
                  <a:gd name="T41" fmla="*/ 12765 h 20000"/>
                  <a:gd name="T42" fmla="*/ 9406 w 20000"/>
                  <a:gd name="T43" fmla="*/ 11955 h 20000"/>
                  <a:gd name="T44" fmla="*/ 9278 w 20000"/>
                  <a:gd name="T45" fmla="*/ 11418 h 20000"/>
                  <a:gd name="T46" fmla="*/ 7348 w 20000"/>
                  <a:gd name="T47" fmla="*/ 12467 h 20000"/>
                  <a:gd name="T48" fmla="*/ 5955 w 20000"/>
                  <a:gd name="T49" fmla="*/ 13564 h 20000"/>
                  <a:gd name="T50" fmla="*/ 4575 w 20000"/>
                  <a:gd name="T51" fmla="*/ 14875 h 20000"/>
                  <a:gd name="T52" fmla="*/ 1917 w 20000"/>
                  <a:gd name="T53" fmla="*/ 16460 h 20000"/>
                  <a:gd name="T54" fmla="*/ 204 w 20000"/>
                  <a:gd name="T55" fmla="*/ 16841 h 20000"/>
                  <a:gd name="T56" fmla="*/ 0 w 20000"/>
                  <a:gd name="T57" fmla="*/ 16651 h 20000"/>
                  <a:gd name="T58" fmla="*/ 728 w 20000"/>
                  <a:gd name="T59" fmla="*/ 16341 h 20000"/>
                  <a:gd name="T60" fmla="*/ 1073 w 20000"/>
                  <a:gd name="T61" fmla="*/ 16162 h 20000"/>
                  <a:gd name="T62" fmla="*/ 2645 w 20000"/>
                  <a:gd name="T63" fmla="*/ 15173 h 20000"/>
                  <a:gd name="T64" fmla="*/ 3706 w 20000"/>
                  <a:gd name="T65" fmla="*/ 14195 h 20000"/>
                  <a:gd name="T66" fmla="*/ 3847 w 20000"/>
                  <a:gd name="T67" fmla="*/ 13075 h 20000"/>
                  <a:gd name="T68" fmla="*/ 2850 w 20000"/>
                  <a:gd name="T69" fmla="*/ 12956 h 20000"/>
                  <a:gd name="T70" fmla="*/ 2121 w 20000"/>
                  <a:gd name="T71" fmla="*/ 12706 h 20000"/>
                  <a:gd name="T72" fmla="*/ 1994 w 20000"/>
                  <a:gd name="T73" fmla="*/ 11776 h 20000"/>
                  <a:gd name="T74" fmla="*/ 1789 w 20000"/>
                  <a:gd name="T75" fmla="*/ 10489 h 20000"/>
                  <a:gd name="T76" fmla="*/ 2645 w 20000"/>
                  <a:gd name="T77" fmla="*/ 10179 h 20000"/>
                  <a:gd name="T78" fmla="*/ 1649 w 20000"/>
                  <a:gd name="T79" fmla="*/ 9809 h 20000"/>
                  <a:gd name="T80" fmla="*/ 2326 w 20000"/>
                  <a:gd name="T81" fmla="*/ 8880 h 20000"/>
                  <a:gd name="T82" fmla="*/ 3578 w 20000"/>
                  <a:gd name="T83" fmla="*/ 7890 h 20000"/>
                  <a:gd name="T84" fmla="*/ 4971 w 20000"/>
                  <a:gd name="T85" fmla="*/ 7712 h 20000"/>
                  <a:gd name="T86" fmla="*/ 6160 w 20000"/>
                  <a:gd name="T87" fmla="*/ 6722 h 20000"/>
                  <a:gd name="T88" fmla="*/ 5559 w 20000"/>
                  <a:gd name="T89" fmla="*/ 6603 h 20000"/>
                  <a:gd name="T90" fmla="*/ 4051 w 20000"/>
                  <a:gd name="T91" fmla="*/ 5793 h 20000"/>
                  <a:gd name="T92" fmla="*/ 4703 w 20000"/>
                  <a:gd name="T93" fmla="*/ 5304 h 20000"/>
                  <a:gd name="T94" fmla="*/ 4051 w 20000"/>
                  <a:gd name="T95" fmla="*/ 4505 h 20000"/>
                  <a:gd name="T96" fmla="*/ 5431 w 20000"/>
                  <a:gd name="T97" fmla="*/ 4017 h 20000"/>
                  <a:gd name="T98" fmla="*/ 6952 w 20000"/>
                  <a:gd name="T99" fmla="*/ 3695 h 20000"/>
                  <a:gd name="T100" fmla="*/ 7744 w 20000"/>
                  <a:gd name="T101" fmla="*/ 4505 h 20000"/>
                  <a:gd name="T102" fmla="*/ 7553 w 20000"/>
                  <a:gd name="T103" fmla="*/ 4315 h 20000"/>
                  <a:gd name="T104" fmla="*/ 8077 w 20000"/>
                  <a:gd name="T105" fmla="*/ 4374 h 20000"/>
                  <a:gd name="T106" fmla="*/ 8000 w 20000"/>
                  <a:gd name="T107" fmla="*/ 3886 h 20000"/>
                  <a:gd name="T108" fmla="*/ 7348 w 20000"/>
                  <a:gd name="T109" fmla="*/ 1538 h 20000"/>
                  <a:gd name="T110" fmla="*/ 9137 w 20000"/>
                  <a:gd name="T111" fmla="*/ 1287 h 20000"/>
                  <a:gd name="T112" fmla="*/ 12575 w 20000"/>
                  <a:gd name="T113" fmla="*/ 238 h 20000"/>
                  <a:gd name="T114" fmla="*/ 13380 w 20000"/>
                  <a:gd name="T115" fmla="*/ 0 h 20000"/>
                  <a:gd name="T116" fmla="*/ 14505 w 20000"/>
                  <a:gd name="T117" fmla="*/ 608 h 20000"/>
                  <a:gd name="T118" fmla="*/ 15885 w 20000"/>
                  <a:gd name="T119" fmla="*/ 918 h 20000"/>
                  <a:gd name="T120" fmla="*/ 15885 w 20000"/>
                  <a:gd name="T121" fmla="*/ 1538 h 20000"/>
                  <a:gd name="T122" fmla="*/ 17214 w 20000"/>
                  <a:gd name="T123" fmla="*/ 1776 h 20000"/>
                  <a:gd name="T124" fmla="*/ 18134 w 20000"/>
                  <a:gd name="T125" fmla="*/ 2527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00" h="20000">
                    <a:moveTo>
                      <a:pt x="19987" y="3826"/>
                    </a:moveTo>
                    <a:lnTo>
                      <a:pt x="15157" y="10298"/>
                    </a:lnTo>
                    <a:lnTo>
                      <a:pt x="13380" y="13564"/>
                    </a:lnTo>
                    <a:lnTo>
                      <a:pt x="14160" y="13683"/>
                    </a:lnTo>
                    <a:lnTo>
                      <a:pt x="14109" y="13874"/>
                    </a:lnTo>
                    <a:lnTo>
                      <a:pt x="14428" y="15292"/>
                    </a:lnTo>
                    <a:lnTo>
                      <a:pt x="15157" y="14803"/>
                    </a:lnTo>
                    <a:lnTo>
                      <a:pt x="15553" y="14684"/>
                    </a:lnTo>
                    <a:lnTo>
                      <a:pt x="15821" y="14875"/>
                    </a:lnTo>
                    <a:lnTo>
                      <a:pt x="15821" y="15542"/>
                    </a:lnTo>
                    <a:lnTo>
                      <a:pt x="16013" y="17890"/>
                    </a:lnTo>
                    <a:lnTo>
                      <a:pt x="16358" y="18451"/>
                    </a:lnTo>
                    <a:lnTo>
                      <a:pt x="16677" y="18939"/>
                    </a:lnTo>
                    <a:lnTo>
                      <a:pt x="16550" y="19190"/>
                    </a:lnTo>
                    <a:lnTo>
                      <a:pt x="16153" y="19738"/>
                    </a:lnTo>
                    <a:lnTo>
                      <a:pt x="15821" y="19988"/>
                    </a:lnTo>
                    <a:lnTo>
                      <a:pt x="15821" y="19678"/>
                    </a:lnTo>
                    <a:lnTo>
                      <a:pt x="16153" y="19237"/>
                    </a:lnTo>
                    <a:lnTo>
                      <a:pt x="16013" y="18868"/>
                    </a:lnTo>
                    <a:lnTo>
                      <a:pt x="15821" y="18868"/>
                    </a:lnTo>
                    <a:lnTo>
                      <a:pt x="15489" y="19058"/>
                    </a:lnTo>
                    <a:lnTo>
                      <a:pt x="15361" y="19058"/>
                    </a:lnTo>
                    <a:lnTo>
                      <a:pt x="15681" y="18749"/>
                    </a:lnTo>
                    <a:lnTo>
                      <a:pt x="15821" y="18379"/>
                    </a:lnTo>
                    <a:lnTo>
                      <a:pt x="15885" y="18069"/>
                    </a:lnTo>
                    <a:lnTo>
                      <a:pt x="15681" y="18069"/>
                    </a:lnTo>
                    <a:lnTo>
                      <a:pt x="15681" y="17890"/>
                    </a:lnTo>
                    <a:lnTo>
                      <a:pt x="15489" y="17461"/>
                    </a:lnTo>
                    <a:lnTo>
                      <a:pt x="15681" y="17139"/>
                    </a:lnTo>
                    <a:lnTo>
                      <a:pt x="15821" y="17271"/>
                    </a:lnTo>
                    <a:lnTo>
                      <a:pt x="15681" y="16841"/>
                    </a:lnTo>
                    <a:lnTo>
                      <a:pt x="15489" y="16603"/>
                    </a:lnTo>
                    <a:lnTo>
                      <a:pt x="15681" y="16281"/>
                    </a:lnTo>
                    <a:lnTo>
                      <a:pt x="15553" y="16341"/>
                    </a:lnTo>
                    <a:lnTo>
                      <a:pt x="15361" y="16162"/>
                    </a:lnTo>
                    <a:lnTo>
                      <a:pt x="15489" y="15292"/>
                    </a:lnTo>
                    <a:lnTo>
                      <a:pt x="15029" y="16281"/>
                    </a:lnTo>
                    <a:lnTo>
                      <a:pt x="14824" y="16091"/>
                    </a:lnTo>
                    <a:lnTo>
                      <a:pt x="14952" y="15483"/>
                    </a:lnTo>
                    <a:lnTo>
                      <a:pt x="14760" y="15673"/>
                    </a:lnTo>
                    <a:lnTo>
                      <a:pt x="14505" y="15364"/>
                    </a:lnTo>
                    <a:lnTo>
                      <a:pt x="14633" y="16091"/>
                    </a:lnTo>
                    <a:lnTo>
                      <a:pt x="14300" y="16162"/>
                    </a:lnTo>
                    <a:lnTo>
                      <a:pt x="14109" y="15852"/>
                    </a:lnTo>
                    <a:lnTo>
                      <a:pt x="13904" y="15173"/>
                    </a:lnTo>
                    <a:lnTo>
                      <a:pt x="13955" y="15054"/>
                    </a:lnTo>
                    <a:lnTo>
                      <a:pt x="13776" y="15054"/>
                    </a:lnTo>
                    <a:lnTo>
                      <a:pt x="13431" y="14553"/>
                    </a:lnTo>
                    <a:lnTo>
                      <a:pt x="13572" y="14362"/>
                    </a:lnTo>
                    <a:lnTo>
                      <a:pt x="13636" y="14195"/>
                    </a:lnTo>
                    <a:lnTo>
                      <a:pt x="13776" y="14493"/>
                    </a:lnTo>
                    <a:lnTo>
                      <a:pt x="13955" y="14243"/>
                    </a:lnTo>
                    <a:lnTo>
                      <a:pt x="13904" y="14064"/>
                    </a:lnTo>
                    <a:lnTo>
                      <a:pt x="13431" y="14243"/>
                    </a:lnTo>
                    <a:lnTo>
                      <a:pt x="13099" y="14243"/>
                    </a:lnTo>
                    <a:lnTo>
                      <a:pt x="12907" y="14064"/>
                    </a:lnTo>
                    <a:lnTo>
                      <a:pt x="13035" y="13874"/>
                    </a:lnTo>
                    <a:lnTo>
                      <a:pt x="12703" y="14005"/>
                    </a:lnTo>
                    <a:lnTo>
                      <a:pt x="12383" y="13683"/>
                    </a:lnTo>
                    <a:lnTo>
                      <a:pt x="11655" y="13564"/>
                    </a:lnTo>
                    <a:lnTo>
                      <a:pt x="11323" y="13194"/>
                    </a:lnTo>
                    <a:lnTo>
                      <a:pt x="11527" y="13075"/>
                    </a:lnTo>
                    <a:lnTo>
                      <a:pt x="11527" y="12896"/>
                    </a:lnTo>
                    <a:lnTo>
                      <a:pt x="11182" y="13075"/>
                    </a:lnTo>
                    <a:lnTo>
                      <a:pt x="10978" y="12896"/>
                    </a:lnTo>
                    <a:lnTo>
                      <a:pt x="10658" y="12586"/>
                    </a:lnTo>
                    <a:lnTo>
                      <a:pt x="10786" y="12396"/>
                    </a:lnTo>
                    <a:lnTo>
                      <a:pt x="11131" y="12217"/>
                    </a:lnTo>
                    <a:lnTo>
                      <a:pt x="10530" y="12277"/>
                    </a:lnTo>
                    <a:lnTo>
                      <a:pt x="10262" y="12277"/>
                    </a:lnTo>
                    <a:lnTo>
                      <a:pt x="10134" y="12217"/>
                    </a:lnTo>
                    <a:lnTo>
                      <a:pt x="10006" y="12217"/>
                    </a:lnTo>
                    <a:lnTo>
                      <a:pt x="9802" y="12467"/>
                    </a:lnTo>
                    <a:lnTo>
                      <a:pt x="9930" y="12706"/>
                    </a:lnTo>
                    <a:lnTo>
                      <a:pt x="9278" y="13194"/>
                    </a:lnTo>
                    <a:lnTo>
                      <a:pt x="8869" y="13075"/>
                    </a:lnTo>
                    <a:lnTo>
                      <a:pt x="8077" y="13504"/>
                    </a:lnTo>
                    <a:lnTo>
                      <a:pt x="7681" y="13683"/>
                    </a:lnTo>
                    <a:lnTo>
                      <a:pt x="7220" y="13683"/>
                    </a:lnTo>
                    <a:lnTo>
                      <a:pt x="7348" y="13504"/>
                    </a:lnTo>
                    <a:lnTo>
                      <a:pt x="8000" y="13194"/>
                    </a:lnTo>
                    <a:lnTo>
                      <a:pt x="7553" y="13194"/>
                    </a:lnTo>
                    <a:lnTo>
                      <a:pt x="7553" y="13075"/>
                    </a:lnTo>
                    <a:lnTo>
                      <a:pt x="7872" y="12765"/>
                    </a:lnTo>
                    <a:lnTo>
                      <a:pt x="8409" y="12217"/>
                    </a:lnTo>
                    <a:lnTo>
                      <a:pt x="8933" y="11955"/>
                    </a:lnTo>
                    <a:lnTo>
                      <a:pt x="9073" y="12098"/>
                    </a:lnTo>
                    <a:lnTo>
                      <a:pt x="9406" y="11955"/>
                    </a:lnTo>
                    <a:lnTo>
                      <a:pt x="9278" y="11907"/>
                    </a:lnTo>
                    <a:lnTo>
                      <a:pt x="9597" y="11657"/>
                    </a:lnTo>
                    <a:lnTo>
                      <a:pt x="9137" y="11657"/>
                    </a:lnTo>
                    <a:lnTo>
                      <a:pt x="9278" y="11418"/>
                    </a:lnTo>
                    <a:lnTo>
                      <a:pt x="8869" y="11657"/>
                    </a:lnTo>
                    <a:lnTo>
                      <a:pt x="8204" y="11955"/>
                    </a:lnTo>
                    <a:lnTo>
                      <a:pt x="7553" y="12467"/>
                    </a:lnTo>
                    <a:lnTo>
                      <a:pt x="7348" y="12467"/>
                    </a:lnTo>
                    <a:lnTo>
                      <a:pt x="7476" y="12706"/>
                    </a:lnTo>
                    <a:lnTo>
                      <a:pt x="7220" y="12765"/>
                    </a:lnTo>
                    <a:lnTo>
                      <a:pt x="6684" y="13075"/>
                    </a:lnTo>
                    <a:lnTo>
                      <a:pt x="5955" y="13564"/>
                    </a:lnTo>
                    <a:lnTo>
                      <a:pt x="6160" y="13683"/>
                    </a:lnTo>
                    <a:lnTo>
                      <a:pt x="6300" y="13874"/>
                    </a:lnTo>
                    <a:lnTo>
                      <a:pt x="5431" y="14493"/>
                    </a:lnTo>
                    <a:lnTo>
                      <a:pt x="4575" y="14875"/>
                    </a:lnTo>
                    <a:lnTo>
                      <a:pt x="3847" y="15292"/>
                    </a:lnTo>
                    <a:lnTo>
                      <a:pt x="2850" y="15852"/>
                    </a:lnTo>
                    <a:lnTo>
                      <a:pt x="2326" y="16162"/>
                    </a:lnTo>
                    <a:lnTo>
                      <a:pt x="1917" y="16460"/>
                    </a:lnTo>
                    <a:lnTo>
                      <a:pt x="1252" y="16770"/>
                    </a:lnTo>
                    <a:lnTo>
                      <a:pt x="1252" y="16603"/>
                    </a:lnTo>
                    <a:lnTo>
                      <a:pt x="920" y="16651"/>
                    </a:lnTo>
                    <a:lnTo>
                      <a:pt x="204" y="16841"/>
                    </a:lnTo>
                    <a:lnTo>
                      <a:pt x="268" y="16651"/>
                    </a:lnTo>
                    <a:lnTo>
                      <a:pt x="77" y="16770"/>
                    </a:lnTo>
                    <a:lnTo>
                      <a:pt x="0" y="16841"/>
                    </a:lnTo>
                    <a:lnTo>
                      <a:pt x="0" y="16651"/>
                    </a:lnTo>
                    <a:lnTo>
                      <a:pt x="0" y="16460"/>
                    </a:lnTo>
                    <a:lnTo>
                      <a:pt x="204" y="16281"/>
                    </a:lnTo>
                    <a:lnTo>
                      <a:pt x="792" y="16281"/>
                    </a:lnTo>
                    <a:lnTo>
                      <a:pt x="728" y="16341"/>
                    </a:lnTo>
                    <a:lnTo>
                      <a:pt x="792" y="16460"/>
                    </a:lnTo>
                    <a:lnTo>
                      <a:pt x="920" y="16341"/>
                    </a:lnTo>
                    <a:lnTo>
                      <a:pt x="1073" y="16460"/>
                    </a:lnTo>
                    <a:lnTo>
                      <a:pt x="1073" y="16162"/>
                    </a:lnTo>
                    <a:lnTo>
                      <a:pt x="1393" y="15852"/>
                    </a:lnTo>
                    <a:lnTo>
                      <a:pt x="2121" y="15483"/>
                    </a:lnTo>
                    <a:lnTo>
                      <a:pt x="2454" y="15542"/>
                    </a:lnTo>
                    <a:lnTo>
                      <a:pt x="2645" y="15173"/>
                    </a:lnTo>
                    <a:lnTo>
                      <a:pt x="3310" y="14875"/>
                    </a:lnTo>
                    <a:lnTo>
                      <a:pt x="3374" y="14875"/>
                    </a:lnTo>
                    <a:lnTo>
                      <a:pt x="3374" y="14803"/>
                    </a:lnTo>
                    <a:lnTo>
                      <a:pt x="3706" y="14195"/>
                    </a:lnTo>
                    <a:lnTo>
                      <a:pt x="3898" y="14005"/>
                    </a:lnTo>
                    <a:lnTo>
                      <a:pt x="4575" y="13385"/>
                    </a:lnTo>
                    <a:lnTo>
                      <a:pt x="3578" y="13564"/>
                    </a:lnTo>
                    <a:lnTo>
                      <a:pt x="3847" y="13075"/>
                    </a:lnTo>
                    <a:lnTo>
                      <a:pt x="3182" y="13754"/>
                    </a:lnTo>
                    <a:lnTo>
                      <a:pt x="3054" y="13194"/>
                    </a:lnTo>
                    <a:lnTo>
                      <a:pt x="2978" y="13266"/>
                    </a:lnTo>
                    <a:lnTo>
                      <a:pt x="2850" y="12956"/>
                    </a:lnTo>
                    <a:lnTo>
                      <a:pt x="2121" y="13266"/>
                    </a:lnTo>
                    <a:lnTo>
                      <a:pt x="1789" y="13194"/>
                    </a:lnTo>
                    <a:lnTo>
                      <a:pt x="1994" y="13075"/>
                    </a:lnTo>
                    <a:lnTo>
                      <a:pt x="2121" y="12706"/>
                    </a:lnTo>
                    <a:lnTo>
                      <a:pt x="2454" y="12396"/>
                    </a:lnTo>
                    <a:lnTo>
                      <a:pt x="2773" y="11287"/>
                    </a:lnTo>
                    <a:lnTo>
                      <a:pt x="2454" y="11776"/>
                    </a:lnTo>
                    <a:lnTo>
                      <a:pt x="1994" y="11776"/>
                    </a:lnTo>
                    <a:lnTo>
                      <a:pt x="1597" y="11657"/>
                    </a:lnTo>
                    <a:lnTo>
                      <a:pt x="1597" y="11168"/>
                    </a:lnTo>
                    <a:lnTo>
                      <a:pt x="1393" y="10787"/>
                    </a:lnTo>
                    <a:lnTo>
                      <a:pt x="1789" y="10489"/>
                    </a:lnTo>
                    <a:lnTo>
                      <a:pt x="2198" y="10787"/>
                    </a:lnTo>
                    <a:lnTo>
                      <a:pt x="2198" y="10977"/>
                    </a:lnTo>
                    <a:lnTo>
                      <a:pt x="2518" y="10667"/>
                    </a:lnTo>
                    <a:lnTo>
                      <a:pt x="2645" y="10179"/>
                    </a:lnTo>
                    <a:lnTo>
                      <a:pt x="2326" y="10369"/>
                    </a:lnTo>
                    <a:lnTo>
                      <a:pt x="2121" y="10489"/>
                    </a:lnTo>
                    <a:lnTo>
                      <a:pt x="1789" y="10298"/>
                    </a:lnTo>
                    <a:lnTo>
                      <a:pt x="1649" y="9809"/>
                    </a:lnTo>
                    <a:lnTo>
                      <a:pt x="1789" y="9499"/>
                    </a:lnTo>
                    <a:lnTo>
                      <a:pt x="1917" y="9321"/>
                    </a:lnTo>
                    <a:lnTo>
                      <a:pt x="2121" y="9321"/>
                    </a:lnTo>
                    <a:lnTo>
                      <a:pt x="2326" y="8880"/>
                    </a:lnTo>
                    <a:lnTo>
                      <a:pt x="2850" y="8510"/>
                    </a:lnTo>
                    <a:lnTo>
                      <a:pt x="3374" y="8331"/>
                    </a:lnTo>
                    <a:lnTo>
                      <a:pt x="3182" y="8331"/>
                    </a:lnTo>
                    <a:lnTo>
                      <a:pt x="3578" y="7890"/>
                    </a:lnTo>
                    <a:lnTo>
                      <a:pt x="4051" y="7771"/>
                    </a:lnTo>
                    <a:lnTo>
                      <a:pt x="3898" y="8081"/>
                    </a:lnTo>
                    <a:lnTo>
                      <a:pt x="4371" y="8081"/>
                    </a:lnTo>
                    <a:lnTo>
                      <a:pt x="4971" y="7712"/>
                    </a:lnTo>
                    <a:lnTo>
                      <a:pt x="5227" y="7771"/>
                    </a:lnTo>
                    <a:lnTo>
                      <a:pt x="5955" y="7521"/>
                    </a:lnTo>
                    <a:lnTo>
                      <a:pt x="6160" y="7032"/>
                    </a:lnTo>
                    <a:lnTo>
                      <a:pt x="6160" y="6722"/>
                    </a:lnTo>
                    <a:lnTo>
                      <a:pt x="6620" y="6472"/>
                    </a:lnTo>
                    <a:lnTo>
                      <a:pt x="6684" y="6234"/>
                    </a:lnTo>
                    <a:lnTo>
                      <a:pt x="6351" y="6281"/>
                    </a:lnTo>
                    <a:lnTo>
                      <a:pt x="5559" y="6603"/>
                    </a:lnTo>
                    <a:lnTo>
                      <a:pt x="5304" y="6424"/>
                    </a:lnTo>
                    <a:lnTo>
                      <a:pt x="5099" y="6234"/>
                    </a:lnTo>
                    <a:lnTo>
                      <a:pt x="4575" y="6234"/>
                    </a:lnTo>
                    <a:lnTo>
                      <a:pt x="4051" y="5793"/>
                    </a:lnTo>
                    <a:lnTo>
                      <a:pt x="4243" y="5423"/>
                    </a:lnTo>
                    <a:lnTo>
                      <a:pt x="4243" y="4934"/>
                    </a:lnTo>
                    <a:lnTo>
                      <a:pt x="4435" y="5113"/>
                    </a:lnTo>
                    <a:lnTo>
                      <a:pt x="4703" y="5304"/>
                    </a:lnTo>
                    <a:lnTo>
                      <a:pt x="4971" y="5185"/>
                    </a:lnTo>
                    <a:lnTo>
                      <a:pt x="4703" y="5113"/>
                    </a:lnTo>
                    <a:lnTo>
                      <a:pt x="4243" y="4696"/>
                    </a:lnTo>
                    <a:lnTo>
                      <a:pt x="4051" y="4505"/>
                    </a:lnTo>
                    <a:lnTo>
                      <a:pt x="4179" y="4184"/>
                    </a:lnTo>
                    <a:lnTo>
                      <a:pt x="4243" y="4184"/>
                    </a:lnTo>
                    <a:lnTo>
                      <a:pt x="5431" y="3886"/>
                    </a:lnTo>
                    <a:lnTo>
                      <a:pt x="5431" y="4017"/>
                    </a:lnTo>
                    <a:lnTo>
                      <a:pt x="5751" y="4017"/>
                    </a:lnTo>
                    <a:lnTo>
                      <a:pt x="5751" y="3886"/>
                    </a:lnTo>
                    <a:lnTo>
                      <a:pt x="6479" y="3635"/>
                    </a:lnTo>
                    <a:lnTo>
                      <a:pt x="6952" y="3695"/>
                    </a:lnTo>
                    <a:lnTo>
                      <a:pt x="6620" y="4017"/>
                    </a:lnTo>
                    <a:lnTo>
                      <a:pt x="6479" y="4315"/>
                    </a:lnTo>
                    <a:lnTo>
                      <a:pt x="7348" y="4696"/>
                    </a:lnTo>
                    <a:lnTo>
                      <a:pt x="7744" y="4505"/>
                    </a:lnTo>
                    <a:lnTo>
                      <a:pt x="7681" y="4815"/>
                    </a:lnTo>
                    <a:lnTo>
                      <a:pt x="7872" y="4505"/>
                    </a:lnTo>
                    <a:lnTo>
                      <a:pt x="7744" y="4315"/>
                    </a:lnTo>
                    <a:lnTo>
                      <a:pt x="7553" y="4315"/>
                    </a:lnTo>
                    <a:lnTo>
                      <a:pt x="7744" y="3635"/>
                    </a:lnTo>
                    <a:lnTo>
                      <a:pt x="7872" y="3635"/>
                    </a:lnTo>
                    <a:lnTo>
                      <a:pt x="7872" y="4136"/>
                    </a:lnTo>
                    <a:lnTo>
                      <a:pt x="8077" y="4374"/>
                    </a:lnTo>
                    <a:lnTo>
                      <a:pt x="8550" y="4505"/>
                    </a:lnTo>
                    <a:lnTo>
                      <a:pt x="8869" y="4184"/>
                    </a:lnTo>
                    <a:lnTo>
                      <a:pt x="8077" y="4017"/>
                    </a:lnTo>
                    <a:lnTo>
                      <a:pt x="8000" y="3886"/>
                    </a:lnTo>
                    <a:lnTo>
                      <a:pt x="8345" y="3635"/>
                    </a:lnTo>
                    <a:lnTo>
                      <a:pt x="7476" y="3206"/>
                    </a:lnTo>
                    <a:lnTo>
                      <a:pt x="7681" y="2527"/>
                    </a:lnTo>
                    <a:lnTo>
                      <a:pt x="7348" y="1538"/>
                    </a:lnTo>
                    <a:lnTo>
                      <a:pt x="7681" y="1538"/>
                    </a:lnTo>
                    <a:lnTo>
                      <a:pt x="8204" y="1049"/>
                    </a:lnTo>
                    <a:lnTo>
                      <a:pt x="8409" y="1240"/>
                    </a:lnTo>
                    <a:lnTo>
                      <a:pt x="9137" y="1287"/>
                    </a:lnTo>
                    <a:lnTo>
                      <a:pt x="9930" y="1108"/>
                    </a:lnTo>
                    <a:lnTo>
                      <a:pt x="10454" y="739"/>
                    </a:lnTo>
                    <a:lnTo>
                      <a:pt x="11527" y="310"/>
                    </a:lnTo>
                    <a:lnTo>
                      <a:pt x="12575" y="238"/>
                    </a:lnTo>
                    <a:lnTo>
                      <a:pt x="12383" y="608"/>
                    </a:lnTo>
                    <a:lnTo>
                      <a:pt x="12780" y="429"/>
                    </a:lnTo>
                    <a:lnTo>
                      <a:pt x="12780" y="238"/>
                    </a:lnTo>
                    <a:lnTo>
                      <a:pt x="13380" y="0"/>
                    </a:lnTo>
                    <a:lnTo>
                      <a:pt x="13955" y="310"/>
                    </a:lnTo>
                    <a:lnTo>
                      <a:pt x="15029" y="0"/>
                    </a:lnTo>
                    <a:lnTo>
                      <a:pt x="15157" y="310"/>
                    </a:lnTo>
                    <a:lnTo>
                      <a:pt x="14505" y="608"/>
                    </a:lnTo>
                    <a:lnTo>
                      <a:pt x="15361" y="489"/>
                    </a:lnTo>
                    <a:lnTo>
                      <a:pt x="15284" y="918"/>
                    </a:lnTo>
                    <a:lnTo>
                      <a:pt x="15553" y="799"/>
                    </a:lnTo>
                    <a:lnTo>
                      <a:pt x="15885" y="918"/>
                    </a:lnTo>
                    <a:lnTo>
                      <a:pt x="16204" y="1240"/>
                    </a:lnTo>
                    <a:lnTo>
                      <a:pt x="15885" y="1287"/>
                    </a:lnTo>
                    <a:lnTo>
                      <a:pt x="16153" y="1538"/>
                    </a:lnTo>
                    <a:lnTo>
                      <a:pt x="15885" y="1538"/>
                    </a:lnTo>
                    <a:lnTo>
                      <a:pt x="16358" y="1728"/>
                    </a:lnTo>
                    <a:lnTo>
                      <a:pt x="16013" y="2098"/>
                    </a:lnTo>
                    <a:lnTo>
                      <a:pt x="16882" y="1728"/>
                    </a:lnTo>
                    <a:lnTo>
                      <a:pt x="17214" y="1776"/>
                    </a:lnTo>
                    <a:lnTo>
                      <a:pt x="17406" y="1919"/>
                    </a:lnTo>
                    <a:lnTo>
                      <a:pt x="17610" y="2336"/>
                    </a:lnTo>
                    <a:lnTo>
                      <a:pt x="17610" y="2527"/>
                    </a:lnTo>
                    <a:lnTo>
                      <a:pt x="18134" y="2527"/>
                    </a:lnTo>
                    <a:lnTo>
                      <a:pt x="18466" y="2896"/>
                    </a:lnTo>
                    <a:lnTo>
                      <a:pt x="19182" y="3015"/>
                    </a:lnTo>
                    <a:lnTo>
                      <a:pt x="19987" y="382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2" name="Freeform 27"/>
              <p:cNvSpPr>
                <a:spLocks/>
              </p:cNvSpPr>
              <p:nvPr/>
            </p:nvSpPr>
            <p:spPr bwMode="auto">
              <a:xfrm>
                <a:off x="3463925" y="6083300"/>
                <a:ext cx="47625" cy="42863"/>
              </a:xfrm>
              <a:custGeom>
                <a:avLst/>
                <a:gdLst>
                  <a:gd name="T0" fmla="*/ 4324 w 20000"/>
                  <a:gd name="T1" fmla="*/ 19706 h 20000"/>
                  <a:gd name="T2" fmla="*/ 0 w 20000"/>
                  <a:gd name="T3" fmla="*/ 13529 h 20000"/>
                  <a:gd name="T4" fmla="*/ 4324 w 20000"/>
                  <a:gd name="T5" fmla="*/ 5882 h 20000"/>
                  <a:gd name="T6" fmla="*/ 7027 w 20000"/>
                  <a:gd name="T7" fmla="*/ 0 h 20000"/>
                  <a:gd name="T8" fmla="*/ 11081 w 20000"/>
                  <a:gd name="T9" fmla="*/ 0 h 20000"/>
                  <a:gd name="T10" fmla="*/ 15405 w 20000"/>
                  <a:gd name="T11" fmla="*/ 0 h 20000"/>
                  <a:gd name="T12" fmla="*/ 18378 w 20000"/>
                  <a:gd name="T13" fmla="*/ 4706 h 20000"/>
                  <a:gd name="T14" fmla="*/ 19730 w 20000"/>
                  <a:gd name="T15" fmla="*/ 5882 h 20000"/>
                  <a:gd name="T16" fmla="*/ 11081 w 20000"/>
                  <a:gd name="T17" fmla="*/ 12059 h 20000"/>
                  <a:gd name="T18" fmla="*/ 4324 w 20000"/>
                  <a:gd name="T19" fmla="*/ 1970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4324" y="19706"/>
                    </a:moveTo>
                    <a:lnTo>
                      <a:pt x="0" y="13529"/>
                    </a:lnTo>
                    <a:lnTo>
                      <a:pt x="4324" y="5882"/>
                    </a:lnTo>
                    <a:lnTo>
                      <a:pt x="7027" y="0"/>
                    </a:lnTo>
                    <a:lnTo>
                      <a:pt x="11081" y="0"/>
                    </a:lnTo>
                    <a:lnTo>
                      <a:pt x="15405" y="0"/>
                    </a:lnTo>
                    <a:lnTo>
                      <a:pt x="18378" y="4706"/>
                    </a:lnTo>
                    <a:lnTo>
                      <a:pt x="19730" y="5882"/>
                    </a:lnTo>
                    <a:lnTo>
                      <a:pt x="11081" y="12059"/>
                    </a:lnTo>
                    <a:lnTo>
                      <a:pt x="4324" y="1970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3" name="Freeform 26"/>
              <p:cNvSpPr>
                <a:spLocks/>
              </p:cNvSpPr>
              <p:nvPr/>
            </p:nvSpPr>
            <p:spPr bwMode="auto">
              <a:xfrm>
                <a:off x="3430588" y="6086475"/>
                <a:ext cx="36512" cy="34925"/>
              </a:xfrm>
              <a:custGeom>
                <a:avLst/>
                <a:gdLst>
                  <a:gd name="T0" fmla="*/ 5517 w 20000"/>
                  <a:gd name="T1" fmla="*/ 19630 h 20000"/>
                  <a:gd name="T2" fmla="*/ 0 w 20000"/>
                  <a:gd name="T3" fmla="*/ 15556 h 20000"/>
                  <a:gd name="T4" fmla="*/ 3448 w 20000"/>
                  <a:gd name="T5" fmla="*/ 0 h 20000"/>
                  <a:gd name="T6" fmla="*/ 19655 w 20000"/>
                  <a:gd name="T7" fmla="*/ 0 h 20000"/>
                  <a:gd name="T8" fmla="*/ 14138 w 20000"/>
                  <a:gd name="T9" fmla="*/ 13704 h 20000"/>
                  <a:gd name="T10" fmla="*/ 5517 w 20000"/>
                  <a:gd name="T11" fmla="*/ 19630 h 20000"/>
                </a:gdLst>
                <a:ahLst/>
                <a:cxnLst>
                  <a:cxn ang="0">
                    <a:pos x="T0" y="T1"/>
                  </a:cxn>
                  <a:cxn ang="0">
                    <a:pos x="T2" y="T3"/>
                  </a:cxn>
                  <a:cxn ang="0">
                    <a:pos x="T4" y="T5"/>
                  </a:cxn>
                  <a:cxn ang="0">
                    <a:pos x="T6" y="T7"/>
                  </a:cxn>
                  <a:cxn ang="0">
                    <a:pos x="T8" y="T9"/>
                  </a:cxn>
                  <a:cxn ang="0">
                    <a:pos x="T10" y="T11"/>
                  </a:cxn>
                </a:cxnLst>
                <a:rect l="0" t="0" r="r" b="b"/>
                <a:pathLst>
                  <a:path w="20000" h="20000">
                    <a:moveTo>
                      <a:pt x="5517" y="19630"/>
                    </a:moveTo>
                    <a:lnTo>
                      <a:pt x="0" y="15556"/>
                    </a:lnTo>
                    <a:lnTo>
                      <a:pt x="3448" y="0"/>
                    </a:lnTo>
                    <a:lnTo>
                      <a:pt x="19655" y="0"/>
                    </a:lnTo>
                    <a:lnTo>
                      <a:pt x="14138" y="13704"/>
                    </a:lnTo>
                    <a:lnTo>
                      <a:pt x="5517" y="1963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4" name="Freeform 25"/>
              <p:cNvSpPr>
                <a:spLocks/>
              </p:cNvSpPr>
              <p:nvPr/>
            </p:nvSpPr>
            <p:spPr bwMode="auto">
              <a:xfrm>
                <a:off x="3448050" y="4276725"/>
                <a:ext cx="79375" cy="109538"/>
              </a:xfrm>
              <a:custGeom>
                <a:avLst/>
                <a:gdLst>
                  <a:gd name="T0" fmla="*/ 4960 w 20000"/>
                  <a:gd name="T1" fmla="*/ 0 h 20000"/>
                  <a:gd name="T2" fmla="*/ 11680 w 20000"/>
                  <a:gd name="T3" fmla="*/ 1850 h 20000"/>
                  <a:gd name="T4" fmla="*/ 18240 w 20000"/>
                  <a:gd name="T5" fmla="*/ 6012 h 20000"/>
                  <a:gd name="T6" fmla="*/ 19840 w 20000"/>
                  <a:gd name="T7" fmla="*/ 9017 h 20000"/>
                  <a:gd name="T8" fmla="*/ 17440 w 20000"/>
                  <a:gd name="T9" fmla="*/ 13757 h 20000"/>
                  <a:gd name="T10" fmla="*/ 13280 w 20000"/>
                  <a:gd name="T11" fmla="*/ 18613 h 20000"/>
                  <a:gd name="T12" fmla="*/ 4960 w 20000"/>
                  <a:gd name="T13" fmla="*/ 19884 h 20000"/>
                  <a:gd name="T14" fmla="*/ 0 w 20000"/>
                  <a:gd name="T15" fmla="*/ 17457 h 20000"/>
                  <a:gd name="T16" fmla="*/ 4160 w 20000"/>
                  <a:gd name="T17" fmla="*/ 12601 h 20000"/>
                  <a:gd name="T18" fmla="*/ 2560 w 20000"/>
                  <a:gd name="T19" fmla="*/ 9711 h 20000"/>
                  <a:gd name="T20" fmla="*/ 960 w 20000"/>
                  <a:gd name="T21" fmla="*/ 3121 h 20000"/>
                  <a:gd name="T22" fmla="*/ 4960 w 20000"/>
                  <a:gd name="T23"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4960" y="0"/>
                    </a:moveTo>
                    <a:lnTo>
                      <a:pt x="11680" y="1850"/>
                    </a:lnTo>
                    <a:lnTo>
                      <a:pt x="18240" y="6012"/>
                    </a:lnTo>
                    <a:lnTo>
                      <a:pt x="19840" y="9017"/>
                    </a:lnTo>
                    <a:lnTo>
                      <a:pt x="17440" y="13757"/>
                    </a:lnTo>
                    <a:lnTo>
                      <a:pt x="13280" y="18613"/>
                    </a:lnTo>
                    <a:lnTo>
                      <a:pt x="4960" y="19884"/>
                    </a:lnTo>
                    <a:lnTo>
                      <a:pt x="0" y="17457"/>
                    </a:lnTo>
                    <a:lnTo>
                      <a:pt x="4160" y="12601"/>
                    </a:lnTo>
                    <a:lnTo>
                      <a:pt x="2560" y="9711"/>
                    </a:lnTo>
                    <a:lnTo>
                      <a:pt x="960" y="3121"/>
                    </a:lnTo>
                    <a:lnTo>
                      <a:pt x="4960"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5" name="Freeform 24"/>
              <p:cNvSpPr>
                <a:spLocks/>
              </p:cNvSpPr>
              <p:nvPr/>
            </p:nvSpPr>
            <p:spPr bwMode="auto">
              <a:xfrm>
                <a:off x="3105150" y="3902075"/>
                <a:ext cx="49213" cy="20638"/>
              </a:xfrm>
              <a:custGeom>
                <a:avLst/>
                <a:gdLst>
                  <a:gd name="T0" fmla="*/ 15897 w 20000"/>
                  <a:gd name="T1" fmla="*/ 19375 h 20000"/>
                  <a:gd name="T2" fmla="*/ 0 w 20000"/>
                  <a:gd name="T3" fmla="*/ 13125 h 20000"/>
                  <a:gd name="T4" fmla="*/ 2564 w 20000"/>
                  <a:gd name="T5" fmla="*/ 0 h 20000"/>
                  <a:gd name="T6" fmla="*/ 13077 w 20000"/>
                  <a:gd name="T7" fmla="*/ 3750 h 20000"/>
                  <a:gd name="T8" fmla="*/ 19744 w 20000"/>
                  <a:gd name="T9" fmla="*/ 9375 h 20000"/>
                  <a:gd name="T10" fmla="*/ 15897 w 20000"/>
                  <a:gd name="T11" fmla="*/ 19375 h 20000"/>
                </a:gdLst>
                <a:ahLst/>
                <a:cxnLst>
                  <a:cxn ang="0">
                    <a:pos x="T0" y="T1"/>
                  </a:cxn>
                  <a:cxn ang="0">
                    <a:pos x="T2" y="T3"/>
                  </a:cxn>
                  <a:cxn ang="0">
                    <a:pos x="T4" y="T5"/>
                  </a:cxn>
                  <a:cxn ang="0">
                    <a:pos x="T6" y="T7"/>
                  </a:cxn>
                  <a:cxn ang="0">
                    <a:pos x="T8" y="T9"/>
                  </a:cxn>
                  <a:cxn ang="0">
                    <a:pos x="T10" y="T11"/>
                  </a:cxn>
                </a:cxnLst>
                <a:rect l="0" t="0" r="r" b="b"/>
                <a:pathLst>
                  <a:path w="20000" h="20000">
                    <a:moveTo>
                      <a:pt x="15897" y="19375"/>
                    </a:moveTo>
                    <a:lnTo>
                      <a:pt x="0" y="13125"/>
                    </a:lnTo>
                    <a:lnTo>
                      <a:pt x="2564" y="0"/>
                    </a:lnTo>
                    <a:lnTo>
                      <a:pt x="13077" y="3750"/>
                    </a:lnTo>
                    <a:lnTo>
                      <a:pt x="19744" y="9375"/>
                    </a:lnTo>
                    <a:lnTo>
                      <a:pt x="15897" y="1937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6" name="Freeform 23"/>
              <p:cNvSpPr>
                <a:spLocks/>
              </p:cNvSpPr>
              <p:nvPr/>
            </p:nvSpPr>
            <p:spPr bwMode="auto">
              <a:xfrm>
                <a:off x="8132763" y="4786313"/>
                <a:ext cx="1122362" cy="1016000"/>
              </a:xfrm>
              <a:custGeom>
                <a:avLst/>
                <a:gdLst>
                  <a:gd name="T0" fmla="*/ 14420 w 20000"/>
                  <a:gd name="T1" fmla="*/ 19150 h 20000"/>
                  <a:gd name="T2" fmla="*/ 13956 w 20000"/>
                  <a:gd name="T3" fmla="*/ 19025 h 20000"/>
                  <a:gd name="T4" fmla="*/ 12779 w 20000"/>
                  <a:gd name="T5" fmla="*/ 19275 h 20000"/>
                  <a:gd name="T6" fmla="*/ 11964 w 20000"/>
                  <a:gd name="T7" fmla="*/ 18638 h 20000"/>
                  <a:gd name="T8" fmla="*/ 11851 w 20000"/>
                  <a:gd name="T9" fmla="*/ 16825 h 20000"/>
                  <a:gd name="T10" fmla="*/ 11545 w 20000"/>
                  <a:gd name="T11" fmla="*/ 16313 h 20000"/>
                  <a:gd name="T12" fmla="*/ 10730 w 20000"/>
                  <a:gd name="T13" fmla="*/ 16563 h 20000"/>
                  <a:gd name="T14" fmla="*/ 11500 w 20000"/>
                  <a:gd name="T15" fmla="*/ 15075 h 20000"/>
                  <a:gd name="T16" fmla="*/ 11081 w 20000"/>
                  <a:gd name="T17" fmla="*/ 15275 h 20000"/>
                  <a:gd name="T18" fmla="*/ 10141 w 20000"/>
                  <a:gd name="T19" fmla="*/ 16238 h 20000"/>
                  <a:gd name="T20" fmla="*/ 9859 w 20000"/>
                  <a:gd name="T21" fmla="*/ 14938 h 20000"/>
                  <a:gd name="T22" fmla="*/ 9677 w 20000"/>
                  <a:gd name="T23" fmla="*/ 14225 h 20000"/>
                  <a:gd name="T24" fmla="*/ 8444 w 20000"/>
                  <a:gd name="T25" fmla="*/ 13525 h 20000"/>
                  <a:gd name="T26" fmla="*/ 5048 w 20000"/>
                  <a:gd name="T27" fmla="*/ 14225 h 20000"/>
                  <a:gd name="T28" fmla="*/ 4097 w 20000"/>
                  <a:gd name="T29" fmla="*/ 15075 h 20000"/>
                  <a:gd name="T30" fmla="*/ 2637 w 20000"/>
                  <a:gd name="T31" fmla="*/ 14938 h 20000"/>
                  <a:gd name="T32" fmla="*/ 1177 w 20000"/>
                  <a:gd name="T33" fmla="*/ 15725 h 20000"/>
                  <a:gd name="T34" fmla="*/ 113 w 20000"/>
                  <a:gd name="T35" fmla="*/ 14688 h 20000"/>
                  <a:gd name="T36" fmla="*/ 770 w 20000"/>
                  <a:gd name="T37" fmla="*/ 13525 h 20000"/>
                  <a:gd name="T38" fmla="*/ 294 w 20000"/>
                  <a:gd name="T39" fmla="*/ 10875 h 20000"/>
                  <a:gd name="T40" fmla="*/ 181 w 20000"/>
                  <a:gd name="T41" fmla="*/ 9775 h 20000"/>
                  <a:gd name="T42" fmla="*/ 294 w 20000"/>
                  <a:gd name="T43" fmla="*/ 9450 h 20000"/>
                  <a:gd name="T44" fmla="*/ 294 w 20000"/>
                  <a:gd name="T45" fmla="*/ 8275 h 20000"/>
                  <a:gd name="T46" fmla="*/ 883 w 20000"/>
                  <a:gd name="T47" fmla="*/ 6613 h 20000"/>
                  <a:gd name="T48" fmla="*/ 1709 w 20000"/>
                  <a:gd name="T49" fmla="*/ 6275 h 20000"/>
                  <a:gd name="T50" fmla="*/ 3407 w 20000"/>
                  <a:gd name="T51" fmla="*/ 5700 h 20000"/>
                  <a:gd name="T52" fmla="*/ 5093 w 20000"/>
                  <a:gd name="T53" fmla="*/ 4338 h 20000"/>
                  <a:gd name="T54" fmla="*/ 5693 w 20000"/>
                  <a:gd name="T55" fmla="*/ 3550 h 20000"/>
                  <a:gd name="T56" fmla="*/ 5863 w 20000"/>
                  <a:gd name="T57" fmla="*/ 3238 h 20000"/>
                  <a:gd name="T58" fmla="*/ 6452 w 20000"/>
                  <a:gd name="T59" fmla="*/ 3363 h 20000"/>
                  <a:gd name="T60" fmla="*/ 6621 w 20000"/>
                  <a:gd name="T61" fmla="*/ 2838 h 20000"/>
                  <a:gd name="T62" fmla="*/ 7040 w 20000"/>
                  <a:gd name="T63" fmla="*/ 2138 h 20000"/>
                  <a:gd name="T64" fmla="*/ 7799 w 20000"/>
                  <a:gd name="T65" fmla="*/ 1688 h 20000"/>
                  <a:gd name="T66" fmla="*/ 8444 w 20000"/>
                  <a:gd name="T67" fmla="*/ 2450 h 20000"/>
                  <a:gd name="T68" fmla="*/ 9032 w 20000"/>
                  <a:gd name="T69" fmla="*/ 2525 h 20000"/>
                  <a:gd name="T70" fmla="*/ 9372 w 20000"/>
                  <a:gd name="T71" fmla="*/ 1613 h 20000"/>
                  <a:gd name="T72" fmla="*/ 9859 w 20000"/>
                  <a:gd name="T73" fmla="*/ 838 h 20000"/>
                  <a:gd name="T74" fmla="*/ 10323 w 20000"/>
                  <a:gd name="T75" fmla="*/ 263 h 20000"/>
                  <a:gd name="T76" fmla="*/ 11319 w 20000"/>
                  <a:gd name="T77" fmla="*/ 638 h 20000"/>
                  <a:gd name="T78" fmla="*/ 12315 w 20000"/>
                  <a:gd name="T79" fmla="*/ 838 h 20000"/>
                  <a:gd name="T80" fmla="*/ 12722 w 20000"/>
                  <a:gd name="T81" fmla="*/ 838 h 20000"/>
                  <a:gd name="T82" fmla="*/ 12541 w 20000"/>
                  <a:gd name="T83" fmla="*/ 1350 h 20000"/>
                  <a:gd name="T84" fmla="*/ 11964 w 20000"/>
                  <a:gd name="T85" fmla="*/ 2525 h 20000"/>
                  <a:gd name="T86" fmla="*/ 13073 w 20000"/>
                  <a:gd name="T87" fmla="*/ 3688 h 20000"/>
                  <a:gd name="T88" fmla="*/ 14488 w 20000"/>
                  <a:gd name="T89" fmla="*/ 4213 h 20000"/>
                  <a:gd name="T90" fmla="*/ 15065 w 20000"/>
                  <a:gd name="T91" fmla="*/ 1488 h 20000"/>
                  <a:gd name="T92" fmla="*/ 15484 w 20000"/>
                  <a:gd name="T93" fmla="*/ 263 h 20000"/>
                  <a:gd name="T94" fmla="*/ 15948 w 20000"/>
                  <a:gd name="T95" fmla="*/ 775 h 20000"/>
                  <a:gd name="T96" fmla="*/ 16129 w 20000"/>
                  <a:gd name="T97" fmla="*/ 1888 h 20000"/>
                  <a:gd name="T98" fmla="*/ 16887 w 20000"/>
                  <a:gd name="T99" fmla="*/ 2650 h 20000"/>
                  <a:gd name="T100" fmla="*/ 17170 w 20000"/>
                  <a:gd name="T101" fmla="*/ 4725 h 20000"/>
                  <a:gd name="T102" fmla="*/ 17816 w 20000"/>
                  <a:gd name="T103" fmla="*/ 5750 h 20000"/>
                  <a:gd name="T104" fmla="*/ 18166 w 20000"/>
                  <a:gd name="T105" fmla="*/ 6413 h 20000"/>
                  <a:gd name="T106" fmla="*/ 18766 w 20000"/>
                  <a:gd name="T107" fmla="*/ 7763 h 20000"/>
                  <a:gd name="T108" fmla="*/ 19162 w 20000"/>
                  <a:gd name="T109" fmla="*/ 8275 h 20000"/>
                  <a:gd name="T110" fmla="*/ 19638 w 20000"/>
                  <a:gd name="T111" fmla="*/ 9250 h 20000"/>
                  <a:gd name="T112" fmla="*/ 19808 w 20000"/>
                  <a:gd name="T113" fmla="*/ 11188 h 20000"/>
                  <a:gd name="T114" fmla="*/ 18879 w 20000"/>
                  <a:gd name="T115" fmla="*/ 14688 h 20000"/>
                  <a:gd name="T116" fmla="*/ 18121 w 20000"/>
                  <a:gd name="T117" fmla="*/ 16038 h 20000"/>
                  <a:gd name="T118" fmla="*/ 16299 w 20000"/>
                  <a:gd name="T119" fmla="*/ 19025 h 20000"/>
                  <a:gd name="T120" fmla="*/ 14714 w 20000"/>
                  <a:gd name="T121" fmla="*/ 1998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00" h="20000">
                    <a:moveTo>
                      <a:pt x="14714" y="19988"/>
                    </a:moveTo>
                    <a:lnTo>
                      <a:pt x="14488" y="19613"/>
                    </a:lnTo>
                    <a:lnTo>
                      <a:pt x="14420" y="19475"/>
                    </a:lnTo>
                    <a:lnTo>
                      <a:pt x="14420" y="19350"/>
                    </a:lnTo>
                    <a:lnTo>
                      <a:pt x="14420" y="19150"/>
                    </a:lnTo>
                    <a:lnTo>
                      <a:pt x="14137" y="19350"/>
                    </a:lnTo>
                    <a:lnTo>
                      <a:pt x="14024" y="19350"/>
                    </a:lnTo>
                    <a:lnTo>
                      <a:pt x="14250" y="19150"/>
                    </a:lnTo>
                    <a:lnTo>
                      <a:pt x="14250" y="18950"/>
                    </a:lnTo>
                    <a:lnTo>
                      <a:pt x="13956" y="19025"/>
                    </a:lnTo>
                    <a:lnTo>
                      <a:pt x="14024" y="19025"/>
                    </a:lnTo>
                    <a:lnTo>
                      <a:pt x="14024" y="19275"/>
                    </a:lnTo>
                    <a:lnTo>
                      <a:pt x="13367" y="19663"/>
                    </a:lnTo>
                    <a:lnTo>
                      <a:pt x="13073" y="19350"/>
                    </a:lnTo>
                    <a:lnTo>
                      <a:pt x="12779" y="19275"/>
                    </a:lnTo>
                    <a:lnTo>
                      <a:pt x="12609" y="19025"/>
                    </a:lnTo>
                    <a:lnTo>
                      <a:pt x="12541" y="19150"/>
                    </a:lnTo>
                    <a:lnTo>
                      <a:pt x="12247" y="18950"/>
                    </a:lnTo>
                    <a:lnTo>
                      <a:pt x="12020" y="18825"/>
                    </a:lnTo>
                    <a:lnTo>
                      <a:pt x="11964" y="18638"/>
                    </a:lnTo>
                    <a:lnTo>
                      <a:pt x="11783" y="18313"/>
                    </a:lnTo>
                    <a:lnTo>
                      <a:pt x="11783" y="17988"/>
                    </a:lnTo>
                    <a:lnTo>
                      <a:pt x="11964" y="17600"/>
                    </a:lnTo>
                    <a:lnTo>
                      <a:pt x="11669" y="16950"/>
                    </a:lnTo>
                    <a:lnTo>
                      <a:pt x="11851" y="16825"/>
                    </a:lnTo>
                    <a:lnTo>
                      <a:pt x="11851" y="16750"/>
                    </a:lnTo>
                    <a:lnTo>
                      <a:pt x="11545" y="16750"/>
                    </a:lnTo>
                    <a:lnTo>
                      <a:pt x="11319" y="16825"/>
                    </a:lnTo>
                    <a:lnTo>
                      <a:pt x="11500" y="16625"/>
                    </a:lnTo>
                    <a:lnTo>
                      <a:pt x="11545" y="16313"/>
                    </a:lnTo>
                    <a:lnTo>
                      <a:pt x="11500" y="15725"/>
                    </a:lnTo>
                    <a:lnTo>
                      <a:pt x="11319" y="15913"/>
                    </a:lnTo>
                    <a:lnTo>
                      <a:pt x="11081" y="16438"/>
                    </a:lnTo>
                    <a:lnTo>
                      <a:pt x="10900" y="16438"/>
                    </a:lnTo>
                    <a:lnTo>
                      <a:pt x="10730" y="16563"/>
                    </a:lnTo>
                    <a:lnTo>
                      <a:pt x="10787" y="16313"/>
                    </a:lnTo>
                    <a:lnTo>
                      <a:pt x="11024" y="16313"/>
                    </a:lnTo>
                    <a:lnTo>
                      <a:pt x="11081" y="15788"/>
                    </a:lnTo>
                    <a:lnTo>
                      <a:pt x="11364" y="15400"/>
                    </a:lnTo>
                    <a:lnTo>
                      <a:pt x="11500" y="15075"/>
                    </a:lnTo>
                    <a:lnTo>
                      <a:pt x="11545" y="14938"/>
                    </a:lnTo>
                    <a:lnTo>
                      <a:pt x="11545" y="14425"/>
                    </a:lnTo>
                    <a:lnTo>
                      <a:pt x="11500" y="14888"/>
                    </a:lnTo>
                    <a:lnTo>
                      <a:pt x="11364" y="14888"/>
                    </a:lnTo>
                    <a:lnTo>
                      <a:pt x="11081" y="15275"/>
                    </a:lnTo>
                    <a:lnTo>
                      <a:pt x="10787" y="15463"/>
                    </a:lnTo>
                    <a:lnTo>
                      <a:pt x="10436" y="15788"/>
                    </a:lnTo>
                    <a:lnTo>
                      <a:pt x="10255" y="16038"/>
                    </a:lnTo>
                    <a:lnTo>
                      <a:pt x="10323" y="16238"/>
                    </a:lnTo>
                    <a:lnTo>
                      <a:pt x="10141" y="16238"/>
                    </a:lnTo>
                    <a:lnTo>
                      <a:pt x="10085" y="16038"/>
                    </a:lnTo>
                    <a:lnTo>
                      <a:pt x="10085" y="15913"/>
                    </a:lnTo>
                    <a:lnTo>
                      <a:pt x="10085" y="15600"/>
                    </a:lnTo>
                    <a:lnTo>
                      <a:pt x="9972" y="15275"/>
                    </a:lnTo>
                    <a:lnTo>
                      <a:pt x="9859" y="14938"/>
                    </a:lnTo>
                    <a:lnTo>
                      <a:pt x="9677" y="14888"/>
                    </a:lnTo>
                    <a:lnTo>
                      <a:pt x="9677" y="14550"/>
                    </a:lnTo>
                    <a:lnTo>
                      <a:pt x="9791" y="14425"/>
                    </a:lnTo>
                    <a:lnTo>
                      <a:pt x="9553" y="14375"/>
                    </a:lnTo>
                    <a:lnTo>
                      <a:pt x="9677" y="14225"/>
                    </a:lnTo>
                    <a:lnTo>
                      <a:pt x="9496" y="14038"/>
                    </a:lnTo>
                    <a:lnTo>
                      <a:pt x="9327" y="14100"/>
                    </a:lnTo>
                    <a:lnTo>
                      <a:pt x="9089" y="13913"/>
                    </a:lnTo>
                    <a:lnTo>
                      <a:pt x="8908" y="13913"/>
                    </a:lnTo>
                    <a:lnTo>
                      <a:pt x="8444" y="13525"/>
                    </a:lnTo>
                    <a:lnTo>
                      <a:pt x="7980" y="13588"/>
                    </a:lnTo>
                    <a:lnTo>
                      <a:pt x="7097" y="13713"/>
                    </a:lnTo>
                    <a:lnTo>
                      <a:pt x="6271" y="14038"/>
                    </a:lnTo>
                    <a:lnTo>
                      <a:pt x="5806" y="13913"/>
                    </a:lnTo>
                    <a:lnTo>
                      <a:pt x="5048" y="14225"/>
                    </a:lnTo>
                    <a:lnTo>
                      <a:pt x="4743" y="14425"/>
                    </a:lnTo>
                    <a:lnTo>
                      <a:pt x="4584" y="14750"/>
                    </a:lnTo>
                    <a:lnTo>
                      <a:pt x="4460" y="14938"/>
                    </a:lnTo>
                    <a:lnTo>
                      <a:pt x="4165" y="15075"/>
                    </a:lnTo>
                    <a:lnTo>
                      <a:pt x="4097" y="15075"/>
                    </a:lnTo>
                    <a:lnTo>
                      <a:pt x="3814" y="15075"/>
                    </a:lnTo>
                    <a:lnTo>
                      <a:pt x="3633" y="15200"/>
                    </a:lnTo>
                    <a:lnTo>
                      <a:pt x="3520" y="14938"/>
                    </a:lnTo>
                    <a:lnTo>
                      <a:pt x="2932" y="14888"/>
                    </a:lnTo>
                    <a:lnTo>
                      <a:pt x="2637" y="14938"/>
                    </a:lnTo>
                    <a:lnTo>
                      <a:pt x="2173" y="15200"/>
                    </a:lnTo>
                    <a:lnTo>
                      <a:pt x="2105" y="15275"/>
                    </a:lnTo>
                    <a:lnTo>
                      <a:pt x="1822" y="15400"/>
                    </a:lnTo>
                    <a:lnTo>
                      <a:pt x="1415" y="15600"/>
                    </a:lnTo>
                    <a:lnTo>
                      <a:pt x="1177" y="15725"/>
                    </a:lnTo>
                    <a:lnTo>
                      <a:pt x="770" y="15725"/>
                    </a:lnTo>
                    <a:lnTo>
                      <a:pt x="464" y="15463"/>
                    </a:lnTo>
                    <a:lnTo>
                      <a:pt x="294" y="15200"/>
                    </a:lnTo>
                    <a:lnTo>
                      <a:pt x="0" y="15075"/>
                    </a:lnTo>
                    <a:lnTo>
                      <a:pt x="113" y="14688"/>
                    </a:lnTo>
                    <a:lnTo>
                      <a:pt x="181" y="14688"/>
                    </a:lnTo>
                    <a:lnTo>
                      <a:pt x="419" y="14550"/>
                    </a:lnTo>
                    <a:lnTo>
                      <a:pt x="464" y="14038"/>
                    </a:lnTo>
                    <a:lnTo>
                      <a:pt x="589" y="14038"/>
                    </a:lnTo>
                    <a:lnTo>
                      <a:pt x="770" y="13525"/>
                    </a:lnTo>
                    <a:lnTo>
                      <a:pt x="702" y="13075"/>
                    </a:lnTo>
                    <a:lnTo>
                      <a:pt x="464" y="12225"/>
                    </a:lnTo>
                    <a:lnTo>
                      <a:pt x="589" y="11513"/>
                    </a:lnTo>
                    <a:lnTo>
                      <a:pt x="464" y="11125"/>
                    </a:lnTo>
                    <a:lnTo>
                      <a:pt x="294" y="10875"/>
                    </a:lnTo>
                    <a:lnTo>
                      <a:pt x="419" y="10475"/>
                    </a:lnTo>
                    <a:lnTo>
                      <a:pt x="181" y="10038"/>
                    </a:lnTo>
                    <a:lnTo>
                      <a:pt x="0" y="9450"/>
                    </a:lnTo>
                    <a:lnTo>
                      <a:pt x="113" y="9450"/>
                    </a:lnTo>
                    <a:lnTo>
                      <a:pt x="181" y="9775"/>
                    </a:lnTo>
                    <a:lnTo>
                      <a:pt x="294" y="9775"/>
                    </a:lnTo>
                    <a:lnTo>
                      <a:pt x="181" y="9450"/>
                    </a:lnTo>
                    <a:lnTo>
                      <a:pt x="181" y="9125"/>
                    </a:lnTo>
                    <a:lnTo>
                      <a:pt x="294" y="9250"/>
                    </a:lnTo>
                    <a:lnTo>
                      <a:pt x="294" y="9450"/>
                    </a:lnTo>
                    <a:lnTo>
                      <a:pt x="419" y="9450"/>
                    </a:lnTo>
                    <a:lnTo>
                      <a:pt x="464" y="9650"/>
                    </a:lnTo>
                    <a:lnTo>
                      <a:pt x="464" y="9250"/>
                    </a:lnTo>
                    <a:lnTo>
                      <a:pt x="419" y="8988"/>
                    </a:lnTo>
                    <a:lnTo>
                      <a:pt x="294" y="8275"/>
                    </a:lnTo>
                    <a:lnTo>
                      <a:pt x="294" y="8088"/>
                    </a:lnTo>
                    <a:lnTo>
                      <a:pt x="464" y="7638"/>
                    </a:lnTo>
                    <a:lnTo>
                      <a:pt x="589" y="7250"/>
                    </a:lnTo>
                    <a:lnTo>
                      <a:pt x="702" y="6925"/>
                    </a:lnTo>
                    <a:lnTo>
                      <a:pt x="883" y="6613"/>
                    </a:lnTo>
                    <a:lnTo>
                      <a:pt x="770" y="7050"/>
                    </a:lnTo>
                    <a:lnTo>
                      <a:pt x="883" y="7050"/>
                    </a:lnTo>
                    <a:lnTo>
                      <a:pt x="1064" y="6613"/>
                    </a:lnTo>
                    <a:lnTo>
                      <a:pt x="1347" y="6538"/>
                    </a:lnTo>
                    <a:lnTo>
                      <a:pt x="1709" y="6275"/>
                    </a:lnTo>
                    <a:lnTo>
                      <a:pt x="2286" y="5950"/>
                    </a:lnTo>
                    <a:lnTo>
                      <a:pt x="2592" y="5950"/>
                    </a:lnTo>
                    <a:lnTo>
                      <a:pt x="2875" y="5750"/>
                    </a:lnTo>
                    <a:lnTo>
                      <a:pt x="3169" y="5750"/>
                    </a:lnTo>
                    <a:lnTo>
                      <a:pt x="3407" y="5700"/>
                    </a:lnTo>
                    <a:lnTo>
                      <a:pt x="3701" y="5563"/>
                    </a:lnTo>
                    <a:lnTo>
                      <a:pt x="4584" y="5175"/>
                    </a:lnTo>
                    <a:lnTo>
                      <a:pt x="4867" y="4600"/>
                    </a:lnTo>
                    <a:lnTo>
                      <a:pt x="5093" y="4525"/>
                    </a:lnTo>
                    <a:lnTo>
                      <a:pt x="5093" y="4338"/>
                    </a:lnTo>
                    <a:lnTo>
                      <a:pt x="5093" y="4013"/>
                    </a:lnTo>
                    <a:lnTo>
                      <a:pt x="5399" y="3550"/>
                    </a:lnTo>
                    <a:lnTo>
                      <a:pt x="5512" y="3363"/>
                    </a:lnTo>
                    <a:lnTo>
                      <a:pt x="5625" y="3363"/>
                    </a:lnTo>
                    <a:lnTo>
                      <a:pt x="5693" y="3550"/>
                    </a:lnTo>
                    <a:lnTo>
                      <a:pt x="5863" y="4013"/>
                    </a:lnTo>
                    <a:lnTo>
                      <a:pt x="5863" y="3688"/>
                    </a:lnTo>
                    <a:lnTo>
                      <a:pt x="6089" y="3825"/>
                    </a:lnTo>
                    <a:lnTo>
                      <a:pt x="5976" y="3550"/>
                    </a:lnTo>
                    <a:lnTo>
                      <a:pt x="5863" y="3238"/>
                    </a:lnTo>
                    <a:lnTo>
                      <a:pt x="5976" y="3163"/>
                    </a:lnTo>
                    <a:lnTo>
                      <a:pt x="6089" y="3363"/>
                    </a:lnTo>
                    <a:lnTo>
                      <a:pt x="6157" y="3238"/>
                    </a:lnTo>
                    <a:lnTo>
                      <a:pt x="6271" y="3363"/>
                    </a:lnTo>
                    <a:lnTo>
                      <a:pt x="6452" y="3363"/>
                    </a:lnTo>
                    <a:lnTo>
                      <a:pt x="6338" y="3363"/>
                    </a:lnTo>
                    <a:lnTo>
                      <a:pt x="6338" y="3163"/>
                    </a:lnTo>
                    <a:lnTo>
                      <a:pt x="6338" y="2988"/>
                    </a:lnTo>
                    <a:lnTo>
                      <a:pt x="6565" y="2713"/>
                    </a:lnTo>
                    <a:lnTo>
                      <a:pt x="6621" y="2838"/>
                    </a:lnTo>
                    <a:lnTo>
                      <a:pt x="6621" y="2650"/>
                    </a:lnTo>
                    <a:lnTo>
                      <a:pt x="6735" y="2525"/>
                    </a:lnTo>
                    <a:lnTo>
                      <a:pt x="6916" y="2650"/>
                    </a:lnTo>
                    <a:lnTo>
                      <a:pt x="6735" y="2325"/>
                    </a:lnTo>
                    <a:lnTo>
                      <a:pt x="7040" y="2138"/>
                    </a:lnTo>
                    <a:lnTo>
                      <a:pt x="7097" y="2325"/>
                    </a:lnTo>
                    <a:lnTo>
                      <a:pt x="7391" y="1888"/>
                    </a:lnTo>
                    <a:lnTo>
                      <a:pt x="7504" y="1813"/>
                    </a:lnTo>
                    <a:lnTo>
                      <a:pt x="7561" y="2013"/>
                    </a:lnTo>
                    <a:lnTo>
                      <a:pt x="7799" y="1688"/>
                    </a:lnTo>
                    <a:lnTo>
                      <a:pt x="7866" y="1888"/>
                    </a:lnTo>
                    <a:lnTo>
                      <a:pt x="8331" y="2325"/>
                    </a:lnTo>
                    <a:lnTo>
                      <a:pt x="8149" y="2525"/>
                    </a:lnTo>
                    <a:lnTo>
                      <a:pt x="8263" y="2713"/>
                    </a:lnTo>
                    <a:lnTo>
                      <a:pt x="8444" y="2450"/>
                    </a:lnTo>
                    <a:lnTo>
                      <a:pt x="8613" y="2525"/>
                    </a:lnTo>
                    <a:lnTo>
                      <a:pt x="8795" y="2650"/>
                    </a:lnTo>
                    <a:lnTo>
                      <a:pt x="8908" y="2525"/>
                    </a:lnTo>
                    <a:lnTo>
                      <a:pt x="9089" y="2713"/>
                    </a:lnTo>
                    <a:lnTo>
                      <a:pt x="9032" y="2525"/>
                    </a:lnTo>
                    <a:lnTo>
                      <a:pt x="9089" y="2525"/>
                    </a:lnTo>
                    <a:lnTo>
                      <a:pt x="8908" y="2138"/>
                    </a:lnTo>
                    <a:lnTo>
                      <a:pt x="9089" y="1888"/>
                    </a:lnTo>
                    <a:lnTo>
                      <a:pt x="9213" y="1613"/>
                    </a:lnTo>
                    <a:lnTo>
                      <a:pt x="9372" y="1613"/>
                    </a:lnTo>
                    <a:lnTo>
                      <a:pt x="9327" y="1300"/>
                    </a:lnTo>
                    <a:lnTo>
                      <a:pt x="9553" y="1100"/>
                    </a:lnTo>
                    <a:lnTo>
                      <a:pt x="9791" y="1100"/>
                    </a:lnTo>
                    <a:lnTo>
                      <a:pt x="9791" y="975"/>
                    </a:lnTo>
                    <a:lnTo>
                      <a:pt x="9859" y="838"/>
                    </a:lnTo>
                    <a:lnTo>
                      <a:pt x="10549" y="838"/>
                    </a:lnTo>
                    <a:lnTo>
                      <a:pt x="10617" y="838"/>
                    </a:lnTo>
                    <a:lnTo>
                      <a:pt x="10549" y="463"/>
                    </a:lnTo>
                    <a:lnTo>
                      <a:pt x="10436" y="463"/>
                    </a:lnTo>
                    <a:lnTo>
                      <a:pt x="10323" y="263"/>
                    </a:lnTo>
                    <a:lnTo>
                      <a:pt x="10549" y="263"/>
                    </a:lnTo>
                    <a:lnTo>
                      <a:pt x="10730" y="325"/>
                    </a:lnTo>
                    <a:lnTo>
                      <a:pt x="10787" y="325"/>
                    </a:lnTo>
                    <a:lnTo>
                      <a:pt x="10900" y="513"/>
                    </a:lnTo>
                    <a:lnTo>
                      <a:pt x="11319" y="638"/>
                    </a:lnTo>
                    <a:lnTo>
                      <a:pt x="11364" y="775"/>
                    </a:lnTo>
                    <a:lnTo>
                      <a:pt x="11669" y="775"/>
                    </a:lnTo>
                    <a:lnTo>
                      <a:pt x="11851" y="838"/>
                    </a:lnTo>
                    <a:lnTo>
                      <a:pt x="12134" y="775"/>
                    </a:lnTo>
                    <a:lnTo>
                      <a:pt x="12315" y="838"/>
                    </a:lnTo>
                    <a:lnTo>
                      <a:pt x="12428" y="975"/>
                    </a:lnTo>
                    <a:lnTo>
                      <a:pt x="12541" y="1100"/>
                    </a:lnTo>
                    <a:lnTo>
                      <a:pt x="12428" y="838"/>
                    </a:lnTo>
                    <a:lnTo>
                      <a:pt x="12609" y="775"/>
                    </a:lnTo>
                    <a:lnTo>
                      <a:pt x="12722" y="838"/>
                    </a:lnTo>
                    <a:lnTo>
                      <a:pt x="12779" y="975"/>
                    </a:lnTo>
                    <a:lnTo>
                      <a:pt x="12609" y="1175"/>
                    </a:lnTo>
                    <a:lnTo>
                      <a:pt x="12609" y="1300"/>
                    </a:lnTo>
                    <a:lnTo>
                      <a:pt x="12541" y="1488"/>
                    </a:lnTo>
                    <a:lnTo>
                      <a:pt x="12541" y="1350"/>
                    </a:lnTo>
                    <a:lnTo>
                      <a:pt x="12315" y="1488"/>
                    </a:lnTo>
                    <a:lnTo>
                      <a:pt x="12247" y="1688"/>
                    </a:lnTo>
                    <a:lnTo>
                      <a:pt x="12247" y="1813"/>
                    </a:lnTo>
                    <a:lnTo>
                      <a:pt x="12247" y="2013"/>
                    </a:lnTo>
                    <a:lnTo>
                      <a:pt x="11964" y="2525"/>
                    </a:lnTo>
                    <a:lnTo>
                      <a:pt x="12247" y="2838"/>
                    </a:lnTo>
                    <a:lnTo>
                      <a:pt x="12315" y="2988"/>
                    </a:lnTo>
                    <a:lnTo>
                      <a:pt x="12541" y="3038"/>
                    </a:lnTo>
                    <a:lnTo>
                      <a:pt x="12609" y="3238"/>
                    </a:lnTo>
                    <a:lnTo>
                      <a:pt x="13073" y="3688"/>
                    </a:lnTo>
                    <a:lnTo>
                      <a:pt x="13662" y="3825"/>
                    </a:lnTo>
                    <a:lnTo>
                      <a:pt x="13662" y="4075"/>
                    </a:lnTo>
                    <a:lnTo>
                      <a:pt x="14137" y="4338"/>
                    </a:lnTo>
                    <a:lnTo>
                      <a:pt x="14307" y="4338"/>
                    </a:lnTo>
                    <a:lnTo>
                      <a:pt x="14488" y="4213"/>
                    </a:lnTo>
                    <a:lnTo>
                      <a:pt x="14771" y="3550"/>
                    </a:lnTo>
                    <a:lnTo>
                      <a:pt x="15065" y="2450"/>
                    </a:lnTo>
                    <a:lnTo>
                      <a:pt x="15065" y="1888"/>
                    </a:lnTo>
                    <a:lnTo>
                      <a:pt x="15178" y="1688"/>
                    </a:lnTo>
                    <a:lnTo>
                      <a:pt x="15065" y="1488"/>
                    </a:lnTo>
                    <a:lnTo>
                      <a:pt x="15246" y="1175"/>
                    </a:lnTo>
                    <a:lnTo>
                      <a:pt x="15178" y="1100"/>
                    </a:lnTo>
                    <a:lnTo>
                      <a:pt x="15246" y="838"/>
                    </a:lnTo>
                    <a:lnTo>
                      <a:pt x="15359" y="838"/>
                    </a:lnTo>
                    <a:lnTo>
                      <a:pt x="15484" y="263"/>
                    </a:lnTo>
                    <a:lnTo>
                      <a:pt x="15710" y="0"/>
                    </a:lnTo>
                    <a:lnTo>
                      <a:pt x="15710" y="125"/>
                    </a:lnTo>
                    <a:lnTo>
                      <a:pt x="15835" y="325"/>
                    </a:lnTo>
                    <a:lnTo>
                      <a:pt x="15835" y="775"/>
                    </a:lnTo>
                    <a:lnTo>
                      <a:pt x="15948" y="775"/>
                    </a:lnTo>
                    <a:lnTo>
                      <a:pt x="15948" y="975"/>
                    </a:lnTo>
                    <a:lnTo>
                      <a:pt x="16005" y="1100"/>
                    </a:lnTo>
                    <a:lnTo>
                      <a:pt x="16005" y="1350"/>
                    </a:lnTo>
                    <a:lnTo>
                      <a:pt x="16129" y="1350"/>
                    </a:lnTo>
                    <a:lnTo>
                      <a:pt x="16129" y="1888"/>
                    </a:lnTo>
                    <a:lnTo>
                      <a:pt x="16242" y="2450"/>
                    </a:lnTo>
                    <a:lnTo>
                      <a:pt x="16299" y="2325"/>
                    </a:lnTo>
                    <a:lnTo>
                      <a:pt x="16480" y="2138"/>
                    </a:lnTo>
                    <a:lnTo>
                      <a:pt x="16593" y="2450"/>
                    </a:lnTo>
                    <a:lnTo>
                      <a:pt x="16887" y="2650"/>
                    </a:lnTo>
                    <a:lnTo>
                      <a:pt x="16887" y="3363"/>
                    </a:lnTo>
                    <a:lnTo>
                      <a:pt x="16887" y="3550"/>
                    </a:lnTo>
                    <a:lnTo>
                      <a:pt x="17057" y="3888"/>
                    </a:lnTo>
                    <a:lnTo>
                      <a:pt x="17170" y="4400"/>
                    </a:lnTo>
                    <a:lnTo>
                      <a:pt x="17170" y="4725"/>
                    </a:lnTo>
                    <a:lnTo>
                      <a:pt x="17170" y="4925"/>
                    </a:lnTo>
                    <a:lnTo>
                      <a:pt x="17238" y="5175"/>
                    </a:lnTo>
                    <a:lnTo>
                      <a:pt x="17476" y="5438"/>
                    </a:lnTo>
                    <a:lnTo>
                      <a:pt x="17702" y="5438"/>
                    </a:lnTo>
                    <a:lnTo>
                      <a:pt x="17816" y="5750"/>
                    </a:lnTo>
                    <a:lnTo>
                      <a:pt x="17940" y="5750"/>
                    </a:lnTo>
                    <a:lnTo>
                      <a:pt x="18166" y="5950"/>
                    </a:lnTo>
                    <a:lnTo>
                      <a:pt x="18291" y="6213"/>
                    </a:lnTo>
                    <a:lnTo>
                      <a:pt x="18415" y="6275"/>
                    </a:lnTo>
                    <a:lnTo>
                      <a:pt x="18166" y="6413"/>
                    </a:lnTo>
                    <a:lnTo>
                      <a:pt x="18291" y="6613"/>
                    </a:lnTo>
                    <a:lnTo>
                      <a:pt x="18472" y="6925"/>
                    </a:lnTo>
                    <a:lnTo>
                      <a:pt x="18472" y="7050"/>
                    </a:lnTo>
                    <a:lnTo>
                      <a:pt x="18698" y="7638"/>
                    </a:lnTo>
                    <a:lnTo>
                      <a:pt x="18766" y="7763"/>
                    </a:lnTo>
                    <a:lnTo>
                      <a:pt x="18766" y="7313"/>
                    </a:lnTo>
                    <a:lnTo>
                      <a:pt x="19049" y="7638"/>
                    </a:lnTo>
                    <a:lnTo>
                      <a:pt x="19049" y="7563"/>
                    </a:lnTo>
                    <a:lnTo>
                      <a:pt x="19162" y="7763"/>
                    </a:lnTo>
                    <a:lnTo>
                      <a:pt x="19162" y="8275"/>
                    </a:lnTo>
                    <a:lnTo>
                      <a:pt x="18936" y="8275"/>
                    </a:lnTo>
                    <a:lnTo>
                      <a:pt x="19049" y="8475"/>
                    </a:lnTo>
                    <a:lnTo>
                      <a:pt x="19344" y="8675"/>
                    </a:lnTo>
                    <a:lnTo>
                      <a:pt x="19525" y="8938"/>
                    </a:lnTo>
                    <a:lnTo>
                      <a:pt x="19638" y="9250"/>
                    </a:lnTo>
                    <a:lnTo>
                      <a:pt x="19808" y="9450"/>
                    </a:lnTo>
                    <a:lnTo>
                      <a:pt x="19932" y="9650"/>
                    </a:lnTo>
                    <a:lnTo>
                      <a:pt x="19808" y="9963"/>
                    </a:lnTo>
                    <a:lnTo>
                      <a:pt x="19989" y="10350"/>
                    </a:lnTo>
                    <a:lnTo>
                      <a:pt x="19808" y="11188"/>
                    </a:lnTo>
                    <a:lnTo>
                      <a:pt x="19932" y="11650"/>
                    </a:lnTo>
                    <a:lnTo>
                      <a:pt x="19808" y="12363"/>
                    </a:lnTo>
                    <a:lnTo>
                      <a:pt x="19525" y="13075"/>
                    </a:lnTo>
                    <a:lnTo>
                      <a:pt x="19344" y="13838"/>
                    </a:lnTo>
                    <a:lnTo>
                      <a:pt x="18879" y="14688"/>
                    </a:lnTo>
                    <a:lnTo>
                      <a:pt x="18879" y="14750"/>
                    </a:lnTo>
                    <a:lnTo>
                      <a:pt x="18879" y="14888"/>
                    </a:lnTo>
                    <a:lnTo>
                      <a:pt x="18291" y="15400"/>
                    </a:lnTo>
                    <a:lnTo>
                      <a:pt x="18166" y="15725"/>
                    </a:lnTo>
                    <a:lnTo>
                      <a:pt x="18121" y="16038"/>
                    </a:lnTo>
                    <a:lnTo>
                      <a:pt x="17702" y="16563"/>
                    </a:lnTo>
                    <a:lnTo>
                      <a:pt x="17521" y="16950"/>
                    </a:lnTo>
                    <a:lnTo>
                      <a:pt x="17057" y="17925"/>
                    </a:lnTo>
                    <a:lnTo>
                      <a:pt x="16774" y="18763"/>
                    </a:lnTo>
                    <a:lnTo>
                      <a:pt x="16299" y="19025"/>
                    </a:lnTo>
                    <a:lnTo>
                      <a:pt x="15529" y="19025"/>
                    </a:lnTo>
                    <a:lnTo>
                      <a:pt x="15246" y="19350"/>
                    </a:lnTo>
                    <a:lnTo>
                      <a:pt x="14714" y="19663"/>
                    </a:lnTo>
                    <a:lnTo>
                      <a:pt x="14771" y="19800"/>
                    </a:lnTo>
                    <a:lnTo>
                      <a:pt x="14714" y="1998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7" name="Freeform 22"/>
              <p:cNvSpPr>
                <a:spLocks/>
              </p:cNvSpPr>
              <p:nvPr/>
            </p:nvSpPr>
            <p:spPr bwMode="auto">
              <a:xfrm>
                <a:off x="9409113" y="5929313"/>
                <a:ext cx="244475" cy="285750"/>
              </a:xfrm>
              <a:custGeom>
                <a:avLst/>
                <a:gdLst>
                  <a:gd name="T0" fmla="*/ 4000 w 20000"/>
                  <a:gd name="T1" fmla="*/ 19512 h 20000"/>
                  <a:gd name="T2" fmla="*/ 2961 w 20000"/>
                  <a:gd name="T3" fmla="*/ 18581 h 20000"/>
                  <a:gd name="T4" fmla="*/ 1870 w 20000"/>
                  <a:gd name="T5" fmla="*/ 17694 h 20000"/>
                  <a:gd name="T6" fmla="*/ 0 w 20000"/>
                  <a:gd name="T7" fmla="*/ 17428 h 20000"/>
                  <a:gd name="T8" fmla="*/ 0 w 20000"/>
                  <a:gd name="T9" fmla="*/ 16541 h 20000"/>
                  <a:gd name="T10" fmla="*/ 831 w 20000"/>
                  <a:gd name="T11" fmla="*/ 16275 h 20000"/>
                  <a:gd name="T12" fmla="*/ 1351 w 20000"/>
                  <a:gd name="T13" fmla="*/ 14723 h 20000"/>
                  <a:gd name="T14" fmla="*/ 1870 w 20000"/>
                  <a:gd name="T15" fmla="*/ 14457 h 20000"/>
                  <a:gd name="T16" fmla="*/ 2130 w 20000"/>
                  <a:gd name="T17" fmla="*/ 14013 h 20000"/>
                  <a:gd name="T18" fmla="*/ 2961 w 20000"/>
                  <a:gd name="T19" fmla="*/ 13792 h 20000"/>
                  <a:gd name="T20" fmla="*/ 4312 w 20000"/>
                  <a:gd name="T21" fmla="*/ 12860 h 20000"/>
                  <a:gd name="T22" fmla="*/ 5091 w 20000"/>
                  <a:gd name="T23" fmla="*/ 12195 h 20000"/>
                  <a:gd name="T24" fmla="*/ 5610 w 20000"/>
                  <a:gd name="T25" fmla="*/ 11486 h 20000"/>
                  <a:gd name="T26" fmla="*/ 7792 w 20000"/>
                  <a:gd name="T27" fmla="*/ 10820 h 20000"/>
                  <a:gd name="T28" fmla="*/ 11844 w 20000"/>
                  <a:gd name="T29" fmla="*/ 8514 h 20000"/>
                  <a:gd name="T30" fmla="*/ 15377 w 20000"/>
                  <a:gd name="T31" fmla="*/ 4834 h 20000"/>
                  <a:gd name="T32" fmla="*/ 16104 w 20000"/>
                  <a:gd name="T33" fmla="*/ 3725 h 20000"/>
                  <a:gd name="T34" fmla="*/ 17506 w 20000"/>
                  <a:gd name="T35" fmla="*/ 1197 h 20000"/>
                  <a:gd name="T36" fmla="*/ 18857 w 20000"/>
                  <a:gd name="T37" fmla="*/ 266 h 20000"/>
                  <a:gd name="T38" fmla="*/ 18857 w 20000"/>
                  <a:gd name="T39" fmla="*/ 1375 h 20000"/>
                  <a:gd name="T40" fmla="*/ 18857 w 20000"/>
                  <a:gd name="T41" fmla="*/ 3016 h 20000"/>
                  <a:gd name="T42" fmla="*/ 19636 w 20000"/>
                  <a:gd name="T43" fmla="*/ 2084 h 20000"/>
                  <a:gd name="T44" fmla="*/ 19948 w 20000"/>
                  <a:gd name="T45" fmla="*/ 3016 h 20000"/>
                  <a:gd name="T46" fmla="*/ 19636 w 20000"/>
                  <a:gd name="T47" fmla="*/ 4390 h 20000"/>
                  <a:gd name="T48" fmla="*/ 18338 w 20000"/>
                  <a:gd name="T49" fmla="*/ 6918 h 20000"/>
                  <a:gd name="T50" fmla="*/ 16416 w 20000"/>
                  <a:gd name="T51" fmla="*/ 9180 h 20000"/>
                  <a:gd name="T52" fmla="*/ 16416 w 20000"/>
                  <a:gd name="T53" fmla="*/ 10998 h 20000"/>
                  <a:gd name="T54" fmla="*/ 15377 w 20000"/>
                  <a:gd name="T55" fmla="*/ 10998 h 20000"/>
                  <a:gd name="T56" fmla="*/ 14805 w 20000"/>
                  <a:gd name="T57" fmla="*/ 10998 h 20000"/>
                  <a:gd name="T58" fmla="*/ 12104 w 20000"/>
                  <a:gd name="T59" fmla="*/ 12860 h 20000"/>
                  <a:gd name="T60" fmla="*/ 10805 w 20000"/>
                  <a:gd name="T61" fmla="*/ 15166 h 20000"/>
                  <a:gd name="T62" fmla="*/ 9143 w 20000"/>
                  <a:gd name="T63" fmla="*/ 16984 h 20000"/>
                  <a:gd name="T64" fmla="*/ 9143 w 20000"/>
                  <a:gd name="T65" fmla="*/ 17428 h 20000"/>
                  <a:gd name="T66" fmla="*/ 7013 w 20000"/>
                  <a:gd name="T67" fmla="*/ 18803 h 20000"/>
                  <a:gd name="T68" fmla="*/ 4312 w 20000"/>
                  <a:gd name="T69" fmla="*/ 1995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00" h="20000">
                    <a:moveTo>
                      <a:pt x="4312" y="19956"/>
                    </a:moveTo>
                    <a:lnTo>
                      <a:pt x="4000" y="19512"/>
                    </a:lnTo>
                    <a:lnTo>
                      <a:pt x="2961" y="19246"/>
                    </a:lnTo>
                    <a:lnTo>
                      <a:pt x="2961" y="18581"/>
                    </a:lnTo>
                    <a:lnTo>
                      <a:pt x="1870" y="18137"/>
                    </a:lnTo>
                    <a:lnTo>
                      <a:pt x="1870" y="17694"/>
                    </a:lnTo>
                    <a:lnTo>
                      <a:pt x="831" y="17694"/>
                    </a:lnTo>
                    <a:lnTo>
                      <a:pt x="0" y="17428"/>
                    </a:lnTo>
                    <a:lnTo>
                      <a:pt x="519" y="16541"/>
                    </a:lnTo>
                    <a:lnTo>
                      <a:pt x="0" y="16541"/>
                    </a:lnTo>
                    <a:lnTo>
                      <a:pt x="0" y="16275"/>
                    </a:lnTo>
                    <a:lnTo>
                      <a:pt x="831" y="16275"/>
                    </a:lnTo>
                    <a:lnTo>
                      <a:pt x="831" y="15610"/>
                    </a:lnTo>
                    <a:lnTo>
                      <a:pt x="1351" y="14723"/>
                    </a:lnTo>
                    <a:lnTo>
                      <a:pt x="2130" y="15166"/>
                    </a:lnTo>
                    <a:lnTo>
                      <a:pt x="1870" y="14457"/>
                    </a:lnTo>
                    <a:lnTo>
                      <a:pt x="2130" y="14457"/>
                    </a:lnTo>
                    <a:lnTo>
                      <a:pt x="2130" y="14013"/>
                    </a:lnTo>
                    <a:lnTo>
                      <a:pt x="2649" y="13792"/>
                    </a:lnTo>
                    <a:lnTo>
                      <a:pt x="2961" y="13792"/>
                    </a:lnTo>
                    <a:lnTo>
                      <a:pt x="2961" y="13348"/>
                    </a:lnTo>
                    <a:lnTo>
                      <a:pt x="4312" y="12860"/>
                    </a:lnTo>
                    <a:lnTo>
                      <a:pt x="5091" y="11707"/>
                    </a:lnTo>
                    <a:lnTo>
                      <a:pt x="5091" y="12195"/>
                    </a:lnTo>
                    <a:lnTo>
                      <a:pt x="5610" y="12195"/>
                    </a:lnTo>
                    <a:lnTo>
                      <a:pt x="5610" y="11486"/>
                    </a:lnTo>
                    <a:lnTo>
                      <a:pt x="6442" y="10820"/>
                    </a:lnTo>
                    <a:lnTo>
                      <a:pt x="7792" y="10820"/>
                    </a:lnTo>
                    <a:lnTo>
                      <a:pt x="9143" y="9889"/>
                    </a:lnTo>
                    <a:lnTo>
                      <a:pt x="11844" y="8514"/>
                    </a:lnTo>
                    <a:lnTo>
                      <a:pt x="13974" y="6918"/>
                    </a:lnTo>
                    <a:lnTo>
                      <a:pt x="15377" y="4834"/>
                    </a:lnTo>
                    <a:lnTo>
                      <a:pt x="15584" y="4169"/>
                    </a:lnTo>
                    <a:lnTo>
                      <a:pt x="16104" y="3725"/>
                    </a:lnTo>
                    <a:lnTo>
                      <a:pt x="16935" y="2572"/>
                    </a:lnTo>
                    <a:lnTo>
                      <a:pt x="17506" y="1197"/>
                    </a:lnTo>
                    <a:lnTo>
                      <a:pt x="18338" y="0"/>
                    </a:lnTo>
                    <a:lnTo>
                      <a:pt x="18857" y="266"/>
                    </a:lnTo>
                    <a:lnTo>
                      <a:pt x="18857" y="1197"/>
                    </a:lnTo>
                    <a:lnTo>
                      <a:pt x="18857" y="1375"/>
                    </a:lnTo>
                    <a:lnTo>
                      <a:pt x="18857" y="2084"/>
                    </a:lnTo>
                    <a:lnTo>
                      <a:pt x="18857" y="3016"/>
                    </a:lnTo>
                    <a:lnTo>
                      <a:pt x="18857" y="2572"/>
                    </a:lnTo>
                    <a:lnTo>
                      <a:pt x="19636" y="2084"/>
                    </a:lnTo>
                    <a:lnTo>
                      <a:pt x="19636" y="2572"/>
                    </a:lnTo>
                    <a:lnTo>
                      <a:pt x="19948" y="3016"/>
                    </a:lnTo>
                    <a:lnTo>
                      <a:pt x="19636" y="3193"/>
                    </a:lnTo>
                    <a:lnTo>
                      <a:pt x="19636" y="4390"/>
                    </a:lnTo>
                    <a:lnTo>
                      <a:pt x="19117" y="5543"/>
                    </a:lnTo>
                    <a:lnTo>
                      <a:pt x="18338" y="6918"/>
                    </a:lnTo>
                    <a:lnTo>
                      <a:pt x="17506" y="8071"/>
                    </a:lnTo>
                    <a:lnTo>
                      <a:pt x="16416" y="9180"/>
                    </a:lnTo>
                    <a:lnTo>
                      <a:pt x="16104" y="10333"/>
                    </a:lnTo>
                    <a:lnTo>
                      <a:pt x="16416" y="10998"/>
                    </a:lnTo>
                    <a:lnTo>
                      <a:pt x="15584" y="10820"/>
                    </a:lnTo>
                    <a:lnTo>
                      <a:pt x="15377" y="10998"/>
                    </a:lnTo>
                    <a:lnTo>
                      <a:pt x="14805" y="10820"/>
                    </a:lnTo>
                    <a:lnTo>
                      <a:pt x="14805" y="10998"/>
                    </a:lnTo>
                    <a:lnTo>
                      <a:pt x="13455" y="11707"/>
                    </a:lnTo>
                    <a:lnTo>
                      <a:pt x="12104" y="12860"/>
                    </a:lnTo>
                    <a:lnTo>
                      <a:pt x="11844" y="14457"/>
                    </a:lnTo>
                    <a:lnTo>
                      <a:pt x="10805" y="15166"/>
                    </a:lnTo>
                    <a:lnTo>
                      <a:pt x="9974" y="16275"/>
                    </a:lnTo>
                    <a:lnTo>
                      <a:pt x="9143" y="16984"/>
                    </a:lnTo>
                    <a:lnTo>
                      <a:pt x="9662" y="17428"/>
                    </a:lnTo>
                    <a:lnTo>
                      <a:pt x="9143" y="17428"/>
                    </a:lnTo>
                    <a:lnTo>
                      <a:pt x="8364" y="18137"/>
                    </a:lnTo>
                    <a:lnTo>
                      <a:pt x="7013" y="18803"/>
                    </a:lnTo>
                    <a:lnTo>
                      <a:pt x="6442" y="19512"/>
                    </a:lnTo>
                    <a:lnTo>
                      <a:pt x="4312" y="1995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8" name="Freeform 21"/>
              <p:cNvSpPr>
                <a:spLocks/>
              </p:cNvSpPr>
              <p:nvPr/>
            </p:nvSpPr>
            <p:spPr bwMode="auto">
              <a:xfrm>
                <a:off x="9658350" y="5662613"/>
                <a:ext cx="158750" cy="330200"/>
              </a:xfrm>
              <a:custGeom>
                <a:avLst/>
                <a:gdLst>
                  <a:gd name="T0" fmla="*/ 800 w 20000"/>
                  <a:gd name="T1" fmla="*/ 19961 h 20000"/>
                  <a:gd name="T2" fmla="*/ 800 w 20000"/>
                  <a:gd name="T3" fmla="*/ 18921 h 20000"/>
                  <a:gd name="T4" fmla="*/ 0 w 20000"/>
                  <a:gd name="T5" fmla="*/ 19345 h 20000"/>
                  <a:gd name="T6" fmla="*/ 0 w 20000"/>
                  <a:gd name="T7" fmla="*/ 18767 h 20000"/>
                  <a:gd name="T8" fmla="*/ 800 w 20000"/>
                  <a:gd name="T9" fmla="*/ 17958 h 20000"/>
                  <a:gd name="T10" fmla="*/ 2080 w 20000"/>
                  <a:gd name="T11" fmla="*/ 16339 h 20000"/>
                  <a:gd name="T12" fmla="*/ 2080 w 20000"/>
                  <a:gd name="T13" fmla="*/ 15145 h 20000"/>
                  <a:gd name="T14" fmla="*/ 1280 w 20000"/>
                  <a:gd name="T15" fmla="*/ 14566 h 20000"/>
                  <a:gd name="T16" fmla="*/ 800 w 20000"/>
                  <a:gd name="T17" fmla="*/ 13796 h 20000"/>
                  <a:gd name="T18" fmla="*/ 0 w 20000"/>
                  <a:gd name="T19" fmla="*/ 13179 h 20000"/>
                  <a:gd name="T20" fmla="*/ 800 w 20000"/>
                  <a:gd name="T21" fmla="*/ 12563 h 20000"/>
                  <a:gd name="T22" fmla="*/ 2080 w 20000"/>
                  <a:gd name="T23" fmla="*/ 12177 h 20000"/>
                  <a:gd name="T24" fmla="*/ 3280 w 20000"/>
                  <a:gd name="T25" fmla="*/ 10019 h 20000"/>
                  <a:gd name="T26" fmla="*/ 4080 w 20000"/>
                  <a:gd name="T27" fmla="*/ 10405 h 20000"/>
                  <a:gd name="T28" fmla="*/ 4080 w 20000"/>
                  <a:gd name="T29" fmla="*/ 8979 h 20000"/>
                  <a:gd name="T30" fmla="*/ 4080 w 20000"/>
                  <a:gd name="T31" fmla="*/ 7399 h 20000"/>
                  <a:gd name="T32" fmla="*/ 4560 w 20000"/>
                  <a:gd name="T33" fmla="*/ 7399 h 20000"/>
                  <a:gd name="T34" fmla="*/ 5360 w 20000"/>
                  <a:gd name="T35" fmla="*/ 6782 h 20000"/>
                  <a:gd name="T36" fmla="*/ 4080 w 20000"/>
                  <a:gd name="T37" fmla="*/ 6782 h 20000"/>
                  <a:gd name="T38" fmla="*/ 4080 w 20000"/>
                  <a:gd name="T39" fmla="*/ 5780 h 20000"/>
                  <a:gd name="T40" fmla="*/ 4080 w 20000"/>
                  <a:gd name="T41" fmla="*/ 5395 h 20000"/>
                  <a:gd name="T42" fmla="*/ 4560 w 20000"/>
                  <a:gd name="T43" fmla="*/ 5780 h 20000"/>
                  <a:gd name="T44" fmla="*/ 4560 w 20000"/>
                  <a:gd name="T45" fmla="*/ 5395 h 20000"/>
                  <a:gd name="T46" fmla="*/ 4560 w 20000"/>
                  <a:gd name="T47" fmla="*/ 4817 h 20000"/>
                  <a:gd name="T48" fmla="*/ 4080 w 20000"/>
                  <a:gd name="T49" fmla="*/ 4817 h 20000"/>
                  <a:gd name="T50" fmla="*/ 3280 w 20000"/>
                  <a:gd name="T51" fmla="*/ 5202 h 20000"/>
                  <a:gd name="T52" fmla="*/ 2480 w 20000"/>
                  <a:gd name="T53" fmla="*/ 1618 h 20000"/>
                  <a:gd name="T54" fmla="*/ 2080 w 20000"/>
                  <a:gd name="T55" fmla="*/ 0 h 20000"/>
                  <a:gd name="T56" fmla="*/ 2480 w 20000"/>
                  <a:gd name="T57" fmla="*/ 0 h 20000"/>
                  <a:gd name="T58" fmla="*/ 2480 w 20000"/>
                  <a:gd name="T59" fmla="*/ 424 h 20000"/>
                  <a:gd name="T60" fmla="*/ 2480 w 20000"/>
                  <a:gd name="T61" fmla="*/ 1040 h 20000"/>
                  <a:gd name="T62" fmla="*/ 3280 w 20000"/>
                  <a:gd name="T63" fmla="*/ 1195 h 20000"/>
                  <a:gd name="T64" fmla="*/ 4560 w 20000"/>
                  <a:gd name="T65" fmla="*/ 1618 h 20000"/>
                  <a:gd name="T66" fmla="*/ 5360 w 20000"/>
                  <a:gd name="T67" fmla="*/ 2235 h 20000"/>
                  <a:gd name="T68" fmla="*/ 6160 w 20000"/>
                  <a:gd name="T69" fmla="*/ 2235 h 20000"/>
                  <a:gd name="T70" fmla="*/ 6160 w 20000"/>
                  <a:gd name="T71" fmla="*/ 3622 h 20000"/>
                  <a:gd name="T72" fmla="*/ 5360 w 20000"/>
                  <a:gd name="T73" fmla="*/ 3815 h 20000"/>
                  <a:gd name="T74" fmla="*/ 6160 w 20000"/>
                  <a:gd name="T75" fmla="*/ 4586 h 20000"/>
                  <a:gd name="T76" fmla="*/ 6160 w 20000"/>
                  <a:gd name="T77" fmla="*/ 5395 h 20000"/>
                  <a:gd name="T78" fmla="*/ 6640 w 20000"/>
                  <a:gd name="T79" fmla="*/ 6397 h 20000"/>
                  <a:gd name="T80" fmla="*/ 7440 w 20000"/>
                  <a:gd name="T81" fmla="*/ 7399 h 20000"/>
                  <a:gd name="T82" fmla="*/ 8640 w 20000"/>
                  <a:gd name="T83" fmla="*/ 7399 h 20000"/>
                  <a:gd name="T84" fmla="*/ 9920 w 20000"/>
                  <a:gd name="T85" fmla="*/ 6166 h 20000"/>
                  <a:gd name="T86" fmla="*/ 9920 w 20000"/>
                  <a:gd name="T87" fmla="*/ 5780 h 20000"/>
                  <a:gd name="T88" fmla="*/ 9920 w 20000"/>
                  <a:gd name="T89" fmla="*/ 5202 h 20000"/>
                  <a:gd name="T90" fmla="*/ 12080 w 20000"/>
                  <a:gd name="T91" fmla="*/ 5202 h 20000"/>
                  <a:gd name="T92" fmla="*/ 12080 w 20000"/>
                  <a:gd name="T93" fmla="*/ 6166 h 20000"/>
                  <a:gd name="T94" fmla="*/ 14080 w 20000"/>
                  <a:gd name="T95" fmla="*/ 7206 h 20000"/>
                  <a:gd name="T96" fmla="*/ 16160 w 20000"/>
                  <a:gd name="T97" fmla="*/ 7206 h 20000"/>
                  <a:gd name="T98" fmla="*/ 18240 w 20000"/>
                  <a:gd name="T99" fmla="*/ 6166 h 20000"/>
                  <a:gd name="T100" fmla="*/ 19920 w 20000"/>
                  <a:gd name="T101" fmla="*/ 6166 h 20000"/>
                  <a:gd name="T102" fmla="*/ 19920 w 20000"/>
                  <a:gd name="T103" fmla="*/ 7206 h 20000"/>
                  <a:gd name="T104" fmla="*/ 18240 w 20000"/>
                  <a:gd name="T105" fmla="*/ 7977 h 20000"/>
                  <a:gd name="T106" fmla="*/ 12080 w 20000"/>
                  <a:gd name="T107" fmla="*/ 13796 h 20000"/>
                  <a:gd name="T108" fmla="*/ 7840 w 20000"/>
                  <a:gd name="T109" fmla="*/ 15761 h 20000"/>
                  <a:gd name="T110" fmla="*/ 5360 w 20000"/>
                  <a:gd name="T111" fmla="*/ 17148 h 20000"/>
                  <a:gd name="T112" fmla="*/ 3280 w 20000"/>
                  <a:gd name="T113" fmla="*/ 18382 h 20000"/>
                  <a:gd name="T114" fmla="*/ 800 w 20000"/>
                  <a:gd name="T115" fmla="*/ 1996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00" h="20000">
                    <a:moveTo>
                      <a:pt x="800" y="19961"/>
                    </a:moveTo>
                    <a:lnTo>
                      <a:pt x="800" y="18921"/>
                    </a:lnTo>
                    <a:lnTo>
                      <a:pt x="0" y="19345"/>
                    </a:lnTo>
                    <a:lnTo>
                      <a:pt x="0" y="18767"/>
                    </a:lnTo>
                    <a:lnTo>
                      <a:pt x="800" y="17958"/>
                    </a:lnTo>
                    <a:lnTo>
                      <a:pt x="2080" y="16339"/>
                    </a:lnTo>
                    <a:lnTo>
                      <a:pt x="2080" y="15145"/>
                    </a:lnTo>
                    <a:lnTo>
                      <a:pt x="1280" y="14566"/>
                    </a:lnTo>
                    <a:lnTo>
                      <a:pt x="800" y="13796"/>
                    </a:lnTo>
                    <a:lnTo>
                      <a:pt x="0" y="13179"/>
                    </a:lnTo>
                    <a:lnTo>
                      <a:pt x="800" y="12563"/>
                    </a:lnTo>
                    <a:lnTo>
                      <a:pt x="2080" y="12177"/>
                    </a:lnTo>
                    <a:lnTo>
                      <a:pt x="3280" y="10019"/>
                    </a:lnTo>
                    <a:lnTo>
                      <a:pt x="4080" y="10405"/>
                    </a:lnTo>
                    <a:lnTo>
                      <a:pt x="4080" y="8979"/>
                    </a:lnTo>
                    <a:lnTo>
                      <a:pt x="4080" y="7399"/>
                    </a:lnTo>
                    <a:lnTo>
                      <a:pt x="4560" y="7399"/>
                    </a:lnTo>
                    <a:lnTo>
                      <a:pt x="5360" y="6782"/>
                    </a:lnTo>
                    <a:lnTo>
                      <a:pt x="4080" y="6782"/>
                    </a:lnTo>
                    <a:lnTo>
                      <a:pt x="4080" y="5780"/>
                    </a:lnTo>
                    <a:lnTo>
                      <a:pt x="4080" y="5395"/>
                    </a:lnTo>
                    <a:lnTo>
                      <a:pt x="4560" y="5780"/>
                    </a:lnTo>
                    <a:lnTo>
                      <a:pt x="4560" y="5395"/>
                    </a:lnTo>
                    <a:lnTo>
                      <a:pt x="4560" y="4817"/>
                    </a:lnTo>
                    <a:lnTo>
                      <a:pt x="4080" y="4817"/>
                    </a:lnTo>
                    <a:lnTo>
                      <a:pt x="3280" y="5202"/>
                    </a:lnTo>
                    <a:lnTo>
                      <a:pt x="2480" y="1618"/>
                    </a:lnTo>
                    <a:lnTo>
                      <a:pt x="2080" y="0"/>
                    </a:lnTo>
                    <a:lnTo>
                      <a:pt x="2480" y="0"/>
                    </a:lnTo>
                    <a:lnTo>
                      <a:pt x="2480" y="424"/>
                    </a:lnTo>
                    <a:lnTo>
                      <a:pt x="2480" y="1040"/>
                    </a:lnTo>
                    <a:lnTo>
                      <a:pt x="3280" y="1195"/>
                    </a:lnTo>
                    <a:lnTo>
                      <a:pt x="4560" y="1618"/>
                    </a:lnTo>
                    <a:lnTo>
                      <a:pt x="5360" y="2235"/>
                    </a:lnTo>
                    <a:lnTo>
                      <a:pt x="6160" y="2235"/>
                    </a:lnTo>
                    <a:lnTo>
                      <a:pt x="6160" y="3622"/>
                    </a:lnTo>
                    <a:lnTo>
                      <a:pt x="5360" y="3815"/>
                    </a:lnTo>
                    <a:lnTo>
                      <a:pt x="6160" y="4586"/>
                    </a:lnTo>
                    <a:lnTo>
                      <a:pt x="6160" y="5395"/>
                    </a:lnTo>
                    <a:lnTo>
                      <a:pt x="6640" y="6397"/>
                    </a:lnTo>
                    <a:lnTo>
                      <a:pt x="7440" y="7399"/>
                    </a:lnTo>
                    <a:lnTo>
                      <a:pt x="8640" y="7399"/>
                    </a:lnTo>
                    <a:lnTo>
                      <a:pt x="9920" y="6166"/>
                    </a:lnTo>
                    <a:lnTo>
                      <a:pt x="9920" y="5780"/>
                    </a:lnTo>
                    <a:lnTo>
                      <a:pt x="9920" y="5202"/>
                    </a:lnTo>
                    <a:lnTo>
                      <a:pt x="12080" y="5202"/>
                    </a:lnTo>
                    <a:lnTo>
                      <a:pt x="12080" y="6166"/>
                    </a:lnTo>
                    <a:lnTo>
                      <a:pt x="14080" y="7206"/>
                    </a:lnTo>
                    <a:lnTo>
                      <a:pt x="16160" y="7206"/>
                    </a:lnTo>
                    <a:lnTo>
                      <a:pt x="18240" y="6166"/>
                    </a:lnTo>
                    <a:lnTo>
                      <a:pt x="19920" y="6166"/>
                    </a:lnTo>
                    <a:lnTo>
                      <a:pt x="19920" y="7206"/>
                    </a:lnTo>
                    <a:lnTo>
                      <a:pt x="18240" y="7977"/>
                    </a:lnTo>
                    <a:lnTo>
                      <a:pt x="12080" y="13796"/>
                    </a:lnTo>
                    <a:lnTo>
                      <a:pt x="7840" y="15761"/>
                    </a:lnTo>
                    <a:lnTo>
                      <a:pt x="5360" y="17148"/>
                    </a:lnTo>
                    <a:lnTo>
                      <a:pt x="3280" y="18382"/>
                    </a:lnTo>
                    <a:lnTo>
                      <a:pt x="800" y="1996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29" name="Freeform 20"/>
              <p:cNvSpPr>
                <a:spLocks/>
              </p:cNvSpPr>
              <p:nvPr/>
            </p:nvSpPr>
            <p:spPr bwMode="auto">
              <a:xfrm>
                <a:off x="8974138" y="4549775"/>
                <a:ext cx="269875" cy="236538"/>
              </a:xfrm>
              <a:custGeom>
                <a:avLst/>
                <a:gdLst>
                  <a:gd name="T0" fmla="*/ 0 w 20000"/>
                  <a:gd name="T1" fmla="*/ 16086 h 20000"/>
                  <a:gd name="T2" fmla="*/ 282 w 20000"/>
                  <a:gd name="T3" fmla="*/ 0 h 20000"/>
                  <a:gd name="T4" fmla="*/ 2207 w 20000"/>
                  <a:gd name="T5" fmla="*/ 858 h 20000"/>
                  <a:gd name="T6" fmla="*/ 5117 w 20000"/>
                  <a:gd name="T7" fmla="*/ 1662 h 20000"/>
                  <a:gd name="T8" fmla="*/ 6620 w 20000"/>
                  <a:gd name="T9" fmla="*/ 2520 h 20000"/>
                  <a:gd name="T10" fmla="*/ 7089 w 20000"/>
                  <a:gd name="T11" fmla="*/ 2520 h 20000"/>
                  <a:gd name="T12" fmla="*/ 8545 w 20000"/>
                  <a:gd name="T13" fmla="*/ 3861 h 20000"/>
                  <a:gd name="T14" fmla="*/ 9249 w 20000"/>
                  <a:gd name="T15" fmla="*/ 3861 h 20000"/>
                  <a:gd name="T16" fmla="*/ 10282 w 20000"/>
                  <a:gd name="T17" fmla="*/ 4718 h 20000"/>
                  <a:gd name="T18" fmla="*/ 10282 w 20000"/>
                  <a:gd name="T19" fmla="*/ 6649 h 20000"/>
                  <a:gd name="T20" fmla="*/ 13662 w 20000"/>
                  <a:gd name="T21" fmla="*/ 7989 h 20000"/>
                  <a:gd name="T22" fmla="*/ 14413 w 20000"/>
                  <a:gd name="T23" fmla="*/ 9651 h 20000"/>
                  <a:gd name="T24" fmla="*/ 12394 w 20000"/>
                  <a:gd name="T25" fmla="*/ 10295 h 20000"/>
                  <a:gd name="T26" fmla="*/ 13146 w 20000"/>
                  <a:gd name="T27" fmla="*/ 11903 h 20000"/>
                  <a:gd name="T28" fmla="*/ 14883 w 20000"/>
                  <a:gd name="T29" fmla="*/ 13298 h 20000"/>
                  <a:gd name="T30" fmla="*/ 15352 w 20000"/>
                  <a:gd name="T31" fmla="*/ 13834 h 20000"/>
                  <a:gd name="T32" fmla="*/ 15587 w 20000"/>
                  <a:gd name="T33" fmla="*/ 14692 h 20000"/>
                  <a:gd name="T34" fmla="*/ 15587 w 20000"/>
                  <a:gd name="T35" fmla="*/ 16086 h 20000"/>
                  <a:gd name="T36" fmla="*/ 17277 w 20000"/>
                  <a:gd name="T37" fmla="*/ 16086 h 20000"/>
                  <a:gd name="T38" fmla="*/ 17559 w 20000"/>
                  <a:gd name="T39" fmla="*/ 16354 h 20000"/>
                  <a:gd name="T40" fmla="*/ 17277 w 20000"/>
                  <a:gd name="T41" fmla="*/ 16890 h 20000"/>
                  <a:gd name="T42" fmla="*/ 18732 w 20000"/>
                  <a:gd name="T43" fmla="*/ 17426 h 20000"/>
                  <a:gd name="T44" fmla="*/ 18263 w 20000"/>
                  <a:gd name="T45" fmla="*/ 18284 h 20000"/>
                  <a:gd name="T46" fmla="*/ 19202 w 20000"/>
                  <a:gd name="T47" fmla="*/ 18820 h 20000"/>
                  <a:gd name="T48" fmla="*/ 19953 w 20000"/>
                  <a:gd name="T49" fmla="*/ 19088 h 20000"/>
                  <a:gd name="T50" fmla="*/ 19202 w 20000"/>
                  <a:gd name="T51" fmla="*/ 19625 h 20000"/>
                  <a:gd name="T52" fmla="*/ 19953 w 20000"/>
                  <a:gd name="T53" fmla="*/ 19625 h 20000"/>
                  <a:gd name="T54" fmla="*/ 19953 w 20000"/>
                  <a:gd name="T55" fmla="*/ 19946 h 20000"/>
                  <a:gd name="T56" fmla="*/ 18732 w 20000"/>
                  <a:gd name="T57" fmla="*/ 19946 h 20000"/>
                  <a:gd name="T58" fmla="*/ 18732 w 20000"/>
                  <a:gd name="T59" fmla="*/ 19625 h 20000"/>
                  <a:gd name="T60" fmla="*/ 15352 w 20000"/>
                  <a:gd name="T61" fmla="*/ 18820 h 20000"/>
                  <a:gd name="T62" fmla="*/ 14413 w 20000"/>
                  <a:gd name="T63" fmla="*/ 18820 h 20000"/>
                  <a:gd name="T64" fmla="*/ 12394 w 20000"/>
                  <a:gd name="T65" fmla="*/ 16890 h 20000"/>
                  <a:gd name="T66" fmla="*/ 12207 w 20000"/>
                  <a:gd name="T67" fmla="*/ 16086 h 20000"/>
                  <a:gd name="T68" fmla="*/ 11690 w 20000"/>
                  <a:gd name="T69" fmla="*/ 16086 h 20000"/>
                  <a:gd name="T70" fmla="*/ 11221 w 20000"/>
                  <a:gd name="T71" fmla="*/ 15228 h 20000"/>
                  <a:gd name="T72" fmla="*/ 10282 w 20000"/>
                  <a:gd name="T73" fmla="*/ 13029 h 20000"/>
                  <a:gd name="T74" fmla="*/ 9718 w 20000"/>
                  <a:gd name="T75" fmla="*/ 13029 h 20000"/>
                  <a:gd name="T76" fmla="*/ 9249 w 20000"/>
                  <a:gd name="T77" fmla="*/ 13029 h 20000"/>
                  <a:gd name="T78" fmla="*/ 8075 w 20000"/>
                  <a:gd name="T79" fmla="*/ 13029 h 20000"/>
                  <a:gd name="T80" fmla="*/ 7793 w 20000"/>
                  <a:gd name="T81" fmla="*/ 11903 h 20000"/>
                  <a:gd name="T82" fmla="*/ 7324 w 20000"/>
                  <a:gd name="T83" fmla="*/ 11903 h 20000"/>
                  <a:gd name="T84" fmla="*/ 7089 w 20000"/>
                  <a:gd name="T85" fmla="*/ 12493 h 20000"/>
                  <a:gd name="T86" fmla="*/ 6620 w 20000"/>
                  <a:gd name="T87" fmla="*/ 12493 h 20000"/>
                  <a:gd name="T88" fmla="*/ 5869 w 20000"/>
                  <a:gd name="T89" fmla="*/ 11903 h 20000"/>
                  <a:gd name="T90" fmla="*/ 6103 w 20000"/>
                  <a:gd name="T91" fmla="*/ 13298 h 20000"/>
                  <a:gd name="T92" fmla="*/ 5399 w 20000"/>
                  <a:gd name="T93" fmla="*/ 13298 h 20000"/>
                  <a:gd name="T94" fmla="*/ 5399 w 20000"/>
                  <a:gd name="T95" fmla="*/ 13834 h 20000"/>
                  <a:gd name="T96" fmla="*/ 3474 w 20000"/>
                  <a:gd name="T97" fmla="*/ 13834 h 20000"/>
                  <a:gd name="T98" fmla="*/ 4131 w 20000"/>
                  <a:gd name="T99" fmla="*/ 14155 h 20000"/>
                  <a:gd name="T100" fmla="*/ 5117 w 20000"/>
                  <a:gd name="T101" fmla="*/ 15496 h 20000"/>
                  <a:gd name="T102" fmla="*/ 3474 w 20000"/>
                  <a:gd name="T103" fmla="*/ 16354 h 20000"/>
                  <a:gd name="T104" fmla="*/ 0 w 20000"/>
                  <a:gd name="T105" fmla="*/ 16086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00" h="20000">
                    <a:moveTo>
                      <a:pt x="0" y="16086"/>
                    </a:moveTo>
                    <a:lnTo>
                      <a:pt x="282" y="0"/>
                    </a:lnTo>
                    <a:lnTo>
                      <a:pt x="2207" y="858"/>
                    </a:lnTo>
                    <a:lnTo>
                      <a:pt x="5117" y="1662"/>
                    </a:lnTo>
                    <a:lnTo>
                      <a:pt x="6620" y="2520"/>
                    </a:lnTo>
                    <a:lnTo>
                      <a:pt x="7089" y="2520"/>
                    </a:lnTo>
                    <a:lnTo>
                      <a:pt x="8545" y="3861"/>
                    </a:lnTo>
                    <a:lnTo>
                      <a:pt x="9249" y="3861"/>
                    </a:lnTo>
                    <a:lnTo>
                      <a:pt x="10282" y="4718"/>
                    </a:lnTo>
                    <a:lnTo>
                      <a:pt x="10282" y="6649"/>
                    </a:lnTo>
                    <a:lnTo>
                      <a:pt x="13662" y="7989"/>
                    </a:lnTo>
                    <a:lnTo>
                      <a:pt x="14413" y="9651"/>
                    </a:lnTo>
                    <a:lnTo>
                      <a:pt x="12394" y="10295"/>
                    </a:lnTo>
                    <a:lnTo>
                      <a:pt x="13146" y="11903"/>
                    </a:lnTo>
                    <a:lnTo>
                      <a:pt x="14883" y="13298"/>
                    </a:lnTo>
                    <a:lnTo>
                      <a:pt x="15352" y="13834"/>
                    </a:lnTo>
                    <a:lnTo>
                      <a:pt x="15587" y="14692"/>
                    </a:lnTo>
                    <a:lnTo>
                      <a:pt x="15587" y="16086"/>
                    </a:lnTo>
                    <a:lnTo>
                      <a:pt x="17277" y="16086"/>
                    </a:lnTo>
                    <a:lnTo>
                      <a:pt x="17559" y="16354"/>
                    </a:lnTo>
                    <a:lnTo>
                      <a:pt x="17277" y="16890"/>
                    </a:lnTo>
                    <a:lnTo>
                      <a:pt x="18732" y="17426"/>
                    </a:lnTo>
                    <a:lnTo>
                      <a:pt x="18263" y="18284"/>
                    </a:lnTo>
                    <a:lnTo>
                      <a:pt x="19202" y="18820"/>
                    </a:lnTo>
                    <a:lnTo>
                      <a:pt x="19953" y="19088"/>
                    </a:lnTo>
                    <a:lnTo>
                      <a:pt x="19202" y="19625"/>
                    </a:lnTo>
                    <a:lnTo>
                      <a:pt x="19953" y="19625"/>
                    </a:lnTo>
                    <a:lnTo>
                      <a:pt x="19953" y="19946"/>
                    </a:lnTo>
                    <a:lnTo>
                      <a:pt x="18732" y="19946"/>
                    </a:lnTo>
                    <a:lnTo>
                      <a:pt x="18732" y="19625"/>
                    </a:lnTo>
                    <a:lnTo>
                      <a:pt x="15352" y="18820"/>
                    </a:lnTo>
                    <a:lnTo>
                      <a:pt x="14413" y="18820"/>
                    </a:lnTo>
                    <a:lnTo>
                      <a:pt x="12394" y="16890"/>
                    </a:lnTo>
                    <a:lnTo>
                      <a:pt x="12207" y="16086"/>
                    </a:lnTo>
                    <a:lnTo>
                      <a:pt x="11690" y="16086"/>
                    </a:lnTo>
                    <a:lnTo>
                      <a:pt x="11221" y="15228"/>
                    </a:lnTo>
                    <a:lnTo>
                      <a:pt x="10282" y="13029"/>
                    </a:lnTo>
                    <a:lnTo>
                      <a:pt x="9718" y="13029"/>
                    </a:lnTo>
                    <a:lnTo>
                      <a:pt x="9249" y="13029"/>
                    </a:lnTo>
                    <a:lnTo>
                      <a:pt x="8075" y="13029"/>
                    </a:lnTo>
                    <a:lnTo>
                      <a:pt x="7793" y="11903"/>
                    </a:lnTo>
                    <a:lnTo>
                      <a:pt x="7324" y="11903"/>
                    </a:lnTo>
                    <a:lnTo>
                      <a:pt x="7089" y="12493"/>
                    </a:lnTo>
                    <a:lnTo>
                      <a:pt x="6620" y="12493"/>
                    </a:lnTo>
                    <a:lnTo>
                      <a:pt x="5869" y="11903"/>
                    </a:lnTo>
                    <a:lnTo>
                      <a:pt x="6103" y="13298"/>
                    </a:lnTo>
                    <a:lnTo>
                      <a:pt x="5399" y="13298"/>
                    </a:lnTo>
                    <a:lnTo>
                      <a:pt x="5399" y="13834"/>
                    </a:lnTo>
                    <a:lnTo>
                      <a:pt x="3474" y="13834"/>
                    </a:lnTo>
                    <a:lnTo>
                      <a:pt x="4131" y="14155"/>
                    </a:lnTo>
                    <a:lnTo>
                      <a:pt x="5117" y="15496"/>
                    </a:lnTo>
                    <a:lnTo>
                      <a:pt x="3474" y="16354"/>
                    </a:lnTo>
                    <a:lnTo>
                      <a:pt x="0" y="160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0" name="Freeform 19"/>
              <p:cNvSpPr>
                <a:spLocks/>
              </p:cNvSpPr>
              <p:nvPr/>
            </p:nvSpPr>
            <p:spPr bwMode="auto">
              <a:xfrm>
                <a:off x="9185275" y="4592638"/>
                <a:ext cx="119063" cy="63500"/>
              </a:xfrm>
              <a:custGeom>
                <a:avLst/>
                <a:gdLst>
                  <a:gd name="T0" fmla="*/ 9840 w 20000"/>
                  <a:gd name="T1" fmla="*/ 19798 h 20000"/>
                  <a:gd name="T2" fmla="*/ 6096 w 20000"/>
                  <a:gd name="T3" fmla="*/ 19798 h 20000"/>
                  <a:gd name="T4" fmla="*/ 5455 w 20000"/>
                  <a:gd name="T5" fmla="*/ 17778 h 20000"/>
                  <a:gd name="T6" fmla="*/ 3850 w 20000"/>
                  <a:gd name="T7" fmla="*/ 17778 h 20000"/>
                  <a:gd name="T8" fmla="*/ 1711 w 20000"/>
                  <a:gd name="T9" fmla="*/ 16566 h 20000"/>
                  <a:gd name="T10" fmla="*/ 0 w 20000"/>
                  <a:gd name="T11" fmla="*/ 14545 h 20000"/>
                  <a:gd name="T12" fmla="*/ 0 w 20000"/>
                  <a:gd name="T13" fmla="*/ 11515 h 20000"/>
                  <a:gd name="T14" fmla="*/ 1070 w 20000"/>
                  <a:gd name="T15" fmla="*/ 12525 h 20000"/>
                  <a:gd name="T16" fmla="*/ 2781 w 20000"/>
                  <a:gd name="T17" fmla="*/ 11515 h 20000"/>
                  <a:gd name="T18" fmla="*/ 4385 w 20000"/>
                  <a:gd name="T19" fmla="*/ 12525 h 20000"/>
                  <a:gd name="T20" fmla="*/ 7166 w 20000"/>
                  <a:gd name="T21" fmla="*/ 11515 h 20000"/>
                  <a:gd name="T22" fmla="*/ 8235 w 20000"/>
                  <a:gd name="T23" fmla="*/ 8283 h 20000"/>
                  <a:gd name="T24" fmla="*/ 8770 w 20000"/>
                  <a:gd name="T25" fmla="*/ 12525 h 20000"/>
                  <a:gd name="T26" fmla="*/ 9840 w 20000"/>
                  <a:gd name="T27" fmla="*/ 11515 h 20000"/>
                  <a:gd name="T28" fmla="*/ 11123 w 20000"/>
                  <a:gd name="T29" fmla="*/ 12525 h 20000"/>
                  <a:gd name="T30" fmla="*/ 12727 w 20000"/>
                  <a:gd name="T31" fmla="*/ 11515 h 20000"/>
                  <a:gd name="T32" fmla="*/ 13262 w 20000"/>
                  <a:gd name="T33" fmla="*/ 8283 h 20000"/>
                  <a:gd name="T34" fmla="*/ 15508 w 20000"/>
                  <a:gd name="T35" fmla="*/ 8283 h 20000"/>
                  <a:gd name="T36" fmla="*/ 16043 w 20000"/>
                  <a:gd name="T37" fmla="*/ 6263 h 20000"/>
                  <a:gd name="T38" fmla="*/ 15508 w 20000"/>
                  <a:gd name="T39" fmla="*/ 1212 h 20000"/>
                  <a:gd name="T40" fmla="*/ 18824 w 20000"/>
                  <a:gd name="T41" fmla="*/ 0 h 20000"/>
                  <a:gd name="T42" fmla="*/ 19893 w 20000"/>
                  <a:gd name="T43" fmla="*/ 1212 h 20000"/>
                  <a:gd name="T44" fmla="*/ 19893 w 20000"/>
                  <a:gd name="T45" fmla="*/ 6263 h 20000"/>
                  <a:gd name="T46" fmla="*/ 18182 w 20000"/>
                  <a:gd name="T47" fmla="*/ 8283 h 20000"/>
                  <a:gd name="T48" fmla="*/ 18182 w 20000"/>
                  <a:gd name="T49" fmla="*/ 11515 h 20000"/>
                  <a:gd name="T50" fmla="*/ 16043 w 20000"/>
                  <a:gd name="T51" fmla="*/ 12525 h 20000"/>
                  <a:gd name="T52" fmla="*/ 15508 w 20000"/>
                  <a:gd name="T53" fmla="*/ 12525 h 20000"/>
                  <a:gd name="T54" fmla="*/ 14439 w 20000"/>
                  <a:gd name="T55" fmla="*/ 14545 h 20000"/>
                  <a:gd name="T56" fmla="*/ 9840 w 20000"/>
                  <a:gd name="T57" fmla="*/ 1979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000" h="20000">
                    <a:moveTo>
                      <a:pt x="9840" y="19798"/>
                    </a:moveTo>
                    <a:lnTo>
                      <a:pt x="6096" y="19798"/>
                    </a:lnTo>
                    <a:lnTo>
                      <a:pt x="5455" y="17778"/>
                    </a:lnTo>
                    <a:lnTo>
                      <a:pt x="3850" y="17778"/>
                    </a:lnTo>
                    <a:lnTo>
                      <a:pt x="1711" y="16566"/>
                    </a:lnTo>
                    <a:lnTo>
                      <a:pt x="0" y="14545"/>
                    </a:lnTo>
                    <a:lnTo>
                      <a:pt x="0" y="11515"/>
                    </a:lnTo>
                    <a:lnTo>
                      <a:pt x="1070" y="12525"/>
                    </a:lnTo>
                    <a:lnTo>
                      <a:pt x="2781" y="11515"/>
                    </a:lnTo>
                    <a:lnTo>
                      <a:pt x="4385" y="12525"/>
                    </a:lnTo>
                    <a:lnTo>
                      <a:pt x="7166" y="11515"/>
                    </a:lnTo>
                    <a:lnTo>
                      <a:pt x="8235" y="8283"/>
                    </a:lnTo>
                    <a:lnTo>
                      <a:pt x="8770" y="12525"/>
                    </a:lnTo>
                    <a:lnTo>
                      <a:pt x="9840" y="11515"/>
                    </a:lnTo>
                    <a:lnTo>
                      <a:pt x="11123" y="12525"/>
                    </a:lnTo>
                    <a:lnTo>
                      <a:pt x="12727" y="11515"/>
                    </a:lnTo>
                    <a:lnTo>
                      <a:pt x="13262" y="8283"/>
                    </a:lnTo>
                    <a:lnTo>
                      <a:pt x="15508" y="8283"/>
                    </a:lnTo>
                    <a:lnTo>
                      <a:pt x="16043" y="6263"/>
                    </a:lnTo>
                    <a:lnTo>
                      <a:pt x="15508" y="1212"/>
                    </a:lnTo>
                    <a:lnTo>
                      <a:pt x="18824" y="0"/>
                    </a:lnTo>
                    <a:lnTo>
                      <a:pt x="19893" y="1212"/>
                    </a:lnTo>
                    <a:lnTo>
                      <a:pt x="19893" y="6263"/>
                    </a:lnTo>
                    <a:lnTo>
                      <a:pt x="18182" y="8283"/>
                    </a:lnTo>
                    <a:lnTo>
                      <a:pt x="18182" y="11515"/>
                    </a:lnTo>
                    <a:lnTo>
                      <a:pt x="16043" y="12525"/>
                    </a:lnTo>
                    <a:lnTo>
                      <a:pt x="15508" y="12525"/>
                    </a:lnTo>
                    <a:lnTo>
                      <a:pt x="14439" y="14545"/>
                    </a:lnTo>
                    <a:lnTo>
                      <a:pt x="9840" y="1979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1" name="Freeform 18"/>
              <p:cNvSpPr>
                <a:spLocks/>
              </p:cNvSpPr>
              <p:nvPr/>
            </p:nvSpPr>
            <p:spPr bwMode="auto">
              <a:xfrm>
                <a:off x="9255125" y="4543425"/>
                <a:ext cx="66675" cy="69850"/>
              </a:xfrm>
              <a:custGeom>
                <a:avLst/>
                <a:gdLst>
                  <a:gd name="T0" fmla="*/ 17905 w 20000"/>
                  <a:gd name="T1" fmla="*/ 19818 h 20000"/>
                  <a:gd name="T2" fmla="*/ 17905 w 20000"/>
                  <a:gd name="T3" fmla="*/ 16909 h 20000"/>
                  <a:gd name="T4" fmla="*/ 16000 w 20000"/>
                  <a:gd name="T5" fmla="*/ 12364 h 20000"/>
                  <a:gd name="T6" fmla="*/ 12000 w 20000"/>
                  <a:gd name="T7" fmla="*/ 7636 h 20000"/>
                  <a:gd name="T8" fmla="*/ 3048 w 20000"/>
                  <a:gd name="T9" fmla="*/ 2909 h 20000"/>
                  <a:gd name="T10" fmla="*/ 0 w 20000"/>
                  <a:gd name="T11" fmla="*/ 2000 h 20000"/>
                  <a:gd name="T12" fmla="*/ 0 w 20000"/>
                  <a:gd name="T13" fmla="*/ 0 h 20000"/>
                  <a:gd name="T14" fmla="*/ 12952 w 20000"/>
                  <a:gd name="T15" fmla="*/ 5636 h 20000"/>
                  <a:gd name="T16" fmla="*/ 17905 w 20000"/>
                  <a:gd name="T17" fmla="*/ 10545 h 20000"/>
                  <a:gd name="T18" fmla="*/ 17905 w 20000"/>
                  <a:gd name="T19" fmla="*/ 12364 h 20000"/>
                  <a:gd name="T20" fmla="*/ 19810 w 20000"/>
                  <a:gd name="T21" fmla="*/ 16909 h 20000"/>
                  <a:gd name="T22" fmla="*/ 17905 w 20000"/>
                  <a:gd name="T23" fmla="*/ 19818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00" h="20000">
                    <a:moveTo>
                      <a:pt x="17905" y="19818"/>
                    </a:moveTo>
                    <a:lnTo>
                      <a:pt x="17905" y="16909"/>
                    </a:lnTo>
                    <a:lnTo>
                      <a:pt x="16000" y="12364"/>
                    </a:lnTo>
                    <a:lnTo>
                      <a:pt x="12000" y="7636"/>
                    </a:lnTo>
                    <a:lnTo>
                      <a:pt x="3048" y="2909"/>
                    </a:lnTo>
                    <a:lnTo>
                      <a:pt x="0" y="2000"/>
                    </a:lnTo>
                    <a:lnTo>
                      <a:pt x="0" y="0"/>
                    </a:lnTo>
                    <a:lnTo>
                      <a:pt x="12952" y="5636"/>
                    </a:lnTo>
                    <a:lnTo>
                      <a:pt x="17905" y="10545"/>
                    </a:lnTo>
                    <a:lnTo>
                      <a:pt x="17905" y="12364"/>
                    </a:lnTo>
                    <a:lnTo>
                      <a:pt x="19810" y="16909"/>
                    </a:lnTo>
                    <a:lnTo>
                      <a:pt x="17905" y="1981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2" name="Freeform 17"/>
              <p:cNvSpPr>
                <a:spLocks/>
              </p:cNvSpPr>
              <p:nvPr/>
            </p:nvSpPr>
            <p:spPr bwMode="auto">
              <a:xfrm>
                <a:off x="9363075" y="4618038"/>
                <a:ext cx="36513" cy="53975"/>
              </a:xfrm>
              <a:custGeom>
                <a:avLst/>
                <a:gdLst>
                  <a:gd name="T0" fmla="*/ 19655 w 20000"/>
                  <a:gd name="T1" fmla="*/ 19765 h 20000"/>
                  <a:gd name="T2" fmla="*/ 10690 w 20000"/>
                  <a:gd name="T3" fmla="*/ 19765 h 20000"/>
                  <a:gd name="T4" fmla="*/ 6897 w 20000"/>
                  <a:gd name="T5" fmla="*/ 13412 h 20000"/>
                  <a:gd name="T6" fmla="*/ 1379 w 20000"/>
                  <a:gd name="T7" fmla="*/ 11059 h 20000"/>
                  <a:gd name="T8" fmla="*/ 1379 w 20000"/>
                  <a:gd name="T9" fmla="*/ 4941 h 20000"/>
                  <a:gd name="T10" fmla="*/ 0 w 20000"/>
                  <a:gd name="T11" fmla="*/ 3765 h 20000"/>
                  <a:gd name="T12" fmla="*/ 0 w 20000"/>
                  <a:gd name="T13" fmla="*/ 0 h 20000"/>
                  <a:gd name="T14" fmla="*/ 1379 w 20000"/>
                  <a:gd name="T15" fmla="*/ 3765 h 20000"/>
                  <a:gd name="T16" fmla="*/ 5517 w 20000"/>
                  <a:gd name="T17" fmla="*/ 4941 h 20000"/>
                  <a:gd name="T18" fmla="*/ 10690 w 20000"/>
                  <a:gd name="T19" fmla="*/ 7294 h 20000"/>
                  <a:gd name="T20" fmla="*/ 14138 w 20000"/>
                  <a:gd name="T21" fmla="*/ 11059 h 20000"/>
                  <a:gd name="T22" fmla="*/ 15862 w 20000"/>
                  <a:gd name="T23" fmla="*/ 13412 h 20000"/>
                  <a:gd name="T24" fmla="*/ 19655 w 20000"/>
                  <a:gd name="T25" fmla="*/ 17176 h 20000"/>
                  <a:gd name="T26" fmla="*/ 19655 w 20000"/>
                  <a:gd name="T27" fmla="*/ 197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00" h="20000">
                    <a:moveTo>
                      <a:pt x="19655" y="19765"/>
                    </a:moveTo>
                    <a:lnTo>
                      <a:pt x="10690" y="19765"/>
                    </a:lnTo>
                    <a:lnTo>
                      <a:pt x="6897" y="13412"/>
                    </a:lnTo>
                    <a:lnTo>
                      <a:pt x="1379" y="11059"/>
                    </a:lnTo>
                    <a:lnTo>
                      <a:pt x="1379" y="4941"/>
                    </a:lnTo>
                    <a:lnTo>
                      <a:pt x="0" y="3765"/>
                    </a:lnTo>
                    <a:lnTo>
                      <a:pt x="0" y="0"/>
                    </a:lnTo>
                    <a:lnTo>
                      <a:pt x="1379" y="3765"/>
                    </a:lnTo>
                    <a:lnTo>
                      <a:pt x="5517" y="4941"/>
                    </a:lnTo>
                    <a:lnTo>
                      <a:pt x="10690" y="7294"/>
                    </a:lnTo>
                    <a:lnTo>
                      <a:pt x="14138" y="11059"/>
                    </a:lnTo>
                    <a:lnTo>
                      <a:pt x="15862" y="13412"/>
                    </a:lnTo>
                    <a:lnTo>
                      <a:pt x="19655" y="17176"/>
                    </a:lnTo>
                    <a:lnTo>
                      <a:pt x="19655" y="19765"/>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3" name="Freeform 16"/>
              <p:cNvSpPr>
                <a:spLocks/>
              </p:cNvSpPr>
              <p:nvPr/>
            </p:nvSpPr>
            <p:spPr bwMode="auto">
              <a:xfrm>
                <a:off x="9531350" y="4718050"/>
                <a:ext cx="23813" cy="49213"/>
              </a:xfrm>
              <a:custGeom>
                <a:avLst/>
                <a:gdLst>
                  <a:gd name="T0" fmla="*/ 19459 w 20000"/>
                  <a:gd name="T1" fmla="*/ 19744 h 20000"/>
                  <a:gd name="T2" fmla="*/ 14054 w 20000"/>
                  <a:gd name="T3" fmla="*/ 13077 h 20000"/>
                  <a:gd name="T4" fmla="*/ 0 w 20000"/>
                  <a:gd name="T5" fmla="*/ 9231 h 20000"/>
                  <a:gd name="T6" fmla="*/ 0 w 20000"/>
                  <a:gd name="T7" fmla="*/ 0 h 20000"/>
                  <a:gd name="T8" fmla="*/ 5405 w 20000"/>
                  <a:gd name="T9" fmla="*/ 0 h 20000"/>
                  <a:gd name="T10" fmla="*/ 8649 w 20000"/>
                  <a:gd name="T11" fmla="*/ 5128 h 20000"/>
                  <a:gd name="T12" fmla="*/ 14054 w 20000"/>
                  <a:gd name="T13" fmla="*/ 6667 h 20000"/>
                  <a:gd name="T14" fmla="*/ 19459 w 20000"/>
                  <a:gd name="T15" fmla="*/ 13077 h 20000"/>
                  <a:gd name="T16" fmla="*/ 19459 w 20000"/>
                  <a:gd name="T17" fmla="*/ 19744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00" h="20000">
                    <a:moveTo>
                      <a:pt x="19459" y="19744"/>
                    </a:moveTo>
                    <a:lnTo>
                      <a:pt x="14054" y="13077"/>
                    </a:lnTo>
                    <a:lnTo>
                      <a:pt x="0" y="9231"/>
                    </a:lnTo>
                    <a:lnTo>
                      <a:pt x="0" y="0"/>
                    </a:lnTo>
                    <a:lnTo>
                      <a:pt x="5405" y="0"/>
                    </a:lnTo>
                    <a:lnTo>
                      <a:pt x="8649" y="5128"/>
                    </a:lnTo>
                    <a:lnTo>
                      <a:pt x="14054" y="6667"/>
                    </a:lnTo>
                    <a:lnTo>
                      <a:pt x="19459" y="13077"/>
                    </a:lnTo>
                    <a:lnTo>
                      <a:pt x="19459" y="1974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4" name="Freeform 15"/>
              <p:cNvSpPr>
                <a:spLocks/>
              </p:cNvSpPr>
              <p:nvPr/>
            </p:nvSpPr>
            <p:spPr bwMode="auto">
              <a:xfrm>
                <a:off x="9471025" y="4697413"/>
                <a:ext cx="41275" cy="26987"/>
              </a:xfrm>
              <a:custGeom>
                <a:avLst/>
                <a:gdLst>
                  <a:gd name="T0" fmla="*/ 19688 w 20000"/>
                  <a:gd name="T1" fmla="*/ 19524 h 20000"/>
                  <a:gd name="T2" fmla="*/ 14688 w 20000"/>
                  <a:gd name="T3" fmla="*/ 14762 h 20000"/>
                  <a:gd name="T4" fmla="*/ 6563 w 20000"/>
                  <a:gd name="T5" fmla="*/ 7143 h 20000"/>
                  <a:gd name="T6" fmla="*/ 0 w 20000"/>
                  <a:gd name="T7" fmla="*/ 0 h 20000"/>
                  <a:gd name="T8" fmla="*/ 3125 w 20000"/>
                  <a:gd name="T9" fmla="*/ 0 h 20000"/>
                  <a:gd name="T10" fmla="*/ 8125 w 20000"/>
                  <a:gd name="T11" fmla="*/ 4762 h 20000"/>
                  <a:gd name="T12" fmla="*/ 14688 w 20000"/>
                  <a:gd name="T13" fmla="*/ 4762 h 20000"/>
                  <a:gd name="T14" fmla="*/ 19688 w 20000"/>
                  <a:gd name="T15" fmla="*/ 19524 h 20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00" h="20000">
                    <a:moveTo>
                      <a:pt x="19688" y="19524"/>
                    </a:moveTo>
                    <a:lnTo>
                      <a:pt x="14688" y="14762"/>
                    </a:lnTo>
                    <a:lnTo>
                      <a:pt x="6563" y="7143"/>
                    </a:lnTo>
                    <a:lnTo>
                      <a:pt x="0" y="0"/>
                    </a:lnTo>
                    <a:lnTo>
                      <a:pt x="3125" y="0"/>
                    </a:lnTo>
                    <a:lnTo>
                      <a:pt x="8125" y="4762"/>
                    </a:lnTo>
                    <a:lnTo>
                      <a:pt x="14688" y="4762"/>
                    </a:lnTo>
                    <a:lnTo>
                      <a:pt x="19688" y="195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5" name="Freeform 14"/>
              <p:cNvSpPr>
                <a:spLocks/>
              </p:cNvSpPr>
              <p:nvPr/>
            </p:nvSpPr>
            <p:spPr bwMode="auto">
              <a:xfrm>
                <a:off x="9501188" y="4749800"/>
                <a:ext cx="30162" cy="11113"/>
              </a:xfrm>
              <a:custGeom>
                <a:avLst/>
                <a:gdLst>
                  <a:gd name="T0" fmla="*/ 19583 w 20000"/>
                  <a:gd name="T1" fmla="*/ 18824 h 20000"/>
                  <a:gd name="T2" fmla="*/ 12917 w 20000"/>
                  <a:gd name="T3" fmla="*/ 18824 h 20000"/>
                  <a:gd name="T4" fmla="*/ 1667 w 20000"/>
                  <a:gd name="T5" fmla="*/ 18824 h 20000"/>
                  <a:gd name="T6" fmla="*/ 0 w 20000"/>
                  <a:gd name="T7" fmla="*/ 0 h 20000"/>
                  <a:gd name="T8" fmla="*/ 17083 w 20000"/>
                  <a:gd name="T9" fmla="*/ 0 h 20000"/>
                  <a:gd name="T10" fmla="*/ 19583 w 20000"/>
                  <a:gd name="T11" fmla="*/ 18824 h 20000"/>
                </a:gdLst>
                <a:ahLst/>
                <a:cxnLst>
                  <a:cxn ang="0">
                    <a:pos x="T0" y="T1"/>
                  </a:cxn>
                  <a:cxn ang="0">
                    <a:pos x="T2" y="T3"/>
                  </a:cxn>
                  <a:cxn ang="0">
                    <a:pos x="T4" y="T5"/>
                  </a:cxn>
                  <a:cxn ang="0">
                    <a:pos x="T6" y="T7"/>
                  </a:cxn>
                  <a:cxn ang="0">
                    <a:pos x="T8" y="T9"/>
                  </a:cxn>
                  <a:cxn ang="0">
                    <a:pos x="T10" y="T11"/>
                  </a:cxn>
                </a:cxnLst>
                <a:rect l="0" t="0" r="r" b="b"/>
                <a:pathLst>
                  <a:path w="20000" h="20000">
                    <a:moveTo>
                      <a:pt x="19583" y="18824"/>
                    </a:moveTo>
                    <a:lnTo>
                      <a:pt x="12917" y="18824"/>
                    </a:lnTo>
                    <a:lnTo>
                      <a:pt x="1667" y="18824"/>
                    </a:lnTo>
                    <a:lnTo>
                      <a:pt x="0" y="0"/>
                    </a:lnTo>
                    <a:lnTo>
                      <a:pt x="17083" y="0"/>
                    </a:lnTo>
                    <a:lnTo>
                      <a:pt x="19583"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6" name="Freeform 13"/>
              <p:cNvSpPr>
                <a:spLocks/>
              </p:cNvSpPr>
              <p:nvPr/>
            </p:nvSpPr>
            <p:spPr bwMode="auto">
              <a:xfrm>
                <a:off x="9415463" y="4664075"/>
                <a:ext cx="26987" cy="23813"/>
              </a:xfrm>
              <a:custGeom>
                <a:avLst/>
                <a:gdLst>
                  <a:gd name="T0" fmla="*/ 11905 w 20000"/>
                  <a:gd name="T1" fmla="*/ 19474 h 20000"/>
                  <a:gd name="T2" fmla="*/ 2857 w 20000"/>
                  <a:gd name="T3" fmla="*/ 8421 h 20000"/>
                  <a:gd name="T4" fmla="*/ 0 w 20000"/>
                  <a:gd name="T5" fmla="*/ 0 h 20000"/>
                  <a:gd name="T6" fmla="*/ 7143 w 20000"/>
                  <a:gd name="T7" fmla="*/ 5789 h 20000"/>
                  <a:gd name="T8" fmla="*/ 11905 w 20000"/>
                  <a:gd name="T9" fmla="*/ 8421 h 20000"/>
                  <a:gd name="T10" fmla="*/ 19524 w 20000"/>
                  <a:gd name="T11" fmla="*/ 19474 h 20000"/>
                  <a:gd name="T12" fmla="*/ 11905 w 20000"/>
                  <a:gd name="T13" fmla="*/ 1947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11905" y="19474"/>
                    </a:moveTo>
                    <a:lnTo>
                      <a:pt x="2857" y="8421"/>
                    </a:lnTo>
                    <a:lnTo>
                      <a:pt x="0" y="0"/>
                    </a:lnTo>
                    <a:lnTo>
                      <a:pt x="7143" y="5789"/>
                    </a:lnTo>
                    <a:lnTo>
                      <a:pt x="11905" y="8421"/>
                    </a:lnTo>
                    <a:lnTo>
                      <a:pt x="19524" y="19474"/>
                    </a:lnTo>
                    <a:lnTo>
                      <a:pt x="11905" y="1947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7" name="Freeform 12"/>
              <p:cNvSpPr>
                <a:spLocks/>
              </p:cNvSpPr>
              <p:nvPr/>
            </p:nvSpPr>
            <p:spPr bwMode="auto">
              <a:xfrm>
                <a:off x="3638550" y="1198563"/>
                <a:ext cx="1155700" cy="1276350"/>
              </a:xfrm>
              <a:custGeom>
                <a:avLst/>
                <a:gdLst>
                  <a:gd name="T0" fmla="*/ 3705 w 20000"/>
                  <a:gd name="T1" fmla="*/ 19214 h 20000"/>
                  <a:gd name="T2" fmla="*/ 2397 w 20000"/>
                  <a:gd name="T3" fmla="*/ 14425 h 20000"/>
                  <a:gd name="T4" fmla="*/ 4046 w 20000"/>
                  <a:gd name="T5" fmla="*/ 12424 h 20000"/>
                  <a:gd name="T6" fmla="*/ 3024 w 20000"/>
                  <a:gd name="T7" fmla="*/ 11180 h 20000"/>
                  <a:gd name="T8" fmla="*/ 3310 w 20000"/>
                  <a:gd name="T9" fmla="*/ 7417 h 20000"/>
                  <a:gd name="T10" fmla="*/ 1198 w 20000"/>
                  <a:gd name="T11" fmla="*/ 6650 h 20000"/>
                  <a:gd name="T12" fmla="*/ 121 w 20000"/>
                  <a:gd name="T13" fmla="*/ 6341 h 20000"/>
                  <a:gd name="T14" fmla="*/ 176 w 20000"/>
                  <a:gd name="T15" fmla="*/ 5973 h 20000"/>
                  <a:gd name="T16" fmla="*/ 121 w 20000"/>
                  <a:gd name="T17" fmla="*/ 5515 h 20000"/>
                  <a:gd name="T18" fmla="*/ 1539 w 20000"/>
                  <a:gd name="T19" fmla="*/ 5406 h 20000"/>
                  <a:gd name="T20" fmla="*/ 572 w 20000"/>
                  <a:gd name="T21" fmla="*/ 5097 h 20000"/>
                  <a:gd name="T22" fmla="*/ 748 w 20000"/>
                  <a:gd name="T23" fmla="*/ 4072 h 20000"/>
                  <a:gd name="T24" fmla="*/ 2276 w 20000"/>
                  <a:gd name="T25" fmla="*/ 3803 h 20000"/>
                  <a:gd name="T26" fmla="*/ 3595 w 20000"/>
                  <a:gd name="T27" fmla="*/ 3355 h 20000"/>
                  <a:gd name="T28" fmla="*/ 4167 w 20000"/>
                  <a:gd name="T29" fmla="*/ 2927 h 20000"/>
                  <a:gd name="T30" fmla="*/ 3024 w 20000"/>
                  <a:gd name="T31" fmla="*/ 2927 h 20000"/>
                  <a:gd name="T32" fmla="*/ 4453 w 20000"/>
                  <a:gd name="T33" fmla="*/ 2011 h 20000"/>
                  <a:gd name="T34" fmla="*/ 5069 w 20000"/>
                  <a:gd name="T35" fmla="*/ 1752 h 20000"/>
                  <a:gd name="T36" fmla="*/ 6267 w 20000"/>
                  <a:gd name="T37" fmla="*/ 1185 h 20000"/>
                  <a:gd name="T38" fmla="*/ 7180 w 20000"/>
                  <a:gd name="T39" fmla="*/ 2051 h 20000"/>
                  <a:gd name="T40" fmla="*/ 9291 w 20000"/>
                  <a:gd name="T41" fmla="*/ 1752 h 20000"/>
                  <a:gd name="T42" fmla="*/ 10192 w 20000"/>
                  <a:gd name="T43" fmla="*/ 1483 h 20000"/>
                  <a:gd name="T44" fmla="*/ 11226 w 20000"/>
                  <a:gd name="T45" fmla="*/ 1444 h 20000"/>
                  <a:gd name="T46" fmla="*/ 11963 w 20000"/>
                  <a:gd name="T47" fmla="*/ 976 h 20000"/>
                  <a:gd name="T48" fmla="*/ 11402 w 20000"/>
                  <a:gd name="T49" fmla="*/ 567 h 20000"/>
                  <a:gd name="T50" fmla="*/ 14458 w 20000"/>
                  <a:gd name="T51" fmla="*/ 0 h 20000"/>
                  <a:gd name="T52" fmla="*/ 15547 w 20000"/>
                  <a:gd name="T53" fmla="*/ 767 h 20000"/>
                  <a:gd name="T54" fmla="*/ 14524 w 20000"/>
                  <a:gd name="T55" fmla="*/ 976 h 20000"/>
                  <a:gd name="T56" fmla="*/ 17020 w 20000"/>
                  <a:gd name="T57" fmla="*/ 1444 h 20000"/>
                  <a:gd name="T58" fmla="*/ 16745 w 20000"/>
                  <a:gd name="T59" fmla="*/ 2011 h 20000"/>
                  <a:gd name="T60" fmla="*/ 13612 w 20000"/>
                  <a:gd name="T61" fmla="*/ 2519 h 20000"/>
                  <a:gd name="T62" fmla="*/ 16284 w 20000"/>
                  <a:gd name="T63" fmla="*/ 2578 h 20000"/>
                  <a:gd name="T64" fmla="*/ 16570 w 20000"/>
                  <a:gd name="T65" fmla="*/ 2419 h 20000"/>
                  <a:gd name="T66" fmla="*/ 16174 w 20000"/>
                  <a:gd name="T67" fmla="*/ 4072 h 20000"/>
                  <a:gd name="T68" fmla="*/ 17768 w 20000"/>
                  <a:gd name="T69" fmla="*/ 2827 h 20000"/>
                  <a:gd name="T70" fmla="*/ 19296 w 20000"/>
                  <a:gd name="T71" fmla="*/ 2678 h 20000"/>
                  <a:gd name="T72" fmla="*/ 19296 w 20000"/>
                  <a:gd name="T73" fmla="*/ 3803 h 20000"/>
                  <a:gd name="T74" fmla="*/ 18329 w 20000"/>
                  <a:gd name="T75" fmla="*/ 4171 h 20000"/>
                  <a:gd name="T76" fmla="*/ 17317 w 20000"/>
                  <a:gd name="T77" fmla="*/ 4898 h 20000"/>
                  <a:gd name="T78" fmla="*/ 17603 w 20000"/>
                  <a:gd name="T79" fmla="*/ 5515 h 20000"/>
                  <a:gd name="T80" fmla="*/ 17020 w 20000"/>
                  <a:gd name="T81" fmla="*/ 7257 h 20000"/>
                  <a:gd name="T82" fmla="*/ 16394 w 20000"/>
                  <a:gd name="T83" fmla="*/ 8094 h 20000"/>
                  <a:gd name="T84" fmla="*/ 16394 w 20000"/>
                  <a:gd name="T85" fmla="*/ 10662 h 20000"/>
                  <a:gd name="T86" fmla="*/ 14634 w 20000"/>
                  <a:gd name="T87" fmla="*/ 11180 h 20000"/>
                  <a:gd name="T88" fmla="*/ 14975 w 20000"/>
                  <a:gd name="T89" fmla="*/ 12932 h 20000"/>
                  <a:gd name="T90" fmla="*/ 14239 w 20000"/>
                  <a:gd name="T91" fmla="*/ 12265 h 20000"/>
                  <a:gd name="T92" fmla="*/ 13612 w 20000"/>
                  <a:gd name="T93" fmla="*/ 12056 h 20000"/>
                  <a:gd name="T94" fmla="*/ 12864 w 20000"/>
                  <a:gd name="T95" fmla="*/ 12832 h 20000"/>
                  <a:gd name="T96" fmla="*/ 15206 w 20000"/>
                  <a:gd name="T97" fmla="*/ 13141 h 20000"/>
                  <a:gd name="T98" fmla="*/ 11402 w 20000"/>
                  <a:gd name="T99" fmla="*/ 14316 h 20000"/>
                  <a:gd name="T100" fmla="*/ 10027 w 20000"/>
                  <a:gd name="T101" fmla="*/ 15152 h 20000"/>
                  <a:gd name="T102" fmla="*/ 8543 w 20000"/>
                  <a:gd name="T103" fmla="*/ 15301 h 20000"/>
                  <a:gd name="T104" fmla="*/ 7290 w 20000"/>
                  <a:gd name="T105" fmla="*/ 16595 h 20000"/>
                  <a:gd name="T106" fmla="*/ 5245 w 20000"/>
                  <a:gd name="T107" fmla="*/ 1999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00" h="20000">
                    <a:moveTo>
                      <a:pt x="5245" y="19990"/>
                    </a:moveTo>
                    <a:lnTo>
                      <a:pt x="4904" y="19890"/>
                    </a:lnTo>
                    <a:lnTo>
                      <a:pt x="4321" y="19214"/>
                    </a:lnTo>
                    <a:lnTo>
                      <a:pt x="3705" y="19214"/>
                    </a:lnTo>
                    <a:lnTo>
                      <a:pt x="3244" y="18646"/>
                    </a:lnTo>
                    <a:lnTo>
                      <a:pt x="2683" y="17262"/>
                    </a:lnTo>
                    <a:lnTo>
                      <a:pt x="2507" y="15660"/>
                    </a:lnTo>
                    <a:lnTo>
                      <a:pt x="2397" y="14425"/>
                    </a:lnTo>
                    <a:lnTo>
                      <a:pt x="2859" y="13499"/>
                    </a:lnTo>
                    <a:lnTo>
                      <a:pt x="3485" y="13400"/>
                    </a:lnTo>
                    <a:lnTo>
                      <a:pt x="3991" y="13141"/>
                    </a:lnTo>
                    <a:lnTo>
                      <a:pt x="4046" y="12424"/>
                    </a:lnTo>
                    <a:lnTo>
                      <a:pt x="3244" y="11747"/>
                    </a:lnTo>
                    <a:lnTo>
                      <a:pt x="4321" y="12155"/>
                    </a:lnTo>
                    <a:lnTo>
                      <a:pt x="3760" y="11329"/>
                    </a:lnTo>
                    <a:lnTo>
                      <a:pt x="3024" y="11180"/>
                    </a:lnTo>
                    <a:lnTo>
                      <a:pt x="3244" y="10662"/>
                    </a:lnTo>
                    <a:lnTo>
                      <a:pt x="3760" y="10304"/>
                    </a:lnTo>
                    <a:lnTo>
                      <a:pt x="3595" y="8133"/>
                    </a:lnTo>
                    <a:lnTo>
                      <a:pt x="3310" y="7417"/>
                    </a:lnTo>
                    <a:lnTo>
                      <a:pt x="2562" y="6999"/>
                    </a:lnTo>
                    <a:lnTo>
                      <a:pt x="1935" y="6750"/>
                    </a:lnTo>
                    <a:lnTo>
                      <a:pt x="1374" y="6899"/>
                    </a:lnTo>
                    <a:lnTo>
                      <a:pt x="1198" y="6650"/>
                    </a:lnTo>
                    <a:lnTo>
                      <a:pt x="858" y="6590"/>
                    </a:lnTo>
                    <a:lnTo>
                      <a:pt x="924" y="6999"/>
                    </a:lnTo>
                    <a:lnTo>
                      <a:pt x="341" y="6750"/>
                    </a:lnTo>
                    <a:lnTo>
                      <a:pt x="121" y="6341"/>
                    </a:lnTo>
                    <a:lnTo>
                      <a:pt x="462" y="6222"/>
                    </a:lnTo>
                    <a:lnTo>
                      <a:pt x="858" y="6083"/>
                    </a:lnTo>
                    <a:lnTo>
                      <a:pt x="572" y="6083"/>
                    </a:lnTo>
                    <a:lnTo>
                      <a:pt x="176" y="5973"/>
                    </a:lnTo>
                    <a:lnTo>
                      <a:pt x="572" y="5774"/>
                    </a:lnTo>
                    <a:lnTo>
                      <a:pt x="462" y="5665"/>
                    </a:lnTo>
                    <a:lnTo>
                      <a:pt x="0" y="5814"/>
                    </a:lnTo>
                    <a:lnTo>
                      <a:pt x="121" y="5515"/>
                    </a:lnTo>
                    <a:lnTo>
                      <a:pt x="858" y="5515"/>
                    </a:lnTo>
                    <a:lnTo>
                      <a:pt x="1649" y="5774"/>
                    </a:lnTo>
                    <a:lnTo>
                      <a:pt x="1935" y="5306"/>
                    </a:lnTo>
                    <a:lnTo>
                      <a:pt x="1539" y="5406"/>
                    </a:lnTo>
                    <a:lnTo>
                      <a:pt x="1089" y="5406"/>
                    </a:lnTo>
                    <a:lnTo>
                      <a:pt x="638" y="5246"/>
                    </a:lnTo>
                    <a:lnTo>
                      <a:pt x="924" y="5147"/>
                    </a:lnTo>
                    <a:lnTo>
                      <a:pt x="572" y="5097"/>
                    </a:lnTo>
                    <a:lnTo>
                      <a:pt x="176" y="4838"/>
                    </a:lnTo>
                    <a:lnTo>
                      <a:pt x="0" y="4579"/>
                    </a:lnTo>
                    <a:lnTo>
                      <a:pt x="176" y="4171"/>
                    </a:lnTo>
                    <a:lnTo>
                      <a:pt x="748" y="4072"/>
                    </a:lnTo>
                    <a:lnTo>
                      <a:pt x="1198" y="4072"/>
                    </a:lnTo>
                    <a:lnTo>
                      <a:pt x="1770" y="4022"/>
                    </a:lnTo>
                    <a:lnTo>
                      <a:pt x="1770" y="3922"/>
                    </a:lnTo>
                    <a:lnTo>
                      <a:pt x="2276" y="3803"/>
                    </a:lnTo>
                    <a:lnTo>
                      <a:pt x="2683" y="3803"/>
                    </a:lnTo>
                    <a:lnTo>
                      <a:pt x="2859" y="3922"/>
                    </a:lnTo>
                    <a:lnTo>
                      <a:pt x="3485" y="3604"/>
                    </a:lnTo>
                    <a:lnTo>
                      <a:pt x="3595" y="3355"/>
                    </a:lnTo>
                    <a:lnTo>
                      <a:pt x="3991" y="3245"/>
                    </a:lnTo>
                    <a:lnTo>
                      <a:pt x="3705" y="3086"/>
                    </a:lnTo>
                    <a:lnTo>
                      <a:pt x="4167" y="2987"/>
                    </a:lnTo>
                    <a:lnTo>
                      <a:pt x="4167" y="2927"/>
                    </a:lnTo>
                    <a:lnTo>
                      <a:pt x="3991" y="2987"/>
                    </a:lnTo>
                    <a:lnTo>
                      <a:pt x="3419" y="3086"/>
                    </a:lnTo>
                    <a:lnTo>
                      <a:pt x="3310" y="2927"/>
                    </a:lnTo>
                    <a:lnTo>
                      <a:pt x="3024" y="2927"/>
                    </a:lnTo>
                    <a:lnTo>
                      <a:pt x="3134" y="2728"/>
                    </a:lnTo>
                    <a:lnTo>
                      <a:pt x="3419" y="2578"/>
                    </a:lnTo>
                    <a:lnTo>
                      <a:pt x="4046" y="2260"/>
                    </a:lnTo>
                    <a:lnTo>
                      <a:pt x="4453" y="2011"/>
                    </a:lnTo>
                    <a:lnTo>
                      <a:pt x="4904" y="1911"/>
                    </a:lnTo>
                    <a:lnTo>
                      <a:pt x="4959" y="2260"/>
                    </a:lnTo>
                    <a:lnTo>
                      <a:pt x="5069" y="2260"/>
                    </a:lnTo>
                    <a:lnTo>
                      <a:pt x="5069" y="1752"/>
                    </a:lnTo>
                    <a:lnTo>
                      <a:pt x="5355" y="1752"/>
                    </a:lnTo>
                    <a:lnTo>
                      <a:pt x="5531" y="2011"/>
                    </a:lnTo>
                    <a:lnTo>
                      <a:pt x="5805" y="1911"/>
                    </a:lnTo>
                    <a:lnTo>
                      <a:pt x="6267" y="1185"/>
                    </a:lnTo>
                    <a:lnTo>
                      <a:pt x="6608" y="1234"/>
                    </a:lnTo>
                    <a:lnTo>
                      <a:pt x="6608" y="1603"/>
                    </a:lnTo>
                    <a:lnTo>
                      <a:pt x="7059" y="2051"/>
                    </a:lnTo>
                    <a:lnTo>
                      <a:pt x="7180" y="2051"/>
                    </a:lnTo>
                    <a:lnTo>
                      <a:pt x="6839" y="1075"/>
                    </a:lnTo>
                    <a:lnTo>
                      <a:pt x="8488" y="926"/>
                    </a:lnTo>
                    <a:lnTo>
                      <a:pt x="8543" y="1483"/>
                    </a:lnTo>
                    <a:lnTo>
                      <a:pt x="9291" y="1752"/>
                    </a:lnTo>
                    <a:lnTo>
                      <a:pt x="9401" y="1643"/>
                    </a:lnTo>
                    <a:lnTo>
                      <a:pt x="9291" y="1234"/>
                    </a:lnTo>
                    <a:lnTo>
                      <a:pt x="9456" y="926"/>
                    </a:lnTo>
                    <a:lnTo>
                      <a:pt x="10192" y="1483"/>
                    </a:lnTo>
                    <a:lnTo>
                      <a:pt x="10654" y="2160"/>
                    </a:lnTo>
                    <a:lnTo>
                      <a:pt x="10885" y="2011"/>
                    </a:lnTo>
                    <a:lnTo>
                      <a:pt x="10764" y="1643"/>
                    </a:lnTo>
                    <a:lnTo>
                      <a:pt x="11226" y="1444"/>
                    </a:lnTo>
                    <a:lnTo>
                      <a:pt x="11512" y="1603"/>
                    </a:lnTo>
                    <a:lnTo>
                      <a:pt x="11622" y="1603"/>
                    </a:lnTo>
                    <a:lnTo>
                      <a:pt x="11050" y="767"/>
                    </a:lnTo>
                    <a:lnTo>
                      <a:pt x="11963" y="976"/>
                    </a:lnTo>
                    <a:lnTo>
                      <a:pt x="12413" y="1444"/>
                    </a:lnTo>
                    <a:lnTo>
                      <a:pt x="12413" y="1075"/>
                    </a:lnTo>
                    <a:lnTo>
                      <a:pt x="12128" y="767"/>
                    </a:lnTo>
                    <a:lnTo>
                      <a:pt x="11402" y="567"/>
                    </a:lnTo>
                    <a:lnTo>
                      <a:pt x="11226" y="159"/>
                    </a:lnTo>
                    <a:lnTo>
                      <a:pt x="11512" y="159"/>
                    </a:lnTo>
                    <a:lnTo>
                      <a:pt x="13161" y="159"/>
                    </a:lnTo>
                    <a:lnTo>
                      <a:pt x="14458" y="0"/>
                    </a:lnTo>
                    <a:lnTo>
                      <a:pt x="15833" y="259"/>
                    </a:lnTo>
                    <a:lnTo>
                      <a:pt x="16570" y="567"/>
                    </a:lnTo>
                    <a:lnTo>
                      <a:pt x="16284" y="767"/>
                    </a:lnTo>
                    <a:lnTo>
                      <a:pt x="15547" y="767"/>
                    </a:lnTo>
                    <a:lnTo>
                      <a:pt x="14634" y="826"/>
                    </a:lnTo>
                    <a:lnTo>
                      <a:pt x="14008" y="926"/>
                    </a:lnTo>
                    <a:lnTo>
                      <a:pt x="13612" y="1185"/>
                    </a:lnTo>
                    <a:lnTo>
                      <a:pt x="14524" y="976"/>
                    </a:lnTo>
                    <a:lnTo>
                      <a:pt x="15723" y="976"/>
                    </a:lnTo>
                    <a:lnTo>
                      <a:pt x="16745" y="926"/>
                    </a:lnTo>
                    <a:lnTo>
                      <a:pt x="16745" y="1334"/>
                    </a:lnTo>
                    <a:lnTo>
                      <a:pt x="17020" y="1444"/>
                    </a:lnTo>
                    <a:lnTo>
                      <a:pt x="17768" y="1643"/>
                    </a:lnTo>
                    <a:lnTo>
                      <a:pt x="17317" y="1911"/>
                    </a:lnTo>
                    <a:lnTo>
                      <a:pt x="17141" y="2011"/>
                    </a:lnTo>
                    <a:lnTo>
                      <a:pt x="16745" y="2011"/>
                    </a:lnTo>
                    <a:lnTo>
                      <a:pt x="16460" y="2160"/>
                    </a:lnTo>
                    <a:lnTo>
                      <a:pt x="15943" y="2051"/>
                    </a:lnTo>
                    <a:lnTo>
                      <a:pt x="14975" y="2051"/>
                    </a:lnTo>
                    <a:lnTo>
                      <a:pt x="13612" y="2519"/>
                    </a:lnTo>
                    <a:lnTo>
                      <a:pt x="13722" y="2578"/>
                    </a:lnTo>
                    <a:lnTo>
                      <a:pt x="14975" y="2320"/>
                    </a:lnTo>
                    <a:lnTo>
                      <a:pt x="16174" y="2320"/>
                    </a:lnTo>
                    <a:lnTo>
                      <a:pt x="16284" y="2578"/>
                    </a:lnTo>
                    <a:lnTo>
                      <a:pt x="15547" y="2927"/>
                    </a:lnTo>
                    <a:lnTo>
                      <a:pt x="15723" y="3086"/>
                    </a:lnTo>
                    <a:lnTo>
                      <a:pt x="16460" y="2827"/>
                    </a:lnTo>
                    <a:lnTo>
                      <a:pt x="16570" y="2419"/>
                    </a:lnTo>
                    <a:lnTo>
                      <a:pt x="17196" y="2320"/>
                    </a:lnTo>
                    <a:lnTo>
                      <a:pt x="17196" y="2578"/>
                    </a:lnTo>
                    <a:lnTo>
                      <a:pt x="16910" y="3355"/>
                    </a:lnTo>
                    <a:lnTo>
                      <a:pt x="16174" y="4072"/>
                    </a:lnTo>
                    <a:lnTo>
                      <a:pt x="16690" y="3763"/>
                    </a:lnTo>
                    <a:lnTo>
                      <a:pt x="17317" y="3355"/>
                    </a:lnTo>
                    <a:lnTo>
                      <a:pt x="17603" y="2927"/>
                    </a:lnTo>
                    <a:lnTo>
                      <a:pt x="17768" y="2827"/>
                    </a:lnTo>
                    <a:lnTo>
                      <a:pt x="17768" y="3146"/>
                    </a:lnTo>
                    <a:lnTo>
                      <a:pt x="18329" y="3146"/>
                    </a:lnTo>
                    <a:lnTo>
                      <a:pt x="18571" y="2827"/>
                    </a:lnTo>
                    <a:lnTo>
                      <a:pt x="19296" y="2678"/>
                    </a:lnTo>
                    <a:lnTo>
                      <a:pt x="19989" y="2987"/>
                    </a:lnTo>
                    <a:lnTo>
                      <a:pt x="19879" y="3355"/>
                    </a:lnTo>
                    <a:lnTo>
                      <a:pt x="19252" y="3654"/>
                    </a:lnTo>
                    <a:lnTo>
                      <a:pt x="19296" y="3803"/>
                    </a:lnTo>
                    <a:lnTo>
                      <a:pt x="18802" y="4022"/>
                    </a:lnTo>
                    <a:lnTo>
                      <a:pt x="18109" y="4072"/>
                    </a:lnTo>
                    <a:lnTo>
                      <a:pt x="17603" y="4072"/>
                    </a:lnTo>
                    <a:lnTo>
                      <a:pt x="18329" y="4171"/>
                    </a:lnTo>
                    <a:lnTo>
                      <a:pt x="18802" y="4171"/>
                    </a:lnTo>
                    <a:lnTo>
                      <a:pt x="18505" y="4579"/>
                    </a:lnTo>
                    <a:lnTo>
                      <a:pt x="17603" y="4430"/>
                    </a:lnTo>
                    <a:lnTo>
                      <a:pt x="17317" y="4898"/>
                    </a:lnTo>
                    <a:lnTo>
                      <a:pt x="17317" y="4998"/>
                    </a:lnTo>
                    <a:lnTo>
                      <a:pt x="17658" y="4739"/>
                    </a:lnTo>
                    <a:lnTo>
                      <a:pt x="18329" y="4739"/>
                    </a:lnTo>
                    <a:lnTo>
                      <a:pt x="17603" y="5515"/>
                    </a:lnTo>
                    <a:lnTo>
                      <a:pt x="16910" y="6083"/>
                    </a:lnTo>
                    <a:lnTo>
                      <a:pt x="16866" y="6750"/>
                    </a:lnTo>
                    <a:lnTo>
                      <a:pt x="17317" y="7158"/>
                    </a:lnTo>
                    <a:lnTo>
                      <a:pt x="17020" y="7257"/>
                    </a:lnTo>
                    <a:lnTo>
                      <a:pt x="17361" y="7317"/>
                    </a:lnTo>
                    <a:lnTo>
                      <a:pt x="17493" y="7934"/>
                    </a:lnTo>
                    <a:lnTo>
                      <a:pt x="16690" y="7725"/>
                    </a:lnTo>
                    <a:lnTo>
                      <a:pt x="16394" y="8094"/>
                    </a:lnTo>
                    <a:lnTo>
                      <a:pt x="16866" y="8243"/>
                    </a:lnTo>
                    <a:lnTo>
                      <a:pt x="16910" y="9169"/>
                    </a:lnTo>
                    <a:lnTo>
                      <a:pt x="16866" y="9985"/>
                    </a:lnTo>
                    <a:lnTo>
                      <a:pt x="16394" y="10662"/>
                    </a:lnTo>
                    <a:lnTo>
                      <a:pt x="15657" y="10821"/>
                    </a:lnTo>
                    <a:lnTo>
                      <a:pt x="15096" y="10553"/>
                    </a:lnTo>
                    <a:lnTo>
                      <a:pt x="14458" y="10762"/>
                    </a:lnTo>
                    <a:lnTo>
                      <a:pt x="14634" y="11180"/>
                    </a:lnTo>
                    <a:lnTo>
                      <a:pt x="15206" y="11847"/>
                    </a:lnTo>
                    <a:lnTo>
                      <a:pt x="15492" y="12155"/>
                    </a:lnTo>
                    <a:lnTo>
                      <a:pt x="15492" y="12832"/>
                    </a:lnTo>
                    <a:lnTo>
                      <a:pt x="14975" y="12932"/>
                    </a:lnTo>
                    <a:lnTo>
                      <a:pt x="14931" y="12932"/>
                    </a:lnTo>
                    <a:lnTo>
                      <a:pt x="14524" y="12723"/>
                    </a:lnTo>
                    <a:lnTo>
                      <a:pt x="14524" y="12464"/>
                    </a:lnTo>
                    <a:lnTo>
                      <a:pt x="14239" y="12265"/>
                    </a:lnTo>
                    <a:lnTo>
                      <a:pt x="13788" y="11996"/>
                    </a:lnTo>
                    <a:lnTo>
                      <a:pt x="13161" y="11588"/>
                    </a:lnTo>
                    <a:lnTo>
                      <a:pt x="13040" y="11747"/>
                    </a:lnTo>
                    <a:lnTo>
                      <a:pt x="13612" y="12056"/>
                    </a:lnTo>
                    <a:lnTo>
                      <a:pt x="14074" y="12305"/>
                    </a:lnTo>
                    <a:lnTo>
                      <a:pt x="13271" y="12424"/>
                    </a:lnTo>
                    <a:lnTo>
                      <a:pt x="12985" y="12673"/>
                    </a:lnTo>
                    <a:lnTo>
                      <a:pt x="12864" y="12832"/>
                    </a:lnTo>
                    <a:lnTo>
                      <a:pt x="13612" y="12832"/>
                    </a:lnTo>
                    <a:lnTo>
                      <a:pt x="12699" y="12982"/>
                    </a:lnTo>
                    <a:lnTo>
                      <a:pt x="14008" y="12932"/>
                    </a:lnTo>
                    <a:lnTo>
                      <a:pt x="15206" y="13141"/>
                    </a:lnTo>
                    <a:lnTo>
                      <a:pt x="14755" y="13400"/>
                    </a:lnTo>
                    <a:lnTo>
                      <a:pt x="13557" y="14007"/>
                    </a:lnTo>
                    <a:lnTo>
                      <a:pt x="12413" y="14166"/>
                    </a:lnTo>
                    <a:lnTo>
                      <a:pt x="11402" y="14316"/>
                    </a:lnTo>
                    <a:lnTo>
                      <a:pt x="11050" y="14007"/>
                    </a:lnTo>
                    <a:lnTo>
                      <a:pt x="11160" y="14425"/>
                    </a:lnTo>
                    <a:lnTo>
                      <a:pt x="10764" y="14584"/>
                    </a:lnTo>
                    <a:lnTo>
                      <a:pt x="10027" y="15152"/>
                    </a:lnTo>
                    <a:lnTo>
                      <a:pt x="9115" y="15719"/>
                    </a:lnTo>
                    <a:lnTo>
                      <a:pt x="8664" y="15719"/>
                    </a:lnTo>
                    <a:lnTo>
                      <a:pt x="8840" y="15301"/>
                    </a:lnTo>
                    <a:lnTo>
                      <a:pt x="8543" y="15301"/>
                    </a:lnTo>
                    <a:lnTo>
                      <a:pt x="8488" y="15819"/>
                    </a:lnTo>
                    <a:lnTo>
                      <a:pt x="7916" y="15918"/>
                    </a:lnTo>
                    <a:lnTo>
                      <a:pt x="7631" y="16068"/>
                    </a:lnTo>
                    <a:lnTo>
                      <a:pt x="7290" y="16595"/>
                    </a:lnTo>
                    <a:lnTo>
                      <a:pt x="7059" y="17003"/>
                    </a:lnTo>
                    <a:lnTo>
                      <a:pt x="6608" y="17670"/>
                    </a:lnTo>
                    <a:lnTo>
                      <a:pt x="6267" y="18547"/>
                    </a:lnTo>
                    <a:lnTo>
                      <a:pt x="5245" y="1999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8" name="Freeform 11"/>
              <p:cNvSpPr>
                <a:spLocks/>
              </p:cNvSpPr>
              <p:nvPr/>
            </p:nvSpPr>
            <p:spPr bwMode="auto">
              <a:xfrm>
                <a:off x="3243263" y="4135438"/>
                <a:ext cx="30162" cy="12700"/>
              </a:xfrm>
              <a:custGeom>
                <a:avLst/>
                <a:gdLst>
                  <a:gd name="T0" fmla="*/ 15000 w 20000"/>
                  <a:gd name="T1" fmla="*/ 19048 h 20000"/>
                  <a:gd name="T2" fmla="*/ 0 w 20000"/>
                  <a:gd name="T3" fmla="*/ 19048 h 20000"/>
                  <a:gd name="T4" fmla="*/ 8750 w 20000"/>
                  <a:gd name="T5" fmla="*/ 14286 h 20000"/>
                  <a:gd name="T6" fmla="*/ 8750 w 20000"/>
                  <a:gd name="T7" fmla="*/ 0 h 20000"/>
                  <a:gd name="T8" fmla="*/ 19583 w 20000"/>
                  <a:gd name="T9" fmla="*/ 0 h 20000"/>
                  <a:gd name="T10" fmla="*/ 15000 w 20000"/>
                  <a:gd name="T11" fmla="*/ 19048 h 20000"/>
                </a:gdLst>
                <a:ahLst/>
                <a:cxnLst>
                  <a:cxn ang="0">
                    <a:pos x="T0" y="T1"/>
                  </a:cxn>
                  <a:cxn ang="0">
                    <a:pos x="T2" y="T3"/>
                  </a:cxn>
                  <a:cxn ang="0">
                    <a:pos x="T4" y="T5"/>
                  </a:cxn>
                  <a:cxn ang="0">
                    <a:pos x="T6" y="T7"/>
                  </a:cxn>
                  <a:cxn ang="0">
                    <a:pos x="T8" y="T9"/>
                  </a:cxn>
                  <a:cxn ang="0">
                    <a:pos x="T10" y="T11"/>
                  </a:cxn>
                </a:cxnLst>
                <a:rect l="0" t="0" r="r" b="b"/>
                <a:pathLst>
                  <a:path w="20000" h="20000">
                    <a:moveTo>
                      <a:pt x="15000" y="19048"/>
                    </a:moveTo>
                    <a:lnTo>
                      <a:pt x="0" y="19048"/>
                    </a:lnTo>
                    <a:lnTo>
                      <a:pt x="8750" y="14286"/>
                    </a:lnTo>
                    <a:lnTo>
                      <a:pt x="8750" y="0"/>
                    </a:lnTo>
                    <a:lnTo>
                      <a:pt x="19583" y="0"/>
                    </a:lnTo>
                    <a:lnTo>
                      <a:pt x="15000" y="19048"/>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39" name="Freeform 10"/>
              <p:cNvSpPr>
                <a:spLocks/>
              </p:cNvSpPr>
              <p:nvPr/>
            </p:nvSpPr>
            <p:spPr bwMode="auto">
              <a:xfrm>
                <a:off x="8883650" y="5864225"/>
                <a:ext cx="103188" cy="128588"/>
              </a:xfrm>
              <a:custGeom>
                <a:avLst/>
                <a:gdLst>
                  <a:gd name="T0" fmla="*/ 5185 w 20000"/>
                  <a:gd name="T1" fmla="*/ 19901 h 20000"/>
                  <a:gd name="T2" fmla="*/ 3333 w 20000"/>
                  <a:gd name="T3" fmla="*/ 19310 h 20000"/>
                  <a:gd name="T4" fmla="*/ 1975 w 20000"/>
                  <a:gd name="T5" fmla="*/ 18325 h 20000"/>
                  <a:gd name="T6" fmla="*/ 3333 w 20000"/>
                  <a:gd name="T7" fmla="*/ 18325 h 20000"/>
                  <a:gd name="T8" fmla="*/ 3333 w 20000"/>
                  <a:gd name="T9" fmla="*/ 17241 h 20000"/>
                  <a:gd name="T10" fmla="*/ 1358 w 20000"/>
                  <a:gd name="T11" fmla="*/ 16847 h 20000"/>
                  <a:gd name="T12" fmla="*/ 0 w 20000"/>
                  <a:gd name="T13" fmla="*/ 14286 h 20000"/>
                  <a:gd name="T14" fmla="*/ 1358 w 20000"/>
                  <a:gd name="T15" fmla="*/ 10640 h 20000"/>
                  <a:gd name="T16" fmla="*/ 1975 w 20000"/>
                  <a:gd name="T17" fmla="*/ 11626 h 20000"/>
                  <a:gd name="T18" fmla="*/ 1975 w 20000"/>
                  <a:gd name="T19" fmla="*/ 10640 h 20000"/>
                  <a:gd name="T20" fmla="*/ 1358 w 20000"/>
                  <a:gd name="T21" fmla="*/ 1970 h 20000"/>
                  <a:gd name="T22" fmla="*/ 1975 w 20000"/>
                  <a:gd name="T23" fmla="*/ 0 h 20000"/>
                  <a:gd name="T24" fmla="*/ 3333 w 20000"/>
                  <a:gd name="T25" fmla="*/ 0 h 20000"/>
                  <a:gd name="T26" fmla="*/ 4568 w 20000"/>
                  <a:gd name="T27" fmla="*/ 985 h 20000"/>
                  <a:gd name="T28" fmla="*/ 7160 w 20000"/>
                  <a:gd name="T29" fmla="*/ 2562 h 20000"/>
                  <a:gd name="T30" fmla="*/ 12222 w 20000"/>
                  <a:gd name="T31" fmla="*/ 3547 h 20000"/>
                  <a:gd name="T32" fmla="*/ 15432 w 20000"/>
                  <a:gd name="T33" fmla="*/ 2562 h 20000"/>
                  <a:gd name="T34" fmla="*/ 16667 w 20000"/>
                  <a:gd name="T35" fmla="*/ 2562 h 20000"/>
                  <a:gd name="T36" fmla="*/ 19877 w 20000"/>
                  <a:gd name="T37" fmla="*/ 1970 h 20000"/>
                  <a:gd name="T38" fmla="*/ 19877 w 20000"/>
                  <a:gd name="T39" fmla="*/ 2562 h 20000"/>
                  <a:gd name="T40" fmla="*/ 17901 w 20000"/>
                  <a:gd name="T41" fmla="*/ 11626 h 20000"/>
                  <a:gd name="T42" fmla="*/ 16667 w 20000"/>
                  <a:gd name="T43" fmla="*/ 11626 h 20000"/>
                  <a:gd name="T44" fmla="*/ 16667 w 20000"/>
                  <a:gd name="T45" fmla="*/ 10640 h 20000"/>
                  <a:gd name="T46" fmla="*/ 15432 w 20000"/>
                  <a:gd name="T47" fmla="*/ 11626 h 20000"/>
                  <a:gd name="T48" fmla="*/ 15432 w 20000"/>
                  <a:gd name="T49" fmla="*/ 13202 h 20000"/>
                  <a:gd name="T50" fmla="*/ 14815 w 20000"/>
                  <a:gd name="T51" fmla="*/ 14680 h 20000"/>
                  <a:gd name="T52" fmla="*/ 13457 w 20000"/>
                  <a:gd name="T53" fmla="*/ 17241 h 20000"/>
                  <a:gd name="T54" fmla="*/ 11605 w 20000"/>
                  <a:gd name="T55" fmla="*/ 18325 h 20000"/>
                  <a:gd name="T56" fmla="*/ 11605 w 20000"/>
                  <a:gd name="T57" fmla="*/ 16847 h 20000"/>
                  <a:gd name="T58" fmla="*/ 12222 w 20000"/>
                  <a:gd name="T59" fmla="*/ 16847 h 20000"/>
                  <a:gd name="T60" fmla="*/ 12222 w 20000"/>
                  <a:gd name="T61" fmla="*/ 14680 h 20000"/>
                  <a:gd name="T62" fmla="*/ 11605 w 20000"/>
                  <a:gd name="T63" fmla="*/ 14680 h 20000"/>
                  <a:gd name="T64" fmla="*/ 9630 w 20000"/>
                  <a:gd name="T65" fmla="*/ 17241 h 20000"/>
                  <a:gd name="T66" fmla="*/ 8395 w 20000"/>
                  <a:gd name="T67" fmla="*/ 17241 h 20000"/>
                  <a:gd name="T68" fmla="*/ 7160 w 20000"/>
                  <a:gd name="T69" fmla="*/ 19901 h 20000"/>
                  <a:gd name="T70" fmla="*/ 5185 w 20000"/>
                  <a:gd name="T71" fmla="*/ 19901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00" h="20000">
                    <a:moveTo>
                      <a:pt x="5185" y="19901"/>
                    </a:moveTo>
                    <a:lnTo>
                      <a:pt x="3333" y="19310"/>
                    </a:lnTo>
                    <a:lnTo>
                      <a:pt x="1975" y="18325"/>
                    </a:lnTo>
                    <a:lnTo>
                      <a:pt x="3333" y="18325"/>
                    </a:lnTo>
                    <a:lnTo>
                      <a:pt x="3333" y="17241"/>
                    </a:lnTo>
                    <a:lnTo>
                      <a:pt x="1358" y="16847"/>
                    </a:lnTo>
                    <a:lnTo>
                      <a:pt x="0" y="14286"/>
                    </a:lnTo>
                    <a:lnTo>
                      <a:pt x="1358" y="10640"/>
                    </a:lnTo>
                    <a:lnTo>
                      <a:pt x="1975" y="11626"/>
                    </a:lnTo>
                    <a:lnTo>
                      <a:pt x="1975" y="10640"/>
                    </a:lnTo>
                    <a:lnTo>
                      <a:pt x="1358" y="1970"/>
                    </a:lnTo>
                    <a:lnTo>
                      <a:pt x="1975" y="0"/>
                    </a:lnTo>
                    <a:lnTo>
                      <a:pt x="3333" y="0"/>
                    </a:lnTo>
                    <a:lnTo>
                      <a:pt x="4568" y="985"/>
                    </a:lnTo>
                    <a:lnTo>
                      <a:pt x="7160" y="2562"/>
                    </a:lnTo>
                    <a:lnTo>
                      <a:pt x="12222" y="3547"/>
                    </a:lnTo>
                    <a:lnTo>
                      <a:pt x="15432" y="2562"/>
                    </a:lnTo>
                    <a:lnTo>
                      <a:pt x="16667" y="2562"/>
                    </a:lnTo>
                    <a:lnTo>
                      <a:pt x="19877" y="1970"/>
                    </a:lnTo>
                    <a:lnTo>
                      <a:pt x="19877" y="2562"/>
                    </a:lnTo>
                    <a:lnTo>
                      <a:pt x="17901" y="11626"/>
                    </a:lnTo>
                    <a:lnTo>
                      <a:pt x="16667" y="11626"/>
                    </a:lnTo>
                    <a:lnTo>
                      <a:pt x="16667" y="10640"/>
                    </a:lnTo>
                    <a:lnTo>
                      <a:pt x="15432" y="11626"/>
                    </a:lnTo>
                    <a:lnTo>
                      <a:pt x="15432" y="13202"/>
                    </a:lnTo>
                    <a:lnTo>
                      <a:pt x="14815" y="14680"/>
                    </a:lnTo>
                    <a:lnTo>
                      <a:pt x="13457" y="17241"/>
                    </a:lnTo>
                    <a:lnTo>
                      <a:pt x="11605" y="18325"/>
                    </a:lnTo>
                    <a:lnTo>
                      <a:pt x="11605" y="16847"/>
                    </a:lnTo>
                    <a:lnTo>
                      <a:pt x="12222" y="16847"/>
                    </a:lnTo>
                    <a:lnTo>
                      <a:pt x="12222" y="14680"/>
                    </a:lnTo>
                    <a:lnTo>
                      <a:pt x="11605" y="14680"/>
                    </a:lnTo>
                    <a:lnTo>
                      <a:pt x="9630" y="17241"/>
                    </a:lnTo>
                    <a:lnTo>
                      <a:pt x="8395" y="17241"/>
                    </a:lnTo>
                    <a:lnTo>
                      <a:pt x="7160" y="19901"/>
                    </a:lnTo>
                    <a:lnTo>
                      <a:pt x="5185" y="19901"/>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40" name="Freeform 9"/>
              <p:cNvSpPr>
                <a:spLocks/>
              </p:cNvSpPr>
              <p:nvPr/>
            </p:nvSpPr>
            <p:spPr bwMode="auto">
              <a:xfrm>
                <a:off x="6527800" y="5062538"/>
                <a:ext cx="17463" cy="17462"/>
              </a:xfrm>
              <a:custGeom>
                <a:avLst/>
                <a:gdLst>
                  <a:gd name="T0" fmla="*/ 11852 w 20000"/>
                  <a:gd name="T1" fmla="*/ 19259 h 20000"/>
                  <a:gd name="T2" fmla="*/ 0 w 20000"/>
                  <a:gd name="T3" fmla="*/ 15556 h 20000"/>
                  <a:gd name="T4" fmla="*/ 7407 w 20000"/>
                  <a:gd name="T5" fmla="*/ 0 h 20000"/>
                  <a:gd name="T6" fmla="*/ 19259 w 20000"/>
                  <a:gd name="T7" fmla="*/ 15556 h 20000"/>
                  <a:gd name="T8" fmla="*/ 11852 w 20000"/>
                  <a:gd name="T9" fmla="*/ 19259 h 20000"/>
                </a:gdLst>
                <a:ahLst/>
                <a:cxnLst>
                  <a:cxn ang="0">
                    <a:pos x="T0" y="T1"/>
                  </a:cxn>
                  <a:cxn ang="0">
                    <a:pos x="T2" y="T3"/>
                  </a:cxn>
                  <a:cxn ang="0">
                    <a:pos x="T4" y="T5"/>
                  </a:cxn>
                  <a:cxn ang="0">
                    <a:pos x="T6" y="T7"/>
                  </a:cxn>
                  <a:cxn ang="0">
                    <a:pos x="T8" y="T9"/>
                  </a:cxn>
                </a:cxnLst>
                <a:rect l="0" t="0" r="r" b="b"/>
                <a:pathLst>
                  <a:path w="20000" h="20000">
                    <a:moveTo>
                      <a:pt x="11852" y="19259"/>
                    </a:moveTo>
                    <a:lnTo>
                      <a:pt x="0" y="15556"/>
                    </a:lnTo>
                    <a:lnTo>
                      <a:pt x="7407" y="0"/>
                    </a:lnTo>
                    <a:lnTo>
                      <a:pt x="19259" y="15556"/>
                    </a:lnTo>
                    <a:lnTo>
                      <a:pt x="11852"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41" name="Freeform 8"/>
              <p:cNvSpPr>
                <a:spLocks/>
              </p:cNvSpPr>
              <p:nvPr/>
            </p:nvSpPr>
            <p:spPr bwMode="auto">
              <a:xfrm>
                <a:off x="9590088" y="5102225"/>
                <a:ext cx="50800" cy="85725"/>
              </a:xfrm>
              <a:custGeom>
                <a:avLst/>
                <a:gdLst>
                  <a:gd name="T0" fmla="*/ 19747 w 20000"/>
                  <a:gd name="T1" fmla="*/ 19852 h 20000"/>
                  <a:gd name="T2" fmla="*/ 14430 w 20000"/>
                  <a:gd name="T3" fmla="*/ 18370 h 20000"/>
                  <a:gd name="T4" fmla="*/ 14430 w 20000"/>
                  <a:gd name="T5" fmla="*/ 16000 h 20000"/>
                  <a:gd name="T6" fmla="*/ 7848 w 20000"/>
                  <a:gd name="T7" fmla="*/ 13037 h 20000"/>
                  <a:gd name="T8" fmla="*/ 2785 w 20000"/>
                  <a:gd name="T9" fmla="*/ 6074 h 20000"/>
                  <a:gd name="T10" fmla="*/ 0 w 20000"/>
                  <a:gd name="T11" fmla="*/ 0 h 20000"/>
                  <a:gd name="T12" fmla="*/ 2785 w 20000"/>
                  <a:gd name="T13" fmla="*/ 593 h 20000"/>
                  <a:gd name="T14" fmla="*/ 7848 w 20000"/>
                  <a:gd name="T15" fmla="*/ 6074 h 20000"/>
                  <a:gd name="T16" fmla="*/ 10380 w 20000"/>
                  <a:gd name="T17" fmla="*/ 6815 h 20000"/>
                  <a:gd name="T18" fmla="*/ 10380 w 20000"/>
                  <a:gd name="T19" fmla="*/ 9926 h 20000"/>
                  <a:gd name="T20" fmla="*/ 14430 w 20000"/>
                  <a:gd name="T21" fmla="*/ 12296 h 20000"/>
                  <a:gd name="T22" fmla="*/ 19747 w 20000"/>
                  <a:gd name="T23" fmla="*/ 16889 h 20000"/>
                  <a:gd name="T24" fmla="*/ 19747 w 20000"/>
                  <a:gd name="T25" fmla="*/ 1985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00" h="20000">
                    <a:moveTo>
                      <a:pt x="19747" y="19852"/>
                    </a:moveTo>
                    <a:lnTo>
                      <a:pt x="14430" y="18370"/>
                    </a:lnTo>
                    <a:lnTo>
                      <a:pt x="14430" y="16000"/>
                    </a:lnTo>
                    <a:lnTo>
                      <a:pt x="7848" y="13037"/>
                    </a:lnTo>
                    <a:lnTo>
                      <a:pt x="2785" y="6074"/>
                    </a:lnTo>
                    <a:lnTo>
                      <a:pt x="0" y="0"/>
                    </a:lnTo>
                    <a:lnTo>
                      <a:pt x="2785" y="593"/>
                    </a:lnTo>
                    <a:lnTo>
                      <a:pt x="7848" y="6074"/>
                    </a:lnTo>
                    <a:lnTo>
                      <a:pt x="10380" y="6815"/>
                    </a:lnTo>
                    <a:lnTo>
                      <a:pt x="10380" y="9926"/>
                    </a:lnTo>
                    <a:lnTo>
                      <a:pt x="14430" y="12296"/>
                    </a:lnTo>
                    <a:lnTo>
                      <a:pt x="19747" y="16889"/>
                    </a:lnTo>
                    <a:lnTo>
                      <a:pt x="19747" y="1985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42" name="Freeform 7"/>
              <p:cNvSpPr>
                <a:spLocks/>
              </p:cNvSpPr>
              <p:nvPr/>
            </p:nvSpPr>
            <p:spPr bwMode="auto">
              <a:xfrm>
                <a:off x="3267075" y="4010025"/>
                <a:ext cx="11113" cy="17463"/>
              </a:xfrm>
              <a:custGeom>
                <a:avLst/>
                <a:gdLst>
                  <a:gd name="T0" fmla="*/ 18824 w 20000"/>
                  <a:gd name="T1" fmla="*/ 19286 h 20000"/>
                  <a:gd name="T2" fmla="*/ 12941 w 20000"/>
                  <a:gd name="T3" fmla="*/ 19286 h 20000"/>
                  <a:gd name="T4" fmla="*/ 0 w 20000"/>
                  <a:gd name="T5" fmla="*/ 0 h 20000"/>
                  <a:gd name="T6" fmla="*/ 18824 w 20000"/>
                  <a:gd name="T7" fmla="*/ 7857 h 20000"/>
                  <a:gd name="T8" fmla="*/ 18824 w 20000"/>
                  <a:gd name="T9" fmla="*/ 19286 h 20000"/>
                </a:gdLst>
                <a:ahLst/>
                <a:cxnLst>
                  <a:cxn ang="0">
                    <a:pos x="T0" y="T1"/>
                  </a:cxn>
                  <a:cxn ang="0">
                    <a:pos x="T2" y="T3"/>
                  </a:cxn>
                  <a:cxn ang="0">
                    <a:pos x="T4" y="T5"/>
                  </a:cxn>
                  <a:cxn ang="0">
                    <a:pos x="T6" y="T7"/>
                  </a:cxn>
                  <a:cxn ang="0">
                    <a:pos x="T8" y="T9"/>
                  </a:cxn>
                </a:cxnLst>
                <a:rect l="0" t="0" r="r" b="b"/>
                <a:pathLst>
                  <a:path w="20000" h="20000">
                    <a:moveTo>
                      <a:pt x="18824" y="19286"/>
                    </a:moveTo>
                    <a:lnTo>
                      <a:pt x="12941" y="19286"/>
                    </a:lnTo>
                    <a:lnTo>
                      <a:pt x="0" y="0"/>
                    </a:lnTo>
                    <a:lnTo>
                      <a:pt x="18824" y="7857"/>
                    </a:lnTo>
                    <a:lnTo>
                      <a:pt x="18824" y="19286"/>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45" name="Freeform 6"/>
              <p:cNvSpPr>
                <a:spLocks/>
              </p:cNvSpPr>
              <p:nvPr/>
            </p:nvSpPr>
            <p:spPr bwMode="auto">
              <a:xfrm>
                <a:off x="4516438" y="3484563"/>
                <a:ext cx="17462" cy="6350"/>
              </a:xfrm>
              <a:custGeom>
                <a:avLst/>
                <a:gdLst>
                  <a:gd name="T0" fmla="*/ 11852 w 20000"/>
                  <a:gd name="T1" fmla="*/ 18182 h 20000"/>
                  <a:gd name="T2" fmla="*/ 0 w 20000"/>
                  <a:gd name="T3" fmla="*/ 0 h 20000"/>
                  <a:gd name="T4" fmla="*/ 3704 w 20000"/>
                  <a:gd name="T5" fmla="*/ 0 h 20000"/>
                  <a:gd name="T6" fmla="*/ 19259 w 20000"/>
                  <a:gd name="T7" fmla="*/ 18182 h 20000"/>
                  <a:gd name="T8" fmla="*/ 11852 w 20000"/>
                  <a:gd name="T9" fmla="*/ 18182 h 20000"/>
                </a:gdLst>
                <a:ahLst/>
                <a:cxnLst>
                  <a:cxn ang="0">
                    <a:pos x="T0" y="T1"/>
                  </a:cxn>
                  <a:cxn ang="0">
                    <a:pos x="T2" y="T3"/>
                  </a:cxn>
                  <a:cxn ang="0">
                    <a:pos x="T4" y="T5"/>
                  </a:cxn>
                  <a:cxn ang="0">
                    <a:pos x="T6" y="T7"/>
                  </a:cxn>
                  <a:cxn ang="0">
                    <a:pos x="T8" y="T9"/>
                  </a:cxn>
                </a:cxnLst>
                <a:rect l="0" t="0" r="r" b="b"/>
                <a:pathLst>
                  <a:path w="20000" h="20000">
                    <a:moveTo>
                      <a:pt x="11852" y="18182"/>
                    </a:moveTo>
                    <a:lnTo>
                      <a:pt x="0" y="0"/>
                    </a:lnTo>
                    <a:lnTo>
                      <a:pt x="3704" y="0"/>
                    </a:lnTo>
                    <a:lnTo>
                      <a:pt x="19259" y="18182"/>
                    </a:lnTo>
                    <a:lnTo>
                      <a:pt x="11852" y="1818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46" name="Freeform 5"/>
              <p:cNvSpPr>
                <a:spLocks/>
              </p:cNvSpPr>
              <p:nvPr/>
            </p:nvSpPr>
            <p:spPr bwMode="auto">
              <a:xfrm>
                <a:off x="4519613" y="3619500"/>
                <a:ext cx="17462" cy="17463"/>
              </a:xfrm>
              <a:custGeom>
                <a:avLst/>
                <a:gdLst>
                  <a:gd name="T0" fmla="*/ 7857 w 20000"/>
                  <a:gd name="T1" fmla="*/ 19259 h 20000"/>
                  <a:gd name="T2" fmla="*/ 0 w 20000"/>
                  <a:gd name="T3" fmla="*/ 4444 h 20000"/>
                  <a:gd name="T4" fmla="*/ 19286 w 20000"/>
                  <a:gd name="T5" fmla="*/ 0 h 20000"/>
                  <a:gd name="T6" fmla="*/ 15000 w 20000"/>
                  <a:gd name="T7" fmla="*/ 11852 h 20000"/>
                  <a:gd name="T8" fmla="*/ 7857 w 20000"/>
                  <a:gd name="T9" fmla="*/ 19259 h 20000"/>
                </a:gdLst>
                <a:ahLst/>
                <a:cxnLst>
                  <a:cxn ang="0">
                    <a:pos x="T0" y="T1"/>
                  </a:cxn>
                  <a:cxn ang="0">
                    <a:pos x="T2" y="T3"/>
                  </a:cxn>
                  <a:cxn ang="0">
                    <a:pos x="T4" y="T5"/>
                  </a:cxn>
                  <a:cxn ang="0">
                    <a:pos x="T6" y="T7"/>
                  </a:cxn>
                  <a:cxn ang="0">
                    <a:pos x="T8" y="T9"/>
                  </a:cxn>
                </a:cxnLst>
                <a:rect l="0" t="0" r="r" b="b"/>
                <a:pathLst>
                  <a:path w="20000" h="20000">
                    <a:moveTo>
                      <a:pt x="7857" y="19259"/>
                    </a:moveTo>
                    <a:lnTo>
                      <a:pt x="0" y="4444"/>
                    </a:lnTo>
                    <a:lnTo>
                      <a:pt x="19286" y="0"/>
                    </a:lnTo>
                    <a:lnTo>
                      <a:pt x="15000" y="11852"/>
                    </a:lnTo>
                    <a:lnTo>
                      <a:pt x="7857"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47" name="Freeform 4"/>
              <p:cNvSpPr>
                <a:spLocks/>
              </p:cNvSpPr>
              <p:nvPr/>
            </p:nvSpPr>
            <p:spPr bwMode="auto">
              <a:xfrm>
                <a:off x="4552950" y="3622675"/>
                <a:ext cx="11113" cy="17463"/>
              </a:xfrm>
              <a:custGeom>
                <a:avLst/>
                <a:gdLst>
                  <a:gd name="T0" fmla="*/ 11765 w 20000"/>
                  <a:gd name="T1" fmla="*/ 19259 h 20000"/>
                  <a:gd name="T2" fmla="*/ 0 w 20000"/>
                  <a:gd name="T3" fmla="*/ 14815 h 20000"/>
                  <a:gd name="T4" fmla="*/ 18824 w 20000"/>
                  <a:gd name="T5" fmla="*/ 0 h 20000"/>
                  <a:gd name="T6" fmla="*/ 11765 w 20000"/>
                  <a:gd name="T7" fmla="*/ 19259 h 20000"/>
                </a:gdLst>
                <a:ahLst/>
                <a:cxnLst>
                  <a:cxn ang="0">
                    <a:pos x="T0" y="T1"/>
                  </a:cxn>
                  <a:cxn ang="0">
                    <a:pos x="T2" y="T3"/>
                  </a:cxn>
                  <a:cxn ang="0">
                    <a:pos x="T4" y="T5"/>
                  </a:cxn>
                  <a:cxn ang="0">
                    <a:pos x="T6" y="T7"/>
                  </a:cxn>
                </a:cxnLst>
                <a:rect l="0" t="0" r="r" b="b"/>
                <a:pathLst>
                  <a:path w="20000" h="20000">
                    <a:moveTo>
                      <a:pt x="11765" y="19259"/>
                    </a:moveTo>
                    <a:lnTo>
                      <a:pt x="0" y="14815"/>
                    </a:lnTo>
                    <a:lnTo>
                      <a:pt x="18824" y="0"/>
                    </a:lnTo>
                    <a:lnTo>
                      <a:pt x="11765" y="19259"/>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48" name="Freeform 3"/>
              <p:cNvSpPr>
                <a:spLocks/>
              </p:cNvSpPr>
              <p:nvPr/>
            </p:nvSpPr>
            <p:spPr bwMode="auto">
              <a:xfrm>
                <a:off x="3257550" y="3963988"/>
                <a:ext cx="17463" cy="11112"/>
              </a:xfrm>
              <a:custGeom>
                <a:avLst/>
                <a:gdLst>
                  <a:gd name="T0" fmla="*/ 3704 w 20000"/>
                  <a:gd name="T1" fmla="*/ 18824 h 20000"/>
                  <a:gd name="T2" fmla="*/ 0 w 20000"/>
                  <a:gd name="T3" fmla="*/ 18824 h 20000"/>
                  <a:gd name="T4" fmla="*/ 0 w 20000"/>
                  <a:gd name="T5" fmla="*/ 12941 h 20000"/>
                  <a:gd name="T6" fmla="*/ 11111 w 20000"/>
                  <a:gd name="T7" fmla="*/ 0 h 20000"/>
                  <a:gd name="T8" fmla="*/ 19259 w 20000"/>
                  <a:gd name="T9" fmla="*/ 12941 h 20000"/>
                  <a:gd name="T10" fmla="*/ 3704 w 20000"/>
                  <a:gd name="T11" fmla="*/ 12941 h 20000"/>
                  <a:gd name="T12" fmla="*/ 3704 w 20000"/>
                  <a:gd name="T13" fmla="*/ 18824 h 20000"/>
                </a:gdLst>
                <a:ahLst/>
                <a:cxnLst>
                  <a:cxn ang="0">
                    <a:pos x="T0" y="T1"/>
                  </a:cxn>
                  <a:cxn ang="0">
                    <a:pos x="T2" y="T3"/>
                  </a:cxn>
                  <a:cxn ang="0">
                    <a:pos x="T4" y="T5"/>
                  </a:cxn>
                  <a:cxn ang="0">
                    <a:pos x="T6" y="T7"/>
                  </a:cxn>
                  <a:cxn ang="0">
                    <a:pos x="T8" y="T9"/>
                  </a:cxn>
                  <a:cxn ang="0">
                    <a:pos x="T10" y="T11"/>
                  </a:cxn>
                  <a:cxn ang="0">
                    <a:pos x="T12" y="T13"/>
                  </a:cxn>
                </a:cxnLst>
                <a:rect l="0" t="0" r="r" b="b"/>
                <a:pathLst>
                  <a:path w="20000" h="20000">
                    <a:moveTo>
                      <a:pt x="3704" y="18824"/>
                    </a:moveTo>
                    <a:lnTo>
                      <a:pt x="0" y="18824"/>
                    </a:lnTo>
                    <a:lnTo>
                      <a:pt x="0" y="12941"/>
                    </a:lnTo>
                    <a:lnTo>
                      <a:pt x="11111" y="0"/>
                    </a:lnTo>
                    <a:lnTo>
                      <a:pt x="19259" y="12941"/>
                    </a:lnTo>
                    <a:lnTo>
                      <a:pt x="3704" y="12941"/>
                    </a:lnTo>
                    <a:lnTo>
                      <a:pt x="3704" y="18824"/>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49" name="Freeform 2"/>
              <p:cNvSpPr>
                <a:spLocks/>
              </p:cNvSpPr>
              <p:nvPr/>
            </p:nvSpPr>
            <p:spPr bwMode="auto">
              <a:xfrm>
                <a:off x="8070850" y="4352925"/>
                <a:ext cx="285750" cy="234950"/>
              </a:xfrm>
              <a:custGeom>
                <a:avLst/>
                <a:gdLst>
                  <a:gd name="T0" fmla="*/ 2262 w 20000"/>
                  <a:gd name="T1" fmla="*/ 6775 h 20000"/>
                  <a:gd name="T2" fmla="*/ 5499 w 20000"/>
                  <a:gd name="T3" fmla="*/ 7588 h 20000"/>
                  <a:gd name="T4" fmla="*/ 9889 w 20000"/>
                  <a:gd name="T5" fmla="*/ 7317 h 20000"/>
                  <a:gd name="T6" fmla="*/ 12151 w 20000"/>
                  <a:gd name="T7" fmla="*/ 3089 h 20000"/>
                  <a:gd name="T8" fmla="*/ 13969 w 20000"/>
                  <a:gd name="T9" fmla="*/ 0 h 20000"/>
                  <a:gd name="T10" fmla="*/ 17428 w 20000"/>
                  <a:gd name="T11" fmla="*/ 867 h 20000"/>
                  <a:gd name="T12" fmla="*/ 16984 w 20000"/>
                  <a:gd name="T13" fmla="*/ 1680 h 20000"/>
                  <a:gd name="T14" fmla="*/ 16763 w 20000"/>
                  <a:gd name="T15" fmla="*/ 2222 h 20000"/>
                  <a:gd name="T16" fmla="*/ 17694 w 20000"/>
                  <a:gd name="T17" fmla="*/ 3686 h 20000"/>
                  <a:gd name="T18" fmla="*/ 17428 w 20000"/>
                  <a:gd name="T19" fmla="*/ 5095 h 20000"/>
                  <a:gd name="T20" fmla="*/ 19246 w 20000"/>
                  <a:gd name="T21" fmla="*/ 6775 h 20000"/>
                  <a:gd name="T22" fmla="*/ 19512 w 20000"/>
                  <a:gd name="T23" fmla="*/ 7588 h 20000"/>
                  <a:gd name="T24" fmla="*/ 16984 w 20000"/>
                  <a:gd name="T25" fmla="*/ 8726 h 20000"/>
                  <a:gd name="T26" fmla="*/ 16984 w 20000"/>
                  <a:gd name="T27" fmla="*/ 11762 h 20000"/>
                  <a:gd name="T28" fmla="*/ 14457 w 20000"/>
                  <a:gd name="T29" fmla="*/ 14038 h 20000"/>
                  <a:gd name="T30" fmla="*/ 14457 w 20000"/>
                  <a:gd name="T31" fmla="*/ 16856 h 20000"/>
                  <a:gd name="T32" fmla="*/ 10998 w 20000"/>
                  <a:gd name="T33" fmla="*/ 19946 h 20000"/>
                  <a:gd name="T34" fmla="*/ 9889 w 20000"/>
                  <a:gd name="T35" fmla="*/ 17940 h 20000"/>
                  <a:gd name="T36" fmla="*/ 9180 w 20000"/>
                  <a:gd name="T37" fmla="*/ 17073 h 20000"/>
                  <a:gd name="T38" fmla="*/ 7982 w 20000"/>
                  <a:gd name="T39" fmla="*/ 17073 h 20000"/>
                  <a:gd name="T40" fmla="*/ 7095 w 20000"/>
                  <a:gd name="T41" fmla="*/ 17940 h 20000"/>
                  <a:gd name="T42" fmla="*/ 5987 w 20000"/>
                  <a:gd name="T43" fmla="*/ 18537 h 20000"/>
                  <a:gd name="T44" fmla="*/ 4789 w 20000"/>
                  <a:gd name="T45" fmla="*/ 16856 h 20000"/>
                  <a:gd name="T46" fmla="*/ 3193 w 20000"/>
                  <a:gd name="T47" fmla="*/ 16856 h 20000"/>
                  <a:gd name="T48" fmla="*/ 2528 w 20000"/>
                  <a:gd name="T49" fmla="*/ 15447 h 20000"/>
                  <a:gd name="T50" fmla="*/ 2262 w 20000"/>
                  <a:gd name="T51" fmla="*/ 12629 h 20000"/>
                  <a:gd name="T52" fmla="*/ 710 w 20000"/>
                  <a:gd name="T53" fmla="*/ 11762 h 20000"/>
                  <a:gd name="T54" fmla="*/ 266 w 20000"/>
                  <a:gd name="T55" fmla="*/ 10949 h 20000"/>
                  <a:gd name="T56" fmla="*/ 0 w 20000"/>
                  <a:gd name="T57" fmla="*/ 8997 h 20000"/>
                  <a:gd name="T58" fmla="*/ 266 w 20000"/>
                  <a:gd name="T59" fmla="*/ 6179 h 20000"/>
                  <a:gd name="T60" fmla="*/ 1153 w 20000"/>
                  <a:gd name="T61" fmla="*/ 5095 h 20000"/>
                  <a:gd name="T62" fmla="*/ 1818 w 20000"/>
                  <a:gd name="T63" fmla="*/ 531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00" h="20000">
                    <a:moveTo>
                      <a:pt x="1818" y="5312"/>
                    </a:moveTo>
                    <a:lnTo>
                      <a:pt x="2262" y="6775"/>
                    </a:lnTo>
                    <a:lnTo>
                      <a:pt x="4346" y="7588"/>
                    </a:lnTo>
                    <a:lnTo>
                      <a:pt x="5499" y="7588"/>
                    </a:lnTo>
                    <a:lnTo>
                      <a:pt x="7982" y="8130"/>
                    </a:lnTo>
                    <a:lnTo>
                      <a:pt x="9889" y="7317"/>
                    </a:lnTo>
                    <a:lnTo>
                      <a:pt x="11885" y="5908"/>
                    </a:lnTo>
                    <a:lnTo>
                      <a:pt x="12151" y="3089"/>
                    </a:lnTo>
                    <a:lnTo>
                      <a:pt x="13304" y="2818"/>
                    </a:lnTo>
                    <a:lnTo>
                      <a:pt x="13969" y="0"/>
                    </a:lnTo>
                    <a:lnTo>
                      <a:pt x="17428" y="325"/>
                    </a:lnTo>
                    <a:lnTo>
                      <a:pt x="17428" y="867"/>
                    </a:lnTo>
                    <a:lnTo>
                      <a:pt x="16984" y="1409"/>
                    </a:lnTo>
                    <a:lnTo>
                      <a:pt x="16984" y="1680"/>
                    </a:lnTo>
                    <a:lnTo>
                      <a:pt x="16763" y="1680"/>
                    </a:lnTo>
                    <a:lnTo>
                      <a:pt x="16763" y="2222"/>
                    </a:lnTo>
                    <a:lnTo>
                      <a:pt x="17428" y="2818"/>
                    </a:lnTo>
                    <a:lnTo>
                      <a:pt x="17694" y="3686"/>
                    </a:lnTo>
                    <a:lnTo>
                      <a:pt x="17694" y="3902"/>
                    </a:lnTo>
                    <a:lnTo>
                      <a:pt x="17428" y="5095"/>
                    </a:lnTo>
                    <a:lnTo>
                      <a:pt x="18137" y="5312"/>
                    </a:lnTo>
                    <a:lnTo>
                      <a:pt x="19246" y="6775"/>
                    </a:lnTo>
                    <a:lnTo>
                      <a:pt x="19956" y="7317"/>
                    </a:lnTo>
                    <a:lnTo>
                      <a:pt x="19512" y="7588"/>
                    </a:lnTo>
                    <a:lnTo>
                      <a:pt x="17694" y="8130"/>
                    </a:lnTo>
                    <a:lnTo>
                      <a:pt x="16984" y="8726"/>
                    </a:lnTo>
                    <a:lnTo>
                      <a:pt x="16763" y="10407"/>
                    </a:lnTo>
                    <a:lnTo>
                      <a:pt x="16984" y="11762"/>
                    </a:lnTo>
                    <a:lnTo>
                      <a:pt x="15610" y="13171"/>
                    </a:lnTo>
                    <a:lnTo>
                      <a:pt x="14457" y="14038"/>
                    </a:lnTo>
                    <a:lnTo>
                      <a:pt x="14678" y="14634"/>
                    </a:lnTo>
                    <a:lnTo>
                      <a:pt x="14457" y="16856"/>
                    </a:lnTo>
                    <a:lnTo>
                      <a:pt x="13792" y="18537"/>
                    </a:lnTo>
                    <a:lnTo>
                      <a:pt x="10998" y="19946"/>
                    </a:lnTo>
                    <a:lnTo>
                      <a:pt x="10776" y="17940"/>
                    </a:lnTo>
                    <a:lnTo>
                      <a:pt x="9889" y="17940"/>
                    </a:lnTo>
                    <a:lnTo>
                      <a:pt x="9180" y="18537"/>
                    </a:lnTo>
                    <a:lnTo>
                      <a:pt x="9180" y="17073"/>
                    </a:lnTo>
                    <a:lnTo>
                      <a:pt x="8958" y="17724"/>
                    </a:lnTo>
                    <a:lnTo>
                      <a:pt x="7982" y="17073"/>
                    </a:lnTo>
                    <a:lnTo>
                      <a:pt x="7805" y="17724"/>
                    </a:lnTo>
                    <a:lnTo>
                      <a:pt x="7095" y="17940"/>
                    </a:lnTo>
                    <a:lnTo>
                      <a:pt x="6652" y="17724"/>
                    </a:lnTo>
                    <a:lnTo>
                      <a:pt x="5987" y="18537"/>
                    </a:lnTo>
                    <a:lnTo>
                      <a:pt x="5499" y="17073"/>
                    </a:lnTo>
                    <a:lnTo>
                      <a:pt x="4789" y="16856"/>
                    </a:lnTo>
                    <a:lnTo>
                      <a:pt x="3636" y="17073"/>
                    </a:lnTo>
                    <a:lnTo>
                      <a:pt x="3193" y="16856"/>
                    </a:lnTo>
                    <a:lnTo>
                      <a:pt x="2528" y="17073"/>
                    </a:lnTo>
                    <a:lnTo>
                      <a:pt x="2528" y="15447"/>
                    </a:lnTo>
                    <a:lnTo>
                      <a:pt x="2528" y="14634"/>
                    </a:lnTo>
                    <a:lnTo>
                      <a:pt x="2262" y="12629"/>
                    </a:lnTo>
                    <a:lnTo>
                      <a:pt x="1375" y="11762"/>
                    </a:lnTo>
                    <a:lnTo>
                      <a:pt x="710" y="11762"/>
                    </a:lnTo>
                    <a:lnTo>
                      <a:pt x="1153" y="11220"/>
                    </a:lnTo>
                    <a:lnTo>
                      <a:pt x="266" y="10949"/>
                    </a:lnTo>
                    <a:lnTo>
                      <a:pt x="710" y="9864"/>
                    </a:lnTo>
                    <a:lnTo>
                      <a:pt x="0" y="8997"/>
                    </a:lnTo>
                    <a:lnTo>
                      <a:pt x="0" y="7588"/>
                    </a:lnTo>
                    <a:lnTo>
                      <a:pt x="266" y="6179"/>
                    </a:lnTo>
                    <a:lnTo>
                      <a:pt x="710" y="5312"/>
                    </a:lnTo>
                    <a:lnTo>
                      <a:pt x="1153" y="5095"/>
                    </a:lnTo>
                    <a:lnTo>
                      <a:pt x="1375" y="5095"/>
                    </a:lnTo>
                    <a:lnTo>
                      <a:pt x="1818" y="5312"/>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sp>
            <p:nvSpPr>
              <p:cNvPr id="1250" name="Freeform 1"/>
              <p:cNvSpPr>
                <a:spLocks/>
              </p:cNvSpPr>
              <p:nvPr/>
            </p:nvSpPr>
            <p:spPr bwMode="auto">
              <a:xfrm>
                <a:off x="5251450" y="4378325"/>
                <a:ext cx="60325" cy="44450"/>
              </a:xfrm>
              <a:custGeom>
                <a:avLst/>
                <a:gdLst>
                  <a:gd name="T0" fmla="*/ 4421 w 20000"/>
                  <a:gd name="T1" fmla="*/ 0 h 20000"/>
                  <a:gd name="T2" fmla="*/ 7789 w 20000"/>
                  <a:gd name="T3" fmla="*/ 3188 h 20000"/>
                  <a:gd name="T4" fmla="*/ 19789 w 20000"/>
                  <a:gd name="T5" fmla="*/ 4638 h 20000"/>
                  <a:gd name="T6" fmla="*/ 19789 w 20000"/>
                  <a:gd name="T7" fmla="*/ 19710 h 20000"/>
                  <a:gd name="T8" fmla="*/ 14316 w 20000"/>
                  <a:gd name="T9" fmla="*/ 19710 h 20000"/>
                  <a:gd name="T10" fmla="*/ 8842 w 20000"/>
                  <a:gd name="T11" fmla="*/ 19710 h 20000"/>
                  <a:gd name="T12" fmla="*/ 2316 w 20000"/>
                  <a:gd name="T13" fmla="*/ 19710 h 20000"/>
                  <a:gd name="T14" fmla="*/ 0 w 20000"/>
                  <a:gd name="T15" fmla="*/ 16522 h 20000"/>
                  <a:gd name="T16" fmla="*/ 4421 w 20000"/>
                  <a:gd name="T17" fmla="*/ 7826 h 20000"/>
                  <a:gd name="T18" fmla="*/ 4421 w 20000"/>
                  <a:gd name="T19" fmla="*/ 0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00" h="20000">
                    <a:moveTo>
                      <a:pt x="4421" y="0"/>
                    </a:moveTo>
                    <a:lnTo>
                      <a:pt x="7789" y="3188"/>
                    </a:lnTo>
                    <a:lnTo>
                      <a:pt x="19789" y="4638"/>
                    </a:lnTo>
                    <a:lnTo>
                      <a:pt x="19789" y="19710"/>
                    </a:lnTo>
                    <a:lnTo>
                      <a:pt x="14316" y="19710"/>
                    </a:lnTo>
                    <a:lnTo>
                      <a:pt x="8842" y="19710"/>
                    </a:lnTo>
                    <a:lnTo>
                      <a:pt x="2316" y="19710"/>
                    </a:lnTo>
                    <a:lnTo>
                      <a:pt x="0" y="16522"/>
                    </a:lnTo>
                    <a:lnTo>
                      <a:pt x="4421" y="7826"/>
                    </a:lnTo>
                    <a:lnTo>
                      <a:pt x="4421" y="0"/>
                    </a:lnTo>
                    <a:close/>
                  </a:path>
                </a:pathLst>
              </a:custGeom>
              <a:grpFill/>
              <a:ln w="1270">
                <a:noFill/>
                <a:round/>
                <a:headEnd/>
                <a:tailEnd/>
              </a:ln>
            </p:spPr>
            <p:txBody>
              <a:bodyPr/>
              <a:lstStyle/>
              <a:p>
                <a:pPr defTabSz="914288">
                  <a:defRPr/>
                </a:pPr>
                <a:endParaRPr lang="fr-FR" sz="975">
                  <a:solidFill>
                    <a:prstClr val="black"/>
                  </a:solidFill>
                  <a:latin typeface="Calibri" panose="020F0502020204030204"/>
                </a:endParaRPr>
              </a:p>
            </p:txBody>
          </p:sp>
        </p:grpSp>
        <p:sp>
          <p:nvSpPr>
            <p:cNvPr id="952" name="Étoile à 5 branches 3372"/>
            <p:cNvSpPr/>
            <p:nvPr/>
          </p:nvSpPr>
          <p:spPr>
            <a:xfrm>
              <a:off x="8408679" y="3020582"/>
              <a:ext cx="241610" cy="202684"/>
            </a:xfrm>
            <a:prstGeom prst="star5">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88">
                <a:defRPr/>
              </a:pPr>
              <a:endParaRPr lang="en-US" sz="975">
                <a:solidFill>
                  <a:srgbClr val="FFFFFF"/>
                </a:solidFill>
              </a:endParaRPr>
            </a:p>
          </p:txBody>
        </p:sp>
      </p:grpSp>
      <p:pic>
        <p:nvPicPr>
          <p:cNvPr id="1251" name="Image 1250"/>
          <p:cNvPicPr>
            <a:picLocks noChangeAspect="1"/>
          </p:cNvPicPr>
          <p:nvPr/>
        </p:nvPicPr>
        <p:blipFill>
          <a:blip r:embed="rId9"/>
          <a:stretch>
            <a:fillRect/>
          </a:stretch>
        </p:blipFill>
        <p:spPr>
          <a:xfrm>
            <a:off x="7730524" y="3339563"/>
            <a:ext cx="282872" cy="173627"/>
          </a:xfrm>
          <a:prstGeom prst="rect">
            <a:avLst/>
          </a:prstGeom>
        </p:spPr>
      </p:pic>
      <p:sp>
        <p:nvSpPr>
          <p:cNvPr id="1252" name="Triangle isocèle 1251"/>
          <p:cNvSpPr/>
          <p:nvPr/>
        </p:nvSpPr>
        <p:spPr>
          <a:xfrm>
            <a:off x="5109837" y="2885957"/>
            <a:ext cx="350442" cy="187585"/>
          </a:xfrm>
          <a:prstGeom prst="triangle">
            <a:avLst/>
          </a:prstGeom>
          <a:solidFill>
            <a:srgbClr val="E5A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2651123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nodeType="withEffect">
                                  <p:stCondLst>
                                    <p:cond delay="0"/>
                                  </p:stCondLst>
                                  <p:childTnLst>
                                    <p:set>
                                      <p:cBhvr>
                                        <p:cTn id="15" dur="1" fill="hold">
                                          <p:stCondLst>
                                            <p:cond delay="0"/>
                                          </p:stCondLst>
                                        </p:cTn>
                                        <p:tgtEl>
                                          <p:spTgt spid="939"/>
                                        </p:tgtEl>
                                        <p:attrNameLst>
                                          <p:attrName>style.visibility</p:attrName>
                                        </p:attrNameLst>
                                      </p:cBhvr>
                                      <p:to>
                                        <p:strVal val="visible"/>
                                      </p:to>
                                    </p:set>
                                    <p:animEffect transition="in" filter="fade">
                                      <p:cBhvr>
                                        <p:cTn id="16" dur="500"/>
                                        <p:tgtEl>
                                          <p:spTgt spid="939"/>
                                        </p:tgtEl>
                                      </p:cBhvr>
                                    </p:animEffect>
                                  </p:childTnLst>
                                </p:cTn>
                              </p:par>
                              <p:par>
                                <p:cTn id="17" presetID="10" presetClass="entr" presetSubtype="0" fill="hold" nodeType="withEffect">
                                  <p:stCondLst>
                                    <p:cond delay="0"/>
                                  </p:stCondLst>
                                  <p:childTnLst>
                                    <p:set>
                                      <p:cBhvr>
                                        <p:cTn id="18" dur="1" fill="hold">
                                          <p:stCondLst>
                                            <p:cond delay="0"/>
                                          </p:stCondLst>
                                        </p:cTn>
                                        <p:tgtEl>
                                          <p:spTgt spid="940"/>
                                        </p:tgtEl>
                                        <p:attrNameLst>
                                          <p:attrName>style.visibility</p:attrName>
                                        </p:attrNameLst>
                                      </p:cBhvr>
                                      <p:to>
                                        <p:strVal val="visible"/>
                                      </p:to>
                                    </p:set>
                                    <p:animEffect transition="in" filter="fade">
                                      <p:cBhvr>
                                        <p:cTn id="19" dur="500"/>
                                        <p:tgtEl>
                                          <p:spTgt spid="9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45"/>
                                        </p:tgtEl>
                                        <p:attrNameLst>
                                          <p:attrName>style.visibility</p:attrName>
                                        </p:attrNameLst>
                                      </p:cBhvr>
                                      <p:to>
                                        <p:strVal val="visible"/>
                                      </p:to>
                                    </p:set>
                                    <p:animEffect transition="in" filter="fade">
                                      <p:cBhvr>
                                        <p:cTn id="27" dur="500"/>
                                        <p:tgtEl>
                                          <p:spTgt spid="94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46"/>
                                        </p:tgtEl>
                                        <p:attrNameLst>
                                          <p:attrName>style.visibility</p:attrName>
                                        </p:attrNameLst>
                                      </p:cBhvr>
                                      <p:to>
                                        <p:strVal val="visible"/>
                                      </p:to>
                                    </p:set>
                                    <p:animEffect transition="in" filter="fade">
                                      <p:cBhvr>
                                        <p:cTn id="30" dur="500"/>
                                        <p:tgtEl>
                                          <p:spTgt spid="946"/>
                                        </p:tgtEl>
                                      </p:cBhvr>
                                    </p:animEffect>
                                  </p:childTnLst>
                                </p:cTn>
                              </p:par>
                              <p:par>
                                <p:cTn id="31" presetID="10" presetClass="entr" presetSubtype="0" fill="hold" nodeType="withEffect">
                                  <p:stCondLst>
                                    <p:cond delay="0"/>
                                  </p:stCondLst>
                                  <p:childTnLst>
                                    <p:set>
                                      <p:cBhvr>
                                        <p:cTn id="32" dur="1" fill="hold">
                                          <p:stCondLst>
                                            <p:cond delay="0"/>
                                          </p:stCondLst>
                                        </p:cTn>
                                        <p:tgtEl>
                                          <p:spTgt spid="947"/>
                                        </p:tgtEl>
                                        <p:attrNameLst>
                                          <p:attrName>style.visibility</p:attrName>
                                        </p:attrNameLst>
                                      </p:cBhvr>
                                      <p:to>
                                        <p:strVal val="visible"/>
                                      </p:to>
                                    </p:set>
                                    <p:animEffect transition="in" filter="fade">
                                      <p:cBhvr>
                                        <p:cTn id="33" dur="500"/>
                                        <p:tgtEl>
                                          <p:spTgt spid="94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48"/>
                                        </p:tgtEl>
                                        <p:attrNameLst>
                                          <p:attrName>style.visibility</p:attrName>
                                        </p:attrNameLst>
                                      </p:cBhvr>
                                      <p:to>
                                        <p:strVal val="visible"/>
                                      </p:to>
                                    </p:set>
                                    <p:animEffect transition="in" filter="fade">
                                      <p:cBhvr>
                                        <p:cTn id="36" dur="500"/>
                                        <p:tgtEl>
                                          <p:spTgt spid="948"/>
                                        </p:tgtEl>
                                      </p:cBhvr>
                                    </p:animEffect>
                                  </p:childTnLst>
                                </p:cTn>
                              </p:par>
                              <p:par>
                                <p:cTn id="37" presetID="10" presetClass="entr" presetSubtype="0" fill="hold" nodeType="withEffect">
                                  <p:stCondLst>
                                    <p:cond delay="0"/>
                                  </p:stCondLst>
                                  <p:childTnLst>
                                    <p:set>
                                      <p:cBhvr>
                                        <p:cTn id="38" dur="1" fill="hold">
                                          <p:stCondLst>
                                            <p:cond delay="0"/>
                                          </p:stCondLst>
                                        </p:cTn>
                                        <p:tgtEl>
                                          <p:spTgt spid="949"/>
                                        </p:tgtEl>
                                        <p:attrNameLst>
                                          <p:attrName>style.visibility</p:attrName>
                                        </p:attrNameLst>
                                      </p:cBhvr>
                                      <p:to>
                                        <p:strVal val="visible"/>
                                      </p:to>
                                    </p:set>
                                    <p:animEffect transition="in" filter="fade">
                                      <p:cBhvr>
                                        <p:cTn id="39" dur="500"/>
                                        <p:tgtEl>
                                          <p:spTgt spid="949"/>
                                        </p:tgtEl>
                                      </p:cBhvr>
                                    </p:animEffect>
                                  </p:childTnLst>
                                </p:cTn>
                              </p:par>
                              <p:par>
                                <p:cTn id="40" presetID="10" presetClass="entr" presetSubtype="0" fill="hold" nodeType="withEffect">
                                  <p:stCondLst>
                                    <p:cond delay="0"/>
                                  </p:stCondLst>
                                  <p:childTnLst>
                                    <p:set>
                                      <p:cBhvr>
                                        <p:cTn id="41" dur="1" fill="hold">
                                          <p:stCondLst>
                                            <p:cond delay="0"/>
                                          </p:stCondLst>
                                        </p:cTn>
                                        <p:tgtEl>
                                          <p:spTgt spid="1251"/>
                                        </p:tgtEl>
                                        <p:attrNameLst>
                                          <p:attrName>style.visibility</p:attrName>
                                        </p:attrNameLst>
                                      </p:cBhvr>
                                      <p:to>
                                        <p:strVal val="visible"/>
                                      </p:to>
                                    </p:set>
                                    <p:animEffect transition="in" filter="fade">
                                      <p:cBhvr>
                                        <p:cTn id="42" dur="500"/>
                                        <p:tgtEl>
                                          <p:spTgt spid="1251"/>
                                        </p:tgtEl>
                                      </p:cBhvr>
                                    </p:animEffect>
                                  </p:childTnLst>
                                </p:cTn>
                              </p:par>
                              <p:par>
                                <p:cTn id="43" presetID="10" presetClass="entr" presetSubtype="0" fill="hold" nodeType="withEffect">
                                  <p:stCondLst>
                                    <p:cond delay="0"/>
                                  </p:stCondLst>
                                  <p:childTnLst>
                                    <p:set>
                                      <p:cBhvr>
                                        <p:cTn id="44" dur="1" fill="hold">
                                          <p:stCondLst>
                                            <p:cond delay="0"/>
                                          </p:stCondLst>
                                        </p:cTn>
                                        <p:tgtEl>
                                          <p:spTgt spid="944"/>
                                        </p:tgtEl>
                                        <p:attrNameLst>
                                          <p:attrName>style.visibility</p:attrName>
                                        </p:attrNameLst>
                                      </p:cBhvr>
                                      <p:to>
                                        <p:strVal val="visible"/>
                                      </p:to>
                                    </p:set>
                                    <p:animEffect transition="in" filter="fade">
                                      <p:cBhvr>
                                        <p:cTn id="45" dur="500"/>
                                        <p:tgtEl>
                                          <p:spTgt spid="94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252"/>
                                        </p:tgtEl>
                                        <p:attrNameLst>
                                          <p:attrName>style.visibility</p:attrName>
                                        </p:attrNameLst>
                                      </p:cBhvr>
                                      <p:to>
                                        <p:strVal val="visible"/>
                                      </p:to>
                                    </p:set>
                                    <p:animEffect transition="in" filter="fade">
                                      <p:cBhvr>
                                        <p:cTn id="48" dur="500"/>
                                        <p:tgtEl>
                                          <p:spTgt spid="125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50"/>
                                        </p:tgtEl>
                                        <p:attrNameLst>
                                          <p:attrName>style.visibility</p:attrName>
                                        </p:attrNameLst>
                                      </p:cBhvr>
                                      <p:to>
                                        <p:strVal val="visible"/>
                                      </p:to>
                                    </p:set>
                                    <p:animEffect transition="in" filter="fade">
                                      <p:cBhvr>
                                        <p:cTn id="53" dur="500"/>
                                        <p:tgtEl>
                                          <p:spTgt spid="50"/>
                                        </p:tgtEl>
                                      </p:cBhvr>
                                    </p:animEffect>
                                  </p:childTnLst>
                                </p:cTn>
                              </p:par>
                              <p:par>
                                <p:cTn id="54" presetID="10" presetClass="entr" presetSubtype="0" fill="hold" nodeType="withEffect">
                                  <p:stCondLst>
                                    <p:cond delay="0"/>
                                  </p:stCondLst>
                                  <p:childTnLst>
                                    <p:set>
                                      <p:cBhvr>
                                        <p:cTn id="55" dur="1" fill="hold">
                                          <p:stCondLst>
                                            <p:cond delay="0"/>
                                          </p:stCondLst>
                                        </p:cTn>
                                        <p:tgtEl>
                                          <p:spTgt spid="26"/>
                                        </p:tgtEl>
                                        <p:attrNameLst>
                                          <p:attrName>style.visibility</p:attrName>
                                        </p:attrNameLst>
                                      </p:cBhvr>
                                      <p:to>
                                        <p:strVal val="visible"/>
                                      </p:to>
                                    </p:set>
                                    <p:animEffect transition="in" filter="fade">
                                      <p:cBhvr>
                                        <p:cTn id="56" dur="500"/>
                                        <p:tgtEl>
                                          <p:spTgt spid="2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500"/>
                                        <p:tgtEl>
                                          <p:spTgt spid="15"/>
                                        </p:tgtEl>
                                      </p:cBhvr>
                                    </p:animEffect>
                                  </p:childTnLst>
                                </p:cTn>
                              </p:par>
                              <p:par>
                                <p:cTn id="60" presetID="10" presetClass="entr" presetSubtype="0" fill="hold" nodeType="withEffect">
                                  <p:stCondLst>
                                    <p:cond delay="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10" presetClass="entr" presetSubtype="0" fill="hold" nodeType="withEffect">
                                  <p:stCondLst>
                                    <p:cond delay="0"/>
                                  </p:stCondLst>
                                  <p:childTnLst>
                                    <p:set>
                                      <p:cBhvr>
                                        <p:cTn id="64" dur="1" fill="hold">
                                          <p:stCondLst>
                                            <p:cond delay="0"/>
                                          </p:stCondLst>
                                        </p:cTn>
                                        <p:tgtEl>
                                          <p:spTgt spid="639"/>
                                        </p:tgtEl>
                                        <p:attrNameLst>
                                          <p:attrName>style.visibility</p:attrName>
                                        </p:attrNameLst>
                                      </p:cBhvr>
                                      <p:to>
                                        <p:strVal val="visible"/>
                                      </p:to>
                                    </p:set>
                                    <p:animEffect transition="in" filter="fade">
                                      <p:cBhvr>
                                        <p:cTn id="65" dur="500"/>
                                        <p:tgtEl>
                                          <p:spTgt spid="639"/>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942"/>
                                        </p:tgtEl>
                                        <p:attrNameLst>
                                          <p:attrName>style.visibility</p:attrName>
                                        </p:attrNameLst>
                                      </p:cBhvr>
                                      <p:to>
                                        <p:strVal val="visible"/>
                                      </p:to>
                                    </p:set>
                                    <p:animEffect transition="in" filter="fade">
                                      <p:cBhvr>
                                        <p:cTn id="68" dur="500"/>
                                        <p:tgtEl>
                                          <p:spTgt spid="9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7" grpId="0" animBg="1"/>
      <p:bldP spid="15" grpId="0" animBg="1"/>
      <p:bldP spid="13" grpId="0" animBg="1"/>
      <p:bldP spid="3" grpId="0" animBg="1"/>
      <p:bldP spid="942" grpId="0" animBg="1"/>
      <p:bldP spid="945" grpId="0"/>
      <p:bldP spid="946" grpId="0" animBg="1"/>
      <p:bldP spid="948" grpId="0" animBg="1"/>
      <p:bldP spid="125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en-US" dirty="0">
                <a:solidFill>
                  <a:schemeClr val="tx1"/>
                </a:solidFill>
                <a:ea typeface="Meiryo UI"/>
                <a:cs typeface="Arial" charset="0"/>
              </a:rPr>
              <a:t>STRATEGIE : </a:t>
            </a:r>
            <a:r>
              <a:rPr lang="en-US" dirty="0">
                <a:solidFill>
                  <a:srgbClr val="FFCD2D"/>
                </a:solidFill>
                <a:ea typeface="Meiryo UI"/>
                <a:cs typeface="Arial" charset="0"/>
              </a:rPr>
              <a:t>C’EST AUSSI</a:t>
            </a:r>
            <a:endParaRPr lang="fr-FR" dirty="0">
              <a:solidFill>
                <a:srgbClr val="FFCD2D"/>
              </a:solidFill>
            </a:endParaRPr>
          </a:p>
        </p:txBody>
      </p:sp>
      <p:pic>
        <p:nvPicPr>
          <p:cNvPr id="3" name="Image 2"/>
          <p:cNvPicPr>
            <a:picLocks noChangeAspect="1"/>
          </p:cNvPicPr>
          <p:nvPr/>
        </p:nvPicPr>
        <p:blipFill rotWithShape="1">
          <a:blip r:embed="rId3"/>
          <a:srcRect l="26366" t="24827" r="26366" b="24827"/>
          <a:stretch/>
        </p:blipFill>
        <p:spPr>
          <a:xfrm>
            <a:off x="2290863" y="5126031"/>
            <a:ext cx="419703" cy="357944"/>
          </a:xfrm>
          <a:prstGeom prst="rect">
            <a:avLst/>
          </a:prstGeom>
        </p:spPr>
      </p:pic>
      <p:sp>
        <p:nvSpPr>
          <p:cNvPr id="932" name="Rectangle 931"/>
          <p:cNvSpPr/>
          <p:nvPr/>
        </p:nvSpPr>
        <p:spPr>
          <a:xfrm>
            <a:off x="3873252" y="4261808"/>
            <a:ext cx="1546596" cy="1615464"/>
          </a:xfrm>
          <a:prstGeom prst="rect">
            <a:avLst/>
          </a:prstGeom>
          <a:solidFill>
            <a:srgbClr val="C3C8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68" name="Titre 1"/>
          <p:cNvSpPr txBox="1">
            <a:spLocks/>
          </p:cNvSpPr>
          <p:nvPr/>
        </p:nvSpPr>
        <p:spPr>
          <a:xfrm>
            <a:off x="395536" y="2636912"/>
            <a:ext cx="5012718" cy="164417"/>
          </a:xfrm>
          <a:prstGeom prst="rect">
            <a:avLst/>
          </a:prstGeom>
        </p:spPr>
        <p:txBody>
          <a:bodyPr lIns="0" tIns="0" rIns="0" bIns="0"/>
          <a:lstStyle>
            <a:lvl1pPr algn="l" rtl="0" eaLnBrk="0" fontAlgn="base" hangingPunct="0">
              <a:spcBef>
                <a:spcPct val="0"/>
              </a:spcBef>
              <a:spcAft>
                <a:spcPct val="0"/>
              </a:spcAft>
              <a:defRPr sz="2000" b="1" cap="all" baseline="0">
                <a:solidFill>
                  <a:schemeClr val="tx1"/>
                </a:solidFill>
                <a:latin typeface="+mj-lt"/>
                <a:ea typeface="+mj-ea"/>
                <a:cs typeface="+mj-cs"/>
              </a:defRPr>
            </a:lvl1pPr>
            <a:lvl2pPr algn="l" rtl="0" eaLnBrk="0" fontAlgn="base" hangingPunct="0">
              <a:spcBef>
                <a:spcPct val="0"/>
              </a:spcBef>
              <a:spcAft>
                <a:spcPct val="0"/>
              </a:spcAft>
              <a:defRPr sz="1800" b="1">
                <a:solidFill>
                  <a:schemeClr val="tx1"/>
                </a:solidFill>
                <a:latin typeface="Arial Narrow" pitchFamily="34" charset="0"/>
                <a:ea typeface="MS PGothic" pitchFamily="34" charset="-128"/>
              </a:defRPr>
            </a:lvl2pPr>
            <a:lvl3pPr algn="l" rtl="0" eaLnBrk="0" fontAlgn="base" hangingPunct="0">
              <a:spcBef>
                <a:spcPct val="0"/>
              </a:spcBef>
              <a:spcAft>
                <a:spcPct val="0"/>
              </a:spcAft>
              <a:defRPr sz="1800" b="1">
                <a:solidFill>
                  <a:schemeClr val="tx1"/>
                </a:solidFill>
                <a:latin typeface="Arial Narrow" pitchFamily="34" charset="0"/>
                <a:ea typeface="MS PGothic" pitchFamily="34" charset="-128"/>
              </a:defRPr>
            </a:lvl3pPr>
            <a:lvl4pPr algn="l" rtl="0" eaLnBrk="0" fontAlgn="base" hangingPunct="0">
              <a:spcBef>
                <a:spcPct val="0"/>
              </a:spcBef>
              <a:spcAft>
                <a:spcPct val="0"/>
              </a:spcAft>
              <a:defRPr sz="1800" b="1">
                <a:solidFill>
                  <a:schemeClr val="tx1"/>
                </a:solidFill>
                <a:latin typeface="Arial Narrow" pitchFamily="34" charset="0"/>
                <a:ea typeface="MS PGothic" pitchFamily="34" charset="-128"/>
              </a:defRPr>
            </a:lvl4pPr>
            <a:lvl5pPr algn="l" rtl="0" eaLnBrk="0" fontAlgn="base" hangingPunct="0">
              <a:spcBef>
                <a:spcPct val="0"/>
              </a:spcBef>
              <a:spcAft>
                <a:spcPct val="0"/>
              </a:spcAft>
              <a:defRPr sz="1800" b="1">
                <a:solidFill>
                  <a:schemeClr val="tx1"/>
                </a:solidFill>
                <a:latin typeface="Arial Narrow" pitchFamily="34" charset="0"/>
                <a:ea typeface="MS PGothic" pitchFamily="34" charset="-128"/>
              </a:defRPr>
            </a:lvl5pPr>
            <a:lvl6pPr marL="342900" algn="l" rtl="0" eaLnBrk="1" fontAlgn="base" hangingPunct="1">
              <a:spcBef>
                <a:spcPct val="0"/>
              </a:spcBef>
              <a:spcAft>
                <a:spcPct val="0"/>
              </a:spcAft>
              <a:defRPr sz="1800" b="1">
                <a:solidFill>
                  <a:schemeClr val="tx1"/>
                </a:solidFill>
                <a:latin typeface="Arial Narrow" pitchFamily="34" charset="0"/>
                <a:ea typeface="MS PGothic" pitchFamily="34" charset="-128"/>
              </a:defRPr>
            </a:lvl6pPr>
            <a:lvl7pPr marL="685800" algn="l" rtl="0" eaLnBrk="1" fontAlgn="base" hangingPunct="1">
              <a:spcBef>
                <a:spcPct val="0"/>
              </a:spcBef>
              <a:spcAft>
                <a:spcPct val="0"/>
              </a:spcAft>
              <a:defRPr sz="1800" b="1">
                <a:solidFill>
                  <a:schemeClr val="tx1"/>
                </a:solidFill>
                <a:latin typeface="Arial Narrow" pitchFamily="34" charset="0"/>
                <a:ea typeface="MS PGothic" pitchFamily="34" charset="-128"/>
              </a:defRPr>
            </a:lvl7pPr>
            <a:lvl8pPr marL="1028700" algn="l" rtl="0" eaLnBrk="1" fontAlgn="base" hangingPunct="1">
              <a:spcBef>
                <a:spcPct val="0"/>
              </a:spcBef>
              <a:spcAft>
                <a:spcPct val="0"/>
              </a:spcAft>
              <a:defRPr sz="1800" b="1">
                <a:solidFill>
                  <a:schemeClr val="tx1"/>
                </a:solidFill>
                <a:latin typeface="Arial Narrow" pitchFamily="34" charset="0"/>
                <a:ea typeface="MS PGothic" pitchFamily="34" charset="-128"/>
              </a:defRPr>
            </a:lvl8pPr>
            <a:lvl9pPr marL="1371600" algn="l" rtl="0" eaLnBrk="1" fontAlgn="base" hangingPunct="1">
              <a:spcBef>
                <a:spcPct val="0"/>
              </a:spcBef>
              <a:spcAft>
                <a:spcPct val="0"/>
              </a:spcAft>
              <a:defRPr sz="1800" b="1">
                <a:solidFill>
                  <a:schemeClr val="tx1"/>
                </a:solidFill>
                <a:latin typeface="Arial Narrow" pitchFamily="34" charset="0"/>
                <a:ea typeface="MS PGothic" pitchFamily="34" charset="-128"/>
              </a:defRPr>
            </a:lvl9pPr>
          </a:lstStyle>
          <a:p>
            <a:endParaRPr lang="en-US" kern="0" dirty="0">
              <a:solidFill>
                <a:srgbClr val="F7B100"/>
              </a:solidFill>
            </a:endParaRPr>
          </a:p>
        </p:txBody>
      </p:sp>
      <p:pic>
        <p:nvPicPr>
          <p:cNvPr id="873" name="Image 872"/>
          <p:cNvPicPr>
            <a:picLocks noChangeAspect="1"/>
          </p:cNvPicPr>
          <p:nvPr/>
        </p:nvPicPr>
        <p:blipFill>
          <a:blip r:embed="rId4">
            <a:extLst>
              <a:ext uri="{BEBA8EAE-BF5A-486C-A8C5-ECC9F3942E4B}">
                <a14:imgProps xmlns:a14="http://schemas.microsoft.com/office/drawing/2010/main">
                  <a14:imgLayer r:embed="rId5">
                    <a14:imgEffect>
                      <a14:colorTemperature colorTemp="11200"/>
                    </a14:imgEffect>
                  </a14:imgLayer>
                </a14:imgProps>
              </a:ext>
            </a:extLst>
          </a:blip>
          <a:stretch>
            <a:fillRect/>
          </a:stretch>
        </p:blipFill>
        <p:spPr>
          <a:xfrm>
            <a:off x="594709" y="3585494"/>
            <a:ext cx="1003671" cy="1071527"/>
          </a:xfrm>
          <a:prstGeom prst="rect">
            <a:avLst/>
          </a:prstGeom>
        </p:spPr>
      </p:pic>
      <p:pic>
        <p:nvPicPr>
          <p:cNvPr id="880" name="Image 879"/>
          <p:cNvPicPr>
            <a:picLocks noChangeAspect="1"/>
          </p:cNvPicPr>
          <p:nvPr/>
        </p:nvPicPr>
        <p:blipFill>
          <a:blip r:embed="rId6">
            <a:clrChange>
              <a:clrFrom>
                <a:srgbClr val="000000"/>
              </a:clrFrom>
              <a:clrTo>
                <a:srgbClr val="000000">
                  <a:alpha val="0"/>
                </a:srgbClr>
              </a:clrTo>
            </a:clrChange>
          </a:blip>
          <a:stretch>
            <a:fillRect/>
          </a:stretch>
        </p:blipFill>
        <p:spPr>
          <a:xfrm>
            <a:off x="2132441" y="4008598"/>
            <a:ext cx="749292" cy="382565"/>
          </a:xfrm>
          <a:prstGeom prst="rect">
            <a:avLst/>
          </a:prstGeom>
        </p:spPr>
      </p:pic>
      <p:pic>
        <p:nvPicPr>
          <p:cNvPr id="885" name="Image 312"/>
          <p:cNvPicPr>
            <a:picLocks noChangeAspect="1"/>
          </p:cNvPicPr>
          <p:nvPr/>
        </p:nvPicPr>
        <p:blipFill rotWithShape="1">
          <a:blip r:embed="rId7"/>
          <a:srcRect l="27825" t="15209" r="27825" b="15209"/>
          <a:stretch/>
        </p:blipFill>
        <p:spPr bwMode="auto">
          <a:xfrm>
            <a:off x="2321116" y="2984723"/>
            <a:ext cx="371943" cy="425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7" name="Image 886"/>
          <p:cNvPicPr>
            <a:picLocks noChangeAspect="1"/>
          </p:cNvPicPr>
          <p:nvPr/>
        </p:nvPicPr>
        <p:blipFill>
          <a:blip r:embed="rId8"/>
          <a:stretch>
            <a:fillRect/>
          </a:stretch>
        </p:blipFill>
        <p:spPr>
          <a:xfrm>
            <a:off x="2321116" y="3542384"/>
            <a:ext cx="371943" cy="336358"/>
          </a:xfrm>
          <a:prstGeom prst="rect">
            <a:avLst/>
          </a:prstGeom>
        </p:spPr>
      </p:pic>
      <p:pic>
        <p:nvPicPr>
          <p:cNvPr id="888" name="Image 887"/>
          <p:cNvPicPr>
            <a:picLocks noChangeAspect="1"/>
          </p:cNvPicPr>
          <p:nvPr/>
        </p:nvPicPr>
        <p:blipFill rotWithShape="1">
          <a:blip r:embed="rId9" cstate="print">
            <a:extLst>
              <a:ext uri="{28A0092B-C50C-407E-A947-70E740481C1C}">
                <a14:useLocalDpi xmlns:a14="http://schemas.microsoft.com/office/drawing/2010/main" val="0"/>
              </a:ext>
            </a:extLst>
          </a:blip>
          <a:srcRect l="28692" t="1965" r="25402" b="-1965"/>
          <a:stretch/>
        </p:blipFill>
        <p:spPr>
          <a:xfrm>
            <a:off x="2335410" y="4531483"/>
            <a:ext cx="377813" cy="477530"/>
          </a:xfrm>
          <a:prstGeom prst="rect">
            <a:avLst/>
          </a:prstGeom>
        </p:spPr>
      </p:pic>
      <p:pic>
        <p:nvPicPr>
          <p:cNvPr id="897" name="Image 4"/>
          <p:cNvPicPr>
            <a:picLocks noChangeAspect="1"/>
          </p:cNvPicPr>
          <p:nvPr/>
        </p:nvPicPr>
        <p:blipFill>
          <a:blip r:embed="rId10"/>
          <a:stretch>
            <a:fillRect/>
          </a:stretch>
        </p:blipFill>
        <p:spPr bwMode="auto">
          <a:xfrm flipH="1">
            <a:off x="3514219" y="3003107"/>
            <a:ext cx="498145" cy="389143"/>
          </a:xfrm>
          <a:prstGeom prst="rect">
            <a:avLst/>
          </a:prstGeom>
          <a:noFill/>
          <a:ln w="38100">
            <a:noFill/>
            <a:miter lim="800000"/>
            <a:headEnd/>
            <a:tailEnd/>
          </a:ln>
          <a:extLst>
            <a:ext uri="{909E8E84-426E-40DD-AFC4-6F175D3DCCD1}">
              <a14:hiddenFill xmlns:a14="http://schemas.microsoft.com/office/drawing/2010/main">
                <a:solidFill>
                  <a:srgbClr val="FFFFFF"/>
                </a:solidFill>
              </a14:hiddenFill>
            </a:ext>
          </a:extLst>
        </p:spPr>
      </p:pic>
      <p:pic>
        <p:nvPicPr>
          <p:cNvPr id="898" name="Image 897"/>
          <p:cNvPicPr>
            <a:picLocks noChangeAspect="1"/>
          </p:cNvPicPr>
          <p:nvPr/>
        </p:nvPicPr>
        <p:blipFill>
          <a:blip r:embed="rId11"/>
          <a:stretch>
            <a:fillRect/>
          </a:stretch>
        </p:blipFill>
        <p:spPr>
          <a:xfrm>
            <a:off x="2819292" y="2984723"/>
            <a:ext cx="587680" cy="391027"/>
          </a:xfrm>
          <a:prstGeom prst="rect">
            <a:avLst/>
          </a:prstGeom>
          <a:ln w="57150">
            <a:noFill/>
          </a:ln>
        </p:spPr>
      </p:pic>
      <p:pic>
        <p:nvPicPr>
          <p:cNvPr id="899" name="Image 898"/>
          <p:cNvPicPr>
            <a:picLocks noChangeAspect="1"/>
          </p:cNvPicPr>
          <p:nvPr/>
        </p:nvPicPr>
        <p:blipFill>
          <a:blip r:embed="rId12"/>
          <a:stretch>
            <a:fillRect/>
          </a:stretch>
        </p:blipFill>
        <p:spPr>
          <a:xfrm flipH="1">
            <a:off x="2791692" y="4486524"/>
            <a:ext cx="722527" cy="469981"/>
          </a:xfrm>
          <a:prstGeom prst="rect">
            <a:avLst/>
          </a:prstGeom>
          <a:ln w="57150">
            <a:noFill/>
          </a:ln>
        </p:spPr>
      </p:pic>
      <p:pic>
        <p:nvPicPr>
          <p:cNvPr id="906" name="Image 905"/>
          <p:cNvPicPr>
            <a:picLocks noChangeAspect="1"/>
          </p:cNvPicPr>
          <p:nvPr/>
        </p:nvPicPr>
        <p:blipFill>
          <a:blip r:embed="rId13"/>
          <a:stretch>
            <a:fillRect/>
          </a:stretch>
        </p:blipFill>
        <p:spPr>
          <a:xfrm flipH="1">
            <a:off x="2787680" y="3533382"/>
            <a:ext cx="654818" cy="374857"/>
          </a:xfrm>
          <a:prstGeom prst="rect">
            <a:avLst/>
          </a:prstGeom>
        </p:spPr>
      </p:pic>
      <p:pic>
        <p:nvPicPr>
          <p:cNvPr id="14" name="Image 13"/>
          <p:cNvPicPr>
            <a:picLocks noChangeAspect="1"/>
          </p:cNvPicPr>
          <p:nvPr/>
        </p:nvPicPr>
        <p:blipFill>
          <a:blip r:embed="rId14"/>
          <a:stretch>
            <a:fillRect/>
          </a:stretch>
        </p:blipFill>
        <p:spPr>
          <a:xfrm>
            <a:off x="3514219" y="3503342"/>
            <a:ext cx="612582" cy="425098"/>
          </a:xfrm>
          <a:prstGeom prst="rect">
            <a:avLst/>
          </a:prstGeom>
        </p:spPr>
      </p:pic>
      <p:pic>
        <p:nvPicPr>
          <p:cNvPr id="15" name="Image 14"/>
          <p:cNvPicPr>
            <a:picLocks noChangeAspect="1"/>
          </p:cNvPicPr>
          <p:nvPr/>
        </p:nvPicPr>
        <p:blipFill>
          <a:blip r:embed="rId15"/>
          <a:stretch>
            <a:fillRect/>
          </a:stretch>
        </p:blipFill>
        <p:spPr>
          <a:xfrm>
            <a:off x="2787680" y="3962089"/>
            <a:ext cx="654819" cy="466061"/>
          </a:xfrm>
          <a:prstGeom prst="rect">
            <a:avLst/>
          </a:prstGeom>
        </p:spPr>
      </p:pic>
      <p:pic>
        <p:nvPicPr>
          <p:cNvPr id="910" name="Image 909"/>
          <p:cNvPicPr>
            <a:picLocks noChangeAspect="1"/>
          </p:cNvPicPr>
          <p:nvPr/>
        </p:nvPicPr>
        <p:blipFill>
          <a:blip r:embed="rId16"/>
          <a:stretch>
            <a:fillRect/>
          </a:stretch>
        </p:blipFill>
        <p:spPr>
          <a:xfrm>
            <a:off x="3109326" y="5059718"/>
            <a:ext cx="595290" cy="423691"/>
          </a:xfrm>
          <a:prstGeom prst="rect">
            <a:avLst/>
          </a:prstGeom>
        </p:spPr>
      </p:pic>
      <p:cxnSp>
        <p:nvCxnSpPr>
          <p:cNvPr id="17" name="Connecteur droit 16"/>
          <p:cNvCxnSpPr/>
          <p:nvPr/>
        </p:nvCxnSpPr>
        <p:spPr>
          <a:xfrm flipV="1">
            <a:off x="1687729" y="3197678"/>
            <a:ext cx="531414" cy="911879"/>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12" name="Connecteur droit 911"/>
          <p:cNvCxnSpPr/>
          <p:nvPr/>
        </p:nvCxnSpPr>
        <p:spPr>
          <a:xfrm flipV="1">
            <a:off x="1683169" y="3746837"/>
            <a:ext cx="529861" cy="36272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13" name="Connecteur droit 912"/>
          <p:cNvCxnSpPr/>
          <p:nvPr/>
        </p:nvCxnSpPr>
        <p:spPr>
          <a:xfrm>
            <a:off x="1691978" y="4113060"/>
            <a:ext cx="487510" cy="82058"/>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14" name="Connecteur droit 913"/>
          <p:cNvCxnSpPr/>
          <p:nvPr/>
        </p:nvCxnSpPr>
        <p:spPr>
          <a:xfrm>
            <a:off x="1688214" y="4109556"/>
            <a:ext cx="489294" cy="627654"/>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16" name="Connecteur droit 915"/>
          <p:cNvCxnSpPr/>
          <p:nvPr/>
        </p:nvCxnSpPr>
        <p:spPr>
          <a:xfrm>
            <a:off x="1687729" y="4113060"/>
            <a:ext cx="525301" cy="1182974"/>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31" name="ZoneTexte 930"/>
          <p:cNvSpPr txBox="1"/>
          <p:nvPr/>
        </p:nvSpPr>
        <p:spPr>
          <a:xfrm>
            <a:off x="3928262" y="4330831"/>
            <a:ext cx="1492199" cy="528357"/>
          </a:xfrm>
          <a:prstGeom prst="rect">
            <a:avLst/>
          </a:prstGeom>
          <a:noFill/>
        </p:spPr>
        <p:txBody>
          <a:bodyPr wrap="square" lIns="0" tIns="0" rIns="0" bIns="0" rtlCol="0">
            <a:noAutofit/>
          </a:bodyPr>
          <a:lstStyle/>
          <a:p>
            <a:r>
              <a:rPr lang="fr-FR" sz="1600" dirty="0"/>
              <a:t>40% de contribution</a:t>
            </a:r>
            <a:br>
              <a:rPr lang="fr-FR" sz="1600" dirty="0"/>
            </a:br>
            <a:r>
              <a:rPr lang="fr-FR" sz="1600" dirty="0"/>
              <a:t>à la croissance du chiffre d’affaires 2010 - 2016</a:t>
            </a:r>
          </a:p>
        </p:txBody>
      </p:sp>
      <p:pic>
        <p:nvPicPr>
          <p:cNvPr id="24" name="Image 23"/>
          <p:cNvPicPr>
            <a:picLocks noChangeAspect="1"/>
          </p:cNvPicPr>
          <p:nvPr/>
        </p:nvPicPr>
        <p:blipFill>
          <a:blip r:embed="rId17"/>
          <a:stretch>
            <a:fillRect/>
          </a:stretch>
        </p:blipFill>
        <p:spPr>
          <a:xfrm flipH="1">
            <a:off x="4180845" y="3503341"/>
            <a:ext cx="655080" cy="419875"/>
          </a:xfrm>
          <a:prstGeom prst="rect">
            <a:avLst/>
          </a:prstGeom>
        </p:spPr>
      </p:pic>
      <p:pic>
        <p:nvPicPr>
          <p:cNvPr id="27" name="Image 9" descr="image009"/>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r="11308"/>
          <a:stretch/>
        </p:blipFill>
        <p:spPr bwMode="auto">
          <a:xfrm flipH="1">
            <a:off x="4958782" y="3476911"/>
            <a:ext cx="539749" cy="431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age 2" descr="http://www.autogaspol.co.uk/wp-content/uploads/2015/12/vauxhall-logo-1342713385.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703001" y="5174719"/>
            <a:ext cx="357466" cy="284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ZoneTexte 4">
            <a:extLst>
              <a:ext uri="{FF2B5EF4-FFF2-40B4-BE49-F238E27FC236}">
                <a16:creationId xmlns:a16="http://schemas.microsoft.com/office/drawing/2014/main" xmlns="" id="{A9C7DC5A-C59B-45DB-9D99-1974FEB7251F}"/>
              </a:ext>
            </a:extLst>
          </p:cNvPr>
          <p:cNvSpPr txBox="1"/>
          <p:nvPr/>
        </p:nvSpPr>
        <p:spPr>
          <a:xfrm>
            <a:off x="395536" y="2477963"/>
            <a:ext cx="3309080" cy="341054"/>
          </a:xfrm>
          <a:prstGeom prst="rect">
            <a:avLst/>
          </a:prstGeom>
          <a:noFill/>
        </p:spPr>
        <p:txBody>
          <a:bodyPr wrap="none" lIns="0" tIns="0" rIns="0" bIns="0" rtlCol="0">
            <a:noAutofit/>
          </a:bodyPr>
          <a:lstStyle/>
          <a:p>
            <a:r>
              <a:rPr lang="en-US" altLang="ja-JP" b="1" dirty="0">
                <a:solidFill>
                  <a:srgbClr val="F7B100"/>
                </a:solidFill>
                <a:ea typeface="Meiryo UI"/>
                <a:cs typeface="Arial" charset="0"/>
              </a:rPr>
              <a:t>VENTES AUX PARTENAIRES</a:t>
            </a:r>
            <a:endParaRPr lang="fr-FR" b="1" dirty="0" err="1"/>
          </a:p>
        </p:txBody>
      </p:sp>
      <p:pic>
        <p:nvPicPr>
          <p:cNvPr id="30" name="Image 29">
            <a:extLst>
              <a:ext uri="{FF2B5EF4-FFF2-40B4-BE49-F238E27FC236}">
                <a16:creationId xmlns:a16="http://schemas.microsoft.com/office/drawing/2014/main" xmlns="" id="{110C10ED-74C3-4E5A-B90E-D074C9F11989}"/>
              </a:ext>
            </a:extLst>
          </p:cNvPr>
          <p:cNvPicPr>
            <a:picLocks noChangeAspect="1"/>
          </p:cNvPicPr>
          <p:nvPr/>
        </p:nvPicPr>
        <p:blipFill>
          <a:blip r:embed="rId20"/>
          <a:stretch>
            <a:fillRect/>
          </a:stretch>
        </p:blipFill>
        <p:spPr>
          <a:xfrm>
            <a:off x="6439789" y="1213186"/>
            <a:ext cx="1794208" cy="2298366"/>
          </a:xfrm>
          <a:prstGeom prst="rect">
            <a:avLst/>
          </a:prstGeom>
        </p:spPr>
      </p:pic>
      <p:sp>
        <p:nvSpPr>
          <p:cNvPr id="31" name="ZoneTexte 30">
            <a:extLst>
              <a:ext uri="{FF2B5EF4-FFF2-40B4-BE49-F238E27FC236}">
                <a16:creationId xmlns:a16="http://schemas.microsoft.com/office/drawing/2014/main" xmlns="" id="{E2F50C50-F91D-4B45-ACBC-CED7B3CF31A9}"/>
              </a:ext>
            </a:extLst>
          </p:cNvPr>
          <p:cNvSpPr txBox="1"/>
          <p:nvPr/>
        </p:nvSpPr>
        <p:spPr>
          <a:xfrm>
            <a:off x="3500830" y="1164364"/>
            <a:ext cx="3309080" cy="341054"/>
          </a:xfrm>
          <a:prstGeom prst="rect">
            <a:avLst/>
          </a:prstGeom>
          <a:noFill/>
        </p:spPr>
        <p:txBody>
          <a:bodyPr wrap="none" lIns="0" tIns="0" rIns="0" bIns="0" rtlCol="0">
            <a:noAutofit/>
          </a:bodyPr>
          <a:lstStyle/>
          <a:p>
            <a:r>
              <a:rPr lang="en-US" altLang="ja-JP" b="1" dirty="0">
                <a:solidFill>
                  <a:srgbClr val="F7B100"/>
                </a:solidFill>
                <a:ea typeface="Meiryo UI"/>
                <a:cs typeface="Arial" charset="0"/>
              </a:rPr>
              <a:t>SERVICES CONNECTES</a:t>
            </a:r>
            <a:endParaRPr lang="fr-FR" b="1" dirty="0" err="1"/>
          </a:p>
        </p:txBody>
      </p:sp>
    </p:spTree>
    <p:extLst>
      <p:ext uri="{BB962C8B-B14F-4D97-AF65-F5344CB8AC3E}">
        <p14:creationId xmlns:p14="http://schemas.microsoft.com/office/powerpoint/2010/main" val="10719744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p:cNvGraphicFramePr>
            <a:graphicFrameLocks noChangeAspect="1"/>
          </p:cNvGraphicFramePr>
          <p:nvPr>
            <p:extLst/>
          </p:nvPr>
        </p:nvGraphicFramePr>
        <p:xfrm>
          <a:off x="323046" y="1393826"/>
          <a:ext cx="8391525" cy="3338513"/>
        </p:xfrm>
        <a:graphic>
          <a:graphicData uri="http://schemas.openxmlformats.org/presentationml/2006/ole">
            <mc:AlternateContent xmlns:mc="http://schemas.openxmlformats.org/markup-compatibility/2006">
              <mc:Choice xmlns:v="urn:schemas-microsoft-com:vml" Requires="v">
                <p:oleObj spid="_x0000_s1027" name="Worksheet" r:id="rId4" imgW="8581960" imgH="3771782" progId="Excel.Sheet.8">
                  <p:embed/>
                </p:oleObj>
              </mc:Choice>
              <mc:Fallback>
                <p:oleObj name="Worksheet" r:id="rId4" imgW="8581960" imgH="3771782" progId="Excel.Sheet.8">
                  <p:embed/>
                  <p:pic>
                    <p:nvPicPr>
                      <p:cNvPr id="2" name="Objet 1"/>
                      <p:cNvPicPr/>
                      <p:nvPr/>
                    </p:nvPicPr>
                    <p:blipFill>
                      <a:blip r:embed="rId5"/>
                      <a:stretch>
                        <a:fillRect/>
                      </a:stretch>
                    </p:blipFill>
                    <p:spPr>
                      <a:xfrm>
                        <a:off x="323046" y="1393826"/>
                        <a:ext cx="8391525" cy="3338513"/>
                      </a:xfrm>
                      <a:prstGeom prst="rect">
                        <a:avLst/>
                      </a:prstGeom>
                    </p:spPr>
                  </p:pic>
                </p:oleObj>
              </mc:Fallback>
            </mc:AlternateContent>
          </a:graphicData>
        </a:graphic>
      </p:graphicFrame>
      <p:sp>
        <p:nvSpPr>
          <p:cNvPr id="17411" name="Espace réservé du texte 2"/>
          <p:cNvSpPr>
            <a:spLocks noGrp="1"/>
          </p:cNvSpPr>
          <p:nvPr>
            <p:ph type="body" sz="quarter" idx="4294967295"/>
          </p:nvPr>
        </p:nvSpPr>
        <p:spPr>
          <a:xfrm>
            <a:off x="75417" y="1159317"/>
            <a:ext cx="8785225" cy="242888"/>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indent="0" eaLnBrk="1" hangingPunct="1">
              <a:spcBef>
                <a:spcPct val="0"/>
              </a:spcBef>
              <a:buClrTx/>
              <a:buNone/>
            </a:pPr>
            <a:r>
              <a:rPr lang="fr-FR" altLang="en-US" sz="2000" dirty="0">
                <a:solidFill>
                  <a:schemeClr val="tx2"/>
                </a:solidFill>
                <a:latin typeface="Arial Narrow" pitchFamily="34" charset="0"/>
              </a:rPr>
              <a:t>IMMATRICULATIONS DU GROUPE RENAULT 2016 VS 2015</a:t>
            </a:r>
          </a:p>
          <a:p>
            <a:pPr marL="0" indent="0" eaLnBrk="1" hangingPunct="1">
              <a:spcBef>
                <a:spcPct val="0"/>
              </a:spcBef>
              <a:buClrTx/>
              <a:buNone/>
            </a:pPr>
            <a:endParaRPr lang="fr-FR" altLang="en-US" sz="2000" dirty="0">
              <a:solidFill>
                <a:schemeClr val="tx2"/>
              </a:solidFill>
              <a:latin typeface="Arial Narrow" pitchFamily="34" charset="0"/>
            </a:endParaRPr>
          </a:p>
        </p:txBody>
      </p:sp>
      <p:sp>
        <p:nvSpPr>
          <p:cNvPr id="17412" name="Text Box 5"/>
          <p:cNvSpPr txBox="1">
            <a:spLocks noChangeArrowheads="1"/>
          </p:cNvSpPr>
          <p:nvPr/>
        </p:nvSpPr>
        <p:spPr bwMode="auto">
          <a:xfrm>
            <a:off x="1003266" y="4714996"/>
            <a:ext cx="975565"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rIns="36000">
            <a:spAutoFit/>
          </a:bodyP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969696"/>
                </a:solidFill>
              </a:rPr>
              <a:t>MONDE</a:t>
            </a:r>
          </a:p>
          <a:p>
            <a:pPr algn="ctr" fontAlgn="base">
              <a:lnSpc>
                <a:spcPct val="90000"/>
              </a:lnSpc>
              <a:spcAft>
                <a:spcPct val="0"/>
              </a:spcAft>
              <a:buNone/>
            </a:pPr>
            <a:r>
              <a:rPr lang="fr-FR" altLang="en-US" sz="1200" dirty="0">
                <a:solidFill>
                  <a:srgbClr val="969696"/>
                </a:solidFill>
              </a:rPr>
              <a:t>+13,3%</a:t>
            </a:r>
          </a:p>
        </p:txBody>
      </p:sp>
      <p:sp>
        <p:nvSpPr>
          <p:cNvPr id="17413" name="Text Box 6"/>
          <p:cNvSpPr txBox="1">
            <a:spLocks noChangeArrowheads="1"/>
          </p:cNvSpPr>
          <p:nvPr/>
        </p:nvSpPr>
        <p:spPr bwMode="auto">
          <a:xfrm>
            <a:off x="2314729" y="4714996"/>
            <a:ext cx="975565"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rIns="36000">
            <a:spAutoFit/>
          </a:bodyPr>
          <a:lstStyle>
            <a:lvl1pPr marL="250825" indent="-342900">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FF7D14"/>
                </a:solidFill>
              </a:rPr>
              <a:t>EUROPE</a:t>
            </a:r>
          </a:p>
          <a:p>
            <a:pPr algn="ctr" fontAlgn="base">
              <a:lnSpc>
                <a:spcPct val="90000"/>
              </a:lnSpc>
              <a:spcAft>
                <a:spcPct val="0"/>
              </a:spcAft>
              <a:buNone/>
            </a:pPr>
            <a:r>
              <a:rPr lang="fr-FR" altLang="en-US" sz="1200" dirty="0">
                <a:solidFill>
                  <a:srgbClr val="FF7D14"/>
                </a:solidFill>
              </a:rPr>
              <a:t>+11,8%</a:t>
            </a:r>
          </a:p>
        </p:txBody>
      </p:sp>
      <p:sp>
        <p:nvSpPr>
          <p:cNvPr id="17414" name="Text Box 7"/>
          <p:cNvSpPr txBox="1">
            <a:spLocks noChangeArrowheads="1"/>
          </p:cNvSpPr>
          <p:nvPr/>
        </p:nvSpPr>
        <p:spPr bwMode="auto">
          <a:xfrm>
            <a:off x="6231947" y="4714996"/>
            <a:ext cx="1033866"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rIns="36000">
            <a:spAutoFit/>
          </a:bodyPr>
          <a:lstStyle>
            <a:lvl1pPr marL="250825" indent="-342900">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9BC814"/>
                </a:solidFill>
              </a:rPr>
              <a:t>AMERIQUES</a:t>
            </a:r>
          </a:p>
          <a:p>
            <a:pPr algn="ctr" fontAlgn="base">
              <a:lnSpc>
                <a:spcPct val="90000"/>
              </a:lnSpc>
              <a:spcAft>
                <a:spcPct val="0"/>
              </a:spcAft>
              <a:buNone/>
            </a:pPr>
            <a:r>
              <a:rPr lang="fr-FR" altLang="en-US" sz="1200" dirty="0">
                <a:solidFill>
                  <a:srgbClr val="9BC814"/>
                </a:solidFill>
              </a:rPr>
              <a:t>+0,1%</a:t>
            </a:r>
          </a:p>
        </p:txBody>
      </p:sp>
      <p:sp>
        <p:nvSpPr>
          <p:cNvPr id="17415" name="Text Box 8"/>
          <p:cNvSpPr txBox="1">
            <a:spLocks noChangeArrowheads="1"/>
          </p:cNvSpPr>
          <p:nvPr/>
        </p:nvSpPr>
        <p:spPr bwMode="auto">
          <a:xfrm>
            <a:off x="7319905" y="4714996"/>
            <a:ext cx="1350865"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rIns="36000">
            <a:spAutoFit/>
          </a:bodyPr>
          <a:lstStyle>
            <a:lvl1pPr marL="250825" indent="-342900">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F7B100"/>
                </a:solidFill>
              </a:rPr>
              <a:t>ASIE-PACIFIQUE</a:t>
            </a:r>
          </a:p>
          <a:p>
            <a:pPr algn="ctr" fontAlgn="base">
              <a:lnSpc>
                <a:spcPct val="90000"/>
              </a:lnSpc>
              <a:spcAft>
                <a:spcPct val="0"/>
              </a:spcAft>
              <a:buNone/>
            </a:pPr>
            <a:r>
              <a:rPr lang="fr-FR" altLang="en-US" sz="1200" dirty="0">
                <a:solidFill>
                  <a:srgbClr val="F7B100"/>
                </a:solidFill>
              </a:rPr>
              <a:t>+34,5%</a:t>
            </a:r>
          </a:p>
        </p:txBody>
      </p:sp>
      <p:sp>
        <p:nvSpPr>
          <p:cNvPr id="17416" name="Text Box 9"/>
          <p:cNvSpPr txBox="1">
            <a:spLocks noChangeArrowheads="1"/>
          </p:cNvSpPr>
          <p:nvPr/>
        </p:nvSpPr>
        <p:spPr bwMode="auto">
          <a:xfrm>
            <a:off x="4635884" y="4714996"/>
            <a:ext cx="1542584"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rIns="36000">
            <a:spAutoFit/>
          </a:bodyP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C00000"/>
                </a:solidFill>
              </a:rPr>
              <a:t>AFRIQUE-MO-INDE</a:t>
            </a:r>
          </a:p>
          <a:p>
            <a:pPr algn="ctr" fontAlgn="base">
              <a:lnSpc>
                <a:spcPct val="90000"/>
              </a:lnSpc>
              <a:spcAft>
                <a:spcPct val="0"/>
              </a:spcAft>
              <a:buNone/>
            </a:pPr>
            <a:r>
              <a:rPr lang="fr-FR" altLang="en-US" sz="1200" dirty="0">
                <a:solidFill>
                  <a:srgbClr val="C00000"/>
                </a:solidFill>
              </a:rPr>
              <a:t>+36,4%</a:t>
            </a:r>
          </a:p>
        </p:txBody>
      </p:sp>
      <p:sp>
        <p:nvSpPr>
          <p:cNvPr id="17417" name="Text Box 10"/>
          <p:cNvSpPr txBox="1">
            <a:spLocks noChangeArrowheads="1"/>
          </p:cNvSpPr>
          <p:nvPr/>
        </p:nvSpPr>
        <p:spPr bwMode="auto">
          <a:xfrm>
            <a:off x="3616464" y="4714996"/>
            <a:ext cx="980597"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rIns="36000">
            <a:spAutoFit/>
          </a:bodyP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ClrTx/>
              <a:buNone/>
            </a:pPr>
            <a:r>
              <a:rPr lang="fr-FR" altLang="en-US" sz="1200" dirty="0">
                <a:solidFill>
                  <a:srgbClr val="5A78BE"/>
                </a:solidFill>
              </a:rPr>
              <a:t>EURASIE </a:t>
            </a:r>
          </a:p>
          <a:p>
            <a:pPr algn="ctr" fontAlgn="base">
              <a:lnSpc>
                <a:spcPct val="90000"/>
              </a:lnSpc>
              <a:spcAft>
                <a:spcPct val="0"/>
              </a:spcAft>
              <a:buClrTx/>
              <a:buNone/>
            </a:pPr>
            <a:r>
              <a:rPr lang="fr-FR" altLang="en-US" sz="1200" dirty="0">
                <a:solidFill>
                  <a:srgbClr val="5A78BE"/>
                </a:solidFill>
              </a:rPr>
              <a:t>+2,3%</a:t>
            </a:r>
          </a:p>
        </p:txBody>
      </p:sp>
      <p:sp>
        <p:nvSpPr>
          <p:cNvPr id="17422" name="ZoneTexte 15"/>
          <p:cNvSpPr txBox="1">
            <a:spLocks noChangeArrowheads="1"/>
          </p:cNvSpPr>
          <p:nvPr/>
        </p:nvSpPr>
        <p:spPr bwMode="auto">
          <a:xfrm>
            <a:off x="387349" y="1337095"/>
            <a:ext cx="768159" cy="390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fontAlgn="base">
              <a:lnSpc>
                <a:spcPct val="90000"/>
              </a:lnSpc>
              <a:spcAft>
                <a:spcPct val="0"/>
              </a:spcAft>
              <a:buNone/>
            </a:pPr>
            <a:r>
              <a:rPr lang="fr-FR" altLang="en-US" sz="900" dirty="0">
                <a:solidFill>
                  <a:srgbClr val="000000"/>
                </a:solidFill>
              </a:rPr>
              <a:t>En milliers</a:t>
            </a:r>
          </a:p>
          <a:p>
            <a:pPr fontAlgn="base">
              <a:lnSpc>
                <a:spcPct val="90000"/>
              </a:lnSpc>
              <a:spcAft>
                <a:spcPct val="0"/>
              </a:spcAft>
              <a:buNone/>
            </a:pPr>
            <a:r>
              <a:rPr lang="fr-FR" altLang="en-US" sz="900" dirty="0">
                <a:solidFill>
                  <a:srgbClr val="000000"/>
                </a:solidFill>
              </a:rPr>
              <a:t>(VP+VU)</a:t>
            </a:r>
            <a:endParaRPr lang="fr-FR" altLang="en-US" sz="700" dirty="0">
              <a:solidFill>
                <a:srgbClr val="F7B100"/>
              </a:solidFill>
            </a:endParaRPr>
          </a:p>
        </p:txBody>
      </p:sp>
      <p:cxnSp>
        <p:nvCxnSpPr>
          <p:cNvPr id="33" name="Connecteur droit 32"/>
          <p:cNvCxnSpPr/>
          <p:nvPr/>
        </p:nvCxnSpPr>
        <p:spPr bwMode="auto">
          <a:xfrm>
            <a:off x="833532" y="4373287"/>
            <a:ext cx="764537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7424" name="Rectangle 302"/>
          <p:cNvSpPr>
            <a:spLocks noChangeArrowheads="1"/>
          </p:cNvSpPr>
          <p:nvPr/>
        </p:nvSpPr>
        <p:spPr bwMode="auto">
          <a:xfrm>
            <a:off x="5634822" y="2225279"/>
            <a:ext cx="236537" cy="9167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spcBef>
                <a:spcPct val="0"/>
              </a:spcBef>
              <a:spcAft>
                <a:spcPct val="0"/>
              </a:spcAft>
              <a:buClrTx/>
              <a:buNone/>
            </a:pPr>
            <a:endParaRPr lang="en-US" altLang="en-US" sz="1600">
              <a:solidFill>
                <a:srgbClr val="F7B100"/>
              </a:solidFill>
            </a:endParaRPr>
          </a:p>
        </p:txBody>
      </p:sp>
      <p:sp>
        <p:nvSpPr>
          <p:cNvPr id="17427" name="Rectangle 1"/>
          <p:cNvSpPr>
            <a:spLocks noChangeArrowheads="1"/>
          </p:cNvSpPr>
          <p:nvPr/>
        </p:nvSpPr>
        <p:spPr bwMode="auto">
          <a:xfrm>
            <a:off x="1079886" y="5236368"/>
            <a:ext cx="822325"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969696"/>
                </a:solidFill>
              </a:rPr>
              <a:t>+4,6% </a:t>
            </a:r>
            <a:endParaRPr lang="en-US" altLang="en-US" sz="1200" dirty="0">
              <a:solidFill>
                <a:srgbClr val="969696"/>
              </a:solidFill>
            </a:endParaRPr>
          </a:p>
        </p:txBody>
      </p:sp>
      <p:sp>
        <p:nvSpPr>
          <p:cNvPr id="17428" name="Rectangle 290"/>
          <p:cNvSpPr>
            <a:spLocks noChangeArrowheads="1"/>
          </p:cNvSpPr>
          <p:nvPr/>
        </p:nvSpPr>
        <p:spPr bwMode="auto">
          <a:xfrm>
            <a:off x="309524" y="5217902"/>
            <a:ext cx="110799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spcBef>
                <a:spcPct val="0"/>
              </a:spcBef>
              <a:spcAft>
                <a:spcPct val="0"/>
              </a:spcAft>
              <a:buClrTx/>
              <a:buNone/>
            </a:pPr>
            <a:r>
              <a:rPr lang="fr-FR" altLang="en-US" sz="1200" dirty="0">
                <a:solidFill>
                  <a:srgbClr val="000000"/>
                </a:solidFill>
              </a:rPr>
              <a:t>MTM</a:t>
            </a:r>
            <a:r>
              <a:rPr lang="fr-FR" altLang="en-US" sz="1200" b="0" dirty="0">
                <a:solidFill>
                  <a:srgbClr val="000000"/>
                </a:solidFill>
              </a:rPr>
              <a:t>	</a:t>
            </a:r>
            <a:endParaRPr lang="en-US" altLang="en-US" sz="1200" dirty="0">
              <a:solidFill>
                <a:srgbClr val="F7B100"/>
              </a:solidFill>
            </a:endParaRPr>
          </a:p>
        </p:txBody>
      </p:sp>
      <p:sp>
        <p:nvSpPr>
          <p:cNvPr id="17429" name="Rectangle 292"/>
          <p:cNvSpPr>
            <a:spLocks noChangeArrowheads="1"/>
          </p:cNvSpPr>
          <p:nvPr/>
        </p:nvSpPr>
        <p:spPr bwMode="auto">
          <a:xfrm>
            <a:off x="2391349" y="5236368"/>
            <a:ext cx="822325"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marL="250825" indent="-342900">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FF7D14"/>
                </a:solidFill>
              </a:rPr>
              <a:t>+7,0% </a:t>
            </a:r>
            <a:endParaRPr lang="en-US" altLang="en-US" sz="1200" dirty="0">
              <a:solidFill>
                <a:srgbClr val="FF7D14"/>
              </a:solidFill>
            </a:endParaRPr>
          </a:p>
        </p:txBody>
      </p:sp>
      <p:sp>
        <p:nvSpPr>
          <p:cNvPr id="17430" name="Rectangle 293"/>
          <p:cNvSpPr>
            <a:spLocks noChangeArrowheads="1"/>
          </p:cNvSpPr>
          <p:nvPr/>
        </p:nvSpPr>
        <p:spPr bwMode="auto">
          <a:xfrm>
            <a:off x="3695600" y="5236368"/>
            <a:ext cx="822325"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ClrTx/>
              <a:buNone/>
            </a:pPr>
            <a:r>
              <a:rPr lang="fr-FR" altLang="en-US" sz="1200" dirty="0">
                <a:solidFill>
                  <a:srgbClr val="5A78BE"/>
                </a:solidFill>
              </a:rPr>
              <a:t>-6,3% </a:t>
            </a:r>
            <a:endParaRPr lang="en-US" altLang="en-US" sz="1200" dirty="0">
              <a:solidFill>
                <a:srgbClr val="5A78BE"/>
              </a:solidFill>
            </a:endParaRPr>
          </a:p>
        </p:txBody>
      </p:sp>
      <p:sp>
        <p:nvSpPr>
          <p:cNvPr id="17431" name="Rectangle 294"/>
          <p:cNvSpPr>
            <a:spLocks noChangeArrowheads="1"/>
          </p:cNvSpPr>
          <p:nvPr/>
        </p:nvSpPr>
        <p:spPr bwMode="auto">
          <a:xfrm>
            <a:off x="4996015" y="5236368"/>
            <a:ext cx="822325"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C00000"/>
                </a:solidFill>
              </a:rPr>
              <a:t>-1,7% </a:t>
            </a:r>
            <a:endParaRPr lang="en-US" altLang="en-US" sz="1200" dirty="0">
              <a:solidFill>
                <a:srgbClr val="C00000"/>
              </a:solidFill>
            </a:endParaRPr>
          </a:p>
        </p:txBody>
      </p:sp>
      <p:sp>
        <p:nvSpPr>
          <p:cNvPr id="17432" name="Rectangle 295"/>
          <p:cNvSpPr>
            <a:spLocks noChangeArrowheads="1"/>
          </p:cNvSpPr>
          <p:nvPr/>
        </p:nvSpPr>
        <p:spPr bwMode="auto">
          <a:xfrm>
            <a:off x="6308568" y="5236368"/>
            <a:ext cx="822325"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marL="250825" indent="-342900">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9BC814"/>
                </a:solidFill>
              </a:rPr>
              <a:t>-4,1% </a:t>
            </a:r>
            <a:endParaRPr lang="en-US" altLang="en-US" sz="1200" dirty="0">
              <a:solidFill>
                <a:srgbClr val="9BC814"/>
              </a:solidFill>
            </a:endParaRPr>
          </a:p>
        </p:txBody>
      </p:sp>
      <p:sp>
        <p:nvSpPr>
          <p:cNvPr id="17433" name="Rectangle 296"/>
          <p:cNvSpPr>
            <a:spLocks noChangeArrowheads="1"/>
          </p:cNvSpPr>
          <p:nvPr/>
        </p:nvSpPr>
        <p:spPr bwMode="auto">
          <a:xfrm>
            <a:off x="7610860" y="5236368"/>
            <a:ext cx="822325"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marL="250825" indent="-342900">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lnSpc>
                <a:spcPct val="90000"/>
              </a:lnSpc>
              <a:spcAft>
                <a:spcPct val="0"/>
              </a:spcAft>
              <a:buNone/>
            </a:pPr>
            <a:r>
              <a:rPr lang="fr-FR" altLang="en-US" sz="1200" dirty="0">
                <a:solidFill>
                  <a:srgbClr val="F7B100"/>
                </a:solidFill>
              </a:rPr>
              <a:t>+9,3% </a:t>
            </a:r>
            <a:endParaRPr lang="en-US" altLang="en-US" sz="1200" dirty="0">
              <a:solidFill>
                <a:srgbClr val="F7B100"/>
              </a:solidFill>
            </a:endParaRPr>
          </a:p>
        </p:txBody>
      </p:sp>
      <p:sp>
        <p:nvSpPr>
          <p:cNvPr id="17434" name="Rectangle 297"/>
          <p:cNvSpPr>
            <a:spLocks noChangeArrowheads="1"/>
          </p:cNvSpPr>
          <p:nvPr/>
        </p:nvSpPr>
        <p:spPr bwMode="auto">
          <a:xfrm>
            <a:off x="309524" y="4927362"/>
            <a:ext cx="110799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35000"/>
              </a:spcBef>
              <a:buClr>
                <a:srgbClr val="F7B100"/>
              </a:buClr>
              <a:buFont typeface="Wingdings" pitchFamily="2" charset="2"/>
              <a:buChar char="§"/>
              <a:defRPr sz="2000" b="1">
                <a:solidFill>
                  <a:schemeClr val="tx1"/>
                </a:solidFill>
                <a:latin typeface="Arial" charset="0"/>
                <a:ea typeface="MS PGothic" pitchFamily="34" charset="-128"/>
                <a:cs typeface="Arial" charset="0"/>
              </a:defRPr>
            </a:lvl1pPr>
            <a:lvl2pPr marL="742950" indent="-285750">
              <a:spcBef>
                <a:spcPct val="30000"/>
              </a:spcBef>
              <a:buClr>
                <a:srgbClr val="F7B100"/>
              </a:buClr>
              <a:buFont typeface="Wingdings" pitchFamily="2" charset="2"/>
              <a:buChar char="§"/>
              <a:defRPr sz="1600">
                <a:solidFill>
                  <a:schemeClr val="tx1"/>
                </a:solidFill>
                <a:latin typeface="Arial" charset="0"/>
                <a:ea typeface="MS PGothic" pitchFamily="34" charset="-128"/>
                <a:cs typeface="Arial" charset="0"/>
              </a:defRPr>
            </a:lvl2pPr>
            <a:lvl3pPr marL="1143000" indent="-228600">
              <a:spcBef>
                <a:spcPct val="35000"/>
              </a:spcBef>
              <a:buFont typeface="Wingdings" pitchFamily="2" charset="2"/>
              <a:buChar char="§"/>
              <a:defRPr sz="1400">
                <a:solidFill>
                  <a:schemeClr val="tx1"/>
                </a:solidFill>
                <a:latin typeface="Arial" charset="0"/>
                <a:ea typeface="MS PGothic" pitchFamily="34" charset="-128"/>
                <a:cs typeface="Arial" charset="0"/>
              </a:defRPr>
            </a:lvl3pPr>
            <a:lvl4pPr marL="1600200" indent="-228600">
              <a:spcBef>
                <a:spcPct val="40000"/>
              </a:spcBef>
              <a:buFont typeface="Wingdings" pitchFamily="2" charset="2"/>
              <a:buChar char="§"/>
              <a:defRPr sz="1100">
                <a:solidFill>
                  <a:schemeClr val="tx1"/>
                </a:solidFill>
                <a:latin typeface="Arial" charset="0"/>
                <a:ea typeface="MS PGothic" pitchFamily="34" charset="-128"/>
                <a:cs typeface="Arial" charset="0"/>
              </a:defRPr>
            </a:lvl4pPr>
            <a:lvl5pPr marL="2057400" indent="-228600">
              <a:spcBef>
                <a:spcPct val="20000"/>
              </a:spcBef>
              <a:buChar char="»"/>
              <a:defRPr sz="1000">
                <a:solidFill>
                  <a:schemeClr val="tx1"/>
                </a:solidFill>
                <a:latin typeface="Arial" charset="0"/>
                <a:ea typeface="MS PGothic" pitchFamily="34" charset="-128"/>
                <a:cs typeface="Arial" charset="0"/>
              </a:defRPr>
            </a:lvl5pPr>
            <a:lvl6pPr marL="25146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6pPr>
            <a:lvl7pPr marL="29718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7pPr>
            <a:lvl8pPr marL="34290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8pPr>
            <a:lvl9pPr marL="3886200" indent="-228600" eaLnBrk="0" fontAlgn="base" hangingPunct="0">
              <a:spcBef>
                <a:spcPct val="20000"/>
              </a:spcBef>
              <a:spcAft>
                <a:spcPct val="0"/>
              </a:spcAft>
              <a:buChar char="»"/>
              <a:defRPr sz="1000">
                <a:solidFill>
                  <a:schemeClr val="tx1"/>
                </a:solidFill>
                <a:latin typeface="Arial" charset="0"/>
                <a:ea typeface="MS PGothic" pitchFamily="34" charset="-128"/>
                <a:cs typeface="Arial" charset="0"/>
              </a:defRPr>
            </a:lvl9pPr>
          </a:lstStyle>
          <a:p>
            <a:pPr algn="ctr" fontAlgn="base">
              <a:spcBef>
                <a:spcPct val="0"/>
              </a:spcBef>
              <a:spcAft>
                <a:spcPct val="0"/>
              </a:spcAft>
              <a:buClrTx/>
              <a:buNone/>
            </a:pPr>
            <a:r>
              <a:rPr lang="fr-FR" altLang="en-US" sz="1200" dirty="0">
                <a:solidFill>
                  <a:srgbClr val="000000"/>
                </a:solidFill>
              </a:rPr>
              <a:t>GROUPE</a:t>
            </a:r>
            <a:r>
              <a:rPr lang="fr-FR" altLang="en-US" sz="1200" b="0" dirty="0">
                <a:solidFill>
                  <a:srgbClr val="000000"/>
                </a:solidFill>
              </a:rPr>
              <a:t>	</a:t>
            </a:r>
            <a:endParaRPr lang="en-US" altLang="en-US" sz="1200" dirty="0">
              <a:solidFill>
                <a:srgbClr val="F7B100"/>
              </a:solidFill>
            </a:endParaRPr>
          </a:p>
        </p:txBody>
      </p:sp>
      <p:pic>
        <p:nvPicPr>
          <p:cNvPr id="17435" name="Picture 6" descr="\\f-ramses\home7$\a188543\MyDocs\My Received Files\R_1409_CARTOGRAPHIE_Monde.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73512" y="1582832"/>
            <a:ext cx="2797398" cy="1519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Box 11"/>
          <p:cNvSpPr txBox="1">
            <a:spLocks noChangeArrowheads="1"/>
          </p:cNvSpPr>
          <p:nvPr/>
        </p:nvSpPr>
        <p:spPr bwMode="auto">
          <a:xfrm>
            <a:off x="4735271" y="3352239"/>
            <a:ext cx="253054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6000" rIns="36000">
            <a:spAutoFit/>
          </a:bodyPr>
          <a:lstStyle>
            <a:defPPr>
              <a:defRPr lang="fr-FR"/>
            </a:defPPr>
            <a:lvl1pPr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9pPr>
          </a:lstStyle>
          <a:p>
            <a:pPr algn="ctr" eaLnBrk="1" hangingPunct="1">
              <a:lnSpc>
                <a:spcPct val="90000"/>
              </a:lnSpc>
              <a:spcBef>
                <a:spcPct val="50000"/>
              </a:spcBef>
            </a:pPr>
            <a:r>
              <a:rPr lang="fr-FR" altLang="en-US" sz="1600" dirty="0">
                <a:solidFill>
                  <a:srgbClr val="8A8E91"/>
                </a:solidFill>
              </a:rPr>
              <a:t>INTERNATIONAL +15,3%</a:t>
            </a:r>
          </a:p>
        </p:txBody>
      </p:sp>
      <p:sp>
        <p:nvSpPr>
          <p:cNvPr id="24" name="Line 12"/>
          <p:cNvSpPr>
            <a:spLocks noChangeShapeType="1"/>
          </p:cNvSpPr>
          <p:nvPr/>
        </p:nvSpPr>
        <p:spPr bwMode="auto">
          <a:xfrm flipH="1" flipV="1">
            <a:off x="3558323" y="3564033"/>
            <a:ext cx="848984" cy="2"/>
          </a:xfrm>
          <a:prstGeom prst="line">
            <a:avLst/>
          </a:prstGeom>
          <a:noFill/>
          <a:ln w="19050">
            <a:solidFill>
              <a:srgbClr val="8A8E91"/>
            </a:solidFill>
            <a:prstDash val="sysDot"/>
            <a:round/>
            <a:headEnd/>
            <a:tailEnd/>
          </a:ln>
          <a:extLst>
            <a:ext uri="{909E8E84-426E-40DD-AFC4-6F175D3DCCD1}">
              <a14:hiddenFill xmlns:a14="http://schemas.microsoft.com/office/drawing/2010/main">
                <a:noFill/>
              </a14:hiddenFill>
            </a:ext>
          </a:extLst>
        </p:spPr>
        <p:txBody>
          <a:bodyPr lIns="36000" rIns="36000"/>
          <a:lstStyle>
            <a:defPPr>
              <a:defRPr lang="fr-FR"/>
            </a:defPPr>
            <a:lvl1pPr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9pPr>
          </a:lstStyle>
          <a:p>
            <a:endParaRPr lang="en-US" sz="1200">
              <a:solidFill>
                <a:srgbClr val="FFCC33"/>
              </a:solidFill>
            </a:endParaRPr>
          </a:p>
        </p:txBody>
      </p:sp>
      <p:sp>
        <p:nvSpPr>
          <p:cNvPr id="25" name="Line 13"/>
          <p:cNvSpPr>
            <a:spLocks noChangeShapeType="1"/>
          </p:cNvSpPr>
          <p:nvPr/>
        </p:nvSpPr>
        <p:spPr bwMode="auto">
          <a:xfrm flipH="1" flipV="1">
            <a:off x="3558324" y="3564036"/>
            <a:ext cx="0" cy="424440"/>
          </a:xfrm>
          <a:prstGeom prst="line">
            <a:avLst/>
          </a:prstGeom>
          <a:noFill/>
          <a:ln w="19050">
            <a:solidFill>
              <a:srgbClr val="8A8E91"/>
            </a:solidFill>
            <a:prstDash val="sysDot"/>
            <a:round/>
            <a:headEnd/>
            <a:tailEnd/>
          </a:ln>
          <a:extLst>
            <a:ext uri="{909E8E84-426E-40DD-AFC4-6F175D3DCCD1}">
              <a14:hiddenFill xmlns:a14="http://schemas.microsoft.com/office/drawing/2010/main">
                <a:noFill/>
              </a14:hiddenFill>
            </a:ext>
          </a:extLst>
        </p:spPr>
        <p:txBody>
          <a:bodyPr lIns="36000" rIns="36000"/>
          <a:lstStyle>
            <a:defPPr>
              <a:defRPr lang="fr-FR"/>
            </a:defPPr>
            <a:lvl1pPr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9pPr>
          </a:lstStyle>
          <a:p>
            <a:endParaRPr lang="en-US" sz="1200">
              <a:solidFill>
                <a:srgbClr val="FFCC33"/>
              </a:solidFill>
            </a:endParaRPr>
          </a:p>
        </p:txBody>
      </p:sp>
      <p:sp>
        <p:nvSpPr>
          <p:cNvPr id="26" name="Line 15"/>
          <p:cNvSpPr>
            <a:spLocks noChangeShapeType="1"/>
          </p:cNvSpPr>
          <p:nvPr/>
        </p:nvSpPr>
        <p:spPr bwMode="auto">
          <a:xfrm flipV="1">
            <a:off x="8453356" y="3570761"/>
            <a:ext cx="0" cy="424442"/>
          </a:xfrm>
          <a:prstGeom prst="line">
            <a:avLst/>
          </a:prstGeom>
          <a:noFill/>
          <a:ln w="19050">
            <a:solidFill>
              <a:srgbClr val="8A8E91"/>
            </a:solidFill>
            <a:prstDash val="sysDot"/>
            <a:round/>
            <a:headEnd/>
            <a:tailEnd/>
          </a:ln>
          <a:extLst>
            <a:ext uri="{909E8E84-426E-40DD-AFC4-6F175D3DCCD1}">
              <a14:hiddenFill xmlns:a14="http://schemas.microsoft.com/office/drawing/2010/main">
                <a:noFill/>
              </a14:hiddenFill>
            </a:ext>
          </a:extLst>
        </p:spPr>
        <p:txBody>
          <a:bodyPr lIns="36000" rIns="36000"/>
          <a:lstStyle>
            <a:defPPr>
              <a:defRPr lang="fr-FR"/>
            </a:defPPr>
            <a:lvl1pPr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9pPr>
          </a:lstStyle>
          <a:p>
            <a:endParaRPr lang="en-US" sz="1200">
              <a:solidFill>
                <a:srgbClr val="FFCC33"/>
              </a:solidFill>
            </a:endParaRPr>
          </a:p>
        </p:txBody>
      </p:sp>
      <p:sp>
        <p:nvSpPr>
          <p:cNvPr id="27" name="Line 12"/>
          <p:cNvSpPr>
            <a:spLocks noChangeShapeType="1"/>
          </p:cNvSpPr>
          <p:nvPr/>
        </p:nvSpPr>
        <p:spPr bwMode="auto">
          <a:xfrm flipH="1" flipV="1">
            <a:off x="7527026" y="3570761"/>
            <a:ext cx="926330" cy="3922"/>
          </a:xfrm>
          <a:prstGeom prst="line">
            <a:avLst/>
          </a:prstGeom>
          <a:noFill/>
          <a:ln w="19050">
            <a:solidFill>
              <a:srgbClr val="8A8E91"/>
            </a:solidFill>
            <a:prstDash val="sysDot"/>
            <a:round/>
            <a:headEnd/>
            <a:tailEnd/>
          </a:ln>
          <a:extLst>
            <a:ext uri="{909E8E84-426E-40DD-AFC4-6F175D3DCCD1}">
              <a14:hiddenFill xmlns:a14="http://schemas.microsoft.com/office/drawing/2010/main">
                <a:noFill/>
              </a14:hiddenFill>
            </a:ext>
          </a:extLst>
        </p:spPr>
        <p:txBody>
          <a:bodyPr lIns="36000" rIns="36000"/>
          <a:lstStyle>
            <a:defPPr>
              <a:defRPr lang="fr-FR"/>
            </a:defPPr>
            <a:lvl1pPr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b="1" kern="1200">
                <a:solidFill>
                  <a:schemeClr val="accent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b="1" kern="1200">
                <a:solidFill>
                  <a:schemeClr val="accent1"/>
                </a:solidFill>
                <a:latin typeface="Arial" panose="020B0604020202020204" pitchFamily="34" charset="0"/>
                <a:ea typeface="MS PGothic" panose="020B0600070205080204" pitchFamily="34" charset="-128"/>
                <a:cs typeface="+mn-cs"/>
              </a:defRPr>
            </a:lvl9pPr>
          </a:lstStyle>
          <a:p>
            <a:endParaRPr lang="en-US" sz="1200">
              <a:solidFill>
                <a:srgbClr val="FFCC33"/>
              </a:solidFill>
            </a:endParaRPr>
          </a:p>
        </p:txBody>
      </p:sp>
      <p:sp>
        <p:nvSpPr>
          <p:cNvPr id="4" name="ZoneTexte 3">
            <a:extLst>
              <a:ext uri="{FF2B5EF4-FFF2-40B4-BE49-F238E27FC236}">
                <a16:creationId xmlns:a16="http://schemas.microsoft.com/office/drawing/2014/main" xmlns="" id="{6C18E552-8BC7-4ABB-9AA8-034415668C56}"/>
              </a:ext>
            </a:extLst>
          </p:cNvPr>
          <p:cNvSpPr txBox="1"/>
          <p:nvPr/>
        </p:nvSpPr>
        <p:spPr>
          <a:xfrm>
            <a:off x="4123498" y="5694025"/>
            <a:ext cx="4897425" cy="267948"/>
          </a:xfrm>
          <a:prstGeom prst="rect">
            <a:avLst/>
          </a:prstGeom>
          <a:noFill/>
        </p:spPr>
        <p:txBody>
          <a:bodyPr wrap="none" lIns="0" tIns="0" rIns="0" bIns="0" rtlCol="0">
            <a:noAutofit/>
          </a:bodyPr>
          <a:lstStyle/>
          <a:p>
            <a:r>
              <a:rPr lang="fr-FR" sz="2000" b="1" dirty="0">
                <a:latin typeface="+mj-lt"/>
              </a:rPr>
              <a:t>CHIFFRE D’AFFAIRES 2016 : 51 243 milliards €</a:t>
            </a:r>
            <a:endParaRPr lang="fr-FR" sz="2000" b="1" dirty="0">
              <a:solidFill>
                <a:schemeClr val="tx1"/>
              </a:solidFill>
              <a:latin typeface="+mj-lt"/>
            </a:endParaRPr>
          </a:p>
        </p:txBody>
      </p:sp>
    </p:spTree>
    <p:extLst>
      <p:ext uri="{BB962C8B-B14F-4D97-AF65-F5344CB8AC3E}">
        <p14:creationId xmlns:p14="http://schemas.microsoft.com/office/powerpoint/2010/main" val="175088097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1FC4E6E8-B465-4447-B968-F5D5740EE1E0}"/>
              </a:ext>
            </a:extLst>
          </p:cNvPr>
          <p:cNvSpPr>
            <a:spLocks noGrp="1"/>
          </p:cNvSpPr>
          <p:nvPr>
            <p:ph type="title"/>
          </p:nvPr>
        </p:nvSpPr>
        <p:spPr/>
        <p:txBody>
          <a:bodyPr/>
          <a:lstStyle/>
          <a:p>
            <a:endParaRPr lang="fr-FR"/>
          </a:p>
        </p:txBody>
      </p:sp>
      <p:pic>
        <p:nvPicPr>
          <p:cNvPr id="3" name="Image 2">
            <a:extLst>
              <a:ext uri="{FF2B5EF4-FFF2-40B4-BE49-F238E27FC236}">
                <a16:creationId xmlns:a16="http://schemas.microsoft.com/office/drawing/2014/main" xmlns="" id="{B046BF52-1F11-4763-89DE-05F8D30A3225}"/>
              </a:ext>
            </a:extLst>
          </p:cNvPr>
          <p:cNvPicPr>
            <a:picLocks noChangeAspect="1"/>
          </p:cNvPicPr>
          <p:nvPr/>
        </p:nvPicPr>
        <p:blipFill>
          <a:blip r:embed="rId2"/>
          <a:stretch>
            <a:fillRect/>
          </a:stretch>
        </p:blipFill>
        <p:spPr>
          <a:xfrm>
            <a:off x="755576" y="828233"/>
            <a:ext cx="7920880" cy="5397817"/>
          </a:xfrm>
          <a:prstGeom prst="rect">
            <a:avLst/>
          </a:prstGeom>
        </p:spPr>
      </p:pic>
    </p:spTree>
    <p:extLst>
      <p:ext uri="{BB962C8B-B14F-4D97-AF65-F5344CB8AC3E}">
        <p14:creationId xmlns:p14="http://schemas.microsoft.com/office/powerpoint/2010/main" val="1499917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543355" y="2018186"/>
            <a:ext cx="8060894" cy="1421637"/>
          </a:xfrm>
        </p:spPr>
        <p:txBody>
          <a:bodyPr/>
          <a:lstStyle/>
          <a:p>
            <a:pPr marL="0" indent="0" algn="ctr">
              <a:buNone/>
            </a:pPr>
            <a:r>
              <a:rPr lang="fr-FR" dirty="0"/>
              <a:t>CONCEVOIR		FABRIQUER		VENDRE</a:t>
            </a:r>
          </a:p>
          <a:p>
            <a:pPr marL="0" indent="0" algn="ctr">
              <a:buNone/>
            </a:pPr>
            <a:endParaRPr lang="fr-FR" dirty="0"/>
          </a:p>
          <a:p>
            <a:pPr marL="0" indent="0" algn="ctr">
              <a:buNone/>
            </a:pPr>
            <a:endParaRPr lang="fr-FR" dirty="0"/>
          </a:p>
          <a:p>
            <a:pPr marL="0" indent="0" algn="ctr">
              <a:buNone/>
            </a:pPr>
            <a:r>
              <a:rPr lang="fr-FR" dirty="0"/>
              <a:t>AVEC UNE ORGANISATION EN </a:t>
            </a:r>
            <a:r>
              <a:rPr lang="fr-FR" dirty="0">
                <a:solidFill>
                  <a:srgbClr val="FFC000"/>
                </a:solidFill>
              </a:rPr>
              <a:t>5 REGIONS</a:t>
            </a:r>
          </a:p>
          <a:p>
            <a:pPr marL="0" indent="0" algn="ctr">
              <a:buNone/>
            </a:pPr>
            <a:endParaRPr lang="fr-FR" dirty="0"/>
          </a:p>
          <a:p>
            <a:pPr marL="0" indent="0" algn="ctr">
              <a:buNone/>
            </a:pPr>
            <a:endParaRPr lang="fr-FR" dirty="0"/>
          </a:p>
          <a:p>
            <a:pPr marL="0" indent="0" algn="ctr">
              <a:buNone/>
            </a:pPr>
            <a:r>
              <a:rPr lang="fr-FR" dirty="0"/>
              <a:t> </a:t>
            </a:r>
          </a:p>
        </p:txBody>
      </p:sp>
      <p:sp>
        <p:nvSpPr>
          <p:cNvPr id="4" name="Titre 3"/>
          <p:cNvSpPr>
            <a:spLocks noGrp="1"/>
          </p:cNvSpPr>
          <p:nvPr>
            <p:ph type="title"/>
          </p:nvPr>
        </p:nvSpPr>
        <p:spPr/>
        <p:txBody>
          <a:bodyPr/>
          <a:lstStyle/>
          <a:p>
            <a:r>
              <a:rPr lang="fr-FR" dirty="0"/>
              <a:t>UN GROUPE STRUCTURE SUR UN METIER : L’AUTOMOBILE</a:t>
            </a:r>
          </a:p>
        </p:txBody>
      </p:sp>
      <p:sp>
        <p:nvSpPr>
          <p:cNvPr id="6" name="Flèche droite 5"/>
          <p:cNvSpPr/>
          <p:nvPr/>
        </p:nvSpPr>
        <p:spPr>
          <a:xfrm>
            <a:off x="3213671" y="1979749"/>
            <a:ext cx="518647" cy="323104"/>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p:cNvSpPr txBox="1"/>
          <p:nvPr/>
        </p:nvSpPr>
        <p:spPr>
          <a:xfrm>
            <a:off x="2675106" y="2141301"/>
            <a:ext cx="914400" cy="914400"/>
          </a:xfrm>
          <a:prstGeom prst="rect">
            <a:avLst/>
          </a:prstGeom>
          <a:noFill/>
        </p:spPr>
        <p:txBody>
          <a:bodyPr wrap="none" lIns="0" tIns="0" rIns="0" bIns="0" rtlCol="0">
            <a:noAutofit/>
          </a:bodyPr>
          <a:lstStyle/>
          <a:p>
            <a:endParaRPr lang="fr-FR" sz="1600" dirty="0" err="1"/>
          </a:p>
        </p:txBody>
      </p:sp>
      <p:sp>
        <p:nvSpPr>
          <p:cNvPr id="8" name="Espace réservé du texte 1"/>
          <p:cNvSpPr txBox="1">
            <a:spLocks/>
          </p:cNvSpPr>
          <p:nvPr/>
        </p:nvSpPr>
        <p:spPr>
          <a:xfrm>
            <a:off x="1146040" y="3566823"/>
            <a:ext cx="1986266" cy="1034719"/>
          </a:xfrm>
          <a:prstGeom prst="rect">
            <a:avLst/>
          </a:prstGeom>
        </p:spPr>
        <p:txBody>
          <a:bodyPr lIns="0" tIns="0" rIns="0" bIns="0"/>
          <a:lstStyle>
            <a:lvl1pPr marL="177800" indent="-177800" algn="l" rtl="0" eaLnBrk="0" fontAlgn="base" hangingPunct="0">
              <a:spcBef>
                <a:spcPts val="300"/>
              </a:spcBef>
              <a:spcAft>
                <a:spcPct val="0"/>
              </a:spcAft>
              <a:buClr>
                <a:schemeClr val="accent1"/>
              </a:buClr>
              <a:buFont typeface="Wingdings" pitchFamily="2" charset="2"/>
              <a:buChar char="§"/>
              <a:defRPr sz="1800" b="1">
                <a:solidFill>
                  <a:schemeClr val="tx1"/>
                </a:solidFill>
                <a:latin typeface="+mn-lt"/>
                <a:ea typeface="+mn-ea"/>
                <a:cs typeface="+mn-cs"/>
              </a:defRPr>
            </a:lvl1pPr>
            <a:lvl2pPr marL="450850" indent="-184150" algn="l" rtl="0" eaLnBrk="0" fontAlgn="base" hangingPunct="0">
              <a:spcBef>
                <a:spcPts val="300"/>
              </a:spcBef>
              <a:spcAft>
                <a:spcPct val="0"/>
              </a:spcAft>
              <a:buClr>
                <a:schemeClr val="tx1"/>
              </a:buClr>
              <a:buFont typeface="Arial" pitchFamily="34" charset="0"/>
              <a:buChar char="−"/>
              <a:defRPr sz="1600">
                <a:solidFill>
                  <a:schemeClr val="tx1"/>
                </a:solidFill>
                <a:latin typeface="+mn-lt"/>
                <a:ea typeface="+mn-ea"/>
              </a:defRPr>
            </a:lvl2pPr>
            <a:lvl3pPr marL="715963" indent="-176213" algn="l" rtl="0" eaLnBrk="0" fontAlgn="base" hangingPunct="0">
              <a:spcBef>
                <a:spcPts val="300"/>
              </a:spcBef>
              <a:spcAft>
                <a:spcPct val="0"/>
              </a:spcAft>
              <a:buClr>
                <a:schemeClr val="tx1"/>
              </a:buClr>
              <a:buFont typeface="Arial" pitchFamily="34" charset="0"/>
              <a:buChar char="−"/>
              <a:tabLst/>
              <a:defRPr sz="1400">
                <a:solidFill>
                  <a:schemeClr val="tx1"/>
                </a:solidFill>
                <a:latin typeface="+mn-lt"/>
                <a:ea typeface="+mn-ea"/>
              </a:defRPr>
            </a:lvl3pPr>
            <a:lvl4pPr marL="982663" indent="-177800" algn="l" rtl="0" eaLnBrk="0" fontAlgn="base" hangingPunct="0">
              <a:spcBef>
                <a:spcPts val="300"/>
              </a:spcBef>
              <a:spcAft>
                <a:spcPct val="0"/>
              </a:spcAft>
              <a:buClr>
                <a:schemeClr val="tx1"/>
              </a:buClr>
              <a:buFont typeface="Arial" pitchFamily="34" charset="0"/>
              <a:buChar char="−"/>
              <a:defRPr sz="1200">
                <a:solidFill>
                  <a:schemeClr val="tx1"/>
                </a:solidFill>
                <a:latin typeface="+mn-lt"/>
                <a:ea typeface="+mn-ea"/>
              </a:defRPr>
            </a:lvl4pPr>
            <a:lvl5pPr marL="1255713" indent="-177800" algn="l" rtl="0" eaLnBrk="0" fontAlgn="base" hangingPunct="0">
              <a:spcBef>
                <a:spcPts val="300"/>
              </a:spcBef>
              <a:spcAft>
                <a:spcPct val="0"/>
              </a:spcAft>
              <a:buClr>
                <a:schemeClr val="tx1"/>
              </a:buClr>
              <a:buFont typeface="Arial" pitchFamily="34" charset="0"/>
              <a:buChar char="−"/>
              <a:defRPr sz="1000">
                <a:solidFill>
                  <a:schemeClr val="tx1"/>
                </a:solidFill>
                <a:latin typeface="+mn-lt"/>
                <a:ea typeface="+mn-ea"/>
              </a:defRPr>
            </a:lvl5pPr>
            <a:lvl6pPr marL="1885950" indent="-171450" algn="l" rtl="0" eaLnBrk="1" fontAlgn="base" hangingPunct="1">
              <a:spcBef>
                <a:spcPct val="20000"/>
              </a:spcBef>
              <a:spcAft>
                <a:spcPct val="0"/>
              </a:spcAft>
              <a:buChar char="»"/>
              <a:defRPr sz="800">
                <a:solidFill>
                  <a:schemeClr val="tx1"/>
                </a:solidFill>
                <a:latin typeface="+mn-lt"/>
                <a:ea typeface="+mn-ea"/>
              </a:defRPr>
            </a:lvl6pPr>
            <a:lvl7pPr marL="2228850" indent="-171450" algn="l" rtl="0" eaLnBrk="1" fontAlgn="base" hangingPunct="1">
              <a:spcBef>
                <a:spcPct val="20000"/>
              </a:spcBef>
              <a:spcAft>
                <a:spcPct val="0"/>
              </a:spcAft>
              <a:buChar char="»"/>
              <a:defRPr sz="800">
                <a:solidFill>
                  <a:schemeClr val="tx1"/>
                </a:solidFill>
                <a:latin typeface="+mn-lt"/>
                <a:ea typeface="+mn-ea"/>
              </a:defRPr>
            </a:lvl7pPr>
            <a:lvl8pPr marL="2571750" indent="-171450" algn="l" rtl="0" eaLnBrk="1" fontAlgn="base" hangingPunct="1">
              <a:spcBef>
                <a:spcPct val="20000"/>
              </a:spcBef>
              <a:spcAft>
                <a:spcPct val="0"/>
              </a:spcAft>
              <a:buChar char="»"/>
              <a:defRPr sz="800">
                <a:solidFill>
                  <a:schemeClr val="tx1"/>
                </a:solidFill>
                <a:latin typeface="+mn-lt"/>
                <a:ea typeface="+mn-ea"/>
              </a:defRPr>
            </a:lvl8pPr>
            <a:lvl9pPr marL="2914650" indent="-171450" algn="l" rtl="0" eaLnBrk="1" fontAlgn="base" hangingPunct="1">
              <a:spcBef>
                <a:spcPct val="20000"/>
              </a:spcBef>
              <a:spcAft>
                <a:spcPct val="0"/>
              </a:spcAft>
              <a:buChar char="»"/>
              <a:defRPr sz="800">
                <a:solidFill>
                  <a:schemeClr val="tx1"/>
                </a:solidFill>
                <a:latin typeface="+mn-lt"/>
                <a:ea typeface="+mn-ea"/>
              </a:defRPr>
            </a:lvl9pPr>
          </a:lstStyle>
          <a:p>
            <a:pPr marL="0" indent="0" algn="ctr">
              <a:buNone/>
            </a:pPr>
            <a:r>
              <a:rPr lang="fr-FR" kern="0" dirty="0">
                <a:solidFill>
                  <a:srgbClr val="FFC000"/>
                </a:solidFill>
              </a:rPr>
              <a:t>6 </a:t>
            </a:r>
          </a:p>
          <a:p>
            <a:pPr marL="0" indent="0" algn="ctr">
              <a:buNone/>
            </a:pPr>
            <a:r>
              <a:rPr lang="fr-FR" kern="0" dirty="0">
                <a:solidFill>
                  <a:srgbClr val="FFC000"/>
                </a:solidFill>
              </a:rPr>
              <a:t>CENTRES</a:t>
            </a:r>
          </a:p>
          <a:p>
            <a:pPr marL="0" indent="0" algn="ctr">
              <a:buNone/>
            </a:pPr>
            <a:r>
              <a:rPr lang="fr-FR" kern="0" dirty="0">
                <a:solidFill>
                  <a:srgbClr val="FFC000"/>
                </a:solidFill>
              </a:rPr>
              <a:t>D’INGENIERIE</a:t>
            </a:r>
          </a:p>
          <a:p>
            <a:pPr marL="0" indent="0" algn="ctr">
              <a:buNone/>
            </a:pPr>
            <a:endParaRPr lang="fr-FR" kern="0" dirty="0">
              <a:solidFill>
                <a:srgbClr val="FFC000"/>
              </a:solidFill>
            </a:endParaRPr>
          </a:p>
          <a:p>
            <a:pPr marL="0" indent="0" algn="ctr">
              <a:buNone/>
            </a:pPr>
            <a:endParaRPr lang="fr-FR" kern="0" dirty="0"/>
          </a:p>
          <a:p>
            <a:pPr marL="0" indent="0" algn="ctr">
              <a:buNone/>
            </a:pPr>
            <a:endParaRPr lang="fr-FR" kern="0" dirty="0"/>
          </a:p>
          <a:p>
            <a:pPr marL="0" indent="0" algn="ctr">
              <a:buNone/>
            </a:pPr>
            <a:endParaRPr lang="fr-FR" kern="0" dirty="0"/>
          </a:p>
          <a:p>
            <a:pPr marL="0" indent="0" algn="ctr">
              <a:buNone/>
            </a:pPr>
            <a:r>
              <a:rPr lang="fr-FR" kern="0" dirty="0"/>
              <a:t> </a:t>
            </a:r>
          </a:p>
        </p:txBody>
      </p:sp>
      <p:sp>
        <p:nvSpPr>
          <p:cNvPr id="9" name="Espace réservé du texte 1"/>
          <p:cNvSpPr txBox="1">
            <a:spLocks/>
          </p:cNvSpPr>
          <p:nvPr/>
        </p:nvSpPr>
        <p:spPr>
          <a:xfrm>
            <a:off x="3882011" y="3566823"/>
            <a:ext cx="1986266" cy="1034719"/>
          </a:xfrm>
          <a:prstGeom prst="rect">
            <a:avLst/>
          </a:prstGeom>
        </p:spPr>
        <p:txBody>
          <a:bodyPr lIns="0" tIns="0" rIns="0" bIns="0"/>
          <a:lstStyle>
            <a:lvl1pPr marL="177800" indent="-177800" algn="l" rtl="0" eaLnBrk="0" fontAlgn="base" hangingPunct="0">
              <a:spcBef>
                <a:spcPts val="300"/>
              </a:spcBef>
              <a:spcAft>
                <a:spcPct val="0"/>
              </a:spcAft>
              <a:buClr>
                <a:schemeClr val="accent1"/>
              </a:buClr>
              <a:buFont typeface="Wingdings" pitchFamily="2" charset="2"/>
              <a:buChar char="§"/>
              <a:defRPr sz="1800" b="1">
                <a:solidFill>
                  <a:schemeClr val="tx1"/>
                </a:solidFill>
                <a:latin typeface="+mn-lt"/>
                <a:ea typeface="+mn-ea"/>
                <a:cs typeface="+mn-cs"/>
              </a:defRPr>
            </a:lvl1pPr>
            <a:lvl2pPr marL="450850" indent="-184150" algn="l" rtl="0" eaLnBrk="0" fontAlgn="base" hangingPunct="0">
              <a:spcBef>
                <a:spcPts val="300"/>
              </a:spcBef>
              <a:spcAft>
                <a:spcPct val="0"/>
              </a:spcAft>
              <a:buClr>
                <a:schemeClr val="tx1"/>
              </a:buClr>
              <a:buFont typeface="Arial" pitchFamily="34" charset="0"/>
              <a:buChar char="−"/>
              <a:defRPr sz="1600">
                <a:solidFill>
                  <a:schemeClr val="tx1"/>
                </a:solidFill>
                <a:latin typeface="+mn-lt"/>
                <a:ea typeface="+mn-ea"/>
              </a:defRPr>
            </a:lvl2pPr>
            <a:lvl3pPr marL="715963" indent="-176213" algn="l" rtl="0" eaLnBrk="0" fontAlgn="base" hangingPunct="0">
              <a:spcBef>
                <a:spcPts val="300"/>
              </a:spcBef>
              <a:spcAft>
                <a:spcPct val="0"/>
              </a:spcAft>
              <a:buClr>
                <a:schemeClr val="tx1"/>
              </a:buClr>
              <a:buFont typeface="Arial" pitchFamily="34" charset="0"/>
              <a:buChar char="−"/>
              <a:tabLst/>
              <a:defRPr sz="1400">
                <a:solidFill>
                  <a:schemeClr val="tx1"/>
                </a:solidFill>
                <a:latin typeface="+mn-lt"/>
                <a:ea typeface="+mn-ea"/>
              </a:defRPr>
            </a:lvl3pPr>
            <a:lvl4pPr marL="982663" indent="-177800" algn="l" rtl="0" eaLnBrk="0" fontAlgn="base" hangingPunct="0">
              <a:spcBef>
                <a:spcPts val="300"/>
              </a:spcBef>
              <a:spcAft>
                <a:spcPct val="0"/>
              </a:spcAft>
              <a:buClr>
                <a:schemeClr val="tx1"/>
              </a:buClr>
              <a:buFont typeface="Arial" pitchFamily="34" charset="0"/>
              <a:buChar char="−"/>
              <a:defRPr sz="1200">
                <a:solidFill>
                  <a:schemeClr val="tx1"/>
                </a:solidFill>
                <a:latin typeface="+mn-lt"/>
                <a:ea typeface="+mn-ea"/>
              </a:defRPr>
            </a:lvl4pPr>
            <a:lvl5pPr marL="1255713" indent="-177800" algn="l" rtl="0" eaLnBrk="0" fontAlgn="base" hangingPunct="0">
              <a:spcBef>
                <a:spcPts val="300"/>
              </a:spcBef>
              <a:spcAft>
                <a:spcPct val="0"/>
              </a:spcAft>
              <a:buClr>
                <a:schemeClr val="tx1"/>
              </a:buClr>
              <a:buFont typeface="Arial" pitchFamily="34" charset="0"/>
              <a:buChar char="−"/>
              <a:defRPr sz="1000">
                <a:solidFill>
                  <a:schemeClr val="tx1"/>
                </a:solidFill>
                <a:latin typeface="+mn-lt"/>
                <a:ea typeface="+mn-ea"/>
              </a:defRPr>
            </a:lvl5pPr>
            <a:lvl6pPr marL="1885950" indent="-171450" algn="l" rtl="0" eaLnBrk="1" fontAlgn="base" hangingPunct="1">
              <a:spcBef>
                <a:spcPct val="20000"/>
              </a:spcBef>
              <a:spcAft>
                <a:spcPct val="0"/>
              </a:spcAft>
              <a:buChar char="»"/>
              <a:defRPr sz="800">
                <a:solidFill>
                  <a:schemeClr val="tx1"/>
                </a:solidFill>
                <a:latin typeface="+mn-lt"/>
                <a:ea typeface="+mn-ea"/>
              </a:defRPr>
            </a:lvl6pPr>
            <a:lvl7pPr marL="2228850" indent="-171450" algn="l" rtl="0" eaLnBrk="1" fontAlgn="base" hangingPunct="1">
              <a:spcBef>
                <a:spcPct val="20000"/>
              </a:spcBef>
              <a:spcAft>
                <a:spcPct val="0"/>
              </a:spcAft>
              <a:buChar char="»"/>
              <a:defRPr sz="800">
                <a:solidFill>
                  <a:schemeClr val="tx1"/>
                </a:solidFill>
                <a:latin typeface="+mn-lt"/>
                <a:ea typeface="+mn-ea"/>
              </a:defRPr>
            </a:lvl7pPr>
            <a:lvl8pPr marL="2571750" indent="-171450" algn="l" rtl="0" eaLnBrk="1" fontAlgn="base" hangingPunct="1">
              <a:spcBef>
                <a:spcPct val="20000"/>
              </a:spcBef>
              <a:spcAft>
                <a:spcPct val="0"/>
              </a:spcAft>
              <a:buChar char="»"/>
              <a:defRPr sz="800">
                <a:solidFill>
                  <a:schemeClr val="tx1"/>
                </a:solidFill>
                <a:latin typeface="+mn-lt"/>
                <a:ea typeface="+mn-ea"/>
              </a:defRPr>
            </a:lvl8pPr>
            <a:lvl9pPr marL="2914650" indent="-171450" algn="l" rtl="0" eaLnBrk="1" fontAlgn="base" hangingPunct="1">
              <a:spcBef>
                <a:spcPct val="20000"/>
              </a:spcBef>
              <a:spcAft>
                <a:spcPct val="0"/>
              </a:spcAft>
              <a:buChar char="»"/>
              <a:defRPr sz="800">
                <a:solidFill>
                  <a:schemeClr val="tx1"/>
                </a:solidFill>
                <a:latin typeface="+mn-lt"/>
                <a:ea typeface="+mn-ea"/>
              </a:defRPr>
            </a:lvl9pPr>
          </a:lstStyle>
          <a:p>
            <a:pPr marL="0" indent="0" algn="ctr">
              <a:buNone/>
            </a:pPr>
            <a:r>
              <a:rPr lang="fr-FR" kern="0" dirty="0">
                <a:solidFill>
                  <a:srgbClr val="FFC000"/>
                </a:solidFill>
              </a:rPr>
              <a:t>34</a:t>
            </a:r>
          </a:p>
          <a:p>
            <a:pPr marL="0" indent="0" algn="ctr">
              <a:buNone/>
            </a:pPr>
            <a:r>
              <a:rPr lang="fr-FR" kern="0" dirty="0">
                <a:solidFill>
                  <a:srgbClr val="FFC000"/>
                </a:solidFill>
              </a:rPr>
              <a:t>CENTRES</a:t>
            </a:r>
          </a:p>
          <a:p>
            <a:pPr marL="0" indent="0" algn="ctr">
              <a:buNone/>
            </a:pPr>
            <a:r>
              <a:rPr lang="fr-FR" kern="0" dirty="0">
                <a:solidFill>
                  <a:srgbClr val="FFC000"/>
                </a:solidFill>
              </a:rPr>
              <a:t>INDUSTRIELS</a:t>
            </a:r>
          </a:p>
          <a:p>
            <a:pPr marL="0" indent="0" algn="ctr">
              <a:buNone/>
            </a:pPr>
            <a:endParaRPr lang="fr-FR" kern="0" dirty="0">
              <a:solidFill>
                <a:srgbClr val="FFC000"/>
              </a:solidFill>
            </a:endParaRPr>
          </a:p>
          <a:p>
            <a:pPr marL="0" indent="0" algn="ctr">
              <a:buNone/>
            </a:pPr>
            <a:endParaRPr lang="fr-FR" kern="0" dirty="0"/>
          </a:p>
          <a:p>
            <a:pPr marL="0" indent="0" algn="ctr">
              <a:buNone/>
            </a:pPr>
            <a:endParaRPr lang="fr-FR" kern="0" dirty="0"/>
          </a:p>
          <a:p>
            <a:pPr marL="0" indent="0" algn="ctr">
              <a:buNone/>
            </a:pPr>
            <a:endParaRPr lang="fr-FR" kern="0" dirty="0"/>
          </a:p>
          <a:p>
            <a:pPr marL="0" indent="0" algn="ctr">
              <a:buNone/>
            </a:pPr>
            <a:r>
              <a:rPr lang="fr-FR" kern="0" dirty="0"/>
              <a:t> </a:t>
            </a:r>
          </a:p>
        </p:txBody>
      </p:sp>
      <p:sp>
        <p:nvSpPr>
          <p:cNvPr id="10" name="Espace réservé du texte 1"/>
          <p:cNvSpPr txBox="1">
            <a:spLocks/>
          </p:cNvSpPr>
          <p:nvPr/>
        </p:nvSpPr>
        <p:spPr>
          <a:xfrm>
            <a:off x="6386006" y="3626047"/>
            <a:ext cx="1986266" cy="1034719"/>
          </a:xfrm>
          <a:prstGeom prst="rect">
            <a:avLst/>
          </a:prstGeom>
        </p:spPr>
        <p:txBody>
          <a:bodyPr lIns="0" tIns="0" rIns="0" bIns="0"/>
          <a:lstStyle>
            <a:lvl1pPr marL="177800" indent="-177800" algn="l" rtl="0" eaLnBrk="0" fontAlgn="base" hangingPunct="0">
              <a:spcBef>
                <a:spcPts val="300"/>
              </a:spcBef>
              <a:spcAft>
                <a:spcPct val="0"/>
              </a:spcAft>
              <a:buClr>
                <a:schemeClr val="accent1"/>
              </a:buClr>
              <a:buFont typeface="Wingdings" pitchFamily="2" charset="2"/>
              <a:buChar char="§"/>
              <a:defRPr sz="1800" b="1">
                <a:solidFill>
                  <a:schemeClr val="tx1"/>
                </a:solidFill>
                <a:latin typeface="+mn-lt"/>
                <a:ea typeface="+mn-ea"/>
                <a:cs typeface="+mn-cs"/>
              </a:defRPr>
            </a:lvl1pPr>
            <a:lvl2pPr marL="450850" indent="-184150" algn="l" rtl="0" eaLnBrk="0" fontAlgn="base" hangingPunct="0">
              <a:spcBef>
                <a:spcPts val="300"/>
              </a:spcBef>
              <a:spcAft>
                <a:spcPct val="0"/>
              </a:spcAft>
              <a:buClr>
                <a:schemeClr val="tx1"/>
              </a:buClr>
              <a:buFont typeface="Arial" pitchFamily="34" charset="0"/>
              <a:buChar char="−"/>
              <a:defRPr sz="1600">
                <a:solidFill>
                  <a:schemeClr val="tx1"/>
                </a:solidFill>
                <a:latin typeface="+mn-lt"/>
                <a:ea typeface="+mn-ea"/>
              </a:defRPr>
            </a:lvl2pPr>
            <a:lvl3pPr marL="715963" indent="-176213" algn="l" rtl="0" eaLnBrk="0" fontAlgn="base" hangingPunct="0">
              <a:spcBef>
                <a:spcPts val="300"/>
              </a:spcBef>
              <a:spcAft>
                <a:spcPct val="0"/>
              </a:spcAft>
              <a:buClr>
                <a:schemeClr val="tx1"/>
              </a:buClr>
              <a:buFont typeface="Arial" pitchFamily="34" charset="0"/>
              <a:buChar char="−"/>
              <a:tabLst/>
              <a:defRPr sz="1400">
                <a:solidFill>
                  <a:schemeClr val="tx1"/>
                </a:solidFill>
                <a:latin typeface="+mn-lt"/>
                <a:ea typeface="+mn-ea"/>
              </a:defRPr>
            </a:lvl3pPr>
            <a:lvl4pPr marL="982663" indent="-177800" algn="l" rtl="0" eaLnBrk="0" fontAlgn="base" hangingPunct="0">
              <a:spcBef>
                <a:spcPts val="300"/>
              </a:spcBef>
              <a:spcAft>
                <a:spcPct val="0"/>
              </a:spcAft>
              <a:buClr>
                <a:schemeClr val="tx1"/>
              </a:buClr>
              <a:buFont typeface="Arial" pitchFamily="34" charset="0"/>
              <a:buChar char="−"/>
              <a:defRPr sz="1200">
                <a:solidFill>
                  <a:schemeClr val="tx1"/>
                </a:solidFill>
                <a:latin typeface="+mn-lt"/>
                <a:ea typeface="+mn-ea"/>
              </a:defRPr>
            </a:lvl4pPr>
            <a:lvl5pPr marL="1255713" indent="-177800" algn="l" rtl="0" eaLnBrk="0" fontAlgn="base" hangingPunct="0">
              <a:spcBef>
                <a:spcPts val="300"/>
              </a:spcBef>
              <a:spcAft>
                <a:spcPct val="0"/>
              </a:spcAft>
              <a:buClr>
                <a:schemeClr val="tx1"/>
              </a:buClr>
              <a:buFont typeface="Arial" pitchFamily="34" charset="0"/>
              <a:buChar char="−"/>
              <a:defRPr sz="1000">
                <a:solidFill>
                  <a:schemeClr val="tx1"/>
                </a:solidFill>
                <a:latin typeface="+mn-lt"/>
                <a:ea typeface="+mn-ea"/>
              </a:defRPr>
            </a:lvl5pPr>
            <a:lvl6pPr marL="1885950" indent="-171450" algn="l" rtl="0" eaLnBrk="1" fontAlgn="base" hangingPunct="1">
              <a:spcBef>
                <a:spcPct val="20000"/>
              </a:spcBef>
              <a:spcAft>
                <a:spcPct val="0"/>
              </a:spcAft>
              <a:buChar char="»"/>
              <a:defRPr sz="800">
                <a:solidFill>
                  <a:schemeClr val="tx1"/>
                </a:solidFill>
                <a:latin typeface="+mn-lt"/>
                <a:ea typeface="+mn-ea"/>
              </a:defRPr>
            </a:lvl6pPr>
            <a:lvl7pPr marL="2228850" indent="-171450" algn="l" rtl="0" eaLnBrk="1" fontAlgn="base" hangingPunct="1">
              <a:spcBef>
                <a:spcPct val="20000"/>
              </a:spcBef>
              <a:spcAft>
                <a:spcPct val="0"/>
              </a:spcAft>
              <a:buChar char="»"/>
              <a:defRPr sz="800">
                <a:solidFill>
                  <a:schemeClr val="tx1"/>
                </a:solidFill>
                <a:latin typeface="+mn-lt"/>
                <a:ea typeface="+mn-ea"/>
              </a:defRPr>
            </a:lvl7pPr>
            <a:lvl8pPr marL="2571750" indent="-171450" algn="l" rtl="0" eaLnBrk="1" fontAlgn="base" hangingPunct="1">
              <a:spcBef>
                <a:spcPct val="20000"/>
              </a:spcBef>
              <a:spcAft>
                <a:spcPct val="0"/>
              </a:spcAft>
              <a:buChar char="»"/>
              <a:defRPr sz="800">
                <a:solidFill>
                  <a:schemeClr val="tx1"/>
                </a:solidFill>
                <a:latin typeface="+mn-lt"/>
                <a:ea typeface="+mn-ea"/>
              </a:defRPr>
            </a:lvl8pPr>
            <a:lvl9pPr marL="2914650" indent="-171450" algn="l" rtl="0" eaLnBrk="1" fontAlgn="base" hangingPunct="1">
              <a:spcBef>
                <a:spcPct val="20000"/>
              </a:spcBef>
              <a:spcAft>
                <a:spcPct val="0"/>
              </a:spcAft>
              <a:buChar char="»"/>
              <a:defRPr sz="800">
                <a:solidFill>
                  <a:schemeClr val="tx1"/>
                </a:solidFill>
                <a:latin typeface="+mn-lt"/>
                <a:ea typeface="+mn-ea"/>
              </a:defRPr>
            </a:lvl9pPr>
          </a:lstStyle>
          <a:p>
            <a:pPr marL="0" indent="0" algn="ctr">
              <a:buNone/>
            </a:pPr>
            <a:r>
              <a:rPr lang="fr-FR" kern="0" dirty="0">
                <a:solidFill>
                  <a:srgbClr val="FFC000"/>
                </a:solidFill>
              </a:rPr>
              <a:t>128</a:t>
            </a:r>
          </a:p>
          <a:p>
            <a:pPr marL="0" indent="0" algn="ctr">
              <a:buNone/>
            </a:pPr>
            <a:r>
              <a:rPr lang="fr-FR" kern="0" dirty="0">
                <a:solidFill>
                  <a:srgbClr val="FFC000"/>
                </a:solidFill>
              </a:rPr>
              <a:t>PAYS</a:t>
            </a:r>
          </a:p>
          <a:p>
            <a:pPr marL="0" indent="0" algn="ctr">
              <a:buNone/>
            </a:pPr>
            <a:endParaRPr lang="fr-FR" kern="0" dirty="0">
              <a:solidFill>
                <a:srgbClr val="FFC000"/>
              </a:solidFill>
            </a:endParaRPr>
          </a:p>
          <a:p>
            <a:pPr marL="0" indent="0" algn="ctr">
              <a:buNone/>
            </a:pPr>
            <a:endParaRPr lang="fr-FR" kern="0" dirty="0"/>
          </a:p>
          <a:p>
            <a:pPr marL="0" indent="0" algn="ctr">
              <a:buNone/>
            </a:pPr>
            <a:endParaRPr lang="fr-FR" kern="0" dirty="0"/>
          </a:p>
          <a:p>
            <a:pPr marL="0" indent="0" algn="ctr">
              <a:buNone/>
            </a:pPr>
            <a:endParaRPr lang="fr-FR" kern="0" dirty="0"/>
          </a:p>
          <a:p>
            <a:pPr marL="0" indent="0" algn="ctr">
              <a:buNone/>
            </a:pPr>
            <a:r>
              <a:rPr lang="fr-FR" kern="0" dirty="0"/>
              <a:t> </a:t>
            </a:r>
          </a:p>
        </p:txBody>
      </p:sp>
      <p:sp>
        <p:nvSpPr>
          <p:cNvPr id="11" name="Flèche droite 10"/>
          <p:cNvSpPr/>
          <p:nvPr/>
        </p:nvSpPr>
        <p:spPr>
          <a:xfrm>
            <a:off x="5876673" y="2008932"/>
            <a:ext cx="518647" cy="323104"/>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space réservé du texte 2"/>
          <p:cNvSpPr>
            <a:spLocks noGrp="1"/>
          </p:cNvSpPr>
          <p:nvPr>
            <p:ph type="body" sz="quarter" idx="21"/>
          </p:nvPr>
        </p:nvSpPr>
        <p:spPr>
          <a:xfrm>
            <a:off x="188428" y="149548"/>
            <a:ext cx="8423275" cy="161925"/>
          </a:xfrm>
        </p:spPr>
        <p:txBody>
          <a:bodyPr/>
          <a:lstStyle/>
          <a:p>
            <a:r>
              <a:rPr lang="fr-FR" sz="900" dirty="0"/>
              <a:t>1- LE GROUPE RENAULT</a:t>
            </a:r>
          </a:p>
        </p:txBody>
      </p:sp>
    </p:spTree>
    <p:extLst>
      <p:ext uri="{BB962C8B-B14F-4D97-AF65-F5344CB8AC3E}">
        <p14:creationId xmlns:p14="http://schemas.microsoft.com/office/powerpoint/2010/main" val="37233850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458094" y="2114553"/>
            <a:ext cx="6459984" cy="1971675"/>
            <a:chOff x="357234" y="1257302"/>
            <a:chExt cx="6459984" cy="1971675"/>
          </a:xfrm>
        </p:grpSpPr>
        <p:sp>
          <p:nvSpPr>
            <p:cNvPr id="3" name="AutoShape 2"/>
            <p:cNvSpPr>
              <a:spLocks noChangeArrowheads="1"/>
            </p:cNvSpPr>
            <p:nvPr/>
          </p:nvSpPr>
          <p:spPr bwMode="auto">
            <a:xfrm>
              <a:off x="407249" y="2388396"/>
              <a:ext cx="6409969" cy="840581"/>
            </a:xfrm>
            <a:prstGeom prst="flowChartProcess">
              <a:avLst/>
            </a:prstGeom>
            <a:noFill/>
            <a:ln w="9525">
              <a:noFill/>
              <a:miter lim="800000"/>
              <a:headEnd/>
              <a:tailEnd/>
            </a:ln>
          </p:spPr>
          <p:txBody>
            <a:bodyPr wrap="none" lIns="27000" tIns="27000" rIns="27000" bIns="27000"/>
            <a:lstStyle/>
            <a:p>
              <a:pPr fontAlgn="base">
                <a:spcBef>
                  <a:spcPct val="0"/>
                </a:spcBef>
                <a:spcAft>
                  <a:spcPct val="0"/>
                </a:spcAft>
                <a:buClr>
                  <a:srgbClr val="F7B100"/>
                </a:buClr>
              </a:pPr>
              <a:r>
                <a:rPr lang="fr-FR" sz="3200" b="1" cap="all" dirty="0">
                  <a:solidFill>
                    <a:srgbClr val="000000"/>
                  </a:solidFill>
                  <a:latin typeface="Arial Narrow" pitchFamily="34" charset="0"/>
                  <a:ea typeface="MS PGothic" pitchFamily="34" charset="-128"/>
                  <a:cs typeface="Arial" charset="0"/>
                </a:rPr>
                <a:t>PROJET D’ARCHIVAGE</a:t>
              </a:r>
            </a:p>
          </p:txBody>
        </p:sp>
        <p:sp>
          <p:nvSpPr>
            <p:cNvPr id="4" name="AutoShape 3"/>
            <p:cNvSpPr>
              <a:spLocks noChangeArrowheads="1"/>
            </p:cNvSpPr>
            <p:nvPr/>
          </p:nvSpPr>
          <p:spPr bwMode="auto">
            <a:xfrm>
              <a:off x="357234" y="1257302"/>
              <a:ext cx="1343200" cy="973931"/>
            </a:xfrm>
            <a:prstGeom prst="flowChartProcess">
              <a:avLst/>
            </a:prstGeom>
            <a:noFill/>
            <a:ln w="9525">
              <a:noFill/>
              <a:miter lim="800000"/>
              <a:headEnd/>
              <a:tailEnd/>
            </a:ln>
          </p:spPr>
          <p:txBody>
            <a:bodyPr wrap="none" lIns="27000" tIns="0" rIns="27000" bIns="0" anchor="ctr"/>
            <a:lstStyle/>
            <a:p>
              <a:pPr eaLnBrk="0" fontAlgn="base" hangingPunct="0">
                <a:spcBef>
                  <a:spcPct val="0"/>
                </a:spcBef>
                <a:spcAft>
                  <a:spcPct val="0"/>
                </a:spcAft>
              </a:pPr>
              <a:r>
                <a:rPr lang="en-GB" sz="12000" b="1" dirty="0">
                  <a:solidFill>
                    <a:srgbClr val="FFCD00"/>
                  </a:solidFill>
                  <a:latin typeface="Arial" charset="0"/>
                  <a:ea typeface="MS PGothic" pitchFamily="34" charset="-128"/>
                  <a:cs typeface="Arial" charset="0"/>
                </a:rPr>
                <a:t>02</a:t>
              </a:r>
              <a:endParaRPr lang="en-GB" sz="12000" dirty="0">
                <a:solidFill>
                  <a:srgbClr val="FFCD00"/>
                </a:solidFill>
                <a:latin typeface="Arial" charset="0"/>
                <a:ea typeface="MS PGothic" pitchFamily="34" charset="-128"/>
                <a:cs typeface="Arial" charset="0"/>
              </a:endParaRPr>
            </a:p>
          </p:txBody>
        </p:sp>
      </p:grpSp>
    </p:spTree>
    <p:extLst>
      <p:ext uri="{BB962C8B-B14F-4D97-AF65-F5344CB8AC3E}">
        <p14:creationId xmlns:p14="http://schemas.microsoft.com/office/powerpoint/2010/main" val="245160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9"/>
          <p:cNvSpPr>
            <a:spLocks noChangeArrowheads="1"/>
          </p:cNvSpPr>
          <p:nvPr/>
        </p:nvSpPr>
        <p:spPr bwMode="auto">
          <a:xfrm>
            <a:off x="180978" y="3881440"/>
            <a:ext cx="8785225" cy="1400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68580" tIns="34291" rIns="68580" bIns="34291" anchor="ctr"/>
          <a:lstStyle/>
          <a:p>
            <a:endParaRPr lang="fr-FR" sz="1400"/>
          </a:p>
        </p:txBody>
      </p:sp>
      <p:sp>
        <p:nvSpPr>
          <p:cNvPr id="3" name="Titre 2"/>
          <p:cNvSpPr>
            <a:spLocks noGrp="1"/>
          </p:cNvSpPr>
          <p:nvPr>
            <p:ph type="title"/>
          </p:nvPr>
        </p:nvSpPr>
        <p:spPr/>
        <p:txBody>
          <a:bodyPr/>
          <a:lstStyle/>
          <a:p>
            <a:r>
              <a:rPr lang="fr-FR" dirty="0"/>
              <a:t>PROJET FILL’GOOD</a:t>
            </a:r>
            <a:br>
              <a:rPr lang="fr-FR" dirty="0"/>
            </a:br>
            <a:r>
              <a:rPr lang="en-US" sz="1400" b="0" dirty="0"/>
              <a:t>Pour un archivage ORGANISé et a l’ETAT DE L’ART</a:t>
            </a:r>
            <a:endParaRPr lang="fr-FR" sz="1400" b="0" dirty="0"/>
          </a:p>
        </p:txBody>
      </p:sp>
    </p:spTree>
    <p:extLst>
      <p:ext uri="{BB962C8B-B14F-4D97-AF65-F5344CB8AC3E}">
        <p14:creationId xmlns:p14="http://schemas.microsoft.com/office/powerpoint/2010/main" val="27660525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2"/>
            </p:custDataLst>
          </p:nvPr>
        </p:nvGraphicFramePr>
        <p:xfrm>
          <a:off x="858441" y="858442"/>
          <a:ext cx="1190" cy="1190"/>
        </p:xfrm>
        <a:graphic>
          <a:graphicData uri="http://schemas.openxmlformats.org/presentationml/2006/ole">
            <mc:AlternateContent xmlns:mc="http://schemas.openxmlformats.org/markup-compatibility/2006">
              <mc:Choice xmlns:v="urn:schemas-microsoft-com:vml" Requires="v">
                <p:oleObj spid="_x0000_s2051" name="think-cell Slide" r:id="rId5" imgW="360" imgH="360" progId="TCLayout.ActiveDocument.1">
                  <p:embed/>
                </p:oleObj>
              </mc:Choice>
              <mc:Fallback>
                <p:oleObj name="think-cell Slide" r:id="rId5" imgW="360" imgH="360" progId="TCLayout.ActiveDocument.1">
                  <p:embed/>
                  <p:pic>
                    <p:nvPicPr>
                      <p:cNvPr id="67" name="Object 6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8441" y="85844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82300" y="1143122"/>
            <a:ext cx="8632023" cy="623888"/>
          </a:xfrm>
          <a:prstGeom prst="rect">
            <a:avLst/>
          </a:prstGeom>
        </p:spPr>
        <p:txBody>
          <a:bodyPr/>
          <a:lstStyle/>
          <a:p>
            <a:r>
              <a:rPr lang="fr-FR" sz="1400" dirty="0"/>
              <a:t>Choix importants lors de la préparation de la Politique Groupe de Records Management</a:t>
            </a:r>
          </a:p>
        </p:txBody>
      </p:sp>
      <p:sp>
        <p:nvSpPr>
          <p:cNvPr id="70" name="Rectangle 7"/>
          <p:cNvSpPr>
            <a:spLocks noChangeArrowheads="1"/>
          </p:cNvSpPr>
          <p:nvPr/>
        </p:nvSpPr>
        <p:spPr bwMode="gray">
          <a:xfrm>
            <a:off x="1003296" y="5468656"/>
            <a:ext cx="7137408" cy="246460"/>
          </a:xfrm>
          <a:prstGeom prst="rect">
            <a:avLst/>
          </a:prstGeom>
          <a:noFill/>
          <a:ln w="9525" algn="ctr">
            <a:noFill/>
            <a:miter lim="800000"/>
            <a:headEnd type="none" w="lg" len="lg"/>
            <a:tailEnd type="none" w="lg" len="lg"/>
          </a:ln>
          <a:effectLst/>
        </p:spPr>
        <p:txBody>
          <a:bodyPr lIns="0" tIns="0" rIns="0" bIns="0" anchor="b"/>
          <a:lstStyle/>
          <a:p>
            <a:pPr fontAlgn="base">
              <a:lnSpc>
                <a:spcPct val="90000"/>
              </a:lnSpc>
              <a:spcBef>
                <a:spcPct val="0"/>
              </a:spcBef>
              <a:spcAft>
                <a:spcPct val="0"/>
              </a:spcAft>
            </a:pPr>
            <a:endParaRPr lang="fr-FR" sz="600" dirty="0">
              <a:solidFill>
                <a:srgbClr val="000000"/>
              </a:solidFill>
              <a:latin typeface="Arial" charset="0"/>
              <a:ea typeface="MS PGothic"/>
              <a:cs typeface="Arial" charset="0"/>
            </a:endParaRPr>
          </a:p>
        </p:txBody>
      </p:sp>
      <p:graphicFrame>
        <p:nvGraphicFramePr>
          <p:cNvPr id="62" name="Diagramme 61"/>
          <p:cNvGraphicFramePr/>
          <p:nvPr>
            <p:extLst>
              <p:ext uri="{D42A27DB-BD31-4B8C-83A1-F6EECF244321}">
                <p14:modId xmlns:p14="http://schemas.microsoft.com/office/powerpoint/2010/main" val="54065100"/>
              </p:ext>
            </p:extLst>
          </p:nvPr>
        </p:nvGraphicFramePr>
        <p:xfrm>
          <a:off x="386961" y="1716677"/>
          <a:ext cx="8013951" cy="370164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Espace réservé du texte 4"/>
          <p:cNvSpPr>
            <a:spLocks noGrp="1"/>
          </p:cNvSpPr>
          <p:nvPr>
            <p:ph type="body" sz="quarter" idx="21"/>
          </p:nvPr>
        </p:nvSpPr>
        <p:spPr>
          <a:xfrm>
            <a:off x="182300" y="931629"/>
            <a:ext cx="8423275" cy="161925"/>
          </a:xfrm>
        </p:spPr>
        <p:txBody>
          <a:bodyPr/>
          <a:lstStyle/>
          <a:p>
            <a:r>
              <a:rPr lang="fr-FR" dirty="0"/>
              <a:t>Annexes</a:t>
            </a:r>
          </a:p>
        </p:txBody>
      </p:sp>
    </p:spTree>
    <p:extLst>
      <p:ext uri="{BB962C8B-B14F-4D97-AF65-F5344CB8AC3E}">
        <p14:creationId xmlns:p14="http://schemas.microsoft.com/office/powerpoint/2010/main" val="1629598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2"/>
            </p:custDataLst>
          </p:nvPr>
        </p:nvGraphicFramePr>
        <p:xfrm>
          <a:off x="858441" y="858442"/>
          <a:ext cx="1190" cy="1190"/>
        </p:xfrm>
        <a:graphic>
          <a:graphicData uri="http://schemas.openxmlformats.org/presentationml/2006/ole">
            <mc:AlternateContent xmlns:mc="http://schemas.openxmlformats.org/markup-compatibility/2006">
              <mc:Choice xmlns:v="urn:schemas-microsoft-com:vml" Requires="v">
                <p:oleObj spid="_x0000_s3075" name="think-cell Slide" r:id="rId5" imgW="360" imgH="360" progId="TCLayout.ActiveDocument.1">
                  <p:embed/>
                </p:oleObj>
              </mc:Choice>
              <mc:Fallback>
                <p:oleObj name="think-cell Slide" r:id="rId5" imgW="360" imgH="360" progId="TCLayout.ActiveDocument.1">
                  <p:embed/>
                  <p:pic>
                    <p:nvPicPr>
                      <p:cNvPr id="67" name="Object 6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8441" y="85844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90331" y="1143975"/>
            <a:ext cx="8299938" cy="367174"/>
          </a:xfrm>
          <a:prstGeom prst="rect">
            <a:avLst/>
          </a:prstGeom>
        </p:spPr>
        <p:txBody>
          <a:bodyPr/>
          <a:lstStyle/>
          <a:p>
            <a:r>
              <a:rPr lang="fr-FR" dirty="0"/>
              <a:t>Les acteurs du Records Management</a:t>
            </a:r>
          </a:p>
        </p:txBody>
      </p:sp>
      <p:sp>
        <p:nvSpPr>
          <p:cNvPr id="70" name="Rectangle 7"/>
          <p:cNvSpPr>
            <a:spLocks noChangeArrowheads="1"/>
          </p:cNvSpPr>
          <p:nvPr/>
        </p:nvSpPr>
        <p:spPr bwMode="gray">
          <a:xfrm>
            <a:off x="1003296" y="5468656"/>
            <a:ext cx="7137408" cy="246460"/>
          </a:xfrm>
          <a:prstGeom prst="rect">
            <a:avLst/>
          </a:prstGeom>
          <a:noFill/>
          <a:ln w="9525" algn="ctr">
            <a:noFill/>
            <a:miter lim="800000"/>
            <a:headEnd type="none" w="lg" len="lg"/>
            <a:tailEnd type="none" w="lg" len="lg"/>
          </a:ln>
          <a:effectLst/>
        </p:spPr>
        <p:txBody>
          <a:bodyPr lIns="0" tIns="0" rIns="0" bIns="0" anchor="b"/>
          <a:lstStyle/>
          <a:p>
            <a:pPr fontAlgn="base">
              <a:lnSpc>
                <a:spcPct val="90000"/>
              </a:lnSpc>
              <a:spcBef>
                <a:spcPct val="0"/>
              </a:spcBef>
              <a:spcAft>
                <a:spcPct val="0"/>
              </a:spcAft>
            </a:pPr>
            <a:endParaRPr lang="fr-FR" sz="600" dirty="0">
              <a:solidFill>
                <a:srgbClr val="000000"/>
              </a:solidFill>
              <a:latin typeface="Arial" charset="0"/>
              <a:ea typeface="MS PGothic"/>
              <a:cs typeface="Arial" charset="0"/>
            </a:endParaRPr>
          </a:p>
        </p:txBody>
      </p:sp>
      <p:graphicFrame>
        <p:nvGraphicFramePr>
          <p:cNvPr id="15" name="Diagramme 14"/>
          <p:cNvGraphicFramePr/>
          <p:nvPr>
            <p:extLst/>
          </p:nvPr>
        </p:nvGraphicFramePr>
        <p:xfrm>
          <a:off x="1161880" y="1605216"/>
          <a:ext cx="6756084" cy="363307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 name="Bulle narrative : ronde 15"/>
          <p:cNvSpPr/>
          <p:nvPr/>
        </p:nvSpPr>
        <p:spPr>
          <a:xfrm>
            <a:off x="7933121" y="3476113"/>
            <a:ext cx="1114296" cy="568356"/>
          </a:xfrm>
          <a:prstGeom prst="wedgeEllipseCallout">
            <a:avLst>
              <a:gd name="adj1" fmla="val -55865"/>
              <a:gd name="adj2" fmla="val 32672"/>
            </a:avLst>
          </a:prstGeom>
          <a:solidFill>
            <a:srgbClr val="FFFFFF"/>
          </a:solidFill>
          <a:ln w="25400" cap="flat" cmpd="sng" algn="ctr">
            <a:solidFill>
              <a:srgbClr val="FC950C"/>
            </a:solidFill>
            <a:prstDash val="solid"/>
          </a:ln>
          <a:effectLst>
            <a:outerShdw blurRad="50800" dist="38100" dir="2700000" algn="tl" rotWithShape="0">
              <a:prstClr val="black">
                <a:alpha val="40000"/>
              </a:prstClr>
            </a:outerShdw>
          </a:effectLst>
        </p:spPr>
        <p:txBody>
          <a:bodyPr rtlCol="0" anchor="ctr"/>
          <a:lstStyle/>
          <a:p>
            <a:pPr algn="ctr">
              <a:defRPr/>
            </a:pPr>
            <a:r>
              <a:rPr lang="fr-FR" sz="1000" kern="0" dirty="0">
                <a:solidFill>
                  <a:srgbClr val="000000"/>
                </a:solidFill>
                <a:latin typeface="Arial"/>
                <a:ea typeface="MS PGothic"/>
                <a:cs typeface="Arial" charset="0"/>
              </a:rPr>
              <a:t>Au moins un par direction</a:t>
            </a:r>
          </a:p>
        </p:txBody>
      </p:sp>
      <p:sp>
        <p:nvSpPr>
          <p:cNvPr id="17" name="Bulle narrative : ronde 16"/>
          <p:cNvSpPr/>
          <p:nvPr/>
        </p:nvSpPr>
        <p:spPr>
          <a:xfrm>
            <a:off x="7979641" y="2596231"/>
            <a:ext cx="1114296" cy="577241"/>
          </a:xfrm>
          <a:prstGeom prst="wedgeEllipseCallout">
            <a:avLst>
              <a:gd name="adj1" fmla="val -59678"/>
              <a:gd name="adj2" fmla="val 30922"/>
            </a:avLst>
          </a:prstGeom>
          <a:solidFill>
            <a:srgbClr val="FFFFFF"/>
          </a:solidFill>
          <a:ln w="25400" cap="flat" cmpd="sng" algn="ctr">
            <a:solidFill>
              <a:srgbClr val="FC950C"/>
            </a:solidFill>
            <a:prstDash val="solid"/>
          </a:ln>
          <a:effectLst>
            <a:outerShdw blurRad="50800" dist="38100" dir="2700000" algn="tl" rotWithShape="0">
              <a:prstClr val="black">
                <a:alpha val="40000"/>
              </a:prstClr>
            </a:outerShdw>
          </a:effectLst>
        </p:spPr>
        <p:txBody>
          <a:bodyPr rtlCol="0" anchor="ctr"/>
          <a:lstStyle/>
          <a:p>
            <a:pPr algn="ctr">
              <a:defRPr/>
            </a:pPr>
            <a:r>
              <a:rPr lang="fr-FR" sz="1000" kern="0" dirty="0">
                <a:solidFill>
                  <a:srgbClr val="000000"/>
                </a:solidFill>
                <a:latin typeface="Arial"/>
                <a:ea typeface="MS PGothic"/>
                <a:cs typeface="Arial" charset="0"/>
              </a:rPr>
              <a:t>Acteur de proximité</a:t>
            </a:r>
          </a:p>
        </p:txBody>
      </p:sp>
      <p:sp>
        <p:nvSpPr>
          <p:cNvPr id="18" name="Bulle narrative : ronde 17"/>
          <p:cNvSpPr/>
          <p:nvPr/>
        </p:nvSpPr>
        <p:spPr>
          <a:xfrm>
            <a:off x="7933121" y="4347111"/>
            <a:ext cx="1114296" cy="568356"/>
          </a:xfrm>
          <a:prstGeom prst="wedgeEllipseCallout">
            <a:avLst>
              <a:gd name="adj1" fmla="val -56197"/>
              <a:gd name="adj2" fmla="val 27856"/>
            </a:avLst>
          </a:prstGeom>
          <a:solidFill>
            <a:srgbClr val="FFFFFF"/>
          </a:solidFill>
          <a:ln w="25400" cap="flat" cmpd="sng" algn="ctr">
            <a:solidFill>
              <a:srgbClr val="FC950C"/>
            </a:solidFill>
            <a:prstDash val="solid"/>
          </a:ln>
          <a:effectLst>
            <a:outerShdw blurRad="50800" dist="38100" dir="2700000" algn="tl" rotWithShape="0">
              <a:prstClr val="black">
                <a:alpha val="40000"/>
              </a:prstClr>
            </a:outerShdw>
          </a:effectLst>
        </p:spPr>
        <p:txBody>
          <a:bodyPr rtlCol="0" anchor="ctr"/>
          <a:lstStyle/>
          <a:p>
            <a:pPr algn="ctr">
              <a:defRPr/>
            </a:pPr>
            <a:r>
              <a:rPr lang="fr-FR" sz="1000" kern="0" dirty="0">
                <a:solidFill>
                  <a:srgbClr val="000000"/>
                </a:solidFill>
                <a:latin typeface="Arial"/>
                <a:ea typeface="MS PGothic"/>
                <a:cs typeface="Arial" charset="0"/>
              </a:rPr>
              <a:t>Experts au niveau Groupe</a:t>
            </a:r>
          </a:p>
        </p:txBody>
      </p:sp>
      <p:sp>
        <p:nvSpPr>
          <p:cNvPr id="20" name="Flèche : courbe vers le bas 19"/>
          <p:cNvSpPr/>
          <p:nvPr/>
        </p:nvSpPr>
        <p:spPr>
          <a:xfrm flipH="1">
            <a:off x="4938305" y="1385803"/>
            <a:ext cx="1166272" cy="311200"/>
          </a:xfrm>
          <a:prstGeom prst="curvedDownArrow">
            <a:avLst/>
          </a:prstGeom>
          <a:solidFill>
            <a:srgbClr val="FFFFFF"/>
          </a:solidFill>
          <a:ln w="25400" cap="flat" cmpd="sng" algn="ctr">
            <a:solidFill>
              <a:srgbClr val="FC950C"/>
            </a:solidFill>
            <a:prstDash val="solid"/>
          </a:ln>
          <a:effectLst/>
        </p:spPr>
        <p:txBody>
          <a:bodyPr rtlCol="0" anchor="ctr"/>
          <a:lstStyle/>
          <a:p>
            <a:pPr algn="ctr">
              <a:defRPr/>
            </a:pPr>
            <a:r>
              <a:rPr lang="fr-FR" sz="1400" kern="0" dirty="0">
                <a:solidFill>
                  <a:srgbClr val="000000"/>
                </a:solidFill>
                <a:latin typeface="Arial"/>
                <a:ea typeface="MS PGothic"/>
                <a:cs typeface="Arial" charset="0"/>
              </a:rPr>
              <a:t>Support</a:t>
            </a:r>
            <a:endParaRPr lang="fr-FR" kern="0" dirty="0">
              <a:solidFill>
                <a:srgbClr val="000000"/>
              </a:solidFill>
              <a:latin typeface="Arial"/>
              <a:ea typeface="MS PGothic"/>
              <a:cs typeface="Arial" charset="0"/>
            </a:endParaRPr>
          </a:p>
        </p:txBody>
      </p:sp>
      <p:sp>
        <p:nvSpPr>
          <p:cNvPr id="21" name="Bulle narrative : ronde 20"/>
          <p:cNvSpPr/>
          <p:nvPr/>
        </p:nvSpPr>
        <p:spPr>
          <a:xfrm>
            <a:off x="78946" y="3601135"/>
            <a:ext cx="1114296" cy="568356"/>
          </a:xfrm>
          <a:prstGeom prst="wedgeEllipseCallout">
            <a:avLst>
              <a:gd name="adj1" fmla="val 68946"/>
              <a:gd name="adj2" fmla="val 24002"/>
            </a:avLst>
          </a:prstGeom>
          <a:solidFill>
            <a:srgbClr val="FFFFFF"/>
          </a:solidFill>
          <a:ln w="25400" cap="flat" cmpd="sng" algn="ctr">
            <a:solidFill>
              <a:srgbClr val="FC950C"/>
            </a:solidFill>
            <a:prstDash val="solid"/>
          </a:ln>
          <a:effectLst>
            <a:outerShdw blurRad="50800" dist="38100" dir="2700000" algn="tl" rotWithShape="0">
              <a:prstClr val="black">
                <a:alpha val="40000"/>
              </a:prstClr>
            </a:outerShdw>
          </a:effectLst>
        </p:spPr>
        <p:txBody>
          <a:bodyPr rtlCol="0" anchor="ctr"/>
          <a:lstStyle/>
          <a:p>
            <a:pPr algn="ctr">
              <a:defRPr/>
            </a:pPr>
            <a:r>
              <a:rPr lang="fr-FR" sz="1000" kern="0" dirty="0">
                <a:solidFill>
                  <a:srgbClr val="000000"/>
                </a:solidFill>
                <a:latin typeface="Arial"/>
                <a:ea typeface="MS PGothic"/>
                <a:cs typeface="Arial" charset="0"/>
              </a:rPr>
              <a:t>Support </a:t>
            </a:r>
            <a:r>
              <a:rPr lang="fr-FR" sz="800" kern="0" dirty="0">
                <a:solidFill>
                  <a:srgbClr val="000000"/>
                </a:solidFill>
                <a:latin typeface="Arial"/>
                <a:ea typeface="MS PGothic"/>
                <a:cs typeface="Arial" charset="0"/>
              </a:rPr>
              <a:t>informatique</a:t>
            </a:r>
            <a:endParaRPr lang="fr-FR" sz="1000" kern="0" dirty="0">
              <a:solidFill>
                <a:srgbClr val="000000"/>
              </a:solidFill>
              <a:latin typeface="Arial"/>
              <a:ea typeface="MS PGothic"/>
              <a:cs typeface="Arial" charset="0"/>
            </a:endParaRPr>
          </a:p>
        </p:txBody>
      </p:sp>
      <p:sp>
        <p:nvSpPr>
          <p:cNvPr id="22" name="Bulle narrative : ronde 21"/>
          <p:cNvSpPr/>
          <p:nvPr/>
        </p:nvSpPr>
        <p:spPr>
          <a:xfrm>
            <a:off x="78946" y="2721253"/>
            <a:ext cx="1114296" cy="577241"/>
          </a:xfrm>
          <a:prstGeom prst="wedgeEllipseCallout">
            <a:avLst>
              <a:gd name="adj1" fmla="val 69064"/>
              <a:gd name="adj2" fmla="val 24282"/>
            </a:avLst>
          </a:prstGeom>
          <a:solidFill>
            <a:srgbClr val="FFFFFF"/>
          </a:solidFill>
          <a:ln w="25400" cap="flat" cmpd="sng" algn="ctr">
            <a:solidFill>
              <a:srgbClr val="FC950C"/>
            </a:solidFill>
            <a:prstDash val="solid"/>
          </a:ln>
          <a:effectLst>
            <a:outerShdw blurRad="50800" dist="38100" dir="2700000" algn="tl" rotWithShape="0">
              <a:prstClr val="black">
                <a:alpha val="40000"/>
              </a:prstClr>
            </a:outerShdw>
          </a:effectLst>
        </p:spPr>
        <p:txBody>
          <a:bodyPr rtlCol="0" anchor="ctr"/>
          <a:lstStyle/>
          <a:p>
            <a:pPr algn="ctr">
              <a:defRPr/>
            </a:pPr>
            <a:r>
              <a:rPr lang="fr-FR" sz="1000" kern="0" dirty="0">
                <a:solidFill>
                  <a:srgbClr val="000000"/>
                </a:solidFill>
                <a:latin typeface="Arial"/>
                <a:ea typeface="MS PGothic"/>
                <a:cs typeface="Arial" charset="0"/>
              </a:rPr>
              <a:t>Support juridique</a:t>
            </a:r>
          </a:p>
        </p:txBody>
      </p:sp>
      <p:sp>
        <p:nvSpPr>
          <p:cNvPr id="23" name="Bulle narrative : ronde 22"/>
          <p:cNvSpPr/>
          <p:nvPr/>
        </p:nvSpPr>
        <p:spPr>
          <a:xfrm>
            <a:off x="78946" y="4439576"/>
            <a:ext cx="1114296" cy="568356"/>
          </a:xfrm>
          <a:prstGeom prst="wedgeEllipseCallout">
            <a:avLst>
              <a:gd name="adj1" fmla="val 68123"/>
              <a:gd name="adj2" fmla="val 23038"/>
            </a:avLst>
          </a:prstGeom>
          <a:solidFill>
            <a:srgbClr val="FFFFFF"/>
          </a:solidFill>
          <a:ln w="25400" cap="flat" cmpd="sng" algn="ctr">
            <a:solidFill>
              <a:srgbClr val="FC950C"/>
            </a:solidFill>
            <a:prstDash val="solid"/>
          </a:ln>
          <a:effectLst>
            <a:outerShdw blurRad="50800" dist="38100" dir="2700000" algn="tl" rotWithShape="0">
              <a:prstClr val="black">
                <a:alpha val="40000"/>
              </a:prstClr>
            </a:outerShdw>
          </a:effectLst>
        </p:spPr>
        <p:txBody>
          <a:bodyPr rtlCol="0" anchor="ctr"/>
          <a:lstStyle/>
          <a:p>
            <a:pPr algn="ctr">
              <a:defRPr/>
            </a:pPr>
            <a:r>
              <a:rPr lang="fr-FR" sz="1000" kern="0" dirty="0">
                <a:solidFill>
                  <a:srgbClr val="000000"/>
                </a:solidFill>
                <a:latin typeface="Arial"/>
                <a:ea typeface="MS PGothic"/>
                <a:cs typeface="Arial" charset="0"/>
              </a:rPr>
              <a:t>Support sécurité / risques</a:t>
            </a:r>
          </a:p>
        </p:txBody>
      </p:sp>
      <p:sp>
        <p:nvSpPr>
          <p:cNvPr id="14" name="Espace réservé du texte 4"/>
          <p:cNvSpPr>
            <a:spLocks noGrp="1"/>
          </p:cNvSpPr>
          <p:nvPr>
            <p:ph type="body" sz="quarter" idx="21"/>
          </p:nvPr>
        </p:nvSpPr>
        <p:spPr>
          <a:xfrm>
            <a:off x="182300" y="931629"/>
            <a:ext cx="8423275" cy="161925"/>
          </a:xfrm>
        </p:spPr>
        <p:txBody>
          <a:bodyPr/>
          <a:lstStyle/>
          <a:p>
            <a:r>
              <a:rPr lang="fr-FR" dirty="0"/>
              <a:t>Annexes</a:t>
            </a:r>
          </a:p>
        </p:txBody>
      </p:sp>
      <p:sp>
        <p:nvSpPr>
          <p:cNvPr id="24" name="Flèche : courbe vers le bas 19"/>
          <p:cNvSpPr/>
          <p:nvPr/>
        </p:nvSpPr>
        <p:spPr>
          <a:xfrm rot="10800000" flipH="1">
            <a:off x="2868684" y="5157456"/>
            <a:ext cx="3342476" cy="311200"/>
          </a:xfrm>
          <a:prstGeom prst="curvedDownArrow">
            <a:avLst/>
          </a:prstGeom>
          <a:solidFill>
            <a:srgbClr val="FFFFFF"/>
          </a:solidFill>
          <a:ln w="25400" cap="flat" cmpd="sng" algn="ctr">
            <a:solidFill>
              <a:srgbClr val="FC950C"/>
            </a:solidFill>
            <a:prstDash val="solid"/>
          </a:ln>
          <a:effectLst/>
        </p:spPr>
        <p:txBody>
          <a:bodyPr rtlCol="0" anchor="ctr"/>
          <a:lstStyle/>
          <a:p>
            <a:pPr algn="ctr">
              <a:defRPr/>
            </a:pPr>
            <a:endParaRPr lang="fr-FR" kern="0" dirty="0">
              <a:solidFill>
                <a:srgbClr val="000000"/>
              </a:solidFill>
              <a:latin typeface="Arial"/>
              <a:ea typeface="MS PGothic"/>
              <a:cs typeface="Arial" charset="0"/>
            </a:endParaRPr>
          </a:p>
        </p:txBody>
      </p:sp>
    </p:spTree>
    <p:extLst>
      <p:ext uri="{BB962C8B-B14F-4D97-AF65-F5344CB8AC3E}">
        <p14:creationId xmlns:p14="http://schemas.microsoft.com/office/powerpoint/2010/main" val="2994575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476672"/>
            <a:ext cx="8229600" cy="634082"/>
          </a:xfrm>
        </p:spPr>
        <p:txBody>
          <a:bodyPr>
            <a:normAutofit fontScale="90000"/>
          </a:bodyPr>
          <a:lstStyle/>
          <a:p>
            <a:pPr lvl="0"/>
            <a:r>
              <a:rPr lang="fr-FR" dirty="0"/>
              <a:t>Sommaire</a:t>
            </a:r>
          </a:p>
        </p:txBody>
      </p:sp>
      <p:sp>
        <p:nvSpPr>
          <p:cNvPr id="4" name="Espace réservé du contenu 3"/>
          <p:cNvSpPr>
            <a:spLocks noGrp="1"/>
          </p:cNvSpPr>
          <p:nvPr>
            <p:ph idx="1"/>
          </p:nvPr>
        </p:nvSpPr>
        <p:spPr>
          <a:xfrm>
            <a:off x="523493" y="1371401"/>
            <a:ext cx="8229600" cy="4395049"/>
          </a:xfrm>
          <a:prstGeom prst="rect">
            <a:avLst/>
          </a:prstGeom>
        </p:spPr>
        <p:txBody>
          <a:bodyPr wrap="square">
            <a:spAutoFit/>
          </a:bodyPr>
          <a:lstStyle/>
          <a:p>
            <a:endParaRPr lang="fr-FR" sz="1800" dirty="0"/>
          </a:p>
          <a:p>
            <a:endParaRPr lang="fr-FR" sz="1800" dirty="0"/>
          </a:p>
          <a:p>
            <a:pPr marL="457200" indent="-457200">
              <a:buFont typeface="+mj-lt"/>
              <a:buAutoNum type="arabicPeriod"/>
            </a:pPr>
            <a:r>
              <a:rPr lang="fr-FR" sz="2000" dirty="0"/>
              <a:t>Rappel des principes         10 mn</a:t>
            </a:r>
          </a:p>
          <a:p>
            <a:pPr marL="457200" lvl="0" indent="-457200">
              <a:buFont typeface="+mj-lt"/>
              <a:buAutoNum type="arabicPeriod"/>
            </a:pPr>
            <a:r>
              <a:rPr lang="fr-FR" sz="2000" dirty="0"/>
              <a:t>Présentation et tour de table   20 mn</a:t>
            </a:r>
          </a:p>
          <a:p>
            <a:pPr marL="457200" indent="-457200">
              <a:buFont typeface="+mj-lt"/>
              <a:buAutoNum type="arabicPeriod"/>
            </a:pPr>
            <a:r>
              <a:rPr lang="fr-FR" sz="2000" dirty="0"/>
              <a:t>Présentation  Groupe RENAULT 15 mn </a:t>
            </a:r>
          </a:p>
          <a:p>
            <a:pPr marL="457200" indent="-457200">
              <a:buFont typeface="+mj-lt"/>
              <a:buAutoNum type="arabicPeriod"/>
            </a:pPr>
            <a:r>
              <a:rPr lang="fr-FR" sz="2000" dirty="0"/>
              <a:t>Présentation de l’atelier présentation du baromètre 60 min</a:t>
            </a:r>
          </a:p>
          <a:p>
            <a:pPr marL="457200" indent="-457200">
              <a:buFont typeface="+mj-lt"/>
              <a:buAutoNum type="arabicPeriod"/>
            </a:pPr>
            <a:r>
              <a:rPr lang="fr-FR" sz="2000" dirty="0"/>
              <a:t>Groupes de travail  45 min</a:t>
            </a:r>
          </a:p>
          <a:p>
            <a:pPr marL="457200" indent="-457200">
              <a:buFont typeface="+mj-lt"/>
              <a:buAutoNum type="arabicPeriod"/>
            </a:pPr>
            <a:r>
              <a:rPr lang="fr-FR" sz="2000" dirty="0"/>
              <a:t>Restitution 30 min</a:t>
            </a:r>
          </a:p>
          <a:p>
            <a:pPr marL="457200" indent="-457200">
              <a:buFont typeface="+mj-lt"/>
              <a:buAutoNum type="arabicPeriod"/>
            </a:pPr>
            <a:r>
              <a:rPr lang="fr-FR" sz="2000" dirty="0"/>
              <a:t>Annexes</a:t>
            </a:r>
          </a:p>
          <a:p>
            <a:pPr marL="457200" indent="-457200">
              <a:buFont typeface="+mj-lt"/>
              <a:buAutoNum type="arabicPeriod"/>
            </a:pPr>
            <a:endParaRPr lang="fr-FR" sz="2000" dirty="0"/>
          </a:p>
          <a:p>
            <a:pPr marL="457200" indent="-457200">
              <a:buNone/>
            </a:pPr>
            <a:endParaRPr lang="fr-FR" sz="2000" dirty="0"/>
          </a:p>
          <a:p>
            <a:pPr marL="457200" indent="-457200">
              <a:buNone/>
            </a:pPr>
            <a:endParaRPr lang="fr-FR" sz="2000" dirty="0"/>
          </a:p>
        </p:txBody>
      </p:sp>
      <p:sp>
        <p:nvSpPr>
          <p:cNvPr id="6" name="Espace réservé du numéro de diapositive 5"/>
          <p:cNvSpPr>
            <a:spLocks noGrp="1"/>
          </p:cNvSpPr>
          <p:nvPr>
            <p:ph type="sldNum" sz="quarter" idx="12"/>
          </p:nvPr>
        </p:nvSpPr>
        <p:spPr>
          <a:xfrm>
            <a:off x="6553200" y="6356350"/>
            <a:ext cx="2133600" cy="365125"/>
          </a:xfrm>
        </p:spPr>
        <p:txBody>
          <a:bodyPr/>
          <a:lstStyle/>
          <a:p>
            <a:fld id="{8052084E-5DB1-4820-A270-72CC0B3C4AB6}" type="slidenum">
              <a:rPr lang="fr-FR" smtClean="0"/>
              <a:pPr/>
              <a:t>2</a:t>
            </a:fld>
            <a:endParaRPr lang="fr-FR"/>
          </a:p>
        </p:txBody>
      </p:sp>
      <p:pic>
        <p:nvPicPr>
          <p:cNvPr id="2051" name="Picture 3"/>
          <p:cNvPicPr>
            <a:picLocks noChangeAspect="1" noChangeArrowheads="1"/>
          </p:cNvPicPr>
          <p:nvPr/>
        </p:nvPicPr>
        <p:blipFill>
          <a:blip r:embed="rId3" cstate="print"/>
          <a:srcRect/>
          <a:stretch>
            <a:fillRect/>
          </a:stretch>
        </p:blipFill>
        <p:spPr bwMode="auto">
          <a:xfrm>
            <a:off x="5292081" y="1957002"/>
            <a:ext cx="936104" cy="707786"/>
          </a:xfrm>
          <a:prstGeom prst="rect">
            <a:avLst/>
          </a:prstGeom>
          <a:noFill/>
          <a:ln w="9525">
            <a:noFill/>
            <a:miter lim="800000"/>
            <a:headEnd/>
            <a:tailEnd/>
          </a:ln>
        </p:spPr>
      </p:pic>
      <p:pic>
        <p:nvPicPr>
          <p:cNvPr id="2053" name="Picture 5"/>
          <p:cNvPicPr>
            <a:picLocks noChangeAspect="1" noChangeArrowheads="1"/>
          </p:cNvPicPr>
          <p:nvPr/>
        </p:nvPicPr>
        <p:blipFill>
          <a:blip r:embed="rId4" cstate="print"/>
          <a:srcRect/>
          <a:stretch>
            <a:fillRect/>
          </a:stretch>
        </p:blipFill>
        <p:spPr bwMode="auto">
          <a:xfrm>
            <a:off x="3588693" y="4293096"/>
            <a:ext cx="1209675" cy="942975"/>
          </a:xfrm>
          <a:prstGeom prst="rect">
            <a:avLst/>
          </a:prstGeom>
          <a:noFill/>
          <a:ln w="9525">
            <a:noFill/>
            <a:miter lim="800000"/>
            <a:headEnd/>
            <a:tailEnd/>
          </a:ln>
        </p:spPr>
      </p:pic>
      <p:sp>
        <p:nvSpPr>
          <p:cNvPr id="26" name="Espace réservé du pied de page 4">
            <a:extLst>
              <a:ext uri="{FF2B5EF4-FFF2-40B4-BE49-F238E27FC236}">
                <a16:creationId xmlns:a16="http://schemas.microsoft.com/office/drawing/2014/main" xmlns="" id="{53A2040D-0750-4BF5-A5DD-98C522F98B96}"/>
              </a:ext>
            </a:extLst>
          </p:cNvPr>
          <p:cNvSpPr>
            <a:spLocks noGrp="1"/>
          </p:cNvSpPr>
          <p:nvPr>
            <p:ph type="ftr" sz="quarter" idx="11"/>
          </p:nvPr>
        </p:nvSpPr>
        <p:spPr>
          <a:xfrm>
            <a:off x="1104729" y="6296830"/>
            <a:ext cx="7067128" cy="484163"/>
          </a:xfrm>
        </p:spPr>
        <p:txBody>
          <a:bodyPr/>
          <a:lstStyle/>
          <a:p>
            <a:pPr algn="ctr"/>
            <a:r>
              <a:rPr lang="fr-FR" sz="1100" dirty="0">
                <a:solidFill>
                  <a:prstClr val="black"/>
                </a:solidFill>
              </a:rPr>
              <a:t>CR2PA - Atelier </a:t>
            </a:r>
            <a:r>
              <a:rPr lang="fr-FR" sz="1100" dirty="0">
                <a:solidFill>
                  <a:srgbClr val="FF0000"/>
                </a:solidFill>
              </a:rPr>
              <a:t>du 22 juin 2017 </a:t>
            </a:r>
            <a:r>
              <a:rPr lang="fr-FR" sz="1100" dirty="0">
                <a:solidFill>
                  <a:prstClr val="black"/>
                </a:solidFill>
              </a:rPr>
              <a:t>Bruno Lalande – Hervé Mahe – Nathalie Morand Khalifa</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21"/>
          </p:nvPr>
        </p:nvSpPr>
        <p:spPr/>
        <p:txBody>
          <a:bodyPr/>
          <a:lstStyle/>
          <a:p>
            <a:r>
              <a:rPr lang="fr-FR" noProof="0" dirty="0"/>
              <a:t>Annexes - FOCUS Déploiement métiers</a:t>
            </a:r>
          </a:p>
          <a:p>
            <a:endParaRPr lang="fr-FR" noProof="0" dirty="0"/>
          </a:p>
          <a:p>
            <a:endParaRPr lang="fr-FR" noProof="0" dirty="0"/>
          </a:p>
        </p:txBody>
      </p:sp>
      <p:sp>
        <p:nvSpPr>
          <p:cNvPr id="4" name="Titre 3"/>
          <p:cNvSpPr>
            <a:spLocks noGrp="1"/>
          </p:cNvSpPr>
          <p:nvPr>
            <p:ph type="title"/>
          </p:nvPr>
        </p:nvSpPr>
        <p:spPr/>
        <p:txBody>
          <a:bodyPr/>
          <a:lstStyle/>
          <a:p>
            <a:r>
              <a:rPr lang="fr-FR" sz="1600" dirty="0"/>
              <a:t>Phasage DU déploiement métier dans une direction</a:t>
            </a:r>
          </a:p>
        </p:txBody>
      </p:sp>
      <p:graphicFrame>
        <p:nvGraphicFramePr>
          <p:cNvPr id="5" name="Diagramme 4"/>
          <p:cNvGraphicFramePr/>
          <p:nvPr>
            <p:extLst/>
          </p:nvPr>
        </p:nvGraphicFramePr>
        <p:xfrm>
          <a:off x="1015273" y="1548626"/>
          <a:ext cx="7992426" cy="3960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Arc 1"/>
          <p:cNvSpPr/>
          <p:nvPr/>
        </p:nvSpPr>
        <p:spPr>
          <a:xfrm rot="600797">
            <a:off x="7043873" y="4399699"/>
            <a:ext cx="191386" cy="935665"/>
          </a:xfrm>
          <a:prstGeom prst="arc">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fr-FR" sz="1200" b="1">
              <a:solidFill>
                <a:srgbClr val="000000"/>
              </a:solidFill>
              <a:latin typeface="Arial"/>
              <a:ea typeface="MS PGothic"/>
            </a:endParaRPr>
          </a:p>
        </p:txBody>
      </p:sp>
      <p:sp>
        <p:nvSpPr>
          <p:cNvPr id="8" name="ZoneTexte 7"/>
          <p:cNvSpPr txBox="1"/>
          <p:nvPr/>
        </p:nvSpPr>
        <p:spPr>
          <a:xfrm>
            <a:off x="7315146" y="4478949"/>
            <a:ext cx="1641796" cy="276999"/>
          </a:xfrm>
          <a:prstGeom prst="rect">
            <a:avLst/>
          </a:prstGeom>
          <a:noFill/>
        </p:spPr>
        <p:txBody>
          <a:bodyPr wrap="none" rtlCol="0">
            <a:spAutoFit/>
          </a:bodyPr>
          <a:lstStyle/>
          <a:p>
            <a:pPr fontAlgn="base">
              <a:spcBef>
                <a:spcPct val="0"/>
              </a:spcBef>
              <a:spcAft>
                <a:spcPct val="0"/>
              </a:spcAft>
            </a:pPr>
            <a:r>
              <a:rPr lang="fr-FR" sz="1200" dirty="0">
                <a:solidFill>
                  <a:srgbClr val="000000">
                    <a:hueOff val="0"/>
                    <a:satOff val="0"/>
                    <a:lumOff val="0"/>
                    <a:alphaOff val="0"/>
                  </a:srgbClr>
                </a:solidFill>
                <a:latin typeface="Arial"/>
                <a:ea typeface="MS PGothic"/>
                <a:cs typeface="Arial" charset="0"/>
              </a:rPr>
              <a:t>Pour chaque chantier</a:t>
            </a:r>
          </a:p>
        </p:txBody>
      </p:sp>
      <p:sp>
        <p:nvSpPr>
          <p:cNvPr id="6" name="Bulle narrative : ronde 5"/>
          <p:cNvSpPr/>
          <p:nvPr/>
        </p:nvSpPr>
        <p:spPr>
          <a:xfrm>
            <a:off x="68161" y="1587318"/>
            <a:ext cx="867599" cy="397566"/>
          </a:xfrm>
          <a:prstGeom prst="wedgeEllipseCallout">
            <a:avLst>
              <a:gd name="adj1" fmla="val 66550"/>
              <a:gd name="adj2" fmla="val 32500"/>
            </a:avLst>
          </a:prstGeom>
          <a:ln>
            <a:solidFill>
              <a:srgbClr val="FC950C"/>
            </a:solidFill>
          </a:ln>
        </p:spPr>
        <p:style>
          <a:lnRef idx="2">
            <a:schemeClr val="accent1"/>
          </a:lnRef>
          <a:fillRef idx="1">
            <a:schemeClr val="lt1"/>
          </a:fillRef>
          <a:effectRef idx="0">
            <a:schemeClr val="accent1"/>
          </a:effectRef>
          <a:fontRef idx="minor">
            <a:schemeClr val="dk1"/>
          </a:fontRef>
        </p:style>
        <p:txBody>
          <a:bodyPr rtlCol="0" anchor="ctr"/>
          <a:lstStyle/>
          <a:p>
            <a:pPr algn="ctr" fontAlgn="base">
              <a:spcBef>
                <a:spcPct val="0"/>
              </a:spcBef>
              <a:spcAft>
                <a:spcPct val="0"/>
              </a:spcAft>
            </a:pPr>
            <a:r>
              <a:rPr lang="fr-FR" sz="800" i="1" dirty="0">
                <a:solidFill>
                  <a:srgbClr val="000000"/>
                </a:solidFill>
                <a:latin typeface="Arial"/>
                <a:ea typeface="MS PGothic"/>
              </a:rPr>
              <a:t>Avec le Directeur</a:t>
            </a:r>
          </a:p>
        </p:txBody>
      </p:sp>
      <p:sp>
        <p:nvSpPr>
          <p:cNvPr id="13" name="Bulle narrative : ronde 12"/>
          <p:cNvSpPr/>
          <p:nvPr/>
        </p:nvSpPr>
        <p:spPr>
          <a:xfrm>
            <a:off x="68157" y="2878874"/>
            <a:ext cx="867599" cy="397566"/>
          </a:xfrm>
          <a:prstGeom prst="wedgeEllipseCallout">
            <a:avLst>
              <a:gd name="adj1" fmla="val 66550"/>
              <a:gd name="adj2" fmla="val 32500"/>
            </a:avLst>
          </a:prstGeom>
          <a:ln>
            <a:solidFill>
              <a:srgbClr val="FC950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fr-FR" sz="800" i="1" dirty="0">
                <a:solidFill>
                  <a:srgbClr val="000000"/>
                </a:solidFill>
                <a:latin typeface="Arial"/>
                <a:ea typeface="MS PGothic"/>
              </a:rPr>
              <a:t>Avec le RM</a:t>
            </a:r>
          </a:p>
        </p:txBody>
      </p:sp>
      <p:sp>
        <p:nvSpPr>
          <p:cNvPr id="15" name="Bulle narrative : ronde 14"/>
          <p:cNvSpPr/>
          <p:nvPr/>
        </p:nvSpPr>
        <p:spPr>
          <a:xfrm>
            <a:off x="68156" y="4147616"/>
            <a:ext cx="867599" cy="397566"/>
          </a:xfrm>
          <a:prstGeom prst="wedgeEllipseCallout">
            <a:avLst>
              <a:gd name="adj1" fmla="val 66550"/>
              <a:gd name="adj2" fmla="val 32500"/>
            </a:avLst>
          </a:prstGeom>
          <a:ln>
            <a:solidFill>
              <a:srgbClr val="FC950C"/>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fr-FR" sz="800" i="1" dirty="0">
                <a:solidFill>
                  <a:srgbClr val="000000"/>
                </a:solidFill>
                <a:latin typeface="Arial"/>
                <a:ea typeface="MS PGothic"/>
              </a:rPr>
              <a:t>Par chantier</a:t>
            </a:r>
          </a:p>
        </p:txBody>
      </p:sp>
    </p:spTree>
    <p:extLst>
      <p:ext uri="{BB962C8B-B14F-4D97-AF65-F5344CB8AC3E}">
        <p14:creationId xmlns:p14="http://schemas.microsoft.com/office/powerpoint/2010/main" val="800749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633785" y="3994799"/>
            <a:ext cx="1502283" cy="513948"/>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sz="900" dirty="0">
              <a:solidFill>
                <a:schemeClr val="tx1"/>
              </a:solidFill>
            </a:endParaRPr>
          </a:p>
        </p:txBody>
      </p:sp>
      <p:sp>
        <p:nvSpPr>
          <p:cNvPr id="5" name="Rectangle 4"/>
          <p:cNvSpPr/>
          <p:nvPr/>
        </p:nvSpPr>
        <p:spPr>
          <a:xfrm>
            <a:off x="3685175" y="3945244"/>
            <a:ext cx="1496330" cy="49320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sz="900" dirty="0">
              <a:solidFill>
                <a:schemeClr val="tx1"/>
              </a:solidFill>
            </a:endParaRPr>
          </a:p>
        </p:txBody>
      </p:sp>
      <p:sp>
        <p:nvSpPr>
          <p:cNvPr id="13" name="Rectangle 12"/>
          <p:cNvSpPr/>
          <p:nvPr/>
        </p:nvSpPr>
        <p:spPr>
          <a:xfrm>
            <a:off x="3732998" y="3874948"/>
            <a:ext cx="1481498" cy="493791"/>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fr-FR" sz="900">
                <a:solidFill>
                  <a:schemeClr val="tx1"/>
                </a:solidFill>
              </a:rPr>
              <a:t>SI Métier</a:t>
            </a:r>
            <a:endParaRPr lang="fr-FR" sz="900" dirty="0">
              <a:solidFill>
                <a:schemeClr val="tx1"/>
              </a:solidFill>
            </a:endParaRPr>
          </a:p>
        </p:txBody>
      </p:sp>
      <p:sp>
        <p:nvSpPr>
          <p:cNvPr id="8" name="Rectangle 7"/>
          <p:cNvSpPr/>
          <p:nvPr/>
        </p:nvSpPr>
        <p:spPr>
          <a:xfrm>
            <a:off x="6144078" y="2382079"/>
            <a:ext cx="682683" cy="3093827"/>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fr-FR" sz="900" dirty="0">
                <a:solidFill>
                  <a:schemeClr val="tx1"/>
                </a:solidFill>
              </a:rPr>
              <a:t>SAE Norme Z42-013</a:t>
            </a:r>
          </a:p>
        </p:txBody>
      </p:sp>
      <p:sp>
        <p:nvSpPr>
          <p:cNvPr id="39" name="Flèche : virage 38"/>
          <p:cNvSpPr/>
          <p:nvPr/>
        </p:nvSpPr>
        <p:spPr>
          <a:xfrm rot="5400000">
            <a:off x="3133605" y="1938381"/>
            <a:ext cx="1942344" cy="1689529"/>
          </a:xfrm>
          <a:prstGeom prst="bentArrow">
            <a:avLst>
              <a:gd name="adj1" fmla="val 18448"/>
              <a:gd name="adj2" fmla="val 22696"/>
              <a:gd name="adj3" fmla="val 13879"/>
              <a:gd name="adj4" fmla="val 43750"/>
            </a:avLst>
          </a:prstGeom>
          <a:solidFill>
            <a:schemeClr val="bg1"/>
          </a:solidFill>
          <a:ln w="19050">
            <a:solidFill>
              <a:srgbClr val="FC950C"/>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vert270" rtlCol="0" anchor="t" anchorCtr="0"/>
          <a:lstStyle/>
          <a:p>
            <a:r>
              <a:rPr lang="fr-FR" sz="900" dirty="0"/>
              <a:t>Documents, courriels</a:t>
            </a:r>
          </a:p>
        </p:txBody>
      </p:sp>
      <p:sp>
        <p:nvSpPr>
          <p:cNvPr id="7" name="Flèche : double flèche horizontale 6"/>
          <p:cNvSpPr/>
          <p:nvPr/>
        </p:nvSpPr>
        <p:spPr>
          <a:xfrm>
            <a:off x="2133255" y="3668064"/>
            <a:ext cx="1599742" cy="877072"/>
          </a:xfrm>
          <a:prstGeom prst="leftRightArrow">
            <a:avLst/>
          </a:prstGeom>
          <a:solidFill>
            <a:schemeClr val="bg1"/>
          </a:solidFill>
          <a:ln w="19050">
            <a:solidFill>
              <a:srgbClr val="FC950C"/>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r>
              <a:rPr lang="fr-FR" sz="900" dirty="0"/>
              <a:t>Données et documents</a:t>
            </a:r>
          </a:p>
        </p:txBody>
      </p:sp>
      <p:sp>
        <p:nvSpPr>
          <p:cNvPr id="15" name="Flèche : double flèche horizontale 14"/>
          <p:cNvSpPr/>
          <p:nvPr/>
        </p:nvSpPr>
        <p:spPr>
          <a:xfrm>
            <a:off x="5136068" y="3914847"/>
            <a:ext cx="1111828" cy="560070"/>
          </a:xfrm>
          <a:prstGeom prst="leftRightArrow">
            <a:avLst/>
          </a:prstGeom>
          <a:solidFill>
            <a:schemeClr val="bg1"/>
          </a:solidFill>
          <a:ln w="19050">
            <a:solidFill>
              <a:srgbClr val="FC950C"/>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r>
              <a:rPr lang="fr-FR" sz="900" dirty="0"/>
              <a:t>Records</a:t>
            </a:r>
          </a:p>
        </p:txBody>
      </p:sp>
      <p:pic>
        <p:nvPicPr>
          <p:cNvPr id="16" name="Imag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027" y="2508847"/>
            <a:ext cx="2069106" cy="1863428"/>
          </a:xfrm>
          <a:prstGeom prst="rect">
            <a:avLst/>
          </a:prstGeom>
        </p:spPr>
      </p:pic>
      <p:sp>
        <p:nvSpPr>
          <p:cNvPr id="17" name="Flèche : double flèche horizontale 16"/>
          <p:cNvSpPr/>
          <p:nvPr/>
        </p:nvSpPr>
        <p:spPr>
          <a:xfrm>
            <a:off x="2113582" y="4898842"/>
            <a:ext cx="4030496" cy="249381"/>
          </a:xfrm>
          <a:prstGeom prst="leftRightArrow">
            <a:avLst/>
          </a:prstGeom>
          <a:ln w="9525">
            <a:solidFill>
              <a:srgbClr val="FC950C"/>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fr-FR" sz="900" dirty="0"/>
              <a:t>Records</a:t>
            </a:r>
          </a:p>
        </p:txBody>
      </p:sp>
      <p:pic>
        <p:nvPicPr>
          <p:cNvPr id="25" name="Imag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69616" y="2291131"/>
            <a:ext cx="196075" cy="573319"/>
          </a:xfrm>
          <a:prstGeom prst="rect">
            <a:avLst/>
          </a:prstGeom>
        </p:spPr>
      </p:pic>
      <p:sp>
        <p:nvSpPr>
          <p:cNvPr id="27" name="ZoneTexte 26"/>
          <p:cNvSpPr txBox="1"/>
          <p:nvPr/>
        </p:nvSpPr>
        <p:spPr>
          <a:xfrm>
            <a:off x="7003573" y="2815243"/>
            <a:ext cx="1409552" cy="230832"/>
          </a:xfrm>
          <a:prstGeom prst="rect">
            <a:avLst/>
          </a:prstGeom>
          <a:noFill/>
        </p:spPr>
        <p:txBody>
          <a:bodyPr wrap="square" rtlCol="0">
            <a:spAutoFit/>
          </a:bodyPr>
          <a:lstStyle/>
          <a:p>
            <a:r>
              <a:rPr lang="fr-FR" sz="900" dirty="0"/>
              <a:t>DISG – Equipe RM</a:t>
            </a:r>
          </a:p>
        </p:txBody>
      </p:sp>
      <p:sp>
        <p:nvSpPr>
          <p:cNvPr id="29" name="Rectangle 28"/>
          <p:cNvSpPr/>
          <p:nvPr/>
        </p:nvSpPr>
        <p:spPr>
          <a:xfrm>
            <a:off x="6172154" y="2426869"/>
            <a:ext cx="626531" cy="203443"/>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fr-FR" sz="900" dirty="0">
                <a:solidFill>
                  <a:schemeClr val="tx1"/>
                </a:solidFill>
              </a:rPr>
              <a:t>RRS</a:t>
            </a:r>
          </a:p>
        </p:txBody>
      </p:sp>
      <p:sp>
        <p:nvSpPr>
          <p:cNvPr id="26" name="Flèche : gauche 25"/>
          <p:cNvSpPr/>
          <p:nvPr/>
        </p:nvSpPr>
        <p:spPr>
          <a:xfrm>
            <a:off x="6798685" y="2413228"/>
            <a:ext cx="658694" cy="226412"/>
          </a:xfrm>
          <a:prstGeom prst="leftArrow">
            <a:avLst/>
          </a:prstGeom>
          <a:solidFill>
            <a:schemeClr val="bg1"/>
          </a:solidFill>
          <a:ln w="19050">
            <a:solidFill>
              <a:srgbClr val="FC950C"/>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r>
              <a:rPr lang="fr-FR" sz="900" dirty="0"/>
              <a:t>Admin</a:t>
            </a:r>
          </a:p>
        </p:txBody>
      </p:sp>
      <p:sp>
        <p:nvSpPr>
          <p:cNvPr id="3" name="ZoneTexte 2"/>
          <p:cNvSpPr txBox="1"/>
          <p:nvPr/>
        </p:nvSpPr>
        <p:spPr>
          <a:xfrm>
            <a:off x="732758" y="4411418"/>
            <a:ext cx="1107996" cy="230832"/>
          </a:xfrm>
          <a:prstGeom prst="rect">
            <a:avLst/>
          </a:prstGeom>
          <a:noFill/>
        </p:spPr>
        <p:txBody>
          <a:bodyPr wrap="none" rtlCol="0">
            <a:spAutoFit/>
          </a:bodyPr>
          <a:lstStyle/>
          <a:p>
            <a:r>
              <a:rPr lang="fr-FR" sz="900" dirty="0"/>
              <a:t>Utilisateurs Métier</a:t>
            </a:r>
          </a:p>
        </p:txBody>
      </p:sp>
      <p:sp>
        <p:nvSpPr>
          <p:cNvPr id="31" name="ZoneTexte 30"/>
          <p:cNvSpPr txBox="1"/>
          <p:nvPr/>
        </p:nvSpPr>
        <p:spPr>
          <a:xfrm>
            <a:off x="958014" y="4170734"/>
            <a:ext cx="665077" cy="323165"/>
          </a:xfrm>
          <a:prstGeom prst="rect">
            <a:avLst/>
          </a:prstGeom>
          <a:noFill/>
        </p:spPr>
        <p:txBody>
          <a:bodyPr wrap="square" rtlCol="0">
            <a:spAutoFit/>
          </a:bodyPr>
          <a:lstStyle/>
          <a:p>
            <a:r>
              <a:rPr lang="fr-FR" sz="1500" dirty="0"/>
              <a:t>90 %</a:t>
            </a:r>
          </a:p>
        </p:txBody>
      </p:sp>
      <p:pic>
        <p:nvPicPr>
          <p:cNvPr id="32" name="Imag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6116" y="4667436"/>
            <a:ext cx="196075" cy="573319"/>
          </a:xfrm>
          <a:prstGeom prst="rect">
            <a:avLst/>
          </a:prstGeom>
        </p:spPr>
      </p:pic>
      <p:sp>
        <p:nvSpPr>
          <p:cNvPr id="34" name="ZoneTexte 33"/>
          <p:cNvSpPr txBox="1"/>
          <p:nvPr/>
        </p:nvSpPr>
        <p:spPr>
          <a:xfrm>
            <a:off x="1474691" y="4858509"/>
            <a:ext cx="665077" cy="323165"/>
          </a:xfrm>
          <a:prstGeom prst="rect">
            <a:avLst/>
          </a:prstGeom>
          <a:noFill/>
        </p:spPr>
        <p:txBody>
          <a:bodyPr wrap="square" rtlCol="0">
            <a:spAutoFit/>
          </a:bodyPr>
          <a:lstStyle/>
          <a:p>
            <a:r>
              <a:rPr lang="fr-FR" sz="1500" dirty="0"/>
              <a:t>10 %</a:t>
            </a:r>
          </a:p>
        </p:txBody>
      </p:sp>
      <p:sp>
        <p:nvSpPr>
          <p:cNvPr id="38" name="Rectangle 37"/>
          <p:cNvSpPr/>
          <p:nvPr/>
        </p:nvSpPr>
        <p:spPr>
          <a:xfrm>
            <a:off x="1741471" y="2149635"/>
            <a:ext cx="1452649" cy="29302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sz="900" dirty="0">
                <a:solidFill>
                  <a:schemeClr val="tx1"/>
                </a:solidFill>
              </a:rPr>
              <a:t>Messagerie</a:t>
            </a:r>
          </a:p>
        </p:txBody>
      </p:sp>
      <p:sp>
        <p:nvSpPr>
          <p:cNvPr id="37" name="Rectangle 36"/>
          <p:cNvSpPr/>
          <p:nvPr/>
        </p:nvSpPr>
        <p:spPr>
          <a:xfrm>
            <a:off x="1741469" y="1818455"/>
            <a:ext cx="1452649" cy="29302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sz="900" dirty="0">
                <a:solidFill>
                  <a:schemeClr val="tx1"/>
                </a:solidFill>
              </a:rPr>
              <a:t>Répertoires réseau</a:t>
            </a:r>
          </a:p>
        </p:txBody>
      </p:sp>
      <p:sp>
        <p:nvSpPr>
          <p:cNvPr id="40" name="Rectangle 39"/>
          <p:cNvSpPr/>
          <p:nvPr/>
        </p:nvSpPr>
        <p:spPr>
          <a:xfrm>
            <a:off x="1741470" y="1488939"/>
            <a:ext cx="1452649" cy="293024"/>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r>
              <a:rPr lang="fr-FR" sz="900" dirty="0">
                <a:solidFill>
                  <a:schemeClr val="tx1"/>
                </a:solidFill>
              </a:rPr>
              <a:t>Poste de travail</a:t>
            </a:r>
          </a:p>
        </p:txBody>
      </p:sp>
      <p:sp>
        <p:nvSpPr>
          <p:cNvPr id="41" name="Titre 1"/>
          <p:cNvSpPr txBox="1">
            <a:spLocks/>
          </p:cNvSpPr>
          <p:nvPr/>
        </p:nvSpPr>
        <p:spPr>
          <a:xfrm>
            <a:off x="140137" y="1131822"/>
            <a:ext cx="8425921" cy="258868"/>
          </a:xfrm>
          <a:prstGeom prst="rect">
            <a:avLst/>
          </a:prstGeom>
        </p:spPr>
        <p:txBody>
          <a:bodyPr/>
          <a:lstStyle>
            <a:lvl1pPr algn="l" rtl="0" eaLnBrk="1" fontAlgn="base" hangingPunct="1">
              <a:spcBef>
                <a:spcPct val="0"/>
              </a:spcBef>
              <a:spcAft>
                <a:spcPct val="0"/>
              </a:spcAft>
              <a:defRPr sz="1800" b="1">
                <a:solidFill>
                  <a:schemeClr val="tx1"/>
                </a:solidFill>
                <a:latin typeface="+mj-lt"/>
                <a:ea typeface="+mj-ea"/>
                <a:cs typeface="+mj-cs"/>
              </a:defRPr>
            </a:lvl1pPr>
            <a:lvl2pPr algn="l" rtl="0" eaLnBrk="1" fontAlgn="base" hangingPunct="1">
              <a:spcBef>
                <a:spcPct val="0"/>
              </a:spcBef>
              <a:spcAft>
                <a:spcPct val="0"/>
              </a:spcAft>
              <a:defRPr sz="1800" b="1">
                <a:solidFill>
                  <a:schemeClr val="tx1"/>
                </a:solidFill>
                <a:latin typeface="Arial Narrow" pitchFamily="34" charset="0"/>
                <a:ea typeface="MS PGothic" pitchFamily="34" charset="-128"/>
              </a:defRPr>
            </a:lvl2pPr>
            <a:lvl3pPr algn="l" rtl="0" eaLnBrk="1" fontAlgn="base" hangingPunct="1">
              <a:spcBef>
                <a:spcPct val="0"/>
              </a:spcBef>
              <a:spcAft>
                <a:spcPct val="0"/>
              </a:spcAft>
              <a:defRPr sz="1800" b="1">
                <a:solidFill>
                  <a:schemeClr val="tx1"/>
                </a:solidFill>
                <a:latin typeface="Arial Narrow" pitchFamily="34" charset="0"/>
                <a:ea typeface="MS PGothic" pitchFamily="34" charset="-128"/>
              </a:defRPr>
            </a:lvl3pPr>
            <a:lvl4pPr algn="l" rtl="0" eaLnBrk="1" fontAlgn="base" hangingPunct="1">
              <a:spcBef>
                <a:spcPct val="0"/>
              </a:spcBef>
              <a:spcAft>
                <a:spcPct val="0"/>
              </a:spcAft>
              <a:defRPr sz="1800" b="1">
                <a:solidFill>
                  <a:schemeClr val="tx1"/>
                </a:solidFill>
                <a:latin typeface="Arial Narrow" pitchFamily="34" charset="0"/>
                <a:ea typeface="MS PGothic" pitchFamily="34" charset="-128"/>
              </a:defRPr>
            </a:lvl4pPr>
            <a:lvl5pPr algn="l" rtl="0" eaLnBrk="1" fontAlgn="base" hangingPunct="1">
              <a:spcBef>
                <a:spcPct val="0"/>
              </a:spcBef>
              <a:spcAft>
                <a:spcPct val="0"/>
              </a:spcAft>
              <a:defRPr sz="1800" b="1">
                <a:solidFill>
                  <a:schemeClr val="tx1"/>
                </a:solidFill>
                <a:latin typeface="Arial Narrow" pitchFamily="34" charset="0"/>
                <a:ea typeface="MS PGothic" pitchFamily="34" charset="-128"/>
              </a:defRPr>
            </a:lvl5pPr>
            <a:lvl6pPr marL="342891" algn="l" rtl="0" eaLnBrk="1" fontAlgn="base" hangingPunct="1">
              <a:spcBef>
                <a:spcPct val="0"/>
              </a:spcBef>
              <a:spcAft>
                <a:spcPct val="0"/>
              </a:spcAft>
              <a:defRPr sz="1800" b="1">
                <a:solidFill>
                  <a:schemeClr val="tx1"/>
                </a:solidFill>
                <a:latin typeface="Arial Narrow" pitchFamily="34" charset="0"/>
                <a:ea typeface="MS PGothic" pitchFamily="34" charset="-128"/>
              </a:defRPr>
            </a:lvl6pPr>
            <a:lvl7pPr marL="685783" algn="l" rtl="0" eaLnBrk="1" fontAlgn="base" hangingPunct="1">
              <a:spcBef>
                <a:spcPct val="0"/>
              </a:spcBef>
              <a:spcAft>
                <a:spcPct val="0"/>
              </a:spcAft>
              <a:defRPr sz="1800" b="1">
                <a:solidFill>
                  <a:schemeClr val="tx1"/>
                </a:solidFill>
                <a:latin typeface="Arial Narrow" pitchFamily="34" charset="0"/>
                <a:ea typeface="MS PGothic" pitchFamily="34" charset="-128"/>
              </a:defRPr>
            </a:lvl7pPr>
            <a:lvl8pPr marL="1028674" algn="l" rtl="0" eaLnBrk="1" fontAlgn="base" hangingPunct="1">
              <a:spcBef>
                <a:spcPct val="0"/>
              </a:spcBef>
              <a:spcAft>
                <a:spcPct val="0"/>
              </a:spcAft>
              <a:defRPr sz="1800" b="1">
                <a:solidFill>
                  <a:schemeClr val="tx1"/>
                </a:solidFill>
                <a:latin typeface="Arial Narrow" pitchFamily="34" charset="0"/>
                <a:ea typeface="MS PGothic" pitchFamily="34" charset="-128"/>
              </a:defRPr>
            </a:lvl8pPr>
            <a:lvl9pPr marL="1371566" algn="l" rtl="0" eaLnBrk="1" fontAlgn="base" hangingPunct="1">
              <a:spcBef>
                <a:spcPct val="0"/>
              </a:spcBef>
              <a:spcAft>
                <a:spcPct val="0"/>
              </a:spcAft>
              <a:defRPr sz="1800" b="1">
                <a:solidFill>
                  <a:schemeClr val="tx1"/>
                </a:solidFill>
                <a:latin typeface="Arial Narrow" pitchFamily="34" charset="0"/>
                <a:ea typeface="MS PGothic" pitchFamily="34" charset="-128"/>
              </a:defRPr>
            </a:lvl9pPr>
          </a:lstStyle>
          <a:p>
            <a:r>
              <a:rPr lang="fr-FR" sz="1600" cap="all" dirty="0"/>
              <a:t>Schéma cible outil SI</a:t>
            </a:r>
          </a:p>
        </p:txBody>
      </p:sp>
      <p:sp>
        <p:nvSpPr>
          <p:cNvPr id="42" name="Espace réservé du texte 3"/>
          <p:cNvSpPr txBox="1">
            <a:spLocks/>
          </p:cNvSpPr>
          <p:nvPr/>
        </p:nvSpPr>
        <p:spPr>
          <a:xfrm>
            <a:off x="142783" y="978060"/>
            <a:ext cx="8423275" cy="161925"/>
          </a:xfrm>
          <a:prstGeom prst="rect">
            <a:avLst/>
          </a:prstGeom>
        </p:spPr>
        <p:txBody>
          <a:bodyPr/>
          <a:lstStyle>
            <a:lvl1pPr marL="257168" indent="-257168" algn="l" rtl="0" eaLnBrk="1" fontAlgn="base" hangingPunct="1">
              <a:spcBef>
                <a:spcPct val="35000"/>
              </a:spcBef>
              <a:spcAft>
                <a:spcPct val="0"/>
              </a:spcAft>
              <a:buClr>
                <a:srgbClr val="F7B100"/>
              </a:buClr>
              <a:buFont typeface="Wingdings" pitchFamily="2" charset="2"/>
              <a:buChar char="§"/>
              <a:defRPr sz="1500" b="1">
                <a:solidFill>
                  <a:schemeClr val="tx1"/>
                </a:solidFill>
                <a:latin typeface="+mn-lt"/>
                <a:ea typeface="+mn-ea"/>
                <a:cs typeface="+mn-cs"/>
              </a:defRPr>
            </a:lvl1pPr>
            <a:lvl2pPr marL="557199" indent="-214308" algn="l" rtl="0" eaLnBrk="1" fontAlgn="base" hangingPunct="1">
              <a:spcBef>
                <a:spcPct val="30000"/>
              </a:spcBef>
              <a:spcAft>
                <a:spcPct val="0"/>
              </a:spcAft>
              <a:buClr>
                <a:srgbClr val="F7B100"/>
              </a:buClr>
              <a:buFont typeface="Wingdings" pitchFamily="2" charset="2"/>
              <a:buChar char="§"/>
              <a:defRPr sz="1200">
                <a:solidFill>
                  <a:schemeClr val="tx1"/>
                </a:solidFill>
                <a:latin typeface="+mn-lt"/>
                <a:ea typeface="+mn-ea"/>
              </a:defRPr>
            </a:lvl2pPr>
            <a:lvl3pPr marL="857229" indent="-171446" algn="l" rtl="0" eaLnBrk="1" fontAlgn="base" hangingPunct="1">
              <a:spcBef>
                <a:spcPct val="35000"/>
              </a:spcBef>
              <a:spcAft>
                <a:spcPct val="0"/>
              </a:spcAft>
              <a:buFont typeface="Wingdings" pitchFamily="2" charset="2"/>
              <a:buChar char="§"/>
              <a:defRPr sz="1100">
                <a:solidFill>
                  <a:schemeClr val="tx1"/>
                </a:solidFill>
                <a:latin typeface="+mn-lt"/>
                <a:ea typeface="+mn-ea"/>
              </a:defRPr>
            </a:lvl3pPr>
            <a:lvl4pPr marL="1200121" indent="-171446" algn="l" rtl="0" eaLnBrk="1" fontAlgn="base" hangingPunct="1">
              <a:spcBef>
                <a:spcPct val="40000"/>
              </a:spcBef>
              <a:spcAft>
                <a:spcPct val="0"/>
              </a:spcAft>
              <a:buFont typeface="Wingdings" pitchFamily="2" charset="2"/>
              <a:buChar char="§"/>
              <a:defRPr sz="800">
                <a:solidFill>
                  <a:schemeClr val="tx1"/>
                </a:solidFill>
                <a:latin typeface="+mn-lt"/>
                <a:ea typeface="+mn-ea"/>
              </a:defRPr>
            </a:lvl4pPr>
            <a:lvl5pPr marL="1543012" indent="-171446" algn="l" rtl="0" eaLnBrk="1" fontAlgn="base" hangingPunct="1">
              <a:spcBef>
                <a:spcPct val="20000"/>
              </a:spcBef>
              <a:spcAft>
                <a:spcPct val="0"/>
              </a:spcAft>
              <a:buChar char="»"/>
              <a:defRPr sz="800">
                <a:solidFill>
                  <a:schemeClr val="tx1"/>
                </a:solidFill>
                <a:latin typeface="+mn-lt"/>
                <a:ea typeface="+mn-ea"/>
              </a:defRPr>
            </a:lvl5pPr>
            <a:lvl6pPr marL="1885904" indent="-171446" algn="l" rtl="0" eaLnBrk="1" fontAlgn="base" hangingPunct="1">
              <a:spcBef>
                <a:spcPct val="20000"/>
              </a:spcBef>
              <a:spcAft>
                <a:spcPct val="0"/>
              </a:spcAft>
              <a:buChar char="»"/>
              <a:defRPr sz="800">
                <a:solidFill>
                  <a:schemeClr val="tx1"/>
                </a:solidFill>
                <a:latin typeface="+mn-lt"/>
                <a:ea typeface="+mn-ea"/>
              </a:defRPr>
            </a:lvl6pPr>
            <a:lvl7pPr marL="2228795" indent="-171446" algn="l" rtl="0" eaLnBrk="1" fontAlgn="base" hangingPunct="1">
              <a:spcBef>
                <a:spcPct val="20000"/>
              </a:spcBef>
              <a:spcAft>
                <a:spcPct val="0"/>
              </a:spcAft>
              <a:buChar char="»"/>
              <a:defRPr sz="800">
                <a:solidFill>
                  <a:schemeClr val="tx1"/>
                </a:solidFill>
                <a:latin typeface="+mn-lt"/>
                <a:ea typeface="+mn-ea"/>
              </a:defRPr>
            </a:lvl7pPr>
            <a:lvl8pPr marL="2571686" indent="-171446" algn="l" rtl="0" eaLnBrk="1" fontAlgn="base" hangingPunct="1">
              <a:spcBef>
                <a:spcPct val="20000"/>
              </a:spcBef>
              <a:spcAft>
                <a:spcPct val="0"/>
              </a:spcAft>
              <a:buChar char="»"/>
              <a:defRPr sz="800">
                <a:solidFill>
                  <a:schemeClr val="tx1"/>
                </a:solidFill>
                <a:latin typeface="+mn-lt"/>
                <a:ea typeface="+mn-ea"/>
              </a:defRPr>
            </a:lvl8pPr>
            <a:lvl9pPr marL="2914578" indent="-171446" algn="l" rtl="0" eaLnBrk="1" fontAlgn="base" hangingPunct="1">
              <a:spcBef>
                <a:spcPct val="20000"/>
              </a:spcBef>
              <a:spcAft>
                <a:spcPct val="0"/>
              </a:spcAft>
              <a:buChar char="»"/>
              <a:defRPr sz="800">
                <a:solidFill>
                  <a:schemeClr val="tx1"/>
                </a:solidFill>
                <a:latin typeface="+mn-lt"/>
                <a:ea typeface="+mn-ea"/>
              </a:defRPr>
            </a:lvl9pPr>
          </a:lstStyle>
          <a:p>
            <a:pPr marL="0" indent="0">
              <a:buNone/>
            </a:pPr>
            <a:r>
              <a:rPr lang="fr-FR" sz="1200" dirty="0">
                <a:solidFill>
                  <a:schemeClr val="accent1"/>
                </a:solidFill>
                <a:latin typeface="+mj-lt"/>
              </a:rPr>
              <a:t>Annexes</a:t>
            </a:r>
          </a:p>
        </p:txBody>
      </p:sp>
      <p:sp>
        <p:nvSpPr>
          <p:cNvPr id="36" name="Flèche : droite 19"/>
          <p:cNvSpPr/>
          <p:nvPr/>
        </p:nvSpPr>
        <p:spPr>
          <a:xfrm>
            <a:off x="6800991" y="4345938"/>
            <a:ext cx="765493" cy="249381"/>
          </a:xfrm>
          <a:prstGeom prst="rightArrow">
            <a:avLst/>
          </a:prstGeom>
          <a:solidFill>
            <a:schemeClr val="bg1"/>
          </a:solidFill>
          <a:ln w="19050">
            <a:solidFill>
              <a:srgbClr val="FC950C"/>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r>
              <a:rPr lang="fr-FR" sz="900" dirty="0"/>
              <a:t>Records</a:t>
            </a:r>
          </a:p>
        </p:txBody>
      </p:sp>
      <p:pic>
        <p:nvPicPr>
          <p:cNvPr id="43" name="Imag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25576" y="3874947"/>
            <a:ext cx="1222510" cy="1100988"/>
          </a:xfrm>
          <a:prstGeom prst="rect">
            <a:avLst/>
          </a:prstGeom>
        </p:spPr>
      </p:pic>
      <p:sp>
        <p:nvSpPr>
          <p:cNvPr id="45" name="ZoneTexte 44"/>
          <p:cNvSpPr txBox="1"/>
          <p:nvPr/>
        </p:nvSpPr>
        <p:spPr>
          <a:xfrm>
            <a:off x="7131041" y="5020090"/>
            <a:ext cx="1965814" cy="230832"/>
          </a:xfrm>
          <a:prstGeom prst="rect">
            <a:avLst/>
          </a:prstGeom>
          <a:noFill/>
        </p:spPr>
        <p:txBody>
          <a:bodyPr wrap="square" rtlCol="0">
            <a:spAutoFit/>
          </a:bodyPr>
          <a:lstStyle/>
          <a:p>
            <a:r>
              <a:rPr lang="fr-FR" sz="900" dirty="0" err="1"/>
              <a:t>Legal</a:t>
            </a:r>
            <a:r>
              <a:rPr lang="fr-FR" sz="900" dirty="0"/>
              <a:t> – </a:t>
            </a:r>
            <a:r>
              <a:rPr lang="fr-FR" sz="900" dirty="0" err="1"/>
              <a:t>Knowledge</a:t>
            </a:r>
            <a:r>
              <a:rPr lang="fr-FR" sz="900" dirty="0"/>
              <a:t> Management</a:t>
            </a:r>
          </a:p>
        </p:txBody>
      </p:sp>
      <p:sp>
        <p:nvSpPr>
          <p:cNvPr id="18" name="ZoneTexte 17"/>
          <p:cNvSpPr txBox="1"/>
          <p:nvPr/>
        </p:nvSpPr>
        <p:spPr>
          <a:xfrm>
            <a:off x="1290552" y="5400067"/>
            <a:ext cx="2260045" cy="243192"/>
          </a:xfrm>
          <a:prstGeom prst="rect">
            <a:avLst/>
          </a:prstGeom>
          <a:noFill/>
        </p:spPr>
        <p:txBody>
          <a:bodyPr wrap="square" lIns="0" tIns="0" rIns="0" bIns="0" rtlCol="0">
            <a:noAutofit/>
          </a:bodyPr>
          <a:lstStyle/>
          <a:p>
            <a:endParaRPr lang="fr-FR" sz="1600" dirty="0" err="1"/>
          </a:p>
        </p:txBody>
      </p:sp>
      <p:sp>
        <p:nvSpPr>
          <p:cNvPr id="46" name="Rectangle 45"/>
          <p:cNvSpPr/>
          <p:nvPr/>
        </p:nvSpPr>
        <p:spPr>
          <a:xfrm>
            <a:off x="3638194" y="2825114"/>
            <a:ext cx="1497875" cy="525452"/>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sz="900" dirty="0">
              <a:solidFill>
                <a:schemeClr val="tx1"/>
              </a:solidFill>
            </a:endParaRPr>
          </a:p>
        </p:txBody>
      </p:sp>
      <p:sp>
        <p:nvSpPr>
          <p:cNvPr id="47" name="Rectangle 46"/>
          <p:cNvSpPr/>
          <p:nvPr/>
        </p:nvSpPr>
        <p:spPr>
          <a:xfrm>
            <a:off x="3695689" y="2762705"/>
            <a:ext cx="1485817" cy="521796"/>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fr-FR" sz="900" dirty="0">
              <a:solidFill>
                <a:schemeClr val="tx1"/>
              </a:solidFill>
            </a:endParaRPr>
          </a:p>
        </p:txBody>
      </p:sp>
      <p:sp>
        <p:nvSpPr>
          <p:cNvPr id="48" name="Rectangle 47"/>
          <p:cNvSpPr/>
          <p:nvPr/>
        </p:nvSpPr>
        <p:spPr>
          <a:xfrm>
            <a:off x="3752808" y="2676062"/>
            <a:ext cx="1478601" cy="533460"/>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fr-FR" sz="900">
                <a:solidFill>
                  <a:schemeClr val="tx1"/>
                </a:solidFill>
              </a:rPr>
              <a:t>GED SharePoint</a:t>
            </a:r>
            <a:endParaRPr lang="fr-FR" sz="900" dirty="0">
              <a:solidFill>
                <a:schemeClr val="tx1"/>
              </a:solidFill>
            </a:endParaRPr>
          </a:p>
        </p:txBody>
      </p:sp>
      <p:sp>
        <p:nvSpPr>
          <p:cNvPr id="14" name="Flèche : double flèche horizontale 13"/>
          <p:cNvSpPr/>
          <p:nvPr/>
        </p:nvSpPr>
        <p:spPr>
          <a:xfrm>
            <a:off x="5181505" y="2670644"/>
            <a:ext cx="1111828" cy="560070"/>
          </a:xfrm>
          <a:prstGeom prst="leftRightArrow">
            <a:avLst/>
          </a:prstGeom>
          <a:solidFill>
            <a:schemeClr val="bg1"/>
          </a:solidFill>
          <a:ln w="19050">
            <a:solidFill>
              <a:srgbClr val="FC950C"/>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r>
              <a:rPr lang="fr-FR" sz="900" dirty="0"/>
              <a:t>Records</a:t>
            </a:r>
          </a:p>
        </p:txBody>
      </p:sp>
      <p:sp>
        <p:nvSpPr>
          <p:cNvPr id="6" name="Flèche : double flèche horizontale 5"/>
          <p:cNvSpPr/>
          <p:nvPr/>
        </p:nvSpPr>
        <p:spPr>
          <a:xfrm>
            <a:off x="2202800" y="2557971"/>
            <a:ext cx="1492888" cy="867276"/>
          </a:xfrm>
          <a:prstGeom prst="leftRightArrow">
            <a:avLst/>
          </a:prstGeom>
          <a:solidFill>
            <a:schemeClr val="bg1"/>
          </a:solidFill>
          <a:ln w="19050">
            <a:solidFill>
              <a:srgbClr val="FC950C"/>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pPr algn="ctr"/>
            <a:r>
              <a:rPr lang="fr-FR" sz="900" dirty="0"/>
              <a:t>Documents</a:t>
            </a:r>
          </a:p>
        </p:txBody>
      </p:sp>
    </p:spTree>
    <p:extLst>
      <p:ext uri="{BB962C8B-B14F-4D97-AF65-F5344CB8AC3E}">
        <p14:creationId xmlns:p14="http://schemas.microsoft.com/office/powerpoint/2010/main" val="16879951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55576" y="3789040"/>
            <a:ext cx="8229600" cy="1143000"/>
          </a:xfrm>
        </p:spPr>
        <p:txBody>
          <a:bodyPr>
            <a:noAutofit/>
          </a:bodyPr>
          <a:lstStyle/>
          <a:p>
            <a:r>
              <a:rPr lang="fr-FR" sz="2800" dirty="0"/>
              <a:t>Atelier de Renault</a:t>
            </a:r>
            <a:br>
              <a:rPr lang="fr-FR" sz="2800" dirty="0"/>
            </a:br>
            <a:r>
              <a:rPr lang="fr-FR" sz="2800" dirty="0"/>
              <a:t>Eléments d’introduction </a:t>
            </a:r>
            <a:br>
              <a:rPr lang="fr-FR" sz="2800" dirty="0"/>
            </a:br>
            <a:r>
              <a:rPr lang="fr-FR" sz="2800" dirty="0"/>
              <a:t>Remise du dossier baromètre (slides)</a:t>
            </a:r>
            <a:br>
              <a:rPr lang="fr-FR" sz="2800" dirty="0"/>
            </a:br>
            <a:r>
              <a:rPr lang="fr-FR" sz="2800" dirty="0"/>
              <a:t/>
            </a:r>
            <a:br>
              <a:rPr lang="fr-FR" sz="2800" dirty="0"/>
            </a:br>
            <a:r>
              <a:rPr lang="fr-FR" sz="2800" dirty="0"/>
              <a:t/>
            </a:r>
            <a:br>
              <a:rPr lang="fr-FR" sz="2800" dirty="0"/>
            </a:br>
            <a:r>
              <a:rPr lang="fr-FR" sz="2800" dirty="0"/>
              <a:t>Bruno Lalande – Hervé Mahé – Nathalie Morand Khalifa</a:t>
            </a:r>
            <a:br>
              <a:rPr lang="fr-FR" sz="2800" dirty="0"/>
            </a:br>
            <a:r>
              <a:rPr lang="fr-FR" sz="2800" dirty="0"/>
              <a:t/>
            </a:r>
            <a:br>
              <a:rPr lang="fr-FR" sz="2800" dirty="0"/>
            </a:br>
            <a:r>
              <a:rPr lang="fr-FR" sz="2800" dirty="0"/>
              <a:t/>
            </a:r>
            <a:br>
              <a:rPr lang="fr-FR" sz="2800" dirty="0"/>
            </a:br>
            <a:endParaRPr lang="fr-FR" sz="2800" dirty="0"/>
          </a:p>
        </p:txBody>
      </p:sp>
      <p:sp>
        <p:nvSpPr>
          <p:cNvPr id="5" name="Espace réservé du numéro de diapositive 4"/>
          <p:cNvSpPr>
            <a:spLocks noGrp="1"/>
          </p:cNvSpPr>
          <p:nvPr>
            <p:ph type="sldNum" sz="quarter" idx="12"/>
          </p:nvPr>
        </p:nvSpPr>
        <p:spPr/>
        <p:txBody>
          <a:bodyPr/>
          <a:lstStyle/>
          <a:p>
            <a:fld id="{FCE514DE-E9F9-4E23-84E5-45B810FC164B}" type="slidenum">
              <a:rPr lang="fr-FR" smtClean="0"/>
              <a:pPr/>
              <a:t>22</a:t>
            </a:fld>
            <a:endParaRPr lang="fr-FR"/>
          </a:p>
        </p:txBody>
      </p:sp>
      <p:sp>
        <p:nvSpPr>
          <p:cNvPr id="6" name="Rectangle 5"/>
          <p:cNvSpPr/>
          <p:nvPr/>
        </p:nvSpPr>
        <p:spPr>
          <a:xfrm>
            <a:off x="323528" y="305178"/>
            <a:ext cx="6048672" cy="182767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b="1" dirty="0"/>
          </a:p>
          <a:p>
            <a:pPr algn="ctr"/>
            <a:r>
              <a:rPr lang="fr-FR" sz="2000" b="1" dirty="0"/>
              <a:t>Présentation baromètre de l’archivage managérial 2016</a:t>
            </a:r>
          </a:p>
          <a:p>
            <a:endParaRPr lang="fr-FR" sz="2000" b="1" dirty="0">
              <a:solidFill>
                <a:schemeClr val="bg1"/>
              </a:solidFill>
            </a:endParaRPr>
          </a:p>
          <a:p>
            <a:r>
              <a:rPr lang="fr-FR" sz="2000" b="1" u="sng" dirty="0">
                <a:solidFill>
                  <a:schemeClr val="bg1"/>
                </a:solidFill>
              </a:rPr>
              <a:t>Objectif </a:t>
            </a:r>
            <a:r>
              <a:rPr lang="fr-FR" sz="2000" b="1" dirty="0">
                <a:solidFill>
                  <a:schemeClr val="bg1"/>
                </a:solidFill>
              </a:rPr>
              <a:t>: </a:t>
            </a:r>
            <a:r>
              <a:rPr lang="fr-FR" sz="2000" b="1" i="1" dirty="0">
                <a:solidFill>
                  <a:schemeClr val="bg1"/>
                </a:solidFill>
              </a:rPr>
              <a:t>prendre le temps de la réflexion sur les </a:t>
            </a:r>
            <a:r>
              <a:rPr lang="fr-FR" sz="2000" b="1" i="1" dirty="0" err="1">
                <a:solidFill>
                  <a:schemeClr val="bg1"/>
                </a:solidFill>
              </a:rPr>
              <a:t>évetuelles</a:t>
            </a:r>
            <a:r>
              <a:rPr lang="fr-FR" sz="2000" b="1" i="1" dirty="0">
                <a:solidFill>
                  <a:schemeClr val="bg1"/>
                </a:solidFill>
              </a:rPr>
              <a:t> évolutions à apporter aux questionnaires constituant le </a:t>
            </a:r>
            <a:r>
              <a:rPr lang="fr-FR" sz="2000" b="1" i="1" dirty="0" err="1">
                <a:solidFill>
                  <a:schemeClr val="bg1"/>
                </a:solidFill>
              </a:rPr>
              <a:t>barométre</a:t>
            </a:r>
            <a:r>
              <a:rPr lang="fr-FR" sz="2000" b="1" i="1" dirty="0">
                <a:solidFill>
                  <a:schemeClr val="bg1"/>
                </a:solidFill>
              </a:rPr>
              <a:t> social ?</a:t>
            </a:r>
            <a:endParaRPr lang="fr-FR" sz="2000" i="1" dirty="0">
              <a:solidFill>
                <a:schemeClr val="bg1"/>
              </a:solidFill>
            </a:endParaRPr>
          </a:p>
          <a:p>
            <a:pPr algn="ctr"/>
            <a:endParaRPr lang="fr-FR" sz="2000" dirty="0"/>
          </a:p>
          <a:p>
            <a:pPr algn="ctr"/>
            <a:endParaRPr lang="fr-FR" sz="2000" b="1" dirty="0">
              <a:solidFill>
                <a:schemeClr val="tx1"/>
              </a:solidFill>
            </a:endParaRPr>
          </a:p>
        </p:txBody>
      </p:sp>
    </p:spTree>
    <p:extLst>
      <p:ext uri="{BB962C8B-B14F-4D97-AF65-F5344CB8AC3E}">
        <p14:creationId xmlns:p14="http://schemas.microsoft.com/office/powerpoint/2010/main" val="496652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2000" dirty="0"/>
              <a:t>Synthèse travail de l’atelier</a:t>
            </a:r>
            <a:br>
              <a:rPr lang="fr-FR" sz="2000" dirty="0"/>
            </a:br>
            <a:r>
              <a:rPr lang="fr-FR" sz="2000" dirty="0"/>
              <a:t>les points clefs à retenir</a:t>
            </a:r>
          </a:p>
        </p:txBody>
      </p:sp>
      <p:sp>
        <p:nvSpPr>
          <p:cNvPr id="5" name="Espace réservé du numéro de diapositive 4"/>
          <p:cNvSpPr>
            <a:spLocks noGrp="1"/>
          </p:cNvSpPr>
          <p:nvPr>
            <p:ph type="sldNum" sz="quarter" idx="12"/>
          </p:nvPr>
        </p:nvSpPr>
        <p:spPr/>
        <p:txBody>
          <a:bodyPr/>
          <a:lstStyle/>
          <a:p>
            <a:fld id="{FCE514DE-E9F9-4E23-84E5-45B810FC164B}" type="slidenum">
              <a:rPr lang="fr-FR" smtClean="0"/>
              <a:pPr/>
              <a:t>23</a:t>
            </a:fld>
            <a:endParaRPr lang="fr-FR"/>
          </a:p>
        </p:txBody>
      </p:sp>
      <p:sp>
        <p:nvSpPr>
          <p:cNvPr id="6" name="Espace réservé du contenu 5"/>
          <p:cNvSpPr>
            <a:spLocks noGrp="1"/>
          </p:cNvSpPr>
          <p:nvPr>
            <p:ph idx="1"/>
          </p:nvPr>
        </p:nvSpPr>
        <p:spPr>
          <a:xfrm>
            <a:off x="457200" y="1268761"/>
            <a:ext cx="8448293" cy="4875672"/>
          </a:xfrm>
        </p:spPr>
        <p:txBody>
          <a:bodyPr>
            <a:normAutofit/>
          </a:bodyPr>
          <a:lstStyle/>
          <a:p>
            <a:endParaRPr lang="fr-FR" dirty="0"/>
          </a:p>
          <a:p>
            <a:endParaRPr lang="fr-FR" dirty="0"/>
          </a:p>
          <a:p>
            <a:endParaRPr lang="fr-FR" dirty="0"/>
          </a:p>
          <a:p>
            <a:pPr lvl="1"/>
            <a:endParaRPr lang="fr-FR" dirty="0"/>
          </a:p>
        </p:txBody>
      </p:sp>
      <p:sp>
        <p:nvSpPr>
          <p:cNvPr id="7" name="Espace réservé du pied de page 4"/>
          <p:cNvSpPr>
            <a:spLocks noGrp="1"/>
          </p:cNvSpPr>
          <p:nvPr>
            <p:ph type="ftr" sz="quarter" idx="11"/>
          </p:nvPr>
        </p:nvSpPr>
        <p:spPr>
          <a:xfrm>
            <a:off x="1104729" y="6296830"/>
            <a:ext cx="7067128" cy="484163"/>
          </a:xfrm>
        </p:spPr>
        <p:txBody>
          <a:bodyPr/>
          <a:lstStyle/>
          <a:p>
            <a:pPr algn="ctr"/>
            <a:r>
              <a:rPr lang="fr-FR" sz="1100" dirty="0">
                <a:solidFill>
                  <a:prstClr val="black"/>
                </a:solidFill>
              </a:rPr>
              <a:t>CR2PA – Atelier 17 </a:t>
            </a:r>
            <a:r>
              <a:rPr lang="fr-FR" sz="1100" dirty="0"/>
              <a:t>du 22 juin 2017 </a:t>
            </a:r>
            <a:r>
              <a:rPr lang="fr-FR" sz="1100" dirty="0">
                <a:solidFill>
                  <a:prstClr val="black"/>
                </a:solidFill>
              </a:rPr>
              <a:t>Bruno Lalande – Hervé Mahe – Nathalie Morand Khalifa</a:t>
            </a:r>
          </a:p>
        </p:txBody>
      </p:sp>
      <p:sp>
        <p:nvSpPr>
          <p:cNvPr id="3" name="ZoneTexte 2">
            <a:extLst>
              <a:ext uri="{FF2B5EF4-FFF2-40B4-BE49-F238E27FC236}">
                <a16:creationId xmlns:a16="http://schemas.microsoft.com/office/drawing/2014/main" xmlns="" id="{428F5FC3-E303-43BF-A9A9-D4F99B1367A3}"/>
              </a:ext>
            </a:extLst>
          </p:cNvPr>
          <p:cNvSpPr txBox="1"/>
          <p:nvPr/>
        </p:nvSpPr>
        <p:spPr>
          <a:xfrm>
            <a:off x="849761" y="1268761"/>
            <a:ext cx="7344273" cy="5078313"/>
          </a:xfrm>
          <a:prstGeom prst="rect">
            <a:avLst/>
          </a:prstGeom>
          <a:noFill/>
        </p:spPr>
        <p:txBody>
          <a:bodyPr wrap="square" rtlCol="0">
            <a:spAutoFit/>
          </a:bodyPr>
          <a:lstStyle/>
          <a:p>
            <a:pPr marL="285750" indent="-285750">
              <a:buFont typeface="Arial" panose="020B0604020202020204" pitchFamily="34" charset="0"/>
              <a:buChar char="•"/>
            </a:pPr>
            <a:r>
              <a:rPr lang="fr-FR" dirty="0"/>
              <a:t>Travail en 3 sous-groupes sur les chapitres du questionnaire avec animation par les pilotes du baromètre social.</a:t>
            </a:r>
          </a:p>
          <a:p>
            <a:pPr marL="285750" indent="-285750">
              <a:buFont typeface="Arial" panose="020B0604020202020204" pitchFamily="34" charset="0"/>
              <a:buChar char="•"/>
            </a:pPr>
            <a:r>
              <a:rPr lang="fr-FR" dirty="0"/>
              <a:t>Diffusion / communication : faire un appel général à tous les types d’organismes</a:t>
            </a:r>
          </a:p>
          <a:p>
            <a:pPr marL="285750" indent="-285750">
              <a:buFont typeface="Arial" panose="020B0604020202020204" pitchFamily="34" charset="0"/>
              <a:buChar char="•"/>
            </a:pPr>
            <a:r>
              <a:rPr lang="fr-FR" dirty="0"/>
              <a:t>Projet d’archivage : </a:t>
            </a:r>
          </a:p>
          <a:p>
            <a:pPr marL="742950" lvl="1" indent="-285750">
              <a:buFont typeface="Arial" panose="020B0604020202020204" pitchFamily="34" charset="0"/>
              <a:buChar char="•"/>
            </a:pPr>
            <a:r>
              <a:rPr lang="fr-FR" dirty="0"/>
              <a:t>Pour que les entreprises qui ne sont plus au stade du projet se sentent concernées, il faudrait parler de « processus » ou « démarche » d’archivage</a:t>
            </a:r>
          </a:p>
          <a:p>
            <a:pPr marL="742950" lvl="1" indent="-285750">
              <a:buFont typeface="Arial" panose="020B0604020202020204" pitchFamily="34" charset="0"/>
              <a:buChar char="•"/>
            </a:pPr>
            <a:r>
              <a:rPr lang="fr-FR" dirty="0"/>
              <a:t>Compléter la liste des acteurs</a:t>
            </a:r>
          </a:p>
          <a:p>
            <a:pPr marL="285750" indent="-285750">
              <a:buFont typeface="Arial" panose="020B0604020202020204" pitchFamily="34" charset="0"/>
              <a:buChar char="•"/>
            </a:pPr>
            <a:r>
              <a:rPr lang="fr-FR" dirty="0"/>
              <a:t>Politique d’archivage : révision de la question sur les moyens de communication</a:t>
            </a:r>
          </a:p>
          <a:p>
            <a:pPr marL="285750" indent="-285750">
              <a:buFont typeface="Arial" panose="020B0604020202020204" pitchFamily="34" charset="0"/>
              <a:buChar char="•"/>
            </a:pPr>
            <a:r>
              <a:rPr lang="fr-FR" dirty="0"/>
              <a:t>Couverture de la politique :</a:t>
            </a:r>
          </a:p>
          <a:p>
            <a:pPr marL="742950" lvl="1" indent="-285750">
              <a:buFont typeface="Arial" panose="020B0604020202020204" pitchFamily="34" charset="0"/>
              <a:buChar char="•"/>
            </a:pPr>
            <a:r>
              <a:rPr lang="fr-FR" dirty="0"/>
              <a:t>Compléter et préciser les catégories</a:t>
            </a:r>
          </a:p>
          <a:p>
            <a:pPr marL="742950" lvl="1" indent="-285750">
              <a:buFont typeface="Arial" panose="020B0604020202020204" pitchFamily="34" charset="0"/>
              <a:buChar char="•"/>
            </a:pPr>
            <a:r>
              <a:rPr lang="fr-FR" dirty="0"/>
              <a:t>Faire référence aux « tableaux de gestion »</a:t>
            </a:r>
          </a:p>
          <a:p>
            <a:pPr marL="742950" lvl="1" indent="-285750">
              <a:buFont typeface="Arial" panose="020B0604020202020204" pitchFamily="34" charset="0"/>
              <a:buChar char="•"/>
            </a:pPr>
            <a:r>
              <a:rPr lang="fr-FR" dirty="0"/>
              <a:t>Compléter les normes par une référence au R2GA</a:t>
            </a:r>
          </a:p>
          <a:p>
            <a:pPr marL="285750" indent="-285750">
              <a:buFont typeface="Arial" panose="020B0604020202020204" pitchFamily="34" charset="0"/>
              <a:buChar char="•"/>
            </a:pPr>
            <a:r>
              <a:rPr lang="fr-FR" dirty="0"/>
              <a:t>Outils : Compléter et préciser les catégories</a:t>
            </a:r>
          </a:p>
          <a:p>
            <a:pPr marL="285750" indent="-285750">
              <a:buFont typeface="Arial" panose="020B0604020202020204" pitchFamily="34" charset="0"/>
              <a:buChar char="•"/>
            </a:pPr>
            <a:r>
              <a:rPr lang="fr-FR" dirty="0"/>
              <a:t>La version révisée du baromètre sera soumise au bureau du CR2PA et lancée en enquête au 4</a:t>
            </a:r>
            <a:r>
              <a:rPr lang="fr-FR" baseline="30000" dirty="0"/>
              <a:t>ème</a:t>
            </a:r>
            <a:r>
              <a:rPr lang="fr-FR" dirty="0"/>
              <a:t> trimestre 2017</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idx="1"/>
          </p:nvPr>
        </p:nvSpPr>
        <p:spPr>
          <a:xfrm>
            <a:off x="2219738" y="332656"/>
            <a:ext cx="6912768" cy="5400600"/>
          </a:xfrm>
        </p:spPr>
        <p:txBody>
          <a:bodyPr>
            <a:noAutofit/>
          </a:bodyPr>
          <a:lstStyle/>
          <a:p>
            <a:pPr marL="0" indent="0">
              <a:buNone/>
            </a:pPr>
            <a:r>
              <a:rPr lang="fr-FR" sz="1600" b="1" dirty="0">
                <a:solidFill>
                  <a:schemeClr val="tx1">
                    <a:lumMod val="50000"/>
                    <a:lumOff val="50000"/>
                  </a:schemeClr>
                </a:solidFill>
              </a:rPr>
              <a:t>THEMATIQUES ATELIERS (RAPPEL)</a:t>
            </a:r>
          </a:p>
          <a:p>
            <a:pPr marL="0" indent="0">
              <a:buNone/>
            </a:pPr>
            <a:r>
              <a:rPr lang="fr-FR" sz="1600" dirty="0"/>
              <a:t> </a:t>
            </a:r>
            <a:endParaRPr lang="fr-FR" sz="1600" dirty="0">
              <a:solidFill>
                <a:srgbClr val="FF0000"/>
              </a:solidFill>
            </a:endParaRPr>
          </a:p>
          <a:p>
            <a:r>
              <a:rPr lang="fr-FR" sz="1600" dirty="0"/>
              <a:t>Valeur probatoire des procédures versus coffre forts</a:t>
            </a:r>
          </a:p>
          <a:p>
            <a:pPr lvl="1"/>
            <a:r>
              <a:rPr lang="fr-FR" sz="1200" dirty="0"/>
              <a:t>Ex : Dans un établissement public un agent comptable demande La signature de tous Les documents et doit ensuite Les conserver pour des raisons réglementaires dans un coffre- fort.</a:t>
            </a:r>
          </a:p>
          <a:p>
            <a:r>
              <a:rPr lang="fr-FR" sz="1600" dirty="0"/>
              <a:t>Expérience de mise en place d'un outil de SAE / Mise en place d'un SAE</a:t>
            </a:r>
          </a:p>
          <a:p>
            <a:r>
              <a:rPr lang="fr-FR" sz="1600" dirty="0"/>
              <a:t>Comment identifier et conserver les documents originaux</a:t>
            </a:r>
          </a:p>
          <a:p>
            <a:r>
              <a:rPr lang="fr-FR" sz="1600" dirty="0"/>
              <a:t>Gestion des emails / Réflexions sur Les courriels / La notion de mails engageants / Archivage des mails engageants / Archivage des mails Organisation de la traçabilité</a:t>
            </a:r>
          </a:p>
          <a:p>
            <a:r>
              <a:rPr lang="fr-FR" sz="1600" dirty="0"/>
              <a:t>Arriéré papier+ accroissement de L'électronique= ordre à respecter si Les deux sujets sont à traiter</a:t>
            </a:r>
          </a:p>
          <a:p>
            <a:r>
              <a:rPr lang="fr-FR" sz="1600" dirty="0"/>
              <a:t>Durée et nombre d'intervenants sur un projet d'archivage électronique ?</a:t>
            </a:r>
          </a:p>
          <a:p>
            <a:r>
              <a:rPr lang="fr-FR" sz="1600" dirty="0"/>
              <a:t>Démarche de gestion de risque notamment documentaire.  Archivage à valeur probante des informations nativement numériques en interne et en externe.</a:t>
            </a:r>
          </a:p>
          <a:p>
            <a:r>
              <a:rPr lang="fr-FR" sz="1600" dirty="0"/>
              <a:t>Le profil d’un archiviste dans une entreprise, sa lettre de missions…</a:t>
            </a:r>
          </a:p>
          <a:p>
            <a:r>
              <a:rPr lang="fr-FR" sz="1600" dirty="0"/>
              <a:t>La définition de la fonction recherche dans un système d’archivage</a:t>
            </a:r>
          </a:p>
          <a:p>
            <a:r>
              <a:rPr lang="fr-FR" sz="1600" dirty="0"/>
              <a:t>Comment faire vivre un SAE mixte papier numérique?</a:t>
            </a:r>
          </a:p>
          <a:p>
            <a:r>
              <a:rPr lang="fr-FR" sz="1600" dirty="0"/>
              <a:t>Comment archiver des données sur des systèmes externes en SAS et la gestion de la sécurité</a:t>
            </a:r>
          </a:p>
          <a:p>
            <a:endParaRPr lang="fr-FR" sz="1600" dirty="0"/>
          </a:p>
          <a:p>
            <a:endParaRPr lang="fr-FR" sz="1600" dirty="0"/>
          </a:p>
        </p:txBody>
      </p:sp>
      <p:sp>
        <p:nvSpPr>
          <p:cNvPr id="6" name="Espace réservé du numéro de diapositive 5"/>
          <p:cNvSpPr>
            <a:spLocks noGrp="1"/>
          </p:cNvSpPr>
          <p:nvPr>
            <p:ph type="sldNum" sz="quarter" idx="12"/>
          </p:nvPr>
        </p:nvSpPr>
        <p:spPr>
          <a:xfrm>
            <a:off x="6553200" y="6356350"/>
            <a:ext cx="2133600" cy="365125"/>
          </a:xfrm>
        </p:spPr>
        <p:txBody>
          <a:bodyPr/>
          <a:lstStyle/>
          <a:p>
            <a:fld id="{8052084E-5DB1-4820-A270-72CC0B3C4AB6}" type="slidenum">
              <a:rPr lang="fr-FR" smtClean="0"/>
              <a:pPr/>
              <a:t>24</a:t>
            </a:fld>
            <a:endParaRPr lang="fr-FR"/>
          </a:p>
        </p:txBody>
      </p:sp>
      <p:pic>
        <p:nvPicPr>
          <p:cNvPr id="2" name="Image 1"/>
          <p:cNvPicPr>
            <a:picLocks noChangeAspect="1"/>
          </p:cNvPicPr>
          <p:nvPr/>
        </p:nvPicPr>
        <p:blipFill>
          <a:blip r:embed="rId2" cstate="print"/>
          <a:stretch>
            <a:fillRect/>
          </a:stretch>
        </p:blipFill>
        <p:spPr>
          <a:xfrm>
            <a:off x="323528" y="692696"/>
            <a:ext cx="1438781" cy="493819"/>
          </a:xfrm>
          <a:prstGeom prst="rect">
            <a:avLst/>
          </a:prstGeom>
        </p:spPr>
      </p:pic>
    </p:spTree>
    <p:extLst>
      <p:ext uri="{BB962C8B-B14F-4D97-AF65-F5344CB8AC3E}">
        <p14:creationId xmlns:p14="http://schemas.microsoft.com/office/powerpoint/2010/main" val="32745234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idx="1"/>
          </p:nvPr>
        </p:nvSpPr>
        <p:spPr>
          <a:xfrm>
            <a:off x="2123728" y="188640"/>
            <a:ext cx="6912768" cy="4525963"/>
          </a:xfrm>
        </p:spPr>
        <p:txBody>
          <a:bodyPr>
            <a:noAutofit/>
          </a:bodyPr>
          <a:lstStyle/>
          <a:p>
            <a:pPr marL="0" indent="0">
              <a:buNone/>
            </a:pPr>
            <a:r>
              <a:rPr lang="fr-FR" sz="1800" b="1" dirty="0">
                <a:solidFill>
                  <a:schemeClr val="tx1">
                    <a:lumMod val="50000"/>
                    <a:lumOff val="50000"/>
                  </a:schemeClr>
                </a:solidFill>
              </a:rPr>
              <a:t>THEMATIQUES ATELIERS (RAPPEL) (suite)</a:t>
            </a:r>
          </a:p>
          <a:p>
            <a:pPr marL="0" indent="0">
              <a:buNone/>
            </a:pPr>
            <a:r>
              <a:rPr lang="fr-FR" sz="1400" dirty="0"/>
              <a:t> </a:t>
            </a:r>
          </a:p>
          <a:p>
            <a:r>
              <a:rPr lang="fr-FR" sz="1500" dirty="0"/>
              <a:t>Tableau de pilotage et indicateurs de base ou générique sur les stocks sur les flux</a:t>
            </a:r>
          </a:p>
          <a:p>
            <a:r>
              <a:rPr lang="fr-FR" sz="1500" dirty="0"/>
              <a:t>Building Information </a:t>
            </a:r>
            <a:r>
              <a:rPr lang="fr-FR" sz="1500" dirty="0" err="1"/>
              <a:t>Modeling</a:t>
            </a:r>
            <a:r>
              <a:rPr lang="fr-FR" sz="1500" dirty="0"/>
              <a:t> (BIM )ou Modélisation des données du bâtiment (MIB) et son archivage (à examiner en terme d’évolution) </a:t>
            </a:r>
          </a:p>
          <a:p>
            <a:r>
              <a:rPr lang="fr-FR" sz="1500" dirty="0"/>
              <a:t>EIDAS </a:t>
            </a:r>
            <a:r>
              <a:rPr lang="fr-FR" sz="1500" dirty="0" err="1"/>
              <a:t>electronic</a:t>
            </a:r>
            <a:r>
              <a:rPr lang="fr-FR" sz="1500" dirty="0"/>
              <a:t> identification and signature :  Le règlement e-IDAS remplace la directive 1999/93/CE sur la signature électronique. Son domaine d’application est cependant plus large et s’étend à l’identification électronique, aux services de confiance, y inclut la signature électronique, le cachet électronique, à l’horodatage électronique, aux services d’envoi recommandé électronique, à l’authentification de site internet et, enfin, aux documents électroniques. </a:t>
            </a:r>
          </a:p>
          <a:p>
            <a:endParaRPr lang="fr-FR" sz="1600" dirty="0">
              <a:solidFill>
                <a:srgbClr val="FF0000"/>
              </a:solidFill>
            </a:endParaRPr>
          </a:p>
          <a:p>
            <a:endParaRPr lang="fr-FR" sz="1600" dirty="0"/>
          </a:p>
        </p:txBody>
      </p:sp>
      <p:sp>
        <p:nvSpPr>
          <p:cNvPr id="6" name="Espace réservé du numéro de diapositive 5"/>
          <p:cNvSpPr>
            <a:spLocks noGrp="1"/>
          </p:cNvSpPr>
          <p:nvPr>
            <p:ph type="sldNum" sz="quarter" idx="12"/>
          </p:nvPr>
        </p:nvSpPr>
        <p:spPr>
          <a:xfrm>
            <a:off x="6553200" y="6356350"/>
            <a:ext cx="2133600" cy="365125"/>
          </a:xfrm>
        </p:spPr>
        <p:txBody>
          <a:bodyPr/>
          <a:lstStyle/>
          <a:p>
            <a:fld id="{8052084E-5DB1-4820-A270-72CC0B3C4AB6}" type="slidenum">
              <a:rPr lang="fr-FR" smtClean="0"/>
              <a:pPr/>
              <a:t>25</a:t>
            </a:fld>
            <a:endParaRPr lang="fr-FR"/>
          </a:p>
        </p:txBody>
      </p:sp>
      <p:pic>
        <p:nvPicPr>
          <p:cNvPr id="2" name="Image 1"/>
          <p:cNvPicPr>
            <a:picLocks noChangeAspect="1"/>
          </p:cNvPicPr>
          <p:nvPr/>
        </p:nvPicPr>
        <p:blipFill>
          <a:blip r:embed="rId2" cstate="print"/>
          <a:stretch>
            <a:fillRect/>
          </a:stretch>
        </p:blipFill>
        <p:spPr>
          <a:xfrm>
            <a:off x="323528" y="692696"/>
            <a:ext cx="1438781" cy="493819"/>
          </a:xfrm>
          <a:prstGeom prst="rect">
            <a:avLst/>
          </a:prstGeom>
        </p:spPr>
      </p:pic>
    </p:spTree>
    <p:extLst>
      <p:ext uri="{BB962C8B-B14F-4D97-AF65-F5344CB8AC3E}">
        <p14:creationId xmlns:p14="http://schemas.microsoft.com/office/powerpoint/2010/main" val="38502943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idx="1"/>
          </p:nvPr>
        </p:nvSpPr>
        <p:spPr>
          <a:xfrm>
            <a:off x="1979712" y="188640"/>
            <a:ext cx="6984776" cy="6532835"/>
          </a:xfrm>
        </p:spPr>
        <p:txBody>
          <a:bodyPr>
            <a:noAutofit/>
          </a:bodyPr>
          <a:lstStyle/>
          <a:p>
            <a:pPr marL="0" indent="0">
              <a:buNone/>
            </a:pPr>
            <a:r>
              <a:rPr lang="fr-FR" sz="1800" b="1" dirty="0">
                <a:solidFill>
                  <a:schemeClr val="tx1">
                    <a:lumMod val="50000"/>
                    <a:lumOff val="50000"/>
                  </a:schemeClr>
                </a:solidFill>
              </a:rPr>
              <a:t>LES PROPOSITIONS D’INTERVENTIONS</a:t>
            </a:r>
          </a:p>
          <a:p>
            <a:pPr marL="0" indent="0">
              <a:buNone/>
            </a:pPr>
            <a:r>
              <a:rPr lang="fr-FR" sz="1400" dirty="0"/>
              <a:t> </a:t>
            </a:r>
          </a:p>
          <a:p>
            <a:pPr>
              <a:buNone/>
            </a:pPr>
            <a:r>
              <a:rPr lang="fr-FR" sz="1400" dirty="0"/>
              <a:t>Florent VINCENT  THALES</a:t>
            </a:r>
          </a:p>
          <a:p>
            <a:pPr lvl="0"/>
            <a:r>
              <a:rPr lang="fr-FR" sz="1400" dirty="0"/>
              <a:t>Outillage ECM SAE RM</a:t>
            </a:r>
          </a:p>
          <a:p>
            <a:pPr lvl="0"/>
            <a:r>
              <a:rPr lang="fr-FR" sz="1400" dirty="0"/>
              <a:t>démarche de mise en place</a:t>
            </a:r>
          </a:p>
          <a:p>
            <a:pPr lvl="0"/>
            <a:r>
              <a:rPr lang="fr-FR" sz="1400" dirty="0"/>
              <a:t>Dématérialisation</a:t>
            </a:r>
          </a:p>
          <a:p>
            <a:pPr>
              <a:buNone/>
            </a:pPr>
            <a:endParaRPr lang="fr-FR" sz="1400" dirty="0"/>
          </a:p>
          <a:p>
            <a:pPr>
              <a:buNone/>
            </a:pPr>
            <a:r>
              <a:rPr lang="fr-FR" sz="1400" dirty="0"/>
              <a:t>Nathalie JUBIN. GDF Suez</a:t>
            </a:r>
          </a:p>
          <a:p>
            <a:pPr lvl="0"/>
            <a:r>
              <a:rPr lang="fr-FR" sz="1400" dirty="0"/>
              <a:t>La mise en place d'un SAE ( une fois son projet terminé en mars 2015)</a:t>
            </a:r>
          </a:p>
          <a:p>
            <a:pPr>
              <a:buNone/>
            </a:pPr>
            <a:endParaRPr lang="fr-FR" sz="1400" dirty="0"/>
          </a:p>
          <a:p>
            <a:pPr>
              <a:buNone/>
            </a:pPr>
            <a:r>
              <a:rPr lang="fr-FR" sz="1400" strike="sngStrike" dirty="0"/>
              <a:t>François DELION BOUYGUES TCM</a:t>
            </a:r>
          </a:p>
          <a:p>
            <a:pPr lvl="0"/>
            <a:r>
              <a:rPr lang="fr-FR" sz="1400" strike="sngStrike" dirty="0"/>
              <a:t>Les exigences liées à l'archivage probant des informations nativement numériques en interne et en externe retenues chez Bouygues TCM </a:t>
            </a:r>
            <a:r>
              <a:rPr lang="fr-FR" sz="1400" strike="sngStrike" dirty="0">
                <a:solidFill>
                  <a:srgbClr val="FF0000"/>
                </a:solidFill>
              </a:rPr>
              <a:t>(courant 2016 lors de l’achèvement de la démarche en cours  au sein de l’entreprise)</a:t>
            </a:r>
          </a:p>
          <a:p>
            <a:pPr>
              <a:buNone/>
            </a:pPr>
            <a:endParaRPr lang="fr-FR" sz="1400" dirty="0"/>
          </a:p>
          <a:p>
            <a:pPr>
              <a:buNone/>
            </a:pPr>
            <a:r>
              <a:rPr lang="fr-FR" sz="1400" dirty="0"/>
              <a:t>Bernard Ouillon RTE</a:t>
            </a:r>
          </a:p>
          <a:p>
            <a:pPr lvl="0"/>
            <a:r>
              <a:rPr lang="fr-FR" sz="1400" dirty="0"/>
              <a:t>Méthodologie expression des besoins</a:t>
            </a:r>
          </a:p>
          <a:p>
            <a:pPr lvl="0"/>
            <a:r>
              <a:rPr lang="fr-FR" sz="1400" dirty="0"/>
              <a:t>Méthodologie étude d’opportunité</a:t>
            </a:r>
          </a:p>
          <a:p>
            <a:pPr lvl="0"/>
            <a:r>
              <a:rPr lang="fr-FR" sz="1400" dirty="0"/>
              <a:t>Méthodologie étude de faisabilité</a:t>
            </a:r>
          </a:p>
          <a:p>
            <a:pPr lvl="0"/>
            <a:r>
              <a:rPr lang="fr-FR" sz="1400" dirty="0"/>
              <a:t>Un projet</a:t>
            </a:r>
          </a:p>
          <a:p>
            <a:pPr lvl="0"/>
            <a:r>
              <a:rPr lang="fr-FR" sz="1400" dirty="0"/>
              <a:t>Analyse de risque</a:t>
            </a:r>
          </a:p>
          <a:p>
            <a:pPr>
              <a:buNone/>
            </a:pPr>
            <a:r>
              <a:rPr lang="fr-FR" sz="1400" dirty="0"/>
              <a:t>….</a:t>
            </a:r>
          </a:p>
        </p:txBody>
      </p:sp>
      <p:sp>
        <p:nvSpPr>
          <p:cNvPr id="6" name="Espace réservé du numéro de diapositive 5"/>
          <p:cNvSpPr>
            <a:spLocks noGrp="1"/>
          </p:cNvSpPr>
          <p:nvPr>
            <p:ph type="sldNum" sz="quarter" idx="12"/>
          </p:nvPr>
        </p:nvSpPr>
        <p:spPr>
          <a:xfrm>
            <a:off x="6553200" y="6356350"/>
            <a:ext cx="2133600" cy="365125"/>
          </a:xfrm>
        </p:spPr>
        <p:txBody>
          <a:bodyPr/>
          <a:lstStyle/>
          <a:p>
            <a:fld id="{8052084E-5DB1-4820-A270-72CC0B3C4AB6}" type="slidenum">
              <a:rPr lang="fr-FR" smtClean="0"/>
              <a:pPr/>
              <a:t>26</a:t>
            </a:fld>
            <a:endParaRPr lang="fr-FR"/>
          </a:p>
        </p:txBody>
      </p:sp>
      <p:pic>
        <p:nvPicPr>
          <p:cNvPr id="2" name="Image 1"/>
          <p:cNvPicPr>
            <a:picLocks noChangeAspect="1"/>
          </p:cNvPicPr>
          <p:nvPr/>
        </p:nvPicPr>
        <p:blipFill>
          <a:blip r:embed="rId2" cstate="print"/>
          <a:stretch>
            <a:fillRect/>
          </a:stretch>
        </p:blipFill>
        <p:spPr>
          <a:xfrm>
            <a:off x="323528" y="692696"/>
            <a:ext cx="1438781" cy="493819"/>
          </a:xfrm>
          <a:prstGeom prst="rect">
            <a:avLst/>
          </a:prstGeom>
        </p:spPr>
      </p:pic>
    </p:spTree>
    <p:extLst>
      <p:ext uri="{BB962C8B-B14F-4D97-AF65-F5344CB8AC3E}">
        <p14:creationId xmlns:p14="http://schemas.microsoft.com/office/powerpoint/2010/main" val="33225086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23493" y="0"/>
            <a:ext cx="8229600" cy="1143000"/>
          </a:xfrm>
        </p:spPr>
        <p:txBody>
          <a:bodyPr/>
          <a:lstStyle/>
          <a:p>
            <a:r>
              <a:rPr lang="fr-FR" dirty="0">
                <a:solidFill>
                  <a:srgbClr val="FF0000"/>
                </a:solidFill>
              </a:rPr>
              <a:t>Propositions de </a:t>
            </a:r>
            <a:r>
              <a:rPr lang="fr-FR" dirty="0" err="1">
                <a:solidFill>
                  <a:srgbClr val="FF0000"/>
                </a:solidFill>
              </a:rPr>
              <a:t>GTs</a:t>
            </a:r>
            <a:endParaRPr lang="fr-FR" dirty="0">
              <a:solidFill>
                <a:srgbClr val="FF0000"/>
              </a:solidFill>
            </a:endParaRPr>
          </a:p>
        </p:txBody>
      </p:sp>
      <p:sp>
        <p:nvSpPr>
          <p:cNvPr id="3" name="Espace réservé du contenu 2"/>
          <p:cNvSpPr>
            <a:spLocks noGrp="1"/>
          </p:cNvSpPr>
          <p:nvPr>
            <p:ph idx="1"/>
          </p:nvPr>
        </p:nvSpPr>
        <p:spPr>
          <a:xfrm>
            <a:off x="294048" y="980728"/>
            <a:ext cx="8229600" cy="1252736"/>
          </a:xfrm>
        </p:spPr>
        <p:txBody>
          <a:bodyPr>
            <a:normAutofit/>
          </a:bodyPr>
          <a:lstStyle/>
          <a:p>
            <a:pPr marL="0" indent="0">
              <a:buNone/>
            </a:pPr>
            <a:r>
              <a:rPr lang="fr-FR" sz="1200" b="1" u="sng" dirty="0">
                <a:solidFill>
                  <a:srgbClr val="FF0000"/>
                </a:solidFill>
              </a:rPr>
              <a:t>GT 1 Cf. atelier de janvier 2016 chez </a:t>
            </a:r>
            <a:r>
              <a:rPr lang="fr-FR" sz="1200" b="1" u="sng" dirty="0" err="1">
                <a:solidFill>
                  <a:srgbClr val="FF0000"/>
                </a:solidFill>
              </a:rPr>
              <a:t>Systra</a:t>
            </a:r>
            <a:endParaRPr lang="fr-FR" sz="1200" b="1" u="sng" dirty="0">
              <a:solidFill>
                <a:srgbClr val="FF0000"/>
              </a:solidFill>
            </a:endParaRPr>
          </a:p>
          <a:p>
            <a:r>
              <a:rPr lang="fr-FR" sz="1200" dirty="0">
                <a:solidFill>
                  <a:srgbClr val="FF0000"/>
                </a:solidFill>
              </a:rPr>
              <a:t>Objectif : Se rapprocher sur les durées de conservation entre CIL et Archivage, </a:t>
            </a:r>
          </a:p>
          <a:p>
            <a:r>
              <a:rPr lang="fr-FR" sz="1200" dirty="0">
                <a:solidFill>
                  <a:srgbClr val="FF0000"/>
                </a:solidFill>
              </a:rPr>
              <a:t>Proposition d’un travail en s’appuyant sur les </a:t>
            </a:r>
            <a:r>
              <a:rPr lang="fr-FR" sz="1200" dirty="0" err="1">
                <a:solidFill>
                  <a:srgbClr val="FF0000"/>
                </a:solidFill>
              </a:rPr>
              <a:t>rex</a:t>
            </a:r>
            <a:r>
              <a:rPr lang="fr-FR" sz="1200" dirty="0">
                <a:solidFill>
                  <a:srgbClr val="FF0000"/>
                </a:solidFill>
              </a:rPr>
              <a:t> de chacune des entreprises du CR2PA avec un travail commun CIL et Archivistes</a:t>
            </a:r>
          </a:p>
          <a:p>
            <a:r>
              <a:rPr lang="fr-FR" sz="1200" dirty="0">
                <a:solidFill>
                  <a:srgbClr val="FF0000"/>
                </a:solidFill>
              </a:rPr>
              <a:t>A valider par le bureau </a:t>
            </a:r>
            <a:r>
              <a:rPr lang="fr-FR" sz="1200" dirty="0" err="1">
                <a:solidFill>
                  <a:srgbClr val="FF0000"/>
                </a:solidFill>
              </a:rPr>
              <a:t>éxécutif</a:t>
            </a:r>
            <a:r>
              <a:rPr lang="fr-FR" sz="1200" dirty="0">
                <a:solidFill>
                  <a:srgbClr val="FF0000"/>
                </a:solidFill>
              </a:rPr>
              <a:t> du CR2PA</a:t>
            </a:r>
          </a:p>
        </p:txBody>
      </p:sp>
      <p:sp>
        <p:nvSpPr>
          <p:cNvPr id="5" name="Espace réservé du numéro de diapositive 4"/>
          <p:cNvSpPr>
            <a:spLocks noGrp="1"/>
          </p:cNvSpPr>
          <p:nvPr>
            <p:ph type="sldNum" sz="quarter" idx="12"/>
          </p:nvPr>
        </p:nvSpPr>
        <p:spPr/>
        <p:txBody>
          <a:bodyPr/>
          <a:lstStyle/>
          <a:p>
            <a:fld id="{FCE514DE-E9F9-4E23-84E5-45B810FC164B}" type="slidenum">
              <a:rPr lang="fr-FR" smtClean="0"/>
              <a:pPr/>
              <a:t>27</a:t>
            </a:fld>
            <a:endParaRPr lang="fr-FR"/>
          </a:p>
        </p:txBody>
      </p:sp>
      <p:sp>
        <p:nvSpPr>
          <p:cNvPr id="4" name="Rectangle 3"/>
          <p:cNvSpPr/>
          <p:nvPr/>
        </p:nvSpPr>
        <p:spPr>
          <a:xfrm>
            <a:off x="245805" y="2182757"/>
            <a:ext cx="8507288" cy="3308598"/>
          </a:xfrm>
          <a:prstGeom prst="rect">
            <a:avLst/>
          </a:prstGeom>
        </p:spPr>
        <p:txBody>
          <a:bodyPr wrap="square">
            <a:spAutoFit/>
          </a:bodyPr>
          <a:lstStyle/>
          <a:p>
            <a:r>
              <a:rPr lang="fr-FR" sz="1100" b="1" u="sng" dirty="0">
                <a:solidFill>
                  <a:schemeClr val="accent1">
                    <a:lumMod val="75000"/>
                  </a:schemeClr>
                </a:solidFill>
              </a:rPr>
              <a:t>GT 2 pour réflexions à mener sur Cf. atelier de février 2016 chez Renault</a:t>
            </a:r>
          </a:p>
          <a:p>
            <a:pPr marL="742950" lvl="1" indent="-285750">
              <a:buFont typeface="Arial" panose="020B0604020202020204" pitchFamily="34" charset="0"/>
              <a:buChar char="•"/>
            </a:pPr>
            <a:r>
              <a:rPr lang="fr-FR" sz="1100" dirty="0">
                <a:solidFill>
                  <a:schemeClr val="accent1">
                    <a:lumMod val="75000"/>
                  </a:schemeClr>
                </a:solidFill>
              </a:rPr>
              <a:t>	plan de classement</a:t>
            </a:r>
          </a:p>
          <a:p>
            <a:pPr marL="742950" lvl="1" indent="-285750">
              <a:buFont typeface="Arial" panose="020B0604020202020204" pitchFamily="34" charset="0"/>
              <a:buChar char="•"/>
            </a:pPr>
            <a:r>
              <a:rPr lang="fr-FR" sz="1100" dirty="0">
                <a:solidFill>
                  <a:schemeClr val="accent1">
                    <a:lumMod val="75000"/>
                  </a:schemeClr>
                </a:solidFill>
              </a:rPr>
              <a:t>	un SAE</a:t>
            </a:r>
          </a:p>
          <a:p>
            <a:pPr marL="1200150" lvl="2" indent="-285750">
              <a:buFont typeface="Arial" panose="020B0604020202020204" pitchFamily="34" charset="0"/>
              <a:buChar char="•"/>
            </a:pPr>
            <a:r>
              <a:rPr lang="fr-FR" sz="1100" dirty="0">
                <a:solidFill>
                  <a:schemeClr val="accent1">
                    <a:lumMod val="75000"/>
                  </a:schemeClr>
                </a:solidFill>
              </a:rPr>
              <a:t>Le système</a:t>
            </a:r>
          </a:p>
          <a:p>
            <a:pPr marL="1200150" lvl="2" indent="-285750">
              <a:buFont typeface="Arial" panose="020B0604020202020204" pitchFamily="34" charset="0"/>
              <a:buChar char="•"/>
            </a:pPr>
            <a:r>
              <a:rPr lang="fr-FR" sz="1100" dirty="0">
                <a:solidFill>
                  <a:schemeClr val="accent1">
                    <a:lumMod val="75000"/>
                  </a:schemeClr>
                </a:solidFill>
              </a:rPr>
              <a:t>L’outil</a:t>
            </a:r>
          </a:p>
          <a:p>
            <a:pPr marL="742950" lvl="1" indent="-285750">
              <a:buFont typeface="Arial" panose="020B0604020202020204" pitchFamily="34" charset="0"/>
              <a:buChar char="•"/>
            </a:pPr>
            <a:r>
              <a:rPr lang="fr-FR" sz="1100" dirty="0">
                <a:solidFill>
                  <a:schemeClr val="accent1">
                    <a:lumMod val="75000"/>
                  </a:schemeClr>
                </a:solidFill>
              </a:rPr>
              <a:t>Le référentiel d’archivage, </a:t>
            </a:r>
          </a:p>
          <a:p>
            <a:pPr marL="742950" lvl="1" indent="-285750">
              <a:buFont typeface="Arial" panose="020B0604020202020204" pitchFamily="34" charset="0"/>
              <a:buChar char="•"/>
            </a:pPr>
            <a:r>
              <a:rPr lang="fr-FR" sz="1100" dirty="0">
                <a:solidFill>
                  <a:schemeClr val="accent1">
                    <a:lumMod val="75000"/>
                  </a:schemeClr>
                </a:solidFill>
              </a:rPr>
              <a:t>La notion de conservation et de conservation dégradée (stockage? Sauvegarde?....)</a:t>
            </a:r>
          </a:p>
          <a:p>
            <a:pPr marL="742950" lvl="1" indent="-285750">
              <a:buFont typeface="Arial" panose="020B0604020202020204" pitchFamily="34" charset="0"/>
              <a:buChar char="•"/>
            </a:pPr>
            <a:r>
              <a:rPr lang="fr-FR" sz="1100" dirty="0">
                <a:solidFill>
                  <a:schemeClr val="accent1">
                    <a:lumMod val="75000"/>
                  </a:schemeClr>
                </a:solidFill>
              </a:rPr>
              <a:t>Méthode ARCATEG</a:t>
            </a:r>
            <a:r>
              <a:rPr lang="fr-FR" sz="1100" baseline="30000" dirty="0">
                <a:solidFill>
                  <a:schemeClr val="accent1">
                    <a:lumMod val="75000"/>
                  </a:schemeClr>
                </a:solidFill>
              </a:rPr>
              <a:t>TM</a:t>
            </a:r>
            <a:endParaRPr lang="fr-FR" sz="1100" dirty="0">
              <a:solidFill>
                <a:schemeClr val="accent1">
                  <a:lumMod val="75000"/>
                </a:schemeClr>
              </a:solidFill>
            </a:endParaRPr>
          </a:p>
          <a:p>
            <a:pPr marL="1200150" lvl="2" indent="-285750">
              <a:buFont typeface="Arial" panose="020B0604020202020204" pitchFamily="34" charset="0"/>
              <a:buChar char="•"/>
            </a:pPr>
            <a:r>
              <a:rPr lang="fr-FR" sz="1100" dirty="0">
                <a:solidFill>
                  <a:schemeClr val="accent1">
                    <a:lumMod val="75000"/>
                  </a:schemeClr>
                </a:solidFill>
              </a:rPr>
              <a:t>……</a:t>
            </a:r>
          </a:p>
          <a:p>
            <a:pPr marL="742950" lvl="1" indent="-285750">
              <a:buFont typeface="Arial" panose="020B0604020202020204" pitchFamily="34" charset="0"/>
              <a:buChar char="•"/>
            </a:pPr>
            <a:r>
              <a:rPr lang="fr-FR" sz="1100" dirty="0">
                <a:solidFill>
                  <a:schemeClr val="accent1">
                    <a:lumMod val="75000"/>
                  </a:schemeClr>
                </a:solidFill>
              </a:rPr>
              <a:t>Les différents cycles de vie en fonction des cultures d’entreprises…?</a:t>
            </a:r>
          </a:p>
          <a:p>
            <a:pPr lvl="1"/>
            <a:r>
              <a:rPr lang="fr-FR" sz="1100" b="1" dirty="0">
                <a:solidFill>
                  <a:schemeClr val="accent1">
                    <a:lumMod val="75000"/>
                  </a:schemeClr>
                </a:solidFill>
              </a:rPr>
              <a:t>A examiner </a:t>
            </a:r>
          </a:p>
          <a:p>
            <a:pPr marL="742950" lvl="1" indent="-285750">
              <a:buFont typeface="Arial" panose="020B0604020202020204" pitchFamily="34" charset="0"/>
              <a:buChar char="•"/>
            </a:pPr>
            <a:r>
              <a:rPr lang="fr-FR" sz="1100" dirty="0">
                <a:solidFill>
                  <a:schemeClr val="accent1">
                    <a:lumMod val="75000"/>
                  </a:schemeClr>
                </a:solidFill>
              </a:rPr>
              <a:t>Définitions </a:t>
            </a:r>
          </a:p>
          <a:p>
            <a:pPr marL="742950" lvl="1" indent="-285750">
              <a:buFont typeface="Arial" panose="020B0604020202020204" pitchFamily="34" charset="0"/>
              <a:buChar char="•"/>
            </a:pPr>
            <a:r>
              <a:rPr lang="fr-FR" sz="1100" dirty="0">
                <a:solidFill>
                  <a:schemeClr val="accent1">
                    <a:lumMod val="75000"/>
                  </a:schemeClr>
                </a:solidFill>
              </a:rPr>
              <a:t>Avec une analyse exhaustive montrant l’intérêt ou non en fonction de différents critères (analyse de risque, culture d’entreprise, moyens financiers, législation, entreprise de service public avec fonds historique, entreprise privé ….) de mettre en œuvre ces outils ou système.</a:t>
            </a:r>
          </a:p>
          <a:p>
            <a:pPr lvl="1"/>
            <a:r>
              <a:rPr lang="fr-FR" sz="1100" dirty="0">
                <a:solidFill>
                  <a:schemeClr val="accent1">
                    <a:lumMod val="75000"/>
                  </a:schemeClr>
                </a:solidFill>
              </a:rPr>
              <a:t>Identifier des systèmes dégradées de conservation en fonction des besoins de l’entreprise.</a:t>
            </a:r>
          </a:p>
          <a:p>
            <a:pPr lvl="1"/>
            <a:endParaRPr lang="fr-FR" sz="1100" dirty="0">
              <a:solidFill>
                <a:schemeClr val="accent1">
                  <a:lumMod val="75000"/>
                </a:schemeClr>
              </a:solidFill>
            </a:endParaRPr>
          </a:p>
          <a:p>
            <a:pPr lvl="1"/>
            <a:r>
              <a:rPr lang="fr-FR" sz="1100" b="1" dirty="0">
                <a:solidFill>
                  <a:schemeClr val="accent1">
                    <a:lumMod val="75000"/>
                  </a:schemeClr>
                </a:solidFill>
              </a:rPr>
              <a:t>Compétences souhaitées au sein du GT </a:t>
            </a:r>
            <a:r>
              <a:rPr lang="fr-FR" sz="1100" dirty="0">
                <a:solidFill>
                  <a:schemeClr val="accent1">
                    <a:lumMod val="75000"/>
                  </a:schemeClr>
                </a:solidFill>
              </a:rPr>
              <a:t>: 1 archiviste, 1 documentaliste, 1 utilisateur en terme d’archivage managérial, une entreprise sans relation avec les archives publiques, un représentation d’administration</a:t>
            </a:r>
            <a:r>
              <a:rPr lang="fr-FR" sz="1100" dirty="0"/>
              <a:t>….</a:t>
            </a:r>
          </a:p>
        </p:txBody>
      </p:sp>
      <p:sp>
        <p:nvSpPr>
          <p:cNvPr id="7" name="Espace réservé du pied de page 4"/>
          <p:cNvSpPr>
            <a:spLocks noGrp="1"/>
          </p:cNvSpPr>
          <p:nvPr>
            <p:ph type="ftr" sz="quarter" idx="11"/>
          </p:nvPr>
        </p:nvSpPr>
        <p:spPr>
          <a:xfrm>
            <a:off x="935596" y="6296830"/>
            <a:ext cx="7067128" cy="484163"/>
          </a:xfrm>
        </p:spPr>
        <p:txBody>
          <a:bodyPr/>
          <a:lstStyle/>
          <a:p>
            <a:pPr algn="ctr"/>
            <a:r>
              <a:rPr lang="fr-FR" sz="1100" dirty="0">
                <a:solidFill>
                  <a:prstClr val="black"/>
                </a:solidFill>
              </a:rPr>
              <a:t>CR2PA - Atelier N°13 -17 juin 2016_EGIS Christine de Gouttes / Estelle </a:t>
            </a:r>
            <a:r>
              <a:rPr lang="fr-FR" sz="1100" dirty="0" err="1">
                <a:solidFill>
                  <a:prstClr val="black"/>
                </a:solidFill>
              </a:rPr>
              <a:t>Deschard</a:t>
            </a:r>
            <a:endParaRPr lang="fr-FR" sz="1100" dirty="0">
              <a:solidFill>
                <a:prstClr val="black"/>
              </a:solidFill>
            </a:endParaRPr>
          </a:p>
        </p:txBody>
      </p:sp>
      <p:sp>
        <p:nvSpPr>
          <p:cNvPr id="8" name="Espace réservé du contenu 2"/>
          <p:cNvSpPr txBox="1">
            <a:spLocks/>
          </p:cNvSpPr>
          <p:nvPr/>
        </p:nvSpPr>
        <p:spPr>
          <a:xfrm>
            <a:off x="294048" y="5491355"/>
            <a:ext cx="8229600" cy="64807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fr-FR" sz="1200" b="1" u="sng" dirty="0">
                <a:solidFill>
                  <a:srgbClr val="FF0000"/>
                </a:solidFill>
              </a:rPr>
              <a:t>GT3 suite à atelier du 23 mars 2015 aux Archives des Yvelines</a:t>
            </a:r>
          </a:p>
          <a:p>
            <a:pPr lvl="1"/>
            <a:r>
              <a:rPr lang="fr-FR" sz="1100" dirty="0">
                <a:solidFill>
                  <a:srgbClr val="FF0000"/>
                </a:solidFill>
              </a:rPr>
              <a:t>Mise en place de fiches recensant les outils et les références du publics pouvant servir aux privés.</a:t>
            </a:r>
          </a:p>
        </p:txBody>
      </p:sp>
    </p:spTree>
    <p:extLst>
      <p:ext uri="{BB962C8B-B14F-4D97-AF65-F5344CB8AC3E}">
        <p14:creationId xmlns:p14="http://schemas.microsoft.com/office/powerpoint/2010/main" val="1993518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1979712" y="729618"/>
            <a:ext cx="6707088" cy="5363677"/>
          </a:xfrm>
        </p:spPr>
        <p:txBody>
          <a:bodyPr>
            <a:normAutofit fontScale="55000" lnSpcReduction="20000"/>
          </a:bodyPr>
          <a:lstStyle/>
          <a:p>
            <a:pPr lvl="0" eaLnBrk="0">
              <a:buNone/>
            </a:pPr>
            <a:r>
              <a:rPr lang="fr-FR" sz="3600" b="1" dirty="0"/>
              <a:t>Rappel des objectifs</a:t>
            </a:r>
          </a:p>
          <a:p>
            <a:pPr marL="2065338" indent="-457200" eaLnBrk="0"/>
            <a:r>
              <a:rPr lang="fr-FR" sz="2400" dirty="0"/>
              <a:t>Mettre en place un lieu de rencontre pour entretenir une dynamique au sein du CR2PA</a:t>
            </a:r>
          </a:p>
          <a:p>
            <a:pPr marL="2065338" indent="-457200" eaLnBrk="0"/>
            <a:r>
              <a:rPr lang="fr-FR" sz="2400" dirty="0"/>
              <a:t>Disposer d’un lieu de partage, de mise en commun, de recherche et de transmission de savoir</a:t>
            </a:r>
          </a:p>
          <a:p>
            <a:pPr marL="2065338" indent="-457200" eaLnBrk="0"/>
            <a:r>
              <a:rPr lang="fr-FR" sz="2400" dirty="0"/>
              <a:t>Réaliser le lien entre le référentiel existant ou en devenir du CR2PA et les attentes des membres</a:t>
            </a:r>
          </a:p>
          <a:p>
            <a:pPr lvl="0" eaLnBrk="0">
              <a:buNone/>
            </a:pPr>
            <a:endParaRPr lang="fr-FR" sz="3100" b="1" dirty="0"/>
          </a:p>
          <a:p>
            <a:pPr lvl="0" eaLnBrk="0">
              <a:buNone/>
            </a:pPr>
            <a:r>
              <a:rPr lang="fr-FR" sz="3600" b="1" dirty="0"/>
              <a:t>Organisation des ateliers</a:t>
            </a:r>
          </a:p>
          <a:p>
            <a:pPr marL="2065338" indent="-457200" eaLnBrk="0"/>
            <a:r>
              <a:rPr lang="fr-FR" sz="2500" dirty="0"/>
              <a:t>Renco</a:t>
            </a:r>
            <a:r>
              <a:rPr lang="fr-FR" sz="2600" dirty="0"/>
              <a:t>ntres régulières tous Les deux mois</a:t>
            </a:r>
          </a:p>
          <a:p>
            <a:pPr marL="2065338" indent="-457200" eaLnBrk="0"/>
            <a:r>
              <a:rPr lang="fr-FR" sz="2600" dirty="0"/>
              <a:t>Ateliers ouverts à tous les adhérents</a:t>
            </a:r>
          </a:p>
          <a:p>
            <a:pPr marL="2065338" indent="-457200" eaLnBrk="0"/>
            <a:r>
              <a:rPr lang="fr-FR" sz="2600" dirty="0"/>
              <a:t>Participants pouvant être différents d’un atelier à l’autre </a:t>
            </a:r>
          </a:p>
          <a:p>
            <a:pPr marL="2065338" indent="-457200" eaLnBrk="0"/>
            <a:r>
              <a:rPr lang="fr-FR" sz="2600" dirty="0"/>
              <a:t>Groupe de 12 à 15 personnes plus adapté afin de permettre des échanges de fond</a:t>
            </a:r>
          </a:p>
          <a:p>
            <a:pPr marL="2065338" indent="-457200" eaLnBrk="0"/>
            <a:r>
              <a:rPr lang="fr-FR" sz="2600" dirty="0"/>
              <a:t>Une démarche de confidentialité :</a:t>
            </a:r>
          </a:p>
          <a:p>
            <a:pPr marL="2065338" indent="-457200" eaLnBrk="0"/>
            <a:r>
              <a:rPr lang="fr-FR" sz="2600" dirty="0"/>
              <a:t>Participants libres d'utiliser les informations collectées à cette occasion, mais ils ne doivent révéler ni l'identité, ni l'affiliation des personnes à l'origine de ces informations</a:t>
            </a:r>
          </a:p>
          <a:p>
            <a:pPr marL="2065338" indent="-457200" eaLnBrk="0"/>
            <a:r>
              <a:rPr lang="fr-FR" sz="2600" dirty="0"/>
              <a:t>de même qu'ils ne doivent pas révéler l'identité des autres participants</a:t>
            </a:r>
          </a:p>
          <a:p>
            <a:pPr marL="2065338" indent="-457200" eaLnBrk="0"/>
            <a:r>
              <a:rPr lang="fr-FR" sz="2600" dirty="0"/>
              <a:t>Des ordres du jour organisés par thème</a:t>
            </a:r>
          </a:p>
          <a:p>
            <a:pPr marL="2065338" indent="-457200" eaLnBrk="0"/>
            <a:r>
              <a:rPr lang="fr-FR" sz="2600" dirty="0"/>
              <a:t>Lors de chaque atelier travail par groupe de trois personnes pendant 30 mn suivi d’une restitution</a:t>
            </a:r>
          </a:p>
          <a:p>
            <a:pPr marL="2065338" indent="-457200" eaLnBrk="0"/>
            <a:endParaRPr lang="fr-FR" sz="2000" dirty="0"/>
          </a:p>
          <a:p>
            <a:endParaRPr lang="fr-FR" dirty="0"/>
          </a:p>
        </p:txBody>
      </p:sp>
      <p:sp>
        <p:nvSpPr>
          <p:cNvPr id="4" name="Espace réservé du numéro de diapositive 3"/>
          <p:cNvSpPr>
            <a:spLocks noGrp="1"/>
          </p:cNvSpPr>
          <p:nvPr>
            <p:ph type="sldNum" sz="quarter" idx="12"/>
          </p:nvPr>
        </p:nvSpPr>
        <p:spPr/>
        <p:txBody>
          <a:bodyPr/>
          <a:lstStyle/>
          <a:p>
            <a:fld id="{8052084E-5DB1-4820-A270-72CC0B3C4AB6}" type="slidenum">
              <a:rPr lang="fr-FR" smtClean="0"/>
              <a:pPr/>
              <a:t>3</a:t>
            </a:fld>
            <a:endParaRPr lang="fr-FR"/>
          </a:p>
        </p:txBody>
      </p:sp>
      <p:pic>
        <p:nvPicPr>
          <p:cNvPr id="10" name="Image 9"/>
          <p:cNvPicPr>
            <a:picLocks noChangeAspect="1"/>
          </p:cNvPicPr>
          <p:nvPr/>
        </p:nvPicPr>
        <p:blipFill>
          <a:blip r:embed="rId2" cstate="print"/>
          <a:stretch>
            <a:fillRect/>
          </a:stretch>
        </p:blipFill>
        <p:spPr>
          <a:xfrm>
            <a:off x="467544" y="697815"/>
            <a:ext cx="1438781" cy="493819"/>
          </a:xfrm>
          <a:prstGeom prst="rect">
            <a:avLst/>
          </a:prstGeom>
        </p:spPr>
      </p:pic>
      <p:sp>
        <p:nvSpPr>
          <p:cNvPr id="6" name="Espace réservé du pied de page 4">
            <a:extLst>
              <a:ext uri="{FF2B5EF4-FFF2-40B4-BE49-F238E27FC236}">
                <a16:creationId xmlns:a16="http://schemas.microsoft.com/office/drawing/2014/main" xmlns="" id="{A689A660-B075-48B3-A61B-B4CE0077CAB2}"/>
              </a:ext>
            </a:extLst>
          </p:cNvPr>
          <p:cNvSpPr>
            <a:spLocks noGrp="1"/>
          </p:cNvSpPr>
          <p:nvPr>
            <p:ph type="ftr" sz="quarter" idx="11"/>
          </p:nvPr>
        </p:nvSpPr>
        <p:spPr>
          <a:xfrm>
            <a:off x="1104729" y="6296830"/>
            <a:ext cx="7067128" cy="484163"/>
          </a:xfrm>
        </p:spPr>
        <p:txBody>
          <a:bodyPr/>
          <a:lstStyle/>
          <a:p>
            <a:pPr algn="ctr"/>
            <a:r>
              <a:rPr lang="fr-FR" sz="1100" dirty="0">
                <a:solidFill>
                  <a:prstClr val="black"/>
                </a:solidFill>
              </a:rPr>
              <a:t>CR2PA - Atelier </a:t>
            </a:r>
            <a:r>
              <a:rPr lang="fr-FR" sz="1100" dirty="0">
                <a:solidFill>
                  <a:srgbClr val="FF0000"/>
                </a:solidFill>
              </a:rPr>
              <a:t>du 22 juin 2017 </a:t>
            </a:r>
            <a:r>
              <a:rPr lang="fr-FR" sz="1100" dirty="0">
                <a:solidFill>
                  <a:prstClr val="black"/>
                </a:solidFill>
              </a:rPr>
              <a:t>Bruno Lalande – Hervé Mahe – Nathalie Morand Khalif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checkerboard(across)">
                                      <p:cBhvr>
                                        <p:cTn id="7" dur="500"/>
                                        <p:tgtEl>
                                          <p:spTgt spid="3">
                                            <p:txEl>
                                              <p:pRg st="0" end="0"/>
                                            </p:txEl>
                                          </p:spTgt>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checkerboard(across)">
                                      <p:cBhvr>
                                        <p:cTn id="10" dur="500"/>
                                        <p:tgtEl>
                                          <p:spTgt spid="3">
                                            <p:txEl>
                                              <p:pRg st="1" end="1"/>
                                            </p:txEl>
                                          </p:spTgt>
                                        </p:tgtEl>
                                      </p:cBhvr>
                                    </p:animEffect>
                                  </p:childTnLst>
                                </p:cTn>
                              </p:par>
                              <p:par>
                                <p:cTn id="11" presetID="5" presetClass="entr" presetSubtype="1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checkerboard(across)">
                                      <p:cBhvr>
                                        <p:cTn id="13" dur="500"/>
                                        <p:tgtEl>
                                          <p:spTgt spid="3">
                                            <p:txEl>
                                              <p:pRg st="2" end="2"/>
                                            </p:txEl>
                                          </p:spTgt>
                                        </p:tgtEl>
                                      </p:cBhvr>
                                    </p:animEffect>
                                  </p:childTnLst>
                                </p:cTn>
                              </p:par>
                              <p:par>
                                <p:cTn id="14" presetID="5" presetClass="entr" presetSubtype="1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checkerboard(across)">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 presetClass="entr" presetSubtype="1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checkerboard(across)">
                                      <p:cBhvr>
                                        <p:cTn id="21" dur="500"/>
                                        <p:tgtEl>
                                          <p:spTgt spid="3">
                                            <p:txEl>
                                              <p:pRg st="5" end="5"/>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3">
                                            <p:txEl>
                                              <p:pRg st="8" end="8"/>
                                            </p:txEl>
                                          </p:spTgt>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3">
                                            <p:txEl>
                                              <p:pRg st="9" end="9"/>
                                            </p:txEl>
                                          </p:spTgt>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3">
                                            <p:txEl>
                                              <p:pRg st="10" end="10"/>
                                            </p:txEl>
                                          </p:spTgt>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3">
                                            <p:txEl>
                                              <p:pRg st="11" end="11"/>
                                            </p:txEl>
                                          </p:spTgt>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3">
                                            <p:txEl>
                                              <p:pRg st="12" end="12"/>
                                            </p:txEl>
                                          </p:spTgt>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3">
                                            <p:txEl>
                                              <p:pRg st="13" end="13"/>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188640"/>
            <a:ext cx="8229600" cy="634082"/>
          </a:xfrm>
        </p:spPr>
        <p:txBody>
          <a:bodyPr>
            <a:normAutofit fontScale="90000"/>
          </a:bodyPr>
          <a:lstStyle/>
          <a:p>
            <a:pPr lvl="0"/>
            <a:r>
              <a:rPr lang="fr-FR" dirty="0"/>
              <a:t>Participants</a:t>
            </a:r>
          </a:p>
        </p:txBody>
      </p:sp>
      <p:sp>
        <p:nvSpPr>
          <p:cNvPr id="7" name="Espace réservé du numéro de diapositive 5"/>
          <p:cNvSpPr>
            <a:spLocks noGrp="1"/>
          </p:cNvSpPr>
          <p:nvPr>
            <p:ph type="sldNum" sz="quarter" idx="12"/>
          </p:nvPr>
        </p:nvSpPr>
        <p:spPr>
          <a:xfrm>
            <a:off x="6553200" y="6356350"/>
            <a:ext cx="2133600" cy="365125"/>
          </a:xfrm>
        </p:spPr>
        <p:txBody>
          <a:bodyPr/>
          <a:lstStyle/>
          <a:p>
            <a:fld id="{8052084E-5DB1-4820-A270-72CC0B3C4AB6}" type="slidenum">
              <a:rPr lang="fr-FR" smtClean="0"/>
              <a:pPr/>
              <a:t>4</a:t>
            </a:fld>
            <a:endParaRPr lang="fr-FR"/>
          </a:p>
        </p:txBody>
      </p:sp>
      <p:graphicFrame>
        <p:nvGraphicFramePr>
          <p:cNvPr id="14" name="Tableau 13"/>
          <p:cNvGraphicFramePr>
            <a:graphicFrameLocks noGrp="1"/>
          </p:cNvGraphicFramePr>
          <p:nvPr/>
        </p:nvGraphicFramePr>
        <p:xfrm>
          <a:off x="7199784" y="6381328"/>
          <a:ext cx="1944216" cy="216024"/>
        </p:xfrm>
        <a:graphic>
          <a:graphicData uri="http://schemas.openxmlformats.org/drawingml/2006/table">
            <a:tbl>
              <a:tblPr/>
              <a:tblGrid>
                <a:gridCol w="809971">
                  <a:extLst>
                    <a:ext uri="{9D8B030D-6E8A-4147-A177-3AD203B41FA5}">
                      <a16:colId xmlns:a16="http://schemas.microsoft.com/office/drawing/2014/main" xmlns="" val="20000"/>
                    </a:ext>
                  </a:extLst>
                </a:gridCol>
                <a:gridCol w="1134245">
                  <a:extLst>
                    <a:ext uri="{9D8B030D-6E8A-4147-A177-3AD203B41FA5}">
                      <a16:colId xmlns:a16="http://schemas.microsoft.com/office/drawing/2014/main" xmlns="" val="20001"/>
                    </a:ext>
                  </a:extLst>
                </a:gridCol>
              </a:tblGrid>
              <a:tr h="216024">
                <a:tc>
                  <a:txBody>
                    <a:bodyPr/>
                    <a:lstStyle/>
                    <a:p>
                      <a:pPr algn="l" fontAlgn="b"/>
                      <a:endParaRPr lang="fr-FR"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fr-FR" sz="1100" b="0" i="0" u="sng" strike="noStrike" dirty="0">
                          <a:solidFill>
                            <a:srgbClr val="0000FF"/>
                          </a:solidFill>
                          <a:latin typeface="Calibri"/>
                        </a:rPr>
                        <a:t>Absent excusé</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10000"/>
                  </a:ext>
                </a:extLst>
              </a:tr>
            </a:tbl>
          </a:graphicData>
        </a:graphic>
      </p:graphicFrame>
      <p:graphicFrame>
        <p:nvGraphicFramePr>
          <p:cNvPr id="15" name="Tableau 14"/>
          <p:cNvGraphicFramePr>
            <a:graphicFrameLocks noGrp="1"/>
          </p:cNvGraphicFramePr>
          <p:nvPr/>
        </p:nvGraphicFramePr>
        <p:xfrm>
          <a:off x="7199784" y="6093296"/>
          <a:ext cx="1944216" cy="247650"/>
        </p:xfrm>
        <a:graphic>
          <a:graphicData uri="http://schemas.openxmlformats.org/drawingml/2006/table">
            <a:tbl>
              <a:tblPr/>
              <a:tblGrid>
                <a:gridCol w="809972">
                  <a:extLst>
                    <a:ext uri="{9D8B030D-6E8A-4147-A177-3AD203B41FA5}">
                      <a16:colId xmlns:a16="http://schemas.microsoft.com/office/drawing/2014/main" xmlns="" val="20000"/>
                    </a:ext>
                  </a:extLst>
                </a:gridCol>
                <a:gridCol w="1134244">
                  <a:extLst>
                    <a:ext uri="{9D8B030D-6E8A-4147-A177-3AD203B41FA5}">
                      <a16:colId xmlns:a16="http://schemas.microsoft.com/office/drawing/2014/main" xmlns="" val="20001"/>
                    </a:ext>
                  </a:extLst>
                </a:gridCol>
              </a:tblGrid>
              <a:tr h="247650">
                <a:tc>
                  <a:txBody>
                    <a:bodyPr/>
                    <a:lstStyle/>
                    <a:p>
                      <a:pPr algn="l" fontAlgn="b"/>
                      <a:endParaRPr lang="fr-FR"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fr-FR" sz="1100" b="0" i="0" u="sng" strike="noStrike" dirty="0">
                          <a:solidFill>
                            <a:srgbClr val="0000FF"/>
                          </a:solidFill>
                          <a:latin typeface="Calibri"/>
                        </a:rPr>
                        <a:t>présent</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xmlns="" val="10000"/>
                  </a:ext>
                </a:extLst>
              </a:tr>
            </a:tbl>
          </a:graphicData>
        </a:graphic>
      </p:graphicFrame>
      <p:sp>
        <p:nvSpPr>
          <p:cNvPr id="20481" name="Rectangle 1"/>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a:ln>
                <a:noFill/>
              </a:ln>
              <a:solidFill>
                <a:schemeClr val="tx1"/>
              </a:solidFill>
              <a:effectLst/>
              <a:latin typeface="Arial" pitchFamily="34" charset="0"/>
              <a:cs typeface="Arial" pitchFamily="34" charset="0"/>
            </a:endParaRPr>
          </a:p>
        </p:txBody>
      </p:sp>
      <p:sp>
        <p:nvSpPr>
          <p:cNvPr id="4" name="Rectangle 1"/>
          <p:cNvSpPr>
            <a:spLocks noChangeArrowheads="1"/>
          </p:cNvSpPr>
          <p:nvPr/>
        </p:nvSpPr>
        <p:spPr bwMode="auto">
          <a:xfrm>
            <a:off x="1259632" y="270892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itchFamily="34" charset="0"/>
              <a:cs typeface="Arial" pitchFamily="34" charset="0"/>
            </a:endParaRPr>
          </a:p>
        </p:txBody>
      </p:sp>
      <p:sp>
        <p:nvSpPr>
          <p:cNvPr id="6" name="Rectangle 1">
            <a:hlinkClick r:id="rId2"/>
          </p:cNvPr>
          <p:cNvSpPr>
            <a:spLocks noChangeArrowheads="1"/>
          </p:cNvSpPr>
          <p:nvPr/>
        </p:nvSpPr>
        <p:spPr bwMode="auto">
          <a:xfrm>
            <a:off x="755894" y="188103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5" name="Tableau 4"/>
          <p:cNvGraphicFramePr>
            <a:graphicFrameLocks noGrp="1"/>
          </p:cNvGraphicFramePr>
          <p:nvPr>
            <p:extLst>
              <p:ext uri="{D42A27DB-BD31-4B8C-83A1-F6EECF244321}">
                <p14:modId xmlns:p14="http://schemas.microsoft.com/office/powerpoint/2010/main" val="627035662"/>
              </p:ext>
            </p:extLst>
          </p:nvPr>
        </p:nvGraphicFramePr>
        <p:xfrm>
          <a:off x="827583" y="908720"/>
          <a:ext cx="7488834" cy="5140420"/>
        </p:xfrm>
        <a:graphic>
          <a:graphicData uri="http://schemas.openxmlformats.org/drawingml/2006/table">
            <a:tbl>
              <a:tblPr firstRow="1" firstCol="1" bandRow="1">
                <a:tableStyleId>{5C22544A-7EE6-4342-B048-85BDC9FD1C3A}</a:tableStyleId>
              </a:tblPr>
              <a:tblGrid>
                <a:gridCol w="1444476">
                  <a:extLst>
                    <a:ext uri="{9D8B030D-6E8A-4147-A177-3AD203B41FA5}">
                      <a16:colId xmlns:a16="http://schemas.microsoft.com/office/drawing/2014/main" xmlns="" val="20000"/>
                    </a:ext>
                  </a:extLst>
                </a:gridCol>
                <a:gridCol w="1542644">
                  <a:extLst>
                    <a:ext uri="{9D8B030D-6E8A-4147-A177-3AD203B41FA5}">
                      <a16:colId xmlns:a16="http://schemas.microsoft.com/office/drawing/2014/main" xmlns="" val="20001"/>
                    </a:ext>
                  </a:extLst>
                </a:gridCol>
                <a:gridCol w="1500572">
                  <a:extLst>
                    <a:ext uri="{9D8B030D-6E8A-4147-A177-3AD203B41FA5}">
                      <a16:colId xmlns:a16="http://schemas.microsoft.com/office/drawing/2014/main" xmlns="" val="20002"/>
                    </a:ext>
                  </a:extLst>
                </a:gridCol>
                <a:gridCol w="3001142">
                  <a:extLst>
                    <a:ext uri="{9D8B030D-6E8A-4147-A177-3AD203B41FA5}">
                      <a16:colId xmlns:a16="http://schemas.microsoft.com/office/drawing/2014/main" xmlns="" val="20003"/>
                    </a:ext>
                  </a:extLst>
                </a:gridCol>
              </a:tblGrid>
              <a:tr h="792088">
                <a:tc>
                  <a:txBody>
                    <a:bodyPr/>
                    <a:lstStyle/>
                    <a:p>
                      <a:pPr>
                        <a:spcAft>
                          <a:spcPts val="0"/>
                        </a:spcAft>
                      </a:pPr>
                      <a:endParaRPr lang="fr-FR" sz="1100" dirty="0">
                        <a:effectLst/>
                        <a:latin typeface="Calibri" panose="020F0502020204030204" pitchFamily="34" charset="0"/>
                        <a:ea typeface="Calibri" panose="020F0502020204030204" pitchFamily="34" charset="0"/>
                      </a:endParaRPr>
                    </a:p>
                  </a:txBody>
                  <a:tcPr marL="44450" marR="44450" marT="0" marB="0" anchor="b"/>
                </a:tc>
                <a:tc>
                  <a:txBody>
                    <a:bodyPr/>
                    <a:lstStyle/>
                    <a:p>
                      <a:pPr>
                        <a:spcAft>
                          <a:spcPts val="0"/>
                        </a:spcAft>
                      </a:pPr>
                      <a:endParaRPr lang="fr-FR" sz="1100" dirty="0">
                        <a:effectLst/>
                        <a:latin typeface="Calibri" panose="020F0502020204030204" pitchFamily="34" charset="0"/>
                        <a:ea typeface="Calibri" panose="020F0502020204030204" pitchFamily="34" charset="0"/>
                      </a:endParaRPr>
                    </a:p>
                  </a:txBody>
                  <a:tcPr marL="44450" marR="44450" marT="0" marB="0" anchor="b"/>
                </a:tc>
                <a:tc>
                  <a:txBody>
                    <a:bodyPr/>
                    <a:lstStyle/>
                    <a:p>
                      <a:pPr>
                        <a:spcAft>
                          <a:spcPts val="0"/>
                        </a:spcAft>
                      </a:pPr>
                      <a:endParaRPr lang="fr-FR" sz="1100">
                        <a:effectLst/>
                        <a:latin typeface="Calibri" panose="020F0502020204030204" pitchFamily="34" charset="0"/>
                        <a:ea typeface="Calibri" panose="020F0502020204030204" pitchFamily="34" charset="0"/>
                      </a:endParaRPr>
                    </a:p>
                  </a:txBody>
                  <a:tcPr marL="44450" marR="44450" marT="0" marB="0" anchor="b"/>
                </a:tc>
                <a:tc>
                  <a:txBody>
                    <a:bodyPr/>
                    <a:lstStyle/>
                    <a:p>
                      <a:pPr>
                        <a:spcAft>
                          <a:spcPts val="0"/>
                        </a:spcAft>
                      </a:pPr>
                      <a:endParaRPr lang="fr-FR" sz="1100" dirty="0">
                        <a:effectLst/>
                        <a:latin typeface="Calibri" panose="020F0502020204030204" pitchFamily="34" charset="0"/>
                        <a:ea typeface="Calibri" panose="020F0502020204030204" pitchFamily="34" charset="0"/>
                      </a:endParaRPr>
                    </a:p>
                  </a:txBody>
                  <a:tcPr marL="44450" marR="44450" marT="0" marB="0" anchor="b"/>
                </a:tc>
                <a:extLst>
                  <a:ext uri="{0D108BD9-81ED-4DB2-BD59-A6C34878D82A}">
                    <a16:rowId xmlns:a16="http://schemas.microsoft.com/office/drawing/2014/main" xmlns="" val="10000"/>
                  </a:ext>
                </a:extLst>
              </a:tr>
              <a:tr h="384793">
                <a:tc>
                  <a:txBody>
                    <a:bodyPr/>
                    <a:lstStyle/>
                    <a:p>
                      <a:pPr>
                        <a:spcAft>
                          <a:spcPts val="0"/>
                        </a:spcAft>
                      </a:pPr>
                      <a:r>
                        <a:rPr lang="fr-FR" sz="1600">
                          <a:effectLst/>
                          <a:latin typeface="Calibri" panose="020F0502020204030204" pitchFamily="34" charset="0"/>
                          <a:ea typeface="Times New Roman" panose="02020603050405020304" pitchFamily="18" charset="0"/>
                        </a:rPr>
                        <a:t>APIJ</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Anne-Sophie</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RABILLON</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u="sng">
                          <a:solidFill>
                            <a:srgbClr val="0000FF"/>
                          </a:solidFill>
                          <a:effectLst/>
                          <a:latin typeface="Calibri" panose="020F0502020204030204" pitchFamily="34" charset="0"/>
                          <a:ea typeface="Times New Roman" panose="02020603050405020304" pitchFamily="18" charset="0"/>
                          <a:hlinkClick r:id="rId3"/>
                        </a:rPr>
                        <a:t>anne-sophie.rabillon@justice.fr</a:t>
                      </a:r>
                      <a:endParaRPr lang="fr-FR" sz="1600">
                        <a:effectLst/>
                        <a:latin typeface="Calibri" panose="020F0502020204030204" pitchFamily="34" charset="0"/>
                        <a:ea typeface="Calibri" panose="020F0502020204030204" pitchFamily="34" charset="0"/>
                      </a:endParaRPr>
                    </a:p>
                  </a:txBody>
                  <a:tcPr marL="9525" marR="9525" marT="9525" marB="9525" anchor="ctr"/>
                </a:tc>
                <a:extLst>
                  <a:ext uri="{0D108BD9-81ED-4DB2-BD59-A6C34878D82A}">
                    <a16:rowId xmlns:a16="http://schemas.microsoft.com/office/drawing/2014/main" xmlns="" val="10001"/>
                  </a:ext>
                </a:extLst>
              </a:tr>
              <a:tr h="384793">
                <a:tc>
                  <a:txBody>
                    <a:bodyPr/>
                    <a:lstStyle/>
                    <a:p>
                      <a:pPr>
                        <a:spcAft>
                          <a:spcPts val="0"/>
                        </a:spcAft>
                      </a:pPr>
                      <a:r>
                        <a:rPr lang="fr-FR" sz="1600">
                          <a:effectLst/>
                          <a:latin typeface="Calibri" panose="020F0502020204030204" pitchFamily="34" charset="0"/>
                          <a:ea typeface="Times New Roman" panose="02020603050405020304" pitchFamily="18" charset="0"/>
                        </a:rPr>
                        <a:t>Renault</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Gilles</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ROUYER</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u="sng">
                          <a:solidFill>
                            <a:srgbClr val="0000FF"/>
                          </a:solidFill>
                          <a:effectLst/>
                          <a:latin typeface="Calibri" panose="020F0502020204030204" pitchFamily="34" charset="0"/>
                          <a:ea typeface="Times New Roman" panose="02020603050405020304" pitchFamily="18" charset="0"/>
                          <a:hlinkClick r:id="rId4"/>
                        </a:rPr>
                        <a:t>gilles.rouyer@renault.com</a:t>
                      </a:r>
                      <a:endParaRPr lang="fr-FR" sz="1600">
                        <a:effectLst/>
                        <a:latin typeface="Calibri" panose="020F0502020204030204" pitchFamily="34" charset="0"/>
                        <a:ea typeface="Calibri" panose="020F0502020204030204" pitchFamily="34" charset="0"/>
                      </a:endParaRPr>
                    </a:p>
                  </a:txBody>
                  <a:tcPr marL="9525" marR="9525" marT="9525" marB="9525" anchor="ctr"/>
                </a:tc>
                <a:extLst>
                  <a:ext uri="{0D108BD9-81ED-4DB2-BD59-A6C34878D82A}">
                    <a16:rowId xmlns:a16="http://schemas.microsoft.com/office/drawing/2014/main" xmlns="" val="10002"/>
                  </a:ext>
                </a:extLst>
              </a:tr>
              <a:tr h="384793">
                <a:tc>
                  <a:txBody>
                    <a:bodyPr/>
                    <a:lstStyle/>
                    <a:p>
                      <a:pPr>
                        <a:spcAft>
                          <a:spcPts val="0"/>
                        </a:spcAft>
                      </a:pPr>
                      <a:r>
                        <a:rPr lang="fr-FR" sz="1600">
                          <a:effectLst/>
                          <a:latin typeface="Calibri" panose="020F0502020204030204" pitchFamily="34" charset="0"/>
                          <a:ea typeface="Times New Roman" panose="02020603050405020304" pitchFamily="18" charset="0"/>
                        </a:rPr>
                        <a:t>Bouygues Telecom</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François</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DELION</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u="sng">
                          <a:solidFill>
                            <a:srgbClr val="0000FF"/>
                          </a:solidFill>
                          <a:effectLst/>
                          <a:latin typeface="Calibri" panose="020F0502020204030204" pitchFamily="34" charset="0"/>
                          <a:ea typeface="Times New Roman" panose="02020603050405020304" pitchFamily="18" charset="0"/>
                          <a:hlinkClick r:id="rId5"/>
                        </a:rPr>
                        <a:t>FDELION@bouyguestelecom.fr</a:t>
                      </a:r>
                      <a:endParaRPr lang="fr-FR" sz="1600">
                        <a:effectLst/>
                        <a:latin typeface="Calibri" panose="020F0502020204030204" pitchFamily="34" charset="0"/>
                        <a:ea typeface="Calibri" panose="020F0502020204030204" pitchFamily="34" charset="0"/>
                      </a:endParaRPr>
                    </a:p>
                  </a:txBody>
                  <a:tcPr marL="9525" marR="9525" marT="9525" marB="9525" anchor="ctr"/>
                </a:tc>
                <a:extLst>
                  <a:ext uri="{0D108BD9-81ED-4DB2-BD59-A6C34878D82A}">
                    <a16:rowId xmlns:a16="http://schemas.microsoft.com/office/drawing/2014/main" xmlns="" val="10003"/>
                  </a:ext>
                </a:extLst>
              </a:tr>
              <a:tr h="384793">
                <a:tc>
                  <a:txBody>
                    <a:bodyPr/>
                    <a:lstStyle/>
                    <a:p>
                      <a:pPr>
                        <a:spcAft>
                          <a:spcPts val="0"/>
                        </a:spcAft>
                      </a:pPr>
                      <a:r>
                        <a:rPr lang="fr-FR" sz="1600">
                          <a:effectLst/>
                          <a:latin typeface="Calibri" panose="020F0502020204030204" pitchFamily="34" charset="0"/>
                          <a:ea typeface="Times New Roman" panose="02020603050405020304" pitchFamily="18" charset="0"/>
                        </a:rPr>
                        <a:t>Air France</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Catherine</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VINCENS DE TAPOL</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u="sng">
                          <a:solidFill>
                            <a:srgbClr val="0000FF"/>
                          </a:solidFill>
                          <a:effectLst/>
                          <a:latin typeface="Calibri" panose="020F0502020204030204" pitchFamily="34" charset="0"/>
                          <a:ea typeface="Times New Roman" panose="02020603050405020304" pitchFamily="18" charset="0"/>
                          <a:hlinkClick r:id="rId6"/>
                        </a:rPr>
                        <a:t>cavincensdetapol@airfrance.fr</a:t>
                      </a:r>
                      <a:endParaRPr lang="fr-FR" sz="1600">
                        <a:effectLst/>
                        <a:latin typeface="Calibri" panose="020F0502020204030204" pitchFamily="34" charset="0"/>
                        <a:ea typeface="Calibri" panose="020F0502020204030204" pitchFamily="34" charset="0"/>
                      </a:endParaRPr>
                    </a:p>
                  </a:txBody>
                  <a:tcPr marL="9525" marR="9525" marT="9525" marB="9525" anchor="ctr"/>
                </a:tc>
                <a:extLst>
                  <a:ext uri="{0D108BD9-81ED-4DB2-BD59-A6C34878D82A}">
                    <a16:rowId xmlns:a16="http://schemas.microsoft.com/office/drawing/2014/main" xmlns="" val="10004"/>
                  </a:ext>
                </a:extLst>
              </a:tr>
              <a:tr h="384793">
                <a:tc>
                  <a:txBody>
                    <a:bodyPr/>
                    <a:lstStyle/>
                    <a:p>
                      <a:pPr>
                        <a:spcAft>
                          <a:spcPts val="0"/>
                        </a:spcAft>
                      </a:pPr>
                      <a:r>
                        <a:rPr lang="fr-FR" sz="1600">
                          <a:effectLst/>
                          <a:latin typeface="Calibri" panose="020F0502020204030204" pitchFamily="34" charset="0"/>
                          <a:ea typeface="Times New Roman" panose="02020603050405020304" pitchFamily="18" charset="0"/>
                        </a:rPr>
                        <a:t>RTE</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Bernard</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OUILLON</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u="sng">
                          <a:solidFill>
                            <a:srgbClr val="0000FF"/>
                          </a:solidFill>
                          <a:effectLst/>
                          <a:latin typeface="Calibri" panose="020F0502020204030204" pitchFamily="34" charset="0"/>
                          <a:ea typeface="Times New Roman" panose="02020603050405020304" pitchFamily="18" charset="0"/>
                          <a:hlinkClick r:id="rId7"/>
                        </a:rPr>
                        <a:t>bernard.ouillon@rte-france.com</a:t>
                      </a:r>
                      <a:endParaRPr lang="fr-FR" sz="1600">
                        <a:effectLst/>
                        <a:latin typeface="Calibri" panose="020F0502020204030204" pitchFamily="34" charset="0"/>
                        <a:ea typeface="Calibri" panose="020F0502020204030204" pitchFamily="34" charset="0"/>
                      </a:endParaRPr>
                    </a:p>
                  </a:txBody>
                  <a:tcPr marL="9525" marR="9525" marT="9525" marB="9525" anchor="ctr"/>
                </a:tc>
                <a:extLst>
                  <a:ext uri="{0D108BD9-81ED-4DB2-BD59-A6C34878D82A}">
                    <a16:rowId xmlns:a16="http://schemas.microsoft.com/office/drawing/2014/main" xmlns="" val="10005"/>
                  </a:ext>
                </a:extLst>
              </a:tr>
              <a:tr h="384793">
                <a:tc>
                  <a:txBody>
                    <a:bodyPr/>
                    <a:lstStyle/>
                    <a:p>
                      <a:pPr>
                        <a:spcAft>
                          <a:spcPts val="0"/>
                        </a:spcAft>
                      </a:pPr>
                      <a:r>
                        <a:rPr lang="fr-FR" sz="1600">
                          <a:effectLst/>
                          <a:latin typeface="Calibri" panose="020F0502020204030204" pitchFamily="34" charset="0"/>
                          <a:ea typeface="Times New Roman" panose="02020603050405020304" pitchFamily="18" charset="0"/>
                        </a:rPr>
                        <a:t>SOCOTEC</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Alain</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a:effectLst/>
                          <a:latin typeface="Calibri" panose="020F0502020204030204" pitchFamily="34" charset="0"/>
                          <a:ea typeface="Times New Roman" panose="02020603050405020304" pitchFamily="18" charset="0"/>
                        </a:rPr>
                        <a:t>MERVEILLE</a:t>
                      </a:r>
                      <a:endParaRPr lang="fr-FR" sz="1600">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u="sng">
                          <a:solidFill>
                            <a:srgbClr val="0000FF"/>
                          </a:solidFill>
                          <a:effectLst/>
                          <a:latin typeface="Calibri" panose="020F0502020204030204" pitchFamily="34" charset="0"/>
                          <a:ea typeface="Times New Roman" panose="02020603050405020304" pitchFamily="18" charset="0"/>
                          <a:hlinkClick r:id="rId8"/>
                        </a:rPr>
                        <a:t>alain.merveille@socotec.fr</a:t>
                      </a:r>
                      <a:endParaRPr lang="fr-FR" sz="1600">
                        <a:effectLst/>
                        <a:latin typeface="Calibri" panose="020F0502020204030204" pitchFamily="34" charset="0"/>
                        <a:ea typeface="Calibri" panose="020F0502020204030204" pitchFamily="34" charset="0"/>
                      </a:endParaRPr>
                    </a:p>
                  </a:txBody>
                  <a:tcPr marL="9525" marR="9525" marT="9525" marB="9525" anchor="ctr"/>
                </a:tc>
                <a:extLst>
                  <a:ext uri="{0D108BD9-81ED-4DB2-BD59-A6C34878D82A}">
                    <a16:rowId xmlns:a16="http://schemas.microsoft.com/office/drawing/2014/main" xmlns="" val="10006"/>
                  </a:ext>
                </a:extLst>
              </a:tr>
              <a:tr h="384793">
                <a:tc>
                  <a:txBody>
                    <a:bodyPr/>
                    <a:lstStyle/>
                    <a:p>
                      <a:pPr>
                        <a:spcAft>
                          <a:spcPts val="0"/>
                        </a:spcAft>
                      </a:pPr>
                      <a:r>
                        <a:rPr lang="fr-FR" sz="1600" strike="sngStrike">
                          <a:effectLst/>
                          <a:latin typeface="Calibri" panose="020F0502020204030204" pitchFamily="34" charset="0"/>
                          <a:ea typeface="Times New Roman" panose="02020603050405020304" pitchFamily="18" charset="0"/>
                        </a:rPr>
                        <a:t>Air France</a:t>
                      </a:r>
                      <a:endParaRPr lang="fr-FR" sz="1600" strike="sngStrike">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strike="sngStrike">
                          <a:effectLst/>
                          <a:latin typeface="Calibri" panose="020F0502020204030204" pitchFamily="34" charset="0"/>
                          <a:ea typeface="Times New Roman" panose="02020603050405020304" pitchFamily="18" charset="0"/>
                        </a:rPr>
                        <a:t>Jean-Pierre</a:t>
                      </a:r>
                      <a:endParaRPr lang="fr-FR" sz="1600" strike="sngStrike">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strike="sngStrike">
                          <a:effectLst/>
                          <a:latin typeface="Calibri" panose="020F0502020204030204" pitchFamily="34" charset="0"/>
                          <a:ea typeface="Times New Roman" panose="02020603050405020304" pitchFamily="18" charset="0"/>
                        </a:rPr>
                        <a:t>BLAS</a:t>
                      </a:r>
                      <a:endParaRPr lang="fr-FR" sz="1600" strike="sngStrike">
                        <a:effectLst/>
                        <a:latin typeface="Calibri" panose="020F0502020204030204" pitchFamily="34" charset="0"/>
                        <a:ea typeface="Calibri" panose="020F0502020204030204" pitchFamily="34" charset="0"/>
                      </a:endParaRPr>
                    </a:p>
                  </a:txBody>
                  <a:tcPr marL="9525" marR="9525" marT="9525" marB="9525" anchor="ctr"/>
                </a:tc>
                <a:tc>
                  <a:txBody>
                    <a:bodyPr/>
                    <a:lstStyle/>
                    <a:p>
                      <a:pPr>
                        <a:spcAft>
                          <a:spcPts val="0"/>
                        </a:spcAft>
                      </a:pPr>
                      <a:r>
                        <a:rPr lang="fr-FR" sz="1600" u="sng" strike="sngStrike" dirty="0">
                          <a:solidFill>
                            <a:srgbClr val="0000FF"/>
                          </a:solidFill>
                          <a:effectLst/>
                          <a:latin typeface="Calibri" panose="020F0502020204030204" pitchFamily="34" charset="0"/>
                          <a:ea typeface="Times New Roman" panose="02020603050405020304" pitchFamily="18" charset="0"/>
                          <a:hlinkClick r:id="rId9"/>
                        </a:rPr>
                        <a:t>jpblas@airfrance.fr</a:t>
                      </a:r>
                      <a:endParaRPr lang="fr-FR" sz="1600" strike="sngStrike" dirty="0">
                        <a:effectLst/>
                        <a:latin typeface="Calibri" panose="020F0502020204030204" pitchFamily="34" charset="0"/>
                        <a:ea typeface="Calibri" panose="020F0502020204030204" pitchFamily="34" charset="0"/>
                      </a:endParaRPr>
                    </a:p>
                  </a:txBody>
                  <a:tcPr marL="9525" marR="9525" marT="9525" marB="9525" anchor="ctr"/>
                </a:tc>
                <a:extLst>
                  <a:ext uri="{0D108BD9-81ED-4DB2-BD59-A6C34878D82A}">
                    <a16:rowId xmlns:a16="http://schemas.microsoft.com/office/drawing/2014/main" xmlns="" val="10007"/>
                  </a:ext>
                </a:extLst>
              </a:tr>
              <a:tr h="384793">
                <a:tc>
                  <a:txBody>
                    <a:bodyPr/>
                    <a:lstStyle/>
                    <a:p>
                      <a:pPr>
                        <a:spcAft>
                          <a:spcPts val="0"/>
                        </a:spcAft>
                      </a:pPr>
                      <a:r>
                        <a:rPr lang="fr-FR" sz="1600" dirty="0">
                          <a:effectLst/>
                          <a:latin typeface="Calibri" panose="020F0502020204030204" pitchFamily="34" charset="0"/>
                          <a:ea typeface="Calibri" panose="020F0502020204030204" pitchFamily="34" charset="0"/>
                        </a:rPr>
                        <a:t>Renault</a:t>
                      </a:r>
                    </a:p>
                  </a:txBody>
                  <a:tcPr marL="44450" marR="44450" marT="0" marB="0" anchor="b"/>
                </a:tc>
                <a:tc>
                  <a:txBody>
                    <a:bodyPr/>
                    <a:lstStyle/>
                    <a:p>
                      <a:pPr>
                        <a:spcAft>
                          <a:spcPts val="0"/>
                        </a:spcAft>
                      </a:pPr>
                      <a:r>
                        <a:rPr lang="fr-FR" sz="1600" dirty="0">
                          <a:effectLst/>
                          <a:latin typeface="Calibri" panose="020F0502020204030204" pitchFamily="34" charset="0"/>
                          <a:ea typeface="Calibri" panose="020F0502020204030204" pitchFamily="34" charset="0"/>
                        </a:rPr>
                        <a:t>Bruno</a:t>
                      </a:r>
                    </a:p>
                  </a:txBody>
                  <a:tcPr marL="44450" marR="44450" marT="0" marB="0" anchor="b"/>
                </a:tc>
                <a:tc>
                  <a:txBody>
                    <a:bodyPr/>
                    <a:lstStyle/>
                    <a:p>
                      <a:pPr>
                        <a:spcAft>
                          <a:spcPts val="0"/>
                        </a:spcAft>
                      </a:pPr>
                      <a:r>
                        <a:rPr lang="fr-FR" sz="1600" dirty="0">
                          <a:effectLst/>
                          <a:latin typeface="Calibri" panose="020F0502020204030204" pitchFamily="34" charset="0"/>
                          <a:ea typeface="Calibri" panose="020F0502020204030204" pitchFamily="34" charset="0"/>
                        </a:rPr>
                        <a:t>LALANDE</a:t>
                      </a:r>
                    </a:p>
                  </a:txBody>
                  <a:tcPr marL="44450" marR="44450" marT="0" marB="0" anchor="b"/>
                </a:tc>
                <a:tc>
                  <a:txBody>
                    <a:bodyPr/>
                    <a:lstStyle/>
                    <a:p>
                      <a:pPr>
                        <a:spcAft>
                          <a:spcPts val="0"/>
                        </a:spcAft>
                      </a:pPr>
                      <a:r>
                        <a:rPr lang="fr-FR" sz="1600" dirty="0">
                          <a:effectLst/>
                          <a:latin typeface="Calibri" panose="020F0502020204030204" pitchFamily="34" charset="0"/>
                          <a:ea typeface="Calibri" panose="020F0502020204030204" pitchFamily="34" charset="0"/>
                        </a:rPr>
                        <a:t>bruno.lalande@renault.com</a:t>
                      </a:r>
                    </a:p>
                  </a:txBody>
                  <a:tcPr marL="44450" marR="44450" marT="0" marB="0" anchor="b"/>
                </a:tc>
                <a:extLst>
                  <a:ext uri="{0D108BD9-81ED-4DB2-BD59-A6C34878D82A}">
                    <a16:rowId xmlns:a16="http://schemas.microsoft.com/office/drawing/2014/main" xmlns="" val="2733142443"/>
                  </a:ext>
                </a:extLst>
              </a:tr>
              <a:tr h="384793">
                <a:tc>
                  <a:txBody>
                    <a:bodyPr/>
                    <a:lstStyle/>
                    <a:p>
                      <a:pPr>
                        <a:spcAft>
                          <a:spcPts val="0"/>
                        </a:spcAft>
                      </a:pPr>
                      <a:r>
                        <a:rPr lang="fr-FR" sz="1600" dirty="0">
                          <a:effectLst/>
                          <a:latin typeface="Calibri" panose="020F0502020204030204" pitchFamily="34" charset="0"/>
                          <a:ea typeface="Calibri" panose="020F0502020204030204" pitchFamily="34" charset="0"/>
                        </a:rPr>
                        <a:t>PSA</a:t>
                      </a:r>
                    </a:p>
                  </a:txBody>
                  <a:tcPr marL="44450" marR="44450" marT="0" marB="0" anchor="b"/>
                </a:tc>
                <a:tc>
                  <a:txBody>
                    <a:bodyPr/>
                    <a:lstStyle/>
                    <a:p>
                      <a:pPr>
                        <a:spcAft>
                          <a:spcPts val="0"/>
                        </a:spcAft>
                      </a:pPr>
                      <a:r>
                        <a:rPr lang="fr-FR" sz="1600" dirty="0">
                          <a:effectLst/>
                          <a:latin typeface="Calibri" panose="020F0502020204030204" pitchFamily="34" charset="0"/>
                          <a:ea typeface="Calibri" panose="020F0502020204030204" pitchFamily="34" charset="0"/>
                        </a:rPr>
                        <a:t>Hervé</a:t>
                      </a:r>
                    </a:p>
                  </a:txBody>
                  <a:tcPr marL="44450" marR="44450" marT="0" marB="0" anchor="b"/>
                </a:tc>
                <a:tc>
                  <a:txBody>
                    <a:bodyPr/>
                    <a:lstStyle/>
                    <a:p>
                      <a:pPr>
                        <a:spcAft>
                          <a:spcPts val="0"/>
                        </a:spcAft>
                      </a:pPr>
                      <a:r>
                        <a:rPr lang="fr-FR" sz="1600" dirty="0">
                          <a:effectLst/>
                          <a:latin typeface="Calibri" panose="020F0502020204030204" pitchFamily="34" charset="0"/>
                          <a:ea typeface="Calibri" panose="020F0502020204030204" pitchFamily="34" charset="0"/>
                        </a:rPr>
                        <a:t>MAHE</a:t>
                      </a:r>
                    </a:p>
                  </a:txBody>
                  <a:tcPr marL="44450" marR="44450" marT="0" marB="0" anchor="b"/>
                </a:tc>
                <a:tc>
                  <a:txBody>
                    <a:bodyPr/>
                    <a:lstStyle/>
                    <a:p>
                      <a:pPr>
                        <a:spcAft>
                          <a:spcPts val="0"/>
                        </a:spcAft>
                      </a:pPr>
                      <a:r>
                        <a:rPr lang="fr-FR" sz="1600" dirty="0">
                          <a:effectLst/>
                          <a:latin typeface="Calibri" panose="020F0502020204030204" pitchFamily="34" charset="0"/>
                          <a:ea typeface="Calibri" panose="020F0502020204030204" pitchFamily="34" charset="0"/>
                        </a:rPr>
                        <a:t>herve.mahe@mpsa.com</a:t>
                      </a:r>
                    </a:p>
                  </a:txBody>
                  <a:tcPr marL="44450" marR="44450" marT="0" marB="0" anchor="b"/>
                </a:tc>
                <a:extLst>
                  <a:ext uri="{0D108BD9-81ED-4DB2-BD59-A6C34878D82A}">
                    <a16:rowId xmlns:a16="http://schemas.microsoft.com/office/drawing/2014/main" xmlns="" val="10008"/>
                  </a:ext>
                </a:extLst>
              </a:tr>
              <a:tr h="641321">
                <a:tc>
                  <a:txBody>
                    <a:bodyPr/>
                    <a:lstStyle/>
                    <a:p>
                      <a:pPr>
                        <a:spcAft>
                          <a:spcPts val="0"/>
                        </a:spcAft>
                      </a:pPr>
                      <a:r>
                        <a:rPr lang="fr-FR" sz="1600" dirty="0">
                          <a:effectLst/>
                          <a:latin typeface="Calibri" panose="020F0502020204030204" pitchFamily="34" charset="0"/>
                          <a:ea typeface="Calibri" panose="020F0502020204030204" pitchFamily="34" charset="0"/>
                        </a:rPr>
                        <a:t>L’Oréal</a:t>
                      </a:r>
                    </a:p>
                  </a:txBody>
                  <a:tcPr marL="44450" marR="44450" marT="0" marB="0" anchor="b"/>
                </a:tc>
                <a:tc>
                  <a:txBody>
                    <a:bodyPr/>
                    <a:lstStyle/>
                    <a:p>
                      <a:pPr>
                        <a:spcAft>
                          <a:spcPts val="0"/>
                        </a:spcAft>
                      </a:pPr>
                      <a:r>
                        <a:rPr lang="fr-FR" sz="1600" dirty="0">
                          <a:effectLst/>
                          <a:latin typeface="Calibri" panose="020F0502020204030204" pitchFamily="34" charset="0"/>
                          <a:ea typeface="Calibri" panose="020F0502020204030204" pitchFamily="34" charset="0"/>
                        </a:rPr>
                        <a:t>Nathalie</a:t>
                      </a:r>
                    </a:p>
                  </a:txBody>
                  <a:tcPr marL="44450" marR="44450" marT="0" marB="0" anchor="b"/>
                </a:tc>
                <a:tc>
                  <a:txBody>
                    <a:bodyPr/>
                    <a:lstStyle/>
                    <a:p>
                      <a:pPr>
                        <a:spcAft>
                          <a:spcPts val="0"/>
                        </a:spcAft>
                      </a:pPr>
                      <a:r>
                        <a:rPr lang="fr-FR" sz="1600" dirty="0">
                          <a:effectLst/>
                          <a:latin typeface="Calibri" panose="020F0502020204030204" pitchFamily="34" charset="0"/>
                          <a:ea typeface="Calibri" panose="020F0502020204030204" pitchFamily="34" charset="0"/>
                        </a:rPr>
                        <a:t>MORAND-KHALIFA</a:t>
                      </a:r>
                    </a:p>
                  </a:txBody>
                  <a:tcPr marL="44450" marR="44450" marT="0" marB="0" anchor="b"/>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dirty="0">
                          <a:effectLst/>
                          <a:latin typeface="Calibri" panose="020F0502020204030204" pitchFamily="34" charset="0"/>
                          <a:ea typeface="Calibri" panose="020F0502020204030204" pitchFamily="34" charset="0"/>
                        </a:rPr>
                        <a:t>NMORAND-KHALIFA@rd.loreal.com</a:t>
                      </a:r>
                    </a:p>
                  </a:txBody>
                  <a:tcPr marL="44450" marR="44450" marT="0" marB="0" anchor="b"/>
                </a:tc>
                <a:extLst>
                  <a:ext uri="{0D108BD9-81ED-4DB2-BD59-A6C34878D82A}">
                    <a16:rowId xmlns:a16="http://schemas.microsoft.com/office/drawing/2014/main" xmlns="" val="10009"/>
                  </a:ext>
                </a:extLst>
              </a:tr>
            </a:tbl>
          </a:graphicData>
        </a:graphic>
      </p:graphicFrame>
      <p:sp>
        <p:nvSpPr>
          <p:cNvPr id="11" name="Espace réservé du pied de page 4">
            <a:extLst>
              <a:ext uri="{FF2B5EF4-FFF2-40B4-BE49-F238E27FC236}">
                <a16:creationId xmlns:a16="http://schemas.microsoft.com/office/drawing/2014/main" xmlns="" id="{0FFF6242-5C77-424F-9F1F-8D2107112014}"/>
              </a:ext>
            </a:extLst>
          </p:cNvPr>
          <p:cNvSpPr>
            <a:spLocks noGrp="1"/>
          </p:cNvSpPr>
          <p:nvPr>
            <p:ph type="ftr" sz="quarter" idx="11"/>
          </p:nvPr>
        </p:nvSpPr>
        <p:spPr>
          <a:xfrm>
            <a:off x="1104729" y="6296830"/>
            <a:ext cx="7067128" cy="484163"/>
          </a:xfrm>
        </p:spPr>
        <p:txBody>
          <a:bodyPr/>
          <a:lstStyle/>
          <a:p>
            <a:pPr algn="ctr"/>
            <a:r>
              <a:rPr lang="fr-FR" sz="1100" dirty="0">
                <a:solidFill>
                  <a:prstClr val="black"/>
                </a:solidFill>
              </a:rPr>
              <a:t>CR2PA - Atelier </a:t>
            </a:r>
            <a:r>
              <a:rPr lang="fr-FR" sz="1100" dirty="0">
                <a:solidFill>
                  <a:srgbClr val="FF0000"/>
                </a:solidFill>
              </a:rPr>
              <a:t>du 22 juin 2017 </a:t>
            </a:r>
            <a:r>
              <a:rPr lang="fr-FR" sz="1100" dirty="0">
                <a:solidFill>
                  <a:prstClr val="black"/>
                </a:solidFill>
              </a:rPr>
              <a:t>Bruno Lalande – Hervé Mahe – Nathalie Morand Khalifa</a:t>
            </a:r>
          </a:p>
        </p:txBody>
      </p:sp>
    </p:spTree>
    <p:extLst>
      <p:ext uri="{BB962C8B-B14F-4D97-AF65-F5344CB8AC3E}">
        <p14:creationId xmlns:p14="http://schemas.microsoft.com/office/powerpoint/2010/main" val="868447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634082"/>
          </a:xfrm>
        </p:spPr>
        <p:txBody>
          <a:bodyPr>
            <a:noAutofit/>
          </a:bodyPr>
          <a:lstStyle/>
          <a:p>
            <a:r>
              <a:rPr lang="fr-FR" sz="2400" dirty="0"/>
              <a:t>Collecte des mots clefs employés suite à la présentation de chacun lors du tour de table</a:t>
            </a:r>
          </a:p>
        </p:txBody>
      </p:sp>
      <p:sp>
        <p:nvSpPr>
          <p:cNvPr id="3" name="Espace réservé du contenu 2"/>
          <p:cNvSpPr>
            <a:spLocks noGrp="1"/>
          </p:cNvSpPr>
          <p:nvPr>
            <p:ph idx="1"/>
          </p:nvPr>
        </p:nvSpPr>
        <p:spPr>
          <a:xfrm>
            <a:off x="251520" y="908720"/>
            <a:ext cx="8507288" cy="5616624"/>
          </a:xfrm>
        </p:spPr>
        <p:txBody>
          <a:bodyPr>
            <a:normAutofit/>
          </a:bodyPr>
          <a:lstStyle/>
          <a:p>
            <a:endParaRPr lang="fr-FR" dirty="0"/>
          </a:p>
          <a:p>
            <a:r>
              <a:rPr lang="fr-FR" sz="1800" dirty="0"/>
              <a:t>Outils : Choix d’utiliser pour l’archivage les outils GED et collaboratifs, avec un interfaçage avec le référentiel de conservation.</a:t>
            </a:r>
          </a:p>
          <a:p>
            <a:pPr lvl="1"/>
            <a:r>
              <a:rPr lang="fr-FR" sz="1400" dirty="0"/>
              <a:t>Est-ce vraiment de la conservation? Cf. s critères de </a:t>
            </a:r>
          </a:p>
          <a:p>
            <a:r>
              <a:rPr lang="fr-FR" sz="1800" dirty="0"/>
              <a:t>GDPR : Le thème « gestion documentaire et archivage » est une condition de conformité au GDPR</a:t>
            </a:r>
          </a:p>
          <a:p>
            <a:r>
              <a:rPr lang="fr-FR" sz="1800" dirty="0"/>
              <a:t>Conservation des mails : La question à se poser est :  « </a:t>
            </a:r>
            <a:r>
              <a:rPr lang="fr-FR" sz="1800" dirty="0" err="1"/>
              <a:t>font-ils</a:t>
            </a:r>
            <a:r>
              <a:rPr lang="fr-FR" sz="1800" dirty="0"/>
              <a:t> partie du dossier ? » - S’ils font partie du dossier, on les conserve.</a:t>
            </a:r>
          </a:p>
          <a:p>
            <a:r>
              <a:rPr lang="fr-FR" sz="1800" dirty="0"/>
              <a:t>Documents externes : Comment gérer leur cycle de vie ? C’est quelque chose qu’on ne sait pas automatiser sauf pour de l’éditique par exemple (flux de factures par exemples?)</a:t>
            </a:r>
          </a:p>
        </p:txBody>
      </p:sp>
      <p:sp>
        <p:nvSpPr>
          <p:cNvPr id="5" name="Espace réservé du numéro de diapositive 4"/>
          <p:cNvSpPr>
            <a:spLocks noGrp="1"/>
          </p:cNvSpPr>
          <p:nvPr>
            <p:ph type="sldNum" sz="quarter" idx="12"/>
          </p:nvPr>
        </p:nvSpPr>
        <p:spPr/>
        <p:txBody>
          <a:bodyPr/>
          <a:lstStyle/>
          <a:p>
            <a:fld id="{FCE514DE-E9F9-4E23-84E5-45B810FC164B}" type="slidenum">
              <a:rPr lang="fr-FR" smtClean="0"/>
              <a:pPr/>
              <a:t>5</a:t>
            </a:fld>
            <a:endParaRPr lang="fr-FR"/>
          </a:p>
        </p:txBody>
      </p:sp>
      <p:sp>
        <p:nvSpPr>
          <p:cNvPr id="6" name="Espace réservé du pied de page 4">
            <a:extLst>
              <a:ext uri="{FF2B5EF4-FFF2-40B4-BE49-F238E27FC236}">
                <a16:creationId xmlns:a16="http://schemas.microsoft.com/office/drawing/2014/main" xmlns="" id="{E9172CF9-D852-4FD9-8947-38A78DC5F51F}"/>
              </a:ext>
            </a:extLst>
          </p:cNvPr>
          <p:cNvSpPr>
            <a:spLocks noGrp="1"/>
          </p:cNvSpPr>
          <p:nvPr>
            <p:ph type="ftr" sz="quarter" idx="11"/>
          </p:nvPr>
        </p:nvSpPr>
        <p:spPr>
          <a:xfrm>
            <a:off x="1104729" y="6296830"/>
            <a:ext cx="7067128" cy="484163"/>
          </a:xfrm>
        </p:spPr>
        <p:txBody>
          <a:bodyPr/>
          <a:lstStyle/>
          <a:p>
            <a:pPr algn="ctr"/>
            <a:r>
              <a:rPr lang="fr-FR" sz="1100" dirty="0">
                <a:solidFill>
                  <a:prstClr val="black"/>
                </a:solidFill>
              </a:rPr>
              <a:t>CR2PA - Atelier </a:t>
            </a:r>
            <a:r>
              <a:rPr lang="fr-FR" sz="1100" dirty="0">
                <a:solidFill>
                  <a:srgbClr val="FF0000"/>
                </a:solidFill>
              </a:rPr>
              <a:t>du 22 juin 2017 </a:t>
            </a:r>
            <a:r>
              <a:rPr lang="fr-FR" sz="1100" dirty="0">
                <a:solidFill>
                  <a:prstClr val="black"/>
                </a:solidFill>
              </a:rPr>
              <a:t>Bruno Lalande – Hervé Mahe – Nathalie Morand Khalifa</a:t>
            </a:r>
          </a:p>
        </p:txBody>
      </p:sp>
    </p:spTree>
    <p:extLst>
      <p:ext uri="{BB962C8B-B14F-4D97-AF65-F5344CB8AC3E}">
        <p14:creationId xmlns:p14="http://schemas.microsoft.com/office/powerpoint/2010/main" val="41169382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a:t>Programme des ateliers</a:t>
            </a:r>
            <a:br>
              <a:rPr lang="fr-FR" dirty="0"/>
            </a:br>
            <a:endParaRPr lang="fr-FR" dirty="0"/>
          </a:p>
        </p:txBody>
      </p:sp>
      <p:sp>
        <p:nvSpPr>
          <p:cNvPr id="3" name="Espace réservé du contenu 2"/>
          <p:cNvSpPr>
            <a:spLocks noGrp="1"/>
          </p:cNvSpPr>
          <p:nvPr>
            <p:ph idx="1"/>
          </p:nvPr>
        </p:nvSpPr>
        <p:spPr>
          <a:xfrm>
            <a:off x="323528" y="980728"/>
            <a:ext cx="8229600" cy="5112568"/>
          </a:xfrm>
        </p:spPr>
        <p:txBody>
          <a:bodyPr>
            <a:normAutofit fontScale="25000" lnSpcReduction="20000"/>
          </a:bodyPr>
          <a:lstStyle/>
          <a:p>
            <a:r>
              <a:rPr lang="fr-FR" sz="4400" b="1" dirty="0"/>
              <a:t>SEPTEMBRE</a:t>
            </a:r>
            <a:r>
              <a:rPr lang="fr-FR" sz="4400" dirty="0"/>
              <a:t> </a:t>
            </a:r>
            <a:br>
              <a:rPr lang="fr-FR" sz="4400" dirty="0"/>
            </a:br>
            <a:r>
              <a:rPr lang="fr-FR" sz="4400" dirty="0"/>
              <a:t>Atelier "Dimension internationale" (reprise de l'atelier de décembre 2016)</a:t>
            </a:r>
            <a:br>
              <a:rPr lang="fr-FR" sz="4400" dirty="0"/>
            </a:br>
            <a:r>
              <a:rPr lang="fr-FR" sz="4400" dirty="0"/>
              <a:t>Animateurs : Hervé Mahé, Bruno </a:t>
            </a:r>
            <a:r>
              <a:rPr lang="fr-FR" sz="4400" dirty="0" err="1"/>
              <a:t>Danvin</a:t>
            </a:r>
            <a:r>
              <a:rPr lang="fr-FR" sz="4400" dirty="0"/>
              <a:t> et Yves Sarrazin (en attente de confirmation)</a:t>
            </a:r>
            <a:br>
              <a:rPr lang="fr-FR" sz="4400" dirty="0"/>
            </a:br>
            <a:r>
              <a:rPr lang="fr-FR" sz="4400" dirty="0"/>
              <a:t>Lieu : PSA</a:t>
            </a:r>
            <a:br>
              <a:rPr lang="fr-FR" sz="4400" dirty="0"/>
            </a:br>
            <a:r>
              <a:rPr lang="fr-FR" sz="4400" dirty="0"/>
              <a:t>Dates : 19 ou 20 septembre</a:t>
            </a:r>
            <a:br>
              <a:rPr lang="fr-FR" sz="4400" dirty="0"/>
            </a:br>
            <a:r>
              <a:rPr lang="fr-FR" sz="4400" dirty="0"/>
              <a:t> </a:t>
            </a:r>
            <a:br>
              <a:rPr lang="fr-FR" sz="4400" dirty="0"/>
            </a:br>
            <a:r>
              <a:rPr lang="fr-FR" sz="4400" dirty="0"/>
              <a:t> </a:t>
            </a:r>
            <a:br>
              <a:rPr lang="fr-FR" sz="4400" dirty="0"/>
            </a:br>
            <a:r>
              <a:rPr lang="fr-FR" sz="4400" b="1" dirty="0"/>
              <a:t>OCTOBRE</a:t>
            </a:r>
            <a:r>
              <a:rPr lang="fr-FR" sz="4400" dirty="0"/>
              <a:t> </a:t>
            </a:r>
            <a:br>
              <a:rPr lang="fr-FR" sz="4400" dirty="0"/>
            </a:br>
            <a:r>
              <a:rPr lang="fr-FR" sz="4400" dirty="0"/>
              <a:t>Atelier "Audit et validation de la chaîne de numérisation de substitution des archives papier" </a:t>
            </a:r>
            <a:br>
              <a:rPr lang="fr-FR" sz="4400" dirty="0"/>
            </a:br>
            <a:r>
              <a:rPr lang="fr-FR" sz="4400" dirty="0"/>
              <a:t>Animateur : Marie </a:t>
            </a:r>
            <a:r>
              <a:rPr lang="fr-FR" sz="4400" dirty="0" err="1"/>
              <a:t>Laperdrix</a:t>
            </a:r>
            <a:r>
              <a:rPr lang="fr-FR" sz="4400" dirty="0"/>
              <a:t/>
            </a:r>
            <a:br>
              <a:rPr lang="fr-FR" sz="4400" dirty="0"/>
            </a:br>
            <a:r>
              <a:rPr lang="fr-FR" sz="4400" dirty="0"/>
              <a:t>Lieu : MINEFI</a:t>
            </a:r>
            <a:br>
              <a:rPr lang="fr-FR" sz="4400" dirty="0"/>
            </a:br>
            <a:r>
              <a:rPr lang="fr-FR" sz="4400" dirty="0"/>
              <a:t>Dates possibles : 17 octobre ou 19 octobre</a:t>
            </a:r>
            <a:br>
              <a:rPr lang="fr-FR" sz="4400" dirty="0"/>
            </a:br>
            <a:r>
              <a:rPr lang="fr-FR" sz="4400" dirty="0"/>
              <a:t> </a:t>
            </a:r>
            <a:br>
              <a:rPr lang="fr-FR" sz="4400" dirty="0"/>
            </a:br>
            <a:r>
              <a:rPr lang="fr-FR" sz="4400" dirty="0"/>
              <a:t> </a:t>
            </a:r>
            <a:br>
              <a:rPr lang="fr-FR" sz="4400" dirty="0"/>
            </a:br>
            <a:r>
              <a:rPr lang="fr-FR" sz="4400" b="1" dirty="0"/>
              <a:t>DECEMBRE</a:t>
            </a:r>
            <a:r>
              <a:rPr lang="fr-FR" sz="4400" dirty="0"/>
              <a:t/>
            </a:r>
            <a:br>
              <a:rPr lang="fr-FR" sz="4400" dirty="0"/>
            </a:br>
            <a:r>
              <a:rPr lang="fr-FR" sz="4400" dirty="0"/>
              <a:t>Atelier "Archivage probant des informations nativement numériques chez Bouygues"</a:t>
            </a:r>
            <a:br>
              <a:rPr lang="fr-FR" sz="4400" dirty="0"/>
            </a:br>
            <a:r>
              <a:rPr lang="fr-FR" sz="4400" dirty="0"/>
              <a:t>Animateur : François </a:t>
            </a:r>
            <a:r>
              <a:rPr lang="fr-FR" sz="4400" dirty="0" err="1"/>
              <a:t>Delion</a:t>
            </a:r>
            <a:r>
              <a:rPr lang="fr-FR" sz="4400" dirty="0"/>
              <a:t> (en attente de confirmation)</a:t>
            </a:r>
            <a:br>
              <a:rPr lang="fr-FR" sz="4400" dirty="0"/>
            </a:br>
            <a:r>
              <a:rPr lang="fr-FR" sz="4400" dirty="0"/>
              <a:t>Lieu : A vérifier</a:t>
            </a:r>
            <a:br>
              <a:rPr lang="fr-FR" sz="4400" dirty="0"/>
            </a:br>
            <a:r>
              <a:rPr lang="fr-FR" sz="4400" dirty="0"/>
              <a:t>Dates possibles 14 ou 19 ou 21 décembre</a:t>
            </a:r>
            <a:br>
              <a:rPr lang="fr-FR" sz="4400" dirty="0"/>
            </a:br>
            <a:r>
              <a:rPr lang="fr-FR" sz="4400" dirty="0"/>
              <a:t/>
            </a:r>
            <a:br>
              <a:rPr lang="fr-FR" sz="4400" dirty="0"/>
            </a:br>
            <a:r>
              <a:rPr lang="fr-FR" sz="4400" dirty="0"/>
              <a:t>Un mode opératoire précis sera transmis aux nouveaux animateurs (Présentation PPT, réunion de cadrage en amont sur la conduite des ateliers et la préparation de la thématique, présence du référent Ateliers B. Ouillon lors des ateliers)</a:t>
            </a:r>
            <a:br>
              <a:rPr lang="fr-FR" sz="4400" dirty="0"/>
            </a:br>
            <a:r>
              <a:rPr lang="fr-FR" sz="4400" dirty="0"/>
              <a:t> </a:t>
            </a:r>
            <a:br>
              <a:rPr lang="fr-FR" sz="4400" dirty="0"/>
            </a:br>
            <a:r>
              <a:rPr lang="fr-FR" sz="4400" dirty="0"/>
              <a:t/>
            </a:r>
            <a:br>
              <a:rPr lang="fr-FR" sz="4400" dirty="0"/>
            </a:br>
            <a:r>
              <a:rPr lang="fr-FR" sz="4400" dirty="0"/>
              <a:t>En prévision pour le début de l'année prochaine :  </a:t>
            </a:r>
            <a:br>
              <a:rPr lang="fr-FR" sz="4400" dirty="0"/>
            </a:br>
            <a:r>
              <a:rPr lang="fr-FR" sz="4400" dirty="0"/>
              <a:t>JANVIER 2018</a:t>
            </a:r>
            <a:br>
              <a:rPr lang="fr-FR" sz="4400" dirty="0"/>
            </a:br>
            <a:r>
              <a:rPr lang="fr-FR" sz="4400" dirty="0"/>
              <a:t>Atelier regards croisés GED/SAE</a:t>
            </a:r>
            <a:br>
              <a:rPr lang="fr-FR" sz="4400" dirty="0"/>
            </a:br>
            <a:r>
              <a:rPr lang="fr-FR" sz="4400" dirty="0"/>
              <a:t>Catherine Vincent de Tapol / Sylvie PIVA (Solvay)</a:t>
            </a:r>
            <a:br>
              <a:rPr lang="fr-FR" sz="4400" dirty="0"/>
            </a:br>
            <a:r>
              <a:rPr lang="fr-FR" sz="4400" dirty="0"/>
              <a:t>Lieu : site Solvay IDF (Clichy ou Aubervilliers)</a:t>
            </a:r>
            <a:br>
              <a:rPr lang="fr-FR" sz="4400" dirty="0"/>
            </a:br>
            <a:r>
              <a:rPr lang="fr-FR" sz="4400" dirty="0"/>
              <a:t>Dates possibles 23/25/30 janvier 2018</a:t>
            </a:r>
            <a:br>
              <a:rPr lang="fr-FR" sz="4400" dirty="0"/>
            </a:br>
            <a:r>
              <a:rPr lang="fr-FR" sz="4400" dirty="0"/>
              <a:t> </a:t>
            </a:r>
            <a:br>
              <a:rPr lang="fr-FR" sz="4400" dirty="0"/>
            </a:br>
            <a:r>
              <a:rPr lang="fr-FR" sz="4400" dirty="0"/>
              <a:t> </a:t>
            </a:r>
            <a:br>
              <a:rPr lang="fr-FR" sz="4400" dirty="0"/>
            </a:br>
            <a:r>
              <a:rPr lang="fr-FR" sz="4400" dirty="0"/>
              <a:t>MARS 2018</a:t>
            </a:r>
            <a:br>
              <a:rPr lang="fr-FR" sz="4400" dirty="0"/>
            </a:br>
            <a:r>
              <a:rPr lang="fr-FR" sz="4400" dirty="0"/>
              <a:t>Atelier : mise en œuvre d'un SAE pour les documents enregistrés sur les partages bureautiques.</a:t>
            </a:r>
            <a:br>
              <a:rPr lang="fr-FR" sz="4400" dirty="0"/>
            </a:br>
            <a:r>
              <a:rPr lang="fr-FR" sz="4400" dirty="0"/>
              <a:t>Fabrice </a:t>
            </a:r>
            <a:r>
              <a:rPr lang="fr-FR" sz="4400" dirty="0" err="1"/>
              <a:t>Reuzé</a:t>
            </a:r>
            <a:r>
              <a:rPr lang="fr-FR" sz="4400" dirty="0"/>
              <a:t/>
            </a:r>
            <a:br>
              <a:rPr lang="fr-FR" sz="4400" dirty="0"/>
            </a:br>
            <a:r>
              <a:rPr lang="fr-FR" sz="4400" dirty="0"/>
              <a:t>Lieu : Banque de France</a:t>
            </a:r>
            <a:br>
              <a:rPr lang="fr-FR" sz="4400" dirty="0"/>
            </a:br>
            <a:r>
              <a:rPr lang="fr-FR" sz="4400" dirty="0"/>
              <a:t>Dates possibles : 14 / 16 / 20 / 22 mars</a:t>
            </a:r>
          </a:p>
          <a:p>
            <a:endParaRPr lang="fr-FR" dirty="0"/>
          </a:p>
        </p:txBody>
      </p:sp>
      <p:sp>
        <p:nvSpPr>
          <p:cNvPr id="5" name="Espace réservé du numéro de diapositive 4"/>
          <p:cNvSpPr>
            <a:spLocks noGrp="1"/>
          </p:cNvSpPr>
          <p:nvPr>
            <p:ph type="sldNum" sz="quarter" idx="12"/>
          </p:nvPr>
        </p:nvSpPr>
        <p:spPr/>
        <p:txBody>
          <a:bodyPr/>
          <a:lstStyle/>
          <a:p>
            <a:fld id="{FCE514DE-E9F9-4E23-84E5-45B810FC164B}" type="slidenum">
              <a:rPr lang="fr-FR" smtClean="0"/>
              <a:pPr/>
              <a:t>6</a:t>
            </a:fld>
            <a:endParaRPr lang="fr-FR"/>
          </a:p>
        </p:txBody>
      </p:sp>
      <p:sp>
        <p:nvSpPr>
          <p:cNvPr id="7" name="Espace réservé du pied de page 4">
            <a:extLst>
              <a:ext uri="{FF2B5EF4-FFF2-40B4-BE49-F238E27FC236}">
                <a16:creationId xmlns:a16="http://schemas.microsoft.com/office/drawing/2014/main" xmlns="" id="{C977D50F-DB20-4A59-8F0F-C95DBAE0FB09}"/>
              </a:ext>
            </a:extLst>
          </p:cNvPr>
          <p:cNvSpPr>
            <a:spLocks noGrp="1"/>
          </p:cNvSpPr>
          <p:nvPr>
            <p:ph type="ftr" sz="quarter" idx="11"/>
          </p:nvPr>
        </p:nvSpPr>
        <p:spPr>
          <a:xfrm>
            <a:off x="1104729" y="6296830"/>
            <a:ext cx="7067128" cy="484163"/>
          </a:xfrm>
        </p:spPr>
        <p:txBody>
          <a:bodyPr/>
          <a:lstStyle/>
          <a:p>
            <a:pPr algn="ctr"/>
            <a:r>
              <a:rPr lang="fr-FR" sz="1100" dirty="0">
                <a:solidFill>
                  <a:prstClr val="black"/>
                </a:solidFill>
              </a:rPr>
              <a:t>CR2PA - Atelier </a:t>
            </a:r>
            <a:r>
              <a:rPr lang="fr-FR" sz="1100" dirty="0">
                <a:solidFill>
                  <a:srgbClr val="FF0000"/>
                </a:solidFill>
              </a:rPr>
              <a:t>du 22 juin 2017 </a:t>
            </a:r>
            <a:r>
              <a:rPr lang="fr-FR" sz="1100" dirty="0">
                <a:solidFill>
                  <a:prstClr val="black"/>
                </a:solidFill>
              </a:rPr>
              <a:t>Bruno Lalande – Hervé Mahe – Nathalie Morand Khalifa</a:t>
            </a:r>
          </a:p>
        </p:txBody>
      </p:sp>
    </p:spTree>
    <p:extLst>
      <p:ext uri="{BB962C8B-B14F-4D97-AF65-F5344CB8AC3E}">
        <p14:creationId xmlns:p14="http://schemas.microsoft.com/office/powerpoint/2010/main" val="1020663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p:txBody>
          <a:bodyPr/>
          <a:lstStyle/>
          <a:p>
            <a:fld id="{FCE514DE-E9F9-4E23-84E5-45B810FC164B}" type="slidenum">
              <a:rPr lang="fr-FR" smtClean="0">
                <a:solidFill>
                  <a:prstClr val="black">
                    <a:tint val="75000"/>
                  </a:prstClr>
                </a:solidFill>
              </a:rPr>
              <a:pPr/>
              <a:t>7</a:t>
            </a:fld>
            <a:endParaRPr lang="fr-FR">
              <a:solidFill>
                <a:prstClr val="black">
                  <a:tint val="75000"/>
                </a:prstClr>
              </a:solidFill>
            </a:endParaRPr>
          </a:p>
        </p:txBody>
      </p:sp>
      <p:sp>
        <p:nvSpPr>
          <p:cNvPr id="6" name="Sous-titre 2"/>
          <p:cNvSpPr txBox="1">
            <a:spLocks/>
          </p:cNvSpPr>
          <p:nvPr/>
        </p:nvSpPr>
        <p:spPr>
          <a:xfrm>
            <a:off x="179512" y="0"/>
            <a:ext cx="8640960" cy="2780928"/>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fr-FR" sz="1800" b="1" u="sng">
                <a:solidFill>
                  <a:prstClr val="black">
                    <a:lumMod val="50000"/>
                    <a:lumOff val="50000"/>
                  </a:prstClr>
                </a:solidFill>
              </a:rPr>
              <a:t>AGENDA</a:t>
            </a:r>
            <a:r>
              <a:rPr lang="fr-FR" sz="1400">
                <a:solidFill>
                  <a:prstClr val="black"/>
                </a:solidFill>
              </a:rPr>
              <a:t> </a:t>
            </a:r>
          </a:p>
          <a:p>
            <a:pPr marL="342900" lvl="3" indent="-342900">
              <a:buFont typeface="Arial" pitchFamily="34" charset="0"/>
              <a:buChar char="•"/>
            </a:pPr>
            <a:endParaRPr lang="it-IT" sz="1400">
              <a:solidFill>
                <a:prstClr val="black"/>
              </a:solidFill>
            </a:endParaRPr>
          </a:p>
          <a:p>
            <a:pPr marL="342900" lvl="3" indent="-342900">
              <a:buFont typeface="Arial" pitchFamily="34" charset="0"/>
              <a:buChar char="•"/>
            </a:pPr>
            <a:endParaRPr lang="fr-FR" sz="1600" dirty="0">
              <a:solidFill>
                <a:prstClr val="black"/>
              </a:solidFill>
            </a:endParaRPr>
          </a:p>
        </p:txBody>
      </p:sp>
      <p:sp>
        <p:nvSpPr>
          <p:cNvPr id="7" name="Sous-titre 2"/>
          <p:cNvSpPr txBox="1">
            <a:spLocks/>
          </p:cNvSpPr>
          <p:nvPr/>
        </p:nvSpPr>
        <p:spPr>
          <a:xfrm>
            <a:off x="179512" y="301393"/>
            <a:ext cx="8640960" cy="5647887"/>
          </a:xfrm>
          <a:prstGeom prst="rect">
            <a:avLst/>
          </a:prstGeom>
        </p:spPr>
        <p:txBody>
          <a:bodyPr vert="horz" lIns="91440" tIns="45720" rIns="91440" bIns="45720" rtlCol="0">
            <a:noAutofit/>
          </a:bodyPr>
          <a:lstStyle/>
          <a:p>
            <a:pPr marL="342900" lvl="3" indent="-342900">
              <a:spcBef>
                <a:spcPct val="20000"/>
              </a:spcBef>
              <a:buFont typeface="Arial" pitchFamily="34" charset="0"/>
              <a:buNone/>
              <a:defRPr/>
            </a:pPr>
            <a:r>
              <a:rPr lang="fr-FR" sz="1600" b="1" u="sng" dirty="0">
                <a:solidFill>
                  <a:srgbClr val="FF0000"/>
                </a:solidFill>
              </a:rPr>
              <a:t>Prochaines manifestations du Club</a:t>
            </a:r>
          </a:p>
          <a:p>
            <a:pPr marL="342900" lvl="3" indent="-342900">
              <a:spcBef>
                <a:spcPct val="20000"/>
              </a:spcBef>
              <a:defRPr/>
            </a:pPr>
            <a:r>
              <a:rPr lang="fr-FR" sz="1600" b="1" u="sng" dirty="0">
                <a:solidFill>
                  <a:schemeClr val="tx2">
                    <a:lumMod val="60000"/>
                    <a:lumOff val="40000"/>
                  </a:schemeClr>
                </a:solidFill>
              </a:rPr>
              <a:t>Ateliers : cf. slide précédent</a:t>
            </a:r>
          </a:p>
          <a:p>
            <a:pPr marL="342900" lvl="3" indent="-342900">
              <a:spcBef>
                <a:spcPct val="20000"/>
              </a:spcBef>
              <a:defRPr/>
            </a:pPr>
            <a:endParaRPr lang="fr-FR" sz="1600" b="1" u="sng" dirty="0">
              <a:solidFill>
                <a:schemeClr val="tx2">
                  <a:lumMod val="60000"/>
                  <a:lumOff val="40000"/>
                </a:schemeClr>
              </a:solidFill>
            </a:endParaRPr>
          </a:p>
          <a:p>
            <a:pPr marL="342900" lvl="3" indent="-342900">
              <a:spcBef>
                <a:spcPct val="20000"/>
              </a:spcBef>
              <a:defRPr/>
            </a:pPr>
            <a:r>
              <a:rPr lang="fr-FR" sz="1600" b="1" u="sng" dirty="0">
                <a:solidFill>
                  <a:schemeClr val="tx2">
                    <a:lumMod val="60000"/>
                    <a:lumOff val="40000"/>
                  </a:schemeClr>
                </a:solidFill>
              </a:rPr>
              <a:t>Réunions plénières </a:t>
            </a:r>
            <a:r>
              <a:rPr lang="fr-FR" sz="1600" b="1" dirty="0">
                <a:solidFill>
                  <a:schemeClr val="tx2">
                    <a:lumMod val="60000"/>
                    <a:lumOff val="40000"/>
                  </a:schemeClr>
                </a:solidFill>
              </a:rPr>
              <a:t>:   </a:t>
            </a:r>
            <a:r>
              <a:rPr lang="fr-FR" sz="1600" b="1" i="1" dirty="0">
                <a:solidFill>
                  <a:schemeClr val="tx2">
                    <a:lumMod val="60000"/>
                    <a:lumOff val="40000"/>
                  </a:schemeClr>
                </a:solidFill>
              </a:rPr>
              <a:t>(prévisionnel, à confirmer)</a:t>
            </a:r>
            <a:endParaRPr lang="fr-FR" sz="1600" b="1" i="1" u="sng" dirty="0">
              <a:solidFill>
                <a:schemeClr val="tx2">
                  <a:lumMod val="60000"/>
                  <a:lumOff val="40000"/>
                </a:schemeClr>
              </a:solidFill>
            </a:endParaRPr>
          </a:p>
          <a:p>
            <a:pPr marL="342900" lvl="3" indent="-342900">
              <a:spcBef>
                <a:spcPct val="20000"/>
              </a:spcBef>
              <a:defRPr/>
            </a:pPr>
            <a:endParaRPr lang="fr-FR" sz="1600" b="1" u="sng" dirty="0">
              <a:solidFill>
                <a:schemeClr val="tx2">
                  <a:lumMod val="60000"/>
                  <a:lumOff val="40000"/>
                </a:schemeClr>
              </a:solidFill>
            </a:endParaRPr>
          </a:p>
          <a:p>
            <a:pPr marL="342900" lvl="3" indent="-342900">
              <a:spcBef>
                <a:spcPct val="20000"/>
              </a:spcBef>
              <a:defRPr/>
            </a:pPr>
            <a:r>
              <a:rPr lang="fr-FR" sz="1600" b="1" dirty="0">
                <a:solidFill>
                  <a:schemeClr val="tx2">
                    <a:lumMod val="60000"/>
                    <a:lumOff val="40000"/>
                  </a:schemeClr>
                </a:solidFill>
              </a:rPr>
              <a:t>Octobre 2017 : RGPD : l’archivage managérial comme levier de conformité</a:t>
            </a:r>
          </a:p>
          <a:p>
            <a:pPr marL="342900" lvl="3" indent="-342900">
              <a:spcBef>
                <a:spcPct val="20000"/>
              </a:spcBef>
              <a:defRPr/>
            </a:pPr>
            <a:endParaRPr lang="fr-FR" sz="1600" b="1" u="sng" dirty="0">
              <a:solidFill>
                <a:schemeClr val="tx2">
                  <a:lumMod val="60000"/>
                  <a:lumOff val="40000"/>
                </a:schemeClr>
              </a:solidFill>
            </a:endParaRPr>
          </a:p>
          <a:p>
            <a:pPr marL="342900" lvl="3" indent="-342900">
              <a:spcBef>
                <a:spcPct val="20000"/>
              </a:spcBef>
              <a:defRPr/>
            </a:pPr>
            <a:r>
              <a:rPr lang="fr-FR" sz="1600" b="1" dirty="0">
                <a:solidFill>
                  <a:schemeClr val="tx2">
                    <a:lumMod val="60000"/>
                    <a:lumOff val="40000"/>
                  </a:schemeClr>
                </a:solidFill>
              </a:rPr>
              <a:t>Décembre 2017 : L’informatique d’entreprise dans le cloud : agilité de l’utilisateur vs responsabilité de l’entreprise</a:t>
            </a:r>
          </a:p>
          <a:p>
            <a:pPr marL="342900" lvl="3" indent="-342900">
              <a:spcBef>
                <a:spcPct val="20000"/>
              </a:spcBef>
              <a:defRPr/>
            </a:pPr>
            <a:endParaRPr lang="fr-FR" sz="1600" b="1" dirty="0">
              <a:solidFill>
                <a:schemeClr val="tx2">
                  <a:lumMod val="60000"/>
                  <a:lumOff val="40000"/>
                </a:schemeClr>
              </a:solidFill>
            </a:endParaRPr>
          </a:p>
          <a:p>
            <a:pPr marL="342900" lvl="3" indent="-342900">
              <a:spcBef>
                <a:spcPct val="20000"/>
              </a:spcBef>
              <a:defRPr/>
            </a:pPr>
            <a:r>
              <a:rPr lang="fr-FR" sz="1600" b="1" dirty="0">
                <a:solidFill>
                  <a:schemeClr val="tx2">
                    <a:lumMod val="60000"/>
                    <a:lumOff val="40000"/>
                  </a:schemeClr>
                </a:solidFill>
              </a:rPr>
              <a:t>1</a:t>
            </a:r>
            <a:r>
              <a:rPr lang="fr-FR" sz="1600" b="1" baseline="30000" dirty="0">
                <a:solidFill>
                  <a:schemeClr val="tx2">
                    <a:lumMod val="60000"/>
                    <a:lumOff val="40000"/>
                  </a:schemeClr>
                </a:solidFill>
              </a:rPr>
              <a:t>er</a:t>
            </a:r>
            <a:r>
              <a:rPr lang="fr-FR" sz="1600" b="1" dirty="0">
                <a:solidFill>
                  <a:schemeClr val="tx2">
                    <a:lumMod val="60000"/>
                    <a:lumOff val="40000"/>
                  </a:schemeClr>
                </a:solidFill>
              </a:rPr>
              <a:t> trimestre 2017 : Entreprise étendue et risque documentaire</a:t>
            </a:r>
            <a:endParaRPr lang="fr-FR" sz="1600" b="1" dirty="0">
              <a:solidFill>
                <a:srgbClr val="FF0000"/>
              </a:solidFill>
            </a:endParaRPr>
          </a:p>
          <a:p>
            <a:pPr marL="342900" lvl="3" indent="-342900">
              <a:spcBef>
                <a:spcPct val="20000"/>
              </a:spcBef>
              <a:defRPr/>
            </a:pPr>
            <a:endParaRPr lang="fr-FR" sz="1600" b="1" u="sng" dirty="0">
              <a:solidFill>
                <a:srgbClr val="FF0000"/>
              </a:solidFill>
            </a:endParaRPr>
          </a:p>
          <a:p>
            <a:pPr marL="342900" lvl="3" indent="-342900">
              <a:spcBef>
                <a:spcPct val="20000"/>
              </a:spcBef>
              <a:defRPr/>
            </a:pPr>
            <a:r>
              <a:rPr lang="fr-FR" sz="1600" b="1" u="sng" dirty="0">
                <a:solidFill>
                  <a:srgbClr val="FF0000"/>
                </a:solidFill>
              </a:rPr>
              <a:t>Autres manifestation</a:t>
            </a:r>
          </a:p>
          <a:p>
            <a:pPr marL="342900" lvl="3" indent="-342900">
              <a:spcBef>
                <a:spcPct val="20000"/>
              </a:spcBef>
              <a:defRPr/>
            </a:pPr>
            <a:endParaRPr lang="fr-FR" sz="1600" b="1" u="sng" dirty="0">
              <a:solidFill>
                <a:srgbClr val="FF0000"/>
              </a:solidFill>
            </a:endParaRPr>
          </a:p>
          <a:p>
            <a:pPr marL="342900" lvl="3" indent="-342900">
              <a:spcBef>
                <a:spcPct val="20000"/>
              </a:spcBef>
              <a:defRPr/>
            </a:pPr>
            <a:r>
              <a:rPr lang="fr-FR" sz="1600" b="1" u="sng" dirty="0">
                <a:solidFill>
                  <a:srgbClr val="FF0000"/>
                </a:solidFill>
              </a:rPr>
              <a:t>En bref</a:t>
            </a:r>
          </a:p>
        </p:txBody>
      </p:sp>
      <p:sp>
        <p:nvSpPr>
          <p:cNvPr id="8" name="Sous-titre 2"/>
          <p:cNvSpPr txBox="1">
            <a:spLocks/>
          </p:cNvSpPr>
          <p:nvPr/>
        </p:nvSpPr>
        <p:spPr>
          <a:xfrm>
            <a:off x="282352" y="4692561"/>
            <a:ext cx="8435280" cy="3327578"/>
          </a:xfrm>
          <a:prstGeom prst="rect">
            <a:avLst/>
          </a:prstGeom>
        </p:spPr>
        <p:txBody>
          <a:bodyPr vert="horz" lIns="91440" tIns="45720" rIns="91440" bIns="45720" rtlCol="0">
            <a:noAutofit/>
          </a:bodyPr>
          <a:lstStyle/>
          <a:p>
            <a:pPr marL="0" lvl="3">
              <a:spcBef>
                <a:spcPct val="20000"/>
              </a:spcBef>
              <a:buFont typeface="Arial" pitchFamily="34" charset="0"/>
              <a:buNone/>
              <a:defRPr/>
            </a:pPr>
            <a:r>
              <a:rPr lang="it-IT" b="1" u="sng" dirty="0">
                <a:solidFill>
                  <a:prstClr val="black">
                    <a:lumMod val="50000"/>
                    <a:lumOff val="50000"/>
                  </a:prstClr>
                </a:solidFill>
              </a:rPr>
              <a:t>A LIRE  et A VOIR</a:t>
            </a:r>
          </a:p>
          <a:p>
            <a:pPr marL="0" lvl="3">
              <a:spcBef>
                <a:spcPct val="20000"/>
              </a:spcBef>
              <a:defRPr/>
            </a:pPr>
            <a:endParaRPr lang="it-IT" sz="800" b="1" dirty="0">
              <a:solidFill>
                <a:prstClr val="black">
                  <a:lumMod val="50000"/>
                  <a:lumOff val="50000"/>
                </a:prstClr>
              </a:solidFill>
            </a:endParaRPr>
          </a:p>
          <a:p>
            <a:pPr marL="0" lvl="3">
              <a:spcBef>
                <a:spcPct val="20000"/>
              </a:spcBef>
              <a:defRPr/>
            </a:pPr>
            <a:endParaRPr lang="it-IT" sz="800" b="1" dirty="0">
              <a:solidFill>
                <a:prstClr val="black">
                  <a:lumMod val="50000"/>
                  <a:lumOff val="50000"/>
                </a:prstClr>
              </a:solidFill>
            </a:endParaRPr>
          </a:p>
          <a:p>
            <a:pPr marL="0" lvl="3">
              <a:spcBef>
                <a:spcPct val="20000"/>
              </a:spcBef>
              <a:defRPr/>
            </a:pPr>
            <a:r>
              <a:rPr lang="it-IT" sz="1400" b="1" dirty="0">
                <a:solidFill>
                  <a:prstClr val="black">
                    <a:lumMod val="50000"/>
                    <a:lumOff val="50000"/>
                  </a:prstClr>
                </a:solidFill>
              </a:rPr>
              <a:t>Blogs</a:t>
            </a:r>
          </a:p>
          <a:p>
            <a:pPr marL="0" lvl="3">
              <a:spcBef>
                <a:spcPct val="20000"/>
              </a:spcBef>
              <a:defRPr/>
            </a:pPr>
            <a:endParaRPr lang="fr-FR" sz="1400" b="1" dirty="0">
              <a:solidFill>
                <a:prstClr val="black"/>
              </a:solidFill>
            </a:endParaRPr>
          </a:p>
          <a:p>
            <a:pPr marL="0" lvl="3">
              <a:spcBef>
                <a:spcPct val="20000"/>
              </a:spcBef>
              <a:defRPr/>
            </a:pPr>
            <a:r>
              <a:rPr lang="fr-FR" sz="1400" b="1" dirty="0">
                <a:solidFill>
                  <a:prstClr val="black"/>
                </a:solidFill>
              </a:rPr>
              <a:t>		+ Nouvelles diverses sur le groupe </a:t>
            </a:r>
            <a:r>
              <a:rPr lang="fr-FR" sz="1400" b="1" dirty="0" err="1">
                <a:solidFill>
                  <a:prstClr val="black"/>
                </a:solidFill>
              </a:rPr>
              <a:t>Linkedin</a:t>
            </a:r>
            <a:endParaRPr lang="fr-FR" sz="1400" b="1" dirty="0">
              <a:solidFill>
                <a:prstClr val="black"/>
              </a:solidFill>
            </a:endParaRPr>
          </a:p>
        </p:txBody>
      </p:sp>
      <p:sp>
        <p:nvSpPr>
          <p:cNvPr id="10" name="Espace réservé du pied de page 4">
            <a:extLst>
              <a:ext uri="{FF2B5EF4-FFF2-40B4-BE49-F238E27FC236}">
                <a16:creationId xmlns:a16="http://schemas.microsoft.com/office/drawing/2014/main" xmlns="" id="{681A85D1-36B5-4591-B72E-DE2C9EE7525D}"/>
              </a:ext>
            </a:extLst>
          </p:cNvPr>
          <p:cNvSpPr>
            <a:spLocks noGrp="1"/>
          </p:cNvSpPr>
          <p:nvPr>
            <p:ph type="ftr" sz="quarter" idx="11"/>
          </p:nvPr>
        </p:nvSpPr>
        <p:spPr>
          <a:xfrm>
            <a:off x="1104729" y="6296830"/>
            <a:ext cx="7067128" cy="484163"/>
          </a:xfrm>
        </p:spPr>
        <p:txBody>
          <a:bodyPr/>
          <a:lstStyle/>
          <a:p>
            <a:pPr algn="ctr"/>
            <a:r>
              <a:rPr lang="fr-FR" sz="1100" dirty="0">
                <a:solidFill>
                  <a:prstClr val="black"/>
                </a:solidFill>
              </a:rPr>
              <a:t>CR2PA - Atelier </a:t>
            </a:r>
            <a:r>
              <a:rPr lang="fr-FR" sz="1100" dirty="0">
                <a:solidFill>
                  <a:srgbClr val="FF0000"/>
                </a:solidFill>
              </a:rPr>
              <a:t>du 22 juin 2017 </a:t>
            </a:r>
            <a:r>
              <a:rPr lang="fr-FR" sz="1100" dirty="0">
                <a:solidFill>
                  <a:prstClr val="black"/>
                </a:solidFill>
              </a:rPr>
              <a:t>Bruno Lalande – Hervé Mahe – Nathalie Morand Khalifa</a:t>
            </a:r>
          </a:p>
        </p:txBody>
      </p:sp>
    </p:spTree>
    <p:extLst>
      <p:ext uri="{BB962C8B-B14F-4D97-AF65-F5344CB8AC3E}">
        <p14:creationId xmlns:p14="http://schemas.microsoft.com/office/powerpoint/2010/main" val="2765721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a:r>
              <a:rPr lang="en-US" dirty="0">
                <a:solidFill>
                  <a:srgbClr val="FFC000"/>
                </a:solidFill>
                <a:latin typeface="+mj-lt"/>
              </a:rPr>
              <a:t>Presentation du </a:t>
            </a:r>
            <a:r>
              <a:rPr lang="en-US" dirty="0" err="1">
                <a:solidFill>
                  <a:srgbClr val="FFC000"/>
                </a:solidFill>
                <a:latin typeface="+mj-lt"/>
              </a:rPr>
              <a:t>groupe</a:t>
            </a:r>
            <a:r>
              <a:rPr lang="en-US" dirty="0">
                <a:solidFill>
                  <a:srgbClr val="FFC000"/>
                </a:solidFill>
                <a:latin typeface="+mj-lt"/>
              </a:rPr>
              <a:t> </a:t>
            </a:r>
            <a:r>
              <a:rPr lang="en-US" dirty="0" err="1">
                <a:solidFill>
                  <a:srgbClr val="FFC000"/>
                </a:solidFill>
                <a:latin typeface="+mj-lt"/>
              </a:rPr>
              <a:t>renault</a:t>
            </a:r>
            <a:r>
              <a:rPr lang="en-US" dirty="0">
                <a:solidFill>
                  <a:srgbClr val="FFC000"/>
                </a:solidFill>
                <a:latin typeface="+mj-lt"/>
              </a:rPr>
              <a:t/>
            </a:r>
            <a:br>
              <a:rPr lang="en-US" dirty="0">
                <a:solidFill>
                  <a:srgbClr val="FFC000"/>
                </a:solidFill>
                <a:latin typeface="+mj-lt"/>
              </a:rPr>
            </a:br>
            <a:r>
              <a:rPr lang="en-US" b="0" dirty="0">
                <a:latin typeface="+mj-lt"/>
              </a:rPr>
              <a:t>atelier cr2pa – 22 </a:t>
            </a:r>
            <a:r>
              <a:rPr lang="en-US" b="0" dirty="0" err="1">
                <a:latin typeface="+mj-lt"/>
              </a:rPr>
              <a:t>juin</a:t>
            </a:r>
            <a:r>
              <a:rPr lang="en-US" b="0" dirty="0">
                <a:latin typeface="+mj-lt"/>
              </a:rPr>
              <a:t> 2017</a:t>
            </a:r>
            <a:endParaRPr lang="en-US" dirty="0">
              <a:latin typeface="+mj-lt"/>
            </a:endParaRPr>
          </a:p>
        </p:txBody>
      </p:sp>
    </p:spTree>
    <p:extLst>
      <p:ext uri="{BB962C8B-B14F-4D97-AF65-F5344CB8AC3E}">
        <p14:creationId xmlns:p14="http://schemas.microsoft.com/office/powerpoint/2010/main" val="3319854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458094" y="2114553"/>
            <a:ext cx="6459984" cy="1971675"/>
            <a:chOff x="357234" y="1257302"/>
            <a:chExt cx="6459984" cy="1971675"/>
          </a:xfrm>
        </p:grpSpPr>
        <p:sp>
          <p:nvSpPr>
            <p:cNvPr id="3" name="AutoShape 2"/>
            <p:cNvSpPr>
              <a:spLocks noChangeArrowheads="1"/>
            </p:cNvSpPr>
            <p:nvPr/>
          </p:nvSpPr>
          <p:spPr bwMode="auto">
            <a:xfrm>
              <a:off x="407249" y="2388396"/>
              <a:ext cx="6409969" cy="840581"/>
            </a:xfrm>
            <a:prstGeom prst="flowChartProcess">
              <a:avLst/>
            </a:prstGeom>
            <a:noFill/>
            <a:ln w="9525">
              <a:noFill/>
              <a:miter lim="800000"/>
              <a:headEnd/>
              <a:tailEnd/>
            </a:ln>
          </p:spPr>
          <p:txBody>
            <a:bodyPr wrap="none" lIns="27000" tIns="27000" rIns="27000" bIns="27000"/>
            <a:lstStyle/>
            <a:p>
              <a:pPr fontAlgn="base">
                <a:spcBef>
                  <a:spcPct val="0"/>
                </a:spcBef>
                <a:spcAft>
                  <a:spcPct val="0"/>
                </a:spcAft>
                <a:buClr>
                  <a:srgbClr val="F7B100"/>
                </a:buClr>
              </a:pPr>
              <a:r>
                <a:rPr lang="fr-FR" sz="3200" b="1" cap="all" dirty="0">
                  <a:solidFill>
                    <a:srgbClr val="000000"/>
                  </a:solidFill>
                  <a:latin typeface="Arial Narrow" pitchFamily="34" charset="0"/>
                  <a:ea typeface="MS PGothic" pitchFamily="34" charset="-128"/>
                  <a:cs typeface="Arial" charset="0"/>
                </a:rPr>
                <a:t>LE GROUPE RENAULT</a:t>
              </a:r>
            </a:p>
          </p:txBody>
        </p:sp>
        <p:sp>
          <p:nvSpPr>
            <p:cNvPr id="4" name="AutoShape 3"/>
            <p:cNvSpPr>
              <a:spLocks noChangeArrowheads="1"/>
            </p:cNvSpPr>
            <p:nvPr/>
          </p:nvSpPr>
          <p:spPr bwMode="auto">
            <a:xfrm>
              <a:off x="357234" y="1257302"/>
              <a:ext cx="1343200" cy="973931"/>
            </a:xfrm>
            <a:prstGeom prst="flowChartProcess">
              <a:avLst/>
            </a:prstGeom>
            <a:noFill/>
            <a:ln w="9525">
              <a:noFill/>
              <a:miter lim="800000"/>
              <a:headEnd/>
              <a:tailEnd/>
            </a:ln>
          </p:spPr>
          <p:txBody>
            <a:bodyPr wrap="none" lIns="27000" tIns="0" rIns="27000" bIns="0" anchor="ctr"/>
            <a:lstStyle/>
            <a:p>
              <a:pPr eaLnBrk="0" fontAlgn="base" hangingPunct="0">
                <a:spcBef>
                  <a:spcPct val="0"/>
                </a:spcBef>
                <a:spcAft>
                  <a:spcPct val="0"/>
                </a:spcAft>
              </a:pPr>
              <a:r>
                <a:rPr lang="en-GB" sz="12000" b="1" dirty="0">
                  <a:solidFill>
                    <a:srgbClr val="FFCD00"/>
                  </a:solidFill>
                  <a:latin typeface="Arial" charset="0"/>
                  <a:ea typeface="MS PGothic" pitchFamily="34" charset="-128"/>
                  <a:cs typeface="Arial" charset="0"/>
                </a:rPr>
                <a:t>01</a:t>
              </a:r>
              <a:endParaRPr lang="en-GB" sz="12000" dirty="0">
                <a:solidFill>
                  <a:srgbClr val="FFCD00"/>
                </a:solidFill>
                <a:latin typeface="Arial" charset="0"/>
                <a:ea typeface="MS PGothic" pitchFamily="34" charset="-128"/>
                <a:cs typeface="Arial" charset="0"/>
              </a:endParaRPr>
            </a:p>
          </p:txBody>
        </p:sp>
      </p:gr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7371" y="2601517"/>
            <a:ext cx="3761868" cy="2596028"/>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6959" y="2601517"/>
            <a:ext cx="3842281" cy="2651520"/>
          </a:xfrm>
          <a:prstGeom prst="rect">
            <a:avLst/>
          </a:prstGeom>
        </p:spPr>
      </p:pic>
    </p:spTree>
    <p:extLst>
      <p:ext uri="{BB962C8B-B14F-4D97-AF65-F5344CB8AC3E}">
        <p14:creationId xmlns:p14="http://schemas.microsoft.com/office/powerpoint/2010/main" val="6099434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NRSTYLE" val="titre"/>
</p:tagLst>
</file>

<file path=ppt/tags/tag2.xml><?xml version="1.0" encoding="utf-8"?>
<p:tagLst xmlns:a="http://schemas.openxmlformats.org/drawingml/2006/main" xmlns:r="http://schemas.openxmlformats.org/officeDocument/2006/relationships" xmlns:p="http://schemas.openxmlformats.org/presentationml/2006/main">
  <p:tag name="RNRSTYLE" val="titre"/>
</p:tagLst>
</file>

<file path=ppt/tags/tag3.xml><?xml version="1.0" encoding="utf-8"?>
<p:tagLst xmlns:a="http://schemas.openxmlformats.org/drawingml/2006/main" xmlns:r="http://schemas.openxmlformats.org/officeDocument/2006/relationships" xmlns:p="http://schemas.openxmlformats.org/presentationml/2006/main">
  <p:tag name="RNRSTYLE" val="titr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masque bleu">
  <a:themeElements>
    <a:clrScheme name="RFF">
      <a:dk1>
        <a:sysClr val="windowText" lastClr="000000"/>
      </a:dk1>
      <a:lt1>
        <a:sysClr val="window" lastClr="FFFFFF"/>
      </a:lt1>
      <a:dk2>
        <a:srgbClr val="1F497D"/>
      </a:dk2>
      <a:lt2>
        <a:srgbClr val="ECEEEF"/>
      </a:lt2>
      <a:accent1>
        <a:srgbClr val="934C94"/>
      </a:accent1>
      <a:accent2>
        <a:srgbClr val="0095D8"/>
      </a:accent2>
      <a:accent3>
        <a:srgbClr val="F08800"/>
      </a:accent3>
      <a:accent4>
        <a:srgbClr val="B6CA00"/>
      </a:accent4>
      <a:accent5>
        <a:srgbClr val="B7B5A0"/>
      </a:accent5>
      <a:accent6>
        <a:srgbClr val="4FB7A9"/>
      </a:accent6>
      <a:hlink>
        <a:srgbClr val="0000FF"/>
      </a:hlink>
      <a:folHlink>
        <a:srgbClr val="800080"/>
      </a:folHlink>
    </a:clrScheme>
    <a:fontScheme name="RFF">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NTENT">
  <a:themeElements>
    <a:clrScheme name="Groupe Renault">
      <a:dk1>
        <a:srgbClr val="000000"/>
      </a:dk1>
      <a:lt1>
        <a:srgbClr val="FFFFFF"/>
      </a:lt1>
      <a:dk2>
        <a:srgbClr val="000000"/>
      </a:dk2>
      <a:lt2>
        <a:srgbClr val="FFFFFF"/>
      </a:lt2>
      <a:accent1>
        <a:srgbClr val="FFCC33"/>
      </a:accent1>
      <a:accent2>
        <a:srgbClr val="C80E0E"/>
      </a:accent2>
      <a:accent3>
        <a:srgbClr val="9BC814"/>
      </a:accent3>
      <a:accent4>
        <a:srgbClr val="878785"/>
      </a:accent4>
      <a:accent5>
        <a:srgbClr val="97999B"/>
      </a:accent5>
      <a:accent6>
        <a:srgbClr val="CFC9C4"/>
      </a:accent6>
      <a:hlink>
        <a:srgbClr val="000000"/>
      </a:hlink>
      <a:folHlink>
        <a:srgbClr val="97999B"/>
      </a:folHlink>
    </a:clrScheme>
    <a:fontScheme name="RENAULT">
      <a:majorFont>
        <a:latin typeface="Arial Narrow"/>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600" b="0" dirty="0" err="1" smtClean="0">
            <a:solidFill>
              <a:schemeClr val="tx1"/>
            </a:solidFill>
          </a:defRPr>
        </a:defPPr>
      </a:lstStyle>
    </a:txDef>
  </a:objectDefaults>
  <a:extraClrSchemeLst>
    <a:extraClrScheme>
      <a:clrScheme name="B_SIGN-FRANCAIS_Garde 1">
        <a:dk1>
          <a:srgbClr val="000000"/>
        </a:dk1>
        <a:lt1>
          <a:srgbClr val="FFFFFF"/>
        </a:lt1>
        <a:dk2>
          <a:srgbClr val="000000"/>
        </a:dk2>
        <a:lt2>
          <a:srgbClr val="8A8E91"/>
        </a:lt2>
        <a:accent1>
          <a:srgbClr val="F7B100"/>
        </a:accent1>
        <a:accent2>
          <a:srgbClr val="CCCCCC"/>
        </a:accent2>
        <a:accent3>
          <a:srgbClr val="FFFFFF"/>
        </a:accent3>
        <a:accent4>
          <a:srgbClr val="000000"/>
        </a:accent4>
        <a:accent5>
          <a:srgbClr val="FAD5AA"/>
        </a:accent5>
        <a:accent6>
          <a:srgbClr val="B9B9B9"/>
        </a:accent6>
        <a:hlink>
          <a:srgbClr val="9BC814"/>
        </a:hlink>
        <a:folHlink>
          <a:srgbClr val="C80E0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_GROUPE RENAULT_PowerPoint template_16x9_Confidential C.pptx" id="{3832171A-3AD4-4E77-8DA1-14D8FF13F96D}" vid="{0E86DF88-7556-4486-902C-B0B53BD8D9D8}"/>
    </a:ext>
  </a:extLst>
</a:theme>
</file>

<file path=ppt/theme/theme4.xml><?xml version="1.0" encoding="utf-8"?>
<a:theme xmlns:a="http://schemas.openxmlformats.org/drawingml/2006/main" name="1_CONTENT">
  <a:themeElements>
    <a:clrScheme name="Groupe Renault">
      <a:dk1>
        <a:srgbClr val="000000"/>
      </a:dk1>
      <a:lt1>
        <a:srgbClr val="FFFFFF"/>
      </a:lt1>
      <a:dk2>
        <a:srgbClr val="000000"/>
      </a:dk2>
      <a:lt2>
        <a:srgbClr val="FFFFFF"/>
      </a:lt2>
      <a:accent1>
        <a:srgbClr val="FFCC33"/>
      </a:accent1>
      <a:accent2>
        <a:srgbClr val="C80E0E"/>
      </a:accent2>
      <a:accent3>
        <a:srgbClr val="9BC814"/>
      </a:accent3>
      <a:accent4>
        <a:srgbClr val="878785"/>
      </a:accent4>
      <a:accent5>
        <a:srgbClr val="97999B"/>
      </a:accent5>
      <a:accent6>
        <a:srgbClr val="CFC9C4"/>
      </a:accent6>
      <a:hlink>
        <a:srgbClr val="000000"/>
      </a:hlink>
      <a:folHlink>
        <a:srgbClr val="97999B"/>
      </a:folHlink>
    </a:clrScheme>
    <a:fontScheme name="RENAULT">
      <a:majorFont>
        <a:latin typeface="Arial Narrow"/>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600" b="0" dirty="0" err="1" smtClean="0">
            <a:solidFill>
              <a:schemeClr val="tx1"/>
            </a:solidFill>
          </a:defRPr>
        </a:defPPr>
      </a:lstStyle>
    </a:txDef>
  </a:objectDefaults>
  <a:extraClrSchemeLst>
    <a:extraClrScheme>
      <a:clrScheme name="B_SIGN-FRANCAIS_Garde 1">
        <a:dk1>
          <a:srgbClr val="000000"/>
        </a:dk1>
        <a:lt1>
          <a:srgbClr val="FFFFFF"/>
        </a:lt1>
        <a:dk2>
          <a:srgbClr val="000000"/>
        </a:dk2>
        <a:lt2>
          <a:srgbClr val="8A8E91"/>
        </a:lt2>
        <a:accent1>
          <a:srgbClr val="F7B100"/>
        </a:accent1>
        <a:accent2>
          <a:srgbClr val="CCCCCC"/>
        </a:accent2>
        <a:accent3>
          <a:srgbClr val="FFFFFF"/>
        </a:accent3>
        <a:accent4>
          <a:srgbClr val="000000"/>
        </a:accent4>
        <a:accent5>
          <a:srgbClr val="FAD5AA"/>
        </a:accent5>
        <a:accent6>
          <a:srgbClr val="B9B9B9"/>
        </a:accent6>
        <a:hlink>
          <a:srgbClr val="9BC814"/>
        </a:hlink>
        <a:folHlink>
          <a:srgbClr val="C80E0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_GROUPE RENAULT_PPT template_V1" id="{EC4812B9-E22D-4A5C-AAF7-852E5F6B9CC7}" vid="{E39D093D-B6B5-4744-B6A9-264BBC0FDAE3}"/>
    </a:ext>
  </a:extLst>
</a:theme>
</file>

<file path=ppt/theme/theme5.xml><?xml version="1.0" encoding="utf-8"?>
<a:theme xmlns:a="http://schemas.openxmlformats.org/drawingml/2006/main" name="COVER">
  <a:themeElements>
    <a:clrScheme name="Groupe Renault">
      <a:dk1>
        <a:srgbClr val="000000"/>
      </a:dk1>
      <a:lt1>
        <a:srgbClr val="FFFFFF"/>
      </a:lt1>
      <a:dk2>
        <a:srgbClr val="000000"/>
      </a:dk2>
      <a:lt2>
        <a:srgbClr val="FFFFFF"/>
      </a:lt2>
      <a:accent1>
        <a:srgbClr val="FFCC33"/>
      </a:accent1>
      <a:accent2>
        <a:srgbClr val="C80E0E"/>
      </a:accent2>
      <a:accent3>
        <a:srgbClr val="9BC814"/>
      </a:accent3>
      <a:accent4>
        <a:srgbClr val="878785"/>
      </a:accent4>
      <a:accent5>
        <a:srgbClr val="97999B"/>
      </a:accent5>
      <a:accent6>
        <a:srgbClr val="CFC9C4"/>
      </a:accent6>
      <a:hlink>
        <a:srgbClr val="000000"/>
      </a:hlink>
      <a:folHlink>
        <a:srgbClr val="97999B"/>
      </a:folHlink>
    </a:clrScheme>
    <a:fontScheme name="RENAULT">
      <a:majorFont>
        <a:latin typeface="Arial Narrow"/>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_SIGN-FRANCAIS_Garde 1">
        <a:dk1>
          <a:srgbClr val="000000"/>
        </a:dk1>
        <a:lt1>
          <a:srgbClr val="FFFFFF"/>
        </a:lt1>
        <a:dk2>
          <a:srgbClr val="000000"/>
        </a:dk2>
        <a:lt2>
          <a:srgbClr val="8A8E91"/>
        </a:lt2>
        <a:accent1>
          <a:srgbClr val="F7B100"/>
        </a:accent1>
        <a:accent2>
          <a:srgbClr val="CCCCCC"/>
        </a:accent2>
        <a:accent3>
          <a:srgbClr val="FFFFFF"/>
        </a:accent3>
        <a:accent4>
          <a:srgbClr val="000000"/>
        </a:accent4>
        <a:accent5>
          <a:srgbClr val="FAD5AA"/>
        </a:accent5>
        <a:accent6>
          <a:srgbClr val="B9B9B9"/>
        </a:accent6>
        <a:hlink>
          <a:srgbClr val="9BC814"/>
        </a:hlink>
        <a:folHlink>
          <a:srgbClr val="C80E0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_GROUPE RENAULT_PPT template_V1" id="{EC4812B9-E22D-4A5C-AAF7-852E5F6B9CC7}" vid="{5FD50497-A1E9-4DDE-B8C6-8A074B1B1A56}"/>
    </a:ext>
  </a:extLst>
</a:theme>
</file>

<file path=ppt/theme/theme6.xml><?xml version="1.0" encoding="utf-8"?>
<a:theme xmlns:a="http://schemas.openxmlformats.org/drawingml/2006/main" name="2_CONTENT">
  <a:themeElements>
    <a:clrScheme name="Groupe Renault">
      <a:dk1>
        <a:srgbClr val="000000"/>
      </a:dk1>
      <a:lt1>
        <a:srgbClr val="FFFFFF"/>
      </a:lt1>
      <a:dk2>
        <a:srgbClr val="000000"/>
      </a:dk2>
      <a:lt2>
        <a:srgbClr val="FFFFFF"/>
      </a:lt2>
      <a:accent1>
        <a:srgbClr val="FFCC33"/>
      </a:accent1>
      <a:accent2>
        <a:srgbClr val="C80E0E"/>
      </a:accent2>
      <a:accent3>
        <a:srgbClr val="9BC814"/>
      </a:accent3>
      <a:accent4>
        <a:srgbClr val="878785"/>
      </a:accent4>
      <a:accent5>
        <a:srgbClr val="97999B"/>
      </a:accent5>
      <a:accent6>
        <a:srgbClr val="CFC9C4"/>
      </a:accent6>
      <a:hlink>
        <a:srgbClr val="000000"/>
      </a:hlink>
      <a:folHlink>
        <a:srgbClr val="97999B"/>
      </a:folHlink>
    </a:clrScheme>
    <a:fontScheme name="RENAULT">
      <a:majorFont>
        <a:latin typeface="Arial Narrow"/>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600" b="0" dirty="0" err="1" smtClean="0">
            <a:solidFill>
              <a:schemeClr val="tx1"/>
            </a:solidFill>
          </a:defRPr>
        </a:defPPr>
      </a:lstStyle>
    </a:txDef>
  </a:objectDefaults>
  <a:extraClrSchemeLst>
    <a:extraClrScheme>
      <a:clrScheme name="B_SIGN-FRANCAIS_Garde 1">
        <a:dk1>
          <a:srgbClr val="000000"/>
        </a:dk1>
        <a:lt1>
          <a:srgbClr val="FFFFFF"/>
        </a:lt1>
        <a:dk2>
          <a:srgbClr val="000000"/>
        </a:dk2>
        <a:lt2>
          <a:srgbClr val="8A8E91"/>
        </a:lt2>
        <a:accent1>
          <a:srgbClr val="F7B100"/>
        </a:accent1>
        <a:accent2>
          <a:srgbClr val="CCCCCC"/>
        </a:accent2>
        <a:accent3>
          <a:srgbClr val="FFFFFF"/>
        </a:accent3>
        <a:accent4>
          <a:srgbClr val="000000"/>
        </a:accent4>
        <a:accent5>
          <a:srgbClr val="FAD5AA"/>
        </a:accent5>
        <a:accent6>
          <a:srgbClr val="B9B9B9"/>
        </a:accent6>
        <a:hlink>
          <a:srgbClr val="9BC814"/>
        </a:hlink>
        <a:folHlink>
          <a:srgbClr val="C80E0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_GROUPE RENAULT_PPT template_V1" id="{EC4812B9-E22D-4A5C-AAF7-852E5F6B9CC7}" vid="{E39D093D-B6B5-4744-B6A9-264BBC0FDAE3}"/>
    </a:ext>
  </a:extLst>
</a:theme>
</file>

<file path=ppt/theme/theme7.xml><?xml version="1.0" encoding="utf-8"?>
<a:theme xmlns:a="http://schemas.openxmlformats.org/drawingml/2006/main" name="1_COVER">
  <a:themeElements>
    <a:clrScheme name="Groupe Renault">
      <a:dk1>
        <a:srgbClr val="000000"/>
      </a:dk1>
      <a:lt1>
        <a:srgbClr val="FFFFFF"/>
      </a:lt1>
      <a:dk2>
        <a:srgbClr val="000000"/>
      </a:dk2>
      <a:lt2>
        <a:srgbClr val="FFFFFF"/>
      </a:lt2>
      <a:accent1>
        <a:srgbClr val="FFCC33"/>
      </a:accent1>
      <a:accent2>
        <a:srgbClr val="C80E0E"/>
      </a:accent2>
      <a:accent3>
        <a:srgbClr val="9BC814"/>
      </a:accent3>
      <a:accent4>
        <a:srgbClr val="878785"/>
      </a:accent4>
      <a:accent5>
        <a:srgbClr val="97999B"/>
      </a:accent5>
      <a:accent6>
        <a:srgbClr val="CFC9C4"/>
      </a:accent6>
      <a:hlink>
        <a:srgbClr val="000000"/>
      </a:hlink>
      <a:folHlink>
        <a:srgbClr val="97999B"/>
      </a:folHlink>
    </a:clrScheme>
    <a:fontScheme name="RENAULT">
      <a:majorFont>
        <a:latin typeface="Arial Narrow"/>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_SIGN-FRANCAIS_Garde 1">
        <a:dk1>
          <a:srgbClr val="000000"/>
        </a:dk1>
        <a:lt1>
          <a:srgbClr val="FFFFFF"/>
        </a:lt1>
        <a:dk2>
          <a:srgbClr val="000000"/>
        </a:dk2>
        <a:lt2>
          <a:srgbClr val="8A8E91"/>
        </a:lt2>
        <a:accent1>
          <a:srgbClr val="F7B100"/>
        </a:accent1>
        <a:accent2>
          <a:srgbClr val="CCCCCC"/>
        </a:accent2>
        <a:accent3>
          <a:srgbClr val="FFFFFF"/>
        </a:accent3>
        <a:accent4>
          <a:srgbClr val="000000"/>
        </a:accent4>
        <a:accent5>
          <a:srgbClr val="FAD5AA"/>
        </a:accent5>
        <a:accent6>
          <a:srgbClr val="B9B9B9"/>
        </a:accent6>
        <a:hlink>
          <a:srgbClr val="9BC814"/>
        </a:hlink>
        <a:folHlink>
          <a:srgbClr val="C80E0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_GROUPE RENAULT_PPT template_V1" id="{EC4812B9-E22D-4A5C-AAF7-852E5F6B9CC7}" vid="{5FD50497-A1E9-4DDE-B8C6-8A074B1B1A56}"/>
    </a:ext>
  </a:ext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648</TotalTime>
  <Words>2005</Words>
  <Application>Microsoft Office PowerPoint</Application>
  <PresentationFormat>Affichage à l'écran (4:3)</PresentationFormat>
  <Paragraphs>402</Paragraphs>
  <Slides>27</Slides>
  <Notes>10</Notes>
  <HiddenSlides>0</HiddenSlides>
  <MMClips>0</MMClips>
  <ScaleCrop>false</ScaleCrop>
  <HeadingPairs>
    <vt:vector size="8" baseType="variant">
      <vt:variant>
        <vt:lpstr>Polices utilisées</vt:lpstr>
      </vt:variant>
      <vt:variant>
        <vt:i4>8</vt:i4>
      </vt:variant>
      <vt:variant>
        <vt:lpstr>Thème</vt:lpstr>
      </vt:variant>
      <vt:variant>
        <vt:i4>7</vt:i4>
      </vt:variant>
      <vt:variant>
        <vt:lpstr>Serveurs OLE incorporés</vt:lpstr>
      </vt:variant>
      <vt:variant>
        <vt:i4>2</vt:i4>
      </vt:variant>
      <vt:variant>
        <vt:lpstr>Titres des diapositives</vt:lpstr>
      </vt:variant>
      <vt:variant>
        <vt:i4>27</vt:i4>
      </vt:variant>
    </vt:vector>
  </HeadingPairs>
  <TitlesOfParts>
    <vt:vector size="44" baseType="lpstr">
      <vt:lpstr>MS PGothic</vt:lpstr>
      <vt:lpstr>Arial</vt:lpstr>
      <vt:lpstr>Arial Narrow</vt:lpstr>
      <vt:lpstr>Calibri</vt:lpstr>
      <vt:lpstr>Meiryo UI</vt:lpstr>
      <vt:lpstr>Symbol</vt:lpstr>
      <vt:lpstr>Times New Roman</vt:lpstr>
      <vt:lpstr>Wingdings</vt:lpstr>
      <vt:lpstr>Thème Office</vt:lpstr>
      <vt:lpstr>1_masque bleu</vt:lpstr>
      <vt:lpstr>CONTENT</vt:lpstr>
      <vt:lpstr>1_CONTENT</vt:lpstr>
      <vt:lpstr>COVER</vt:lpstr>
      <vt:lpstr>2_CONTENT</vt:lpstr>
      <vt:lpstr>1_COVER</vt:lpstr>
      <vt:lpstr>Worksheet</vt:lpstr>
      <vt:lpstr>think-cell Slide</vt:lpstr>
      <vt:lpstr> Les Ateliers du CR2PA  </vt:lpstr>
      <vt:lpstr>Sommaire</vt:lpstr>
      <vt:lpstr>Présentation PowerPoint</vt:lpstr>
      <vt:lpstr>Participants</vt:lpstr>
      <vt:lpstr>Collecte des mots clefs employés suite à la présentation de chacun lors du tour de table</vt:lpstr>
      <vt:lpstr>Programme des ateliers </vt:lpstr>
      <vt:lpstr>Présentation PowerPoint</vt:lpstr>
      <vt:lpstr>Presentation du groupe renault atelier cr2pa – 22 juin 2017</vt:lpstr>
      <vt:lpstr>Présentation PowerPoint</vt:lpstr>
      <vt:lpstr>1 GROUPE, 5 MARQUES, 1 ALLIANCE, DES PARTENARIATS</vt:lpstr>
      <vt:lpstr>rÉalisation 2016 – lancement produits</vt:lpstr>
      <vt:lpstr>STRATEGIE : C’EST AUSSI</vt:lpstr>
      <vt:lpstr>Présentation PowerPoint</vt:lpstr>
      <vt:lpstr>Présentation PowerPoint</vt:lpstr>
      <vt:lpstr>UN GROUPE STRUCTURE SUR UN METIER : L’AUTOMOBILE</vt:lpstr>
      <vt:lpstr>Présentation PowerPoint</vt:lpstr>
      <vt:lpstr>PROJET FILL’GOOD Pour un archivage ORGANISé et a l’ETAT DE L’ART</vt:lpstr>
      <vt:lpstr>Choix importants lors de la préparation de la Politique Groupe de Records Management</vt:lpstr>
      <vt:lpstr>Les acteurs du Records Management</vt:lpstr>
      <vt:lpstr>Phasage DU déploiement métier dans une direction</vt:lpstr>
      <vt:lpstr>Présentation PowerPoint</vt:lpstr>
      <vt:lpstr>Atelier de Renault Eléments d’introduction  Remise du dossier baromètre (slides)   Bruno Lalande – Hervé Mahé – Nathalie Morand Khalifa   </vt:lpstr>
      <vt:lpstr>Synthèse travail de l’atelier les points clefs à retenir</vt:lpstr>
      <vt:lpstr>Présentation PowerPoint</vt:lpstr>
      <vt:lpstr>Présentation PowerPoint</vt:lpstr>
      <vt:lpstr>Présentation PowerPoint</vt:lpstr>
      <vt:lpstr>Propositions de GTs</vt:lpstr>
    </vt:vector>
  </TitlesOfParts>
  <Company>R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 Ateliers du CR2PA</dc:title>
  <dc:creator>OUILLON Bernard</dc:creator>
  <cp:lastModifiedBy>christine carbonnel</cp:lastModifiedBy>
  <cp:revision>143</cp:revision>
  <cp:lastPrinted>2017-06-22T07:20:19Z</cp:lastPrinted>
  <dcterms:created xsi:type="dcterms:W3CDTF">2015-04-01T17:36:14Z</dcterms:created>
  <dcterms:modified xsi:type="dcterms:W3CDTF">2017-08-29T12:3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gnivaPresentationIdentifier">
    <vt:lpwstr>c2102f74-07e9-4eff-a9ba-1e324742397a</vt:lpwstr>
  </property>
</Properties>
</file>